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97" r:id="rId3"/>
  </p:sldMasterIdLst>
  <p:notesMasterIdLst>
    <p:notesMasterId r:id="rId36"/>
  </p:notesMasterIdLst>
  <p:sldIdLst>
    <p:sldId id="2460" r:id="rId4"/>
    <p:sldId id="2076136358" r:id="rId5"/>
    <p:sldId id="2076136355" r:id="rId6"/>
    <p:sldId id="2076136356" r:id="rId7"/>
    <p:sldId id="2076136357" r:id="rId8"/>
    <p:sldId id="2500" r:id="rId9"/>
    <p:sldId id="2501" r:id="rId10"/>
    <p:sldId id="1736" r:id="rId11"/>
    <p:sldId id="2502" r:id="rId12"/>
    <p:sldId id="2503" r:id="rId13"/>
    <p:sldId id="1569" r:id="rId14"/>
    <p:sldId id="1611" r:id="rId15"/>
    <p:sldId id="1641" r:id="rId16"/>
    <p:sldId id="10691" r:id="rId17"/>
    <p:sldId id="10692" r:id="rId18"/>
    <p:sldId id="2507" r:id="rId19"/>
    <p:sldId id="2536" r:id="rId20"/>
    <p:sldId id="2532" r:id="rId21"/>
    <p:sldId id="10694" r:id="rId22"/>
    <p:sldId id="10695" r:id="rId23"/>
    <p:sldId id="10681" r:id="rId24"/>
    <p:sldId id="10679" r:id="rId25"/>
    <p:sldId id="10690" r:id="rId26"/>
    <p:sldId id="2581" r:id="rId27"/>
    <p:sldId id="2580" r:id="rId28"/>
    <p:sldId id="2076136359" r:id="rId29"/>
    <p:sldId id="2558" r:id="rId30"/>
    <p:sldId id="380" r:id="rId31"/>
    <p:sldId id="2557" r:id="rId32"/>
    <p:sldId id="409" r:id="rId33"/>
    <p:sldId id="1826" r:id="rId34"/>
    <p:sldId id="1532" r:id="rId35"/>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D36ECA-191A-4359-B3BB-2382830C8A9B}" v="37" dt="2019-09-26T11:55:05.57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69" autoAdjust="0"/>
    <p:restoredTop sz="53585" autoAdjust="0"/>
  </p:normalViewPr>
  <p:slideViewPr>
    <p:cSldViewPr snapToGrid="0">
      <p:cViewPr varScale="1">
        <p:scale>
          <a:sx n="47" d="100"/>
          <a:sy n="47" d="100"/>
        </p:scale>
        <p:origin x="1608" y="3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heme" Target="theme/theme1.xml"/><Relationship Id="rId21" Type="http://schemas.openxmlformats.org/officeDocument/2006/relationships/slide" Target="slides/slide18.xml"/><Relationship Id="rId34" Type="http://schemas.openxmlformats.org/officeDocument/2006/relationships/slide" Target="slides/slide31.xml"/><Relationship Id="rId42" Type="http://schemas.microsoft.com/office/2015/10/relationships/revisionInfo" Target="revisionInfo.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aig Marechal" userId="e324b6f0-0659-498f-bc94-37f45fe1cfaf" providerId="ADAL" clId="{23D36ECA-191A-4359-B3BB-2382830C8A9B}"/>
    <pc:docChg chg="undo custSel mod addSld delSld modSld sldOrd">
      <pc:chgData name="Anaig Marechal" userId="e324b6f0-0659-498f-bc94-37f45fe1cfaf" providerId="ADAL" clId="{23D36ECA-191A-4359-B3BB-2382830C8A9B}" dt="2019-09-26T11:55:05.571" v="4404" actId="20577"/>
      <pc:docMkLst>
        <pc:docMk/>
      </pc:docMkLst>
      <pc:sldChg chg="add del setBg">
        <pc:chgData name="Anaig Marechal" userId="e324b6f0-0659-498f-bc94-37f45fe1cfaf" providerId="ADAL" clId="{23D36ECA-191A-4359-B3BB-2382830C8A9B}" dt="2019-09-22T17:42:37.846" v="3879"/>
        <pc:sldMkLst>
          <pc:docMk/>
          <pc:sldMk cId="1846780135" sldId="380"/>
        </pc:sldMkLst>
      </pc:sldChg>
      <pc:sldChg chg="add del setBg">
        <pc:chgData name="Anaig Marechal" userId="e324b6f0-0659-498f-bc94-37f45fe1cfaf" providerId="ADAL" clId="{23D36ECA-191A-4359-B3BB-2382830C8A9B}" dt="2019-09-22T17:42:37.846" v="3879"/>
        <pc:sldMkLst>
          <pc:docMk/>
          <pc:sldMk cId="2908697924" sldId="409"/>
        </pc:sldMkLst>
      </pc:sldChg>
      <pc:sldChg chg="add del">
        <pc:chgData name="Anaig Marechal" userId="e324b6f0-0659-498f-bc94-37f45fe1cfaf" providerId="ADAL" clId="{23D36ECA-191A-4359-B3BB-2382830C8A9B}" dt="2019-09-22T17:36:28.561" v="3826" actId="47"/>
        <pc:sldMkLst>
          <pc:docMk/>
          <pc:sldMk cId="3249496989" sldId="1529"/>
        </pc:sldMkLst>
      </pc:sldChg>
      <pc:sldChg chg="add">
        <pc:chgData name="Anaig Marechal" userId="e324b6f0-0659-498f-bc94-37f45fe1cfaf" providerId="ADAL" clId="{23D36ECA-191A-4359-B3BB-2382830C8A9B}" dt="2019-09-22T17:02:18.693" v="2121"/>
        <pc:sldMkLst>
          <pc:docMk/>
          <pc:sldMk cId="2402828649" sldId="1532"/>
        </pc:sldMkLst>
      </pc:sldChg>
      <pc:sldChg chg="add del">
        <pc:chgData name="Anaig Marechal" userId="e324b6f0-0659-498f-bc94-37f45fe1cfaf" providerId="ADAL" clId="{23D36ECA-191A-4359-B3BB-2382830C8A9B}" dt="2019-09-22T17:36:27.687" v="3824" actId="47"/>
        <pc:sldMkLst>
          <pc:docMk/>
          <pc:sldMk cId="33668927" sldId="1551"/>
        </pc:sldMkLst>
      </pc:sldChg>
      <pc:sldChg chg="add del">
        <pc:chgData name="Anaig Marechal" userId="e324b6f0-0659-498f-bc94-37f45fe1cfaf" providerId="ADAL" clId="{23D36ECA-191A-4359-B3BB-2382830C8A9B}" dt="2019-09-22T17:36:28.102" v="3825" actId="47"/>
        <pc:sldMkLst>
          <pc:docMk/>
          <pc:sldMk cId="458481888" sldId="1552"/>
        </pc:sldMkLst>
      </pc:sldChg>
      <pc:sldChg chg="add del">
        <pc:chgData name="Anaig Marechal" userId="e324b6f0-0659-498f-bc94-37f45fe1cfaf" providerId="ADAL" clId="{23D36ECA-191A-4359-B3BB-2382830C8A9B}" dt="2019-09-22T17:36:26.152" v="3821" actId="47"/>
        <pc:sldMkLst>
          <pc:docMk/>
          <pc:sldMk cId="1838489513" sldId="1554"/>
        </pc:sldMkLst>
      </pc:sldChg>
      <pc:sldChg chg="add del">
        <pc:chgData name="Anaig Marechal" userId="e324b6f0-0659-498f-bc94-37f45fe1cfaf" providerId="ADAL" clId="{23D36ECA-191A-4359-B3BB-2382830C8A9B}" dt="2019-09-22T17:36:25.768" v="3820" actId="47"/>
        <pc:sldMkLst>
          <pc:docMk/>
          <pc:sldMk cId="4138455737" sldId="1555"/>
        </pc:sldMkLst>
      </pc:sldChg>
      <pc:sldChg chg="add del">
        <pc:chgData name="Anaig Marechal" userId="e324b6f0-0659-498f-bc94-37f45fe1cfaf" providerId="ADAL" clId="{23D36ECA-191A-4359-B3BB-2382830C8A9B}" dt="2019-09-22T17:36:26.661" v="3822" actId="47"/>
        <pc:sldMkLst>
          <pc:docMk/>
          <pc:sldMk cId="101981954" sldId="1556"/>
        </pc:sldMkLst>
      </pc:sldChg>
      <pc:sldChg chg="add del">
        <pc:chgData name="Anaig Marechal" userId="e324b6f0-0659-498f-bc94-37f45fe1cfaf" providerId="ADAL" clId="{23D36ECA-191A-4359-B3BB-2382830C8A9B}" dt="2019-09-22T17:36:29.058" v="3827" actId="47"/>
        <pc:sldMkLst>
          <pc:docMk/>
          <pc:sldMk cId="4205574931" sldId="1561"/>
        </pc:sldMkLst>
      </pc:sldChg>
      <pc:sldChg chg="add modNotes modNotesTx">
        <pc:chgData name="Anaig Marechal" userId="e324b6f0-0659-498f-bc94-37f45fe1cfaf" providerId="ADAL" clId="{23D36ECA-191A-4359-B3BB-2382830C8A9B}" dt="2019-09-22T17:02:04.863" v="2120" actId="20577"/>
        <pc:sldMkLst>
          <pc:docMk/>
          <pc:sldMk cId="541768398" sldId="1569"/>
        </pc:sldMkLst>
      </pc:sldChg>
      <pc:sldChg chg="modSp add modNotes">
        <pc:chgData name="Anaig Marechal" userId="e324b6f0-0659-498f-bc94-37f45fe1cfaf" providerId="ADAL" clId="{23D36ECA-191A-4359-B3BB-2382830C8A9B}" dt="2019-09-22T17:02:44.524" v="2126"/>
        <pc:sldMkLst>
          <pc:docMk/>
          <pc:sldMk cId="613655695" sldId="1611"/>
        </pc:sldMkLst>
        <pc:spChg chg="mod">
          <ac:chgData name="Anaig Marechal" userId="e324b6f0-0659-498f-bc94-37f45fe1cfaf" providerId="ADAL" clId="{23D36ECA-191A-4359-B3BB-2382830C8A9B}" dt="2019-09-22T17:02:33.548" v="2125" actId="1076"/>
          <ac:spMkLst>
            <pc:docMk/>
            <pc:sldMk cId="613655695" sldId="1611"/>
            <ac:spMk id="2" creationId="{00000000-0000-0000-0000-000000000000}"/>
          </ac:spMkLst>
        </pc:spChg>
      </pc:sldChg>
      <pc:sldChg chg="modSp add modNotes modNotesTx">
        <pc:chgData name="Anaig Marechal" userId="e324b6f0-0659-498f-bc94-37f45fe1cfaf" providerId="ADAL" clId="{23D36ECA-191A-4359-B3BB-2382830C8A9B}" dt="2019-09-22T17:07:51.202" v="2471" actId="20577"/>
        <pc:sldMkLst>
          <pc:docMk/>
          <pc:sldMk cId="3442987407" sldId="1641"/>
        </pc:sldMkLst>
        <pc:spChg chg="mod">
          <ac:chgData name="Anaig Marechal" userId="e324b6f0-0659-498f-bc94-37f45fe1cfaf" providerId="ADAL" clId="{23D36ECA-191A-4359-B3BB-2382830C8A9B}" dt="2019-09-22T17:03:18.447" v="2128" actId="1076"/>
          <ac:spMkLst>
            <pc:docMk/>
            <pc:sldMk cId="3442987407" sldId="1641"/>
            <ac:spMk id="2" creationId="{31B678FE-8F54-40F2-A7BE-2DF8AA9570F8}"/>
          </ac:spMkLst>
        </pc:spChg>
      </pc:sldChg>
      <pc:sldChg chg="addSp delSp modSp add delAnim modAnim modNotesTx">
        <pc:chgData name="Anaig Marechal" userId="e324b6f0-0659-498f-bc94-37f45fe1cfaf" providerId="ADAL" clId="{23D36ECA-191A-4359-B3BB-2382830C8A9B}" dt="2019-09-24T21:46:39.206" v="3997" actId="20577"/>
        <pc:sldMkLst>
          <pc:docMk/>
          <pc:sldMk cId="4025013227" sldId="1736"/>
        </pc:sldMkLst>
        <pc:spChg chg="mod">
          <ac:chgData name="Anaig Marechal" userId="e324b6f0-0659-498f-bc94-37f45fe1cfaf" providerId="ADAL" clId="{23D36ECA-191A-4359-B3BB-2382830C8A9B}" dt="2019-09-22T15:50:30.473" v="626" actId="27636"/>
          <ac:spMkLst>
            <pc:docMk/>
            <pc:sldMk cId="4025013227" sldId="1736"/>
            <ac:spMk id="2" creationId="{9D56B535-1CC5-472B-A2C4-F52BD4F75902}"/>
          </ac:spMkLst>
        </pc:spChg>
        <pc:spChg chg="del">
          <ac:chgData name="Anaig Marechal" userId="e324b6f0-0659-498f-bc94-37f45fe1cfaf" providerId="ADAL" clId="{23D36ECA-191A-4359-B3BB-2382830C8A9B}" dt="2019-09-22T15:51:35.792" v="630" actId="478"/>
          <ac:spMkLst>
            <pc:docMk/>
            <pc:sldMk cId="4025013227" sldId="1736"/>
            <ac:spMk id="202" creationId="{36A30833-17D5-4DDA-9B32-384BFB21D952}"/>
          </ac:spMkLst>
        </pc:spChg>
        <pc:spChg chg="add del">
          <ac:chgData name="Anaig Marechal" userId="e324b6f0-0659-498f-bc94-37f45fe1cfaf" providerId="ADAL" clId="{23D36ECA-191A-4359-B3BB-2382830C8A9B}" dt="2019-09-22T15:51:33.335" v="629" actId="478"/>
          <ac:spMkLst>
            <pc:docMk/>
            <pc:sldMk cId="4025013227" sldId="1736"/>
            <ac:spMk id="203" creationId="{6B47060A-81E8-4649-8496-673201AD931B}"/>
          </ac:spMkLst>
        </pc:spChg>
        <pc:spChg chg="del">
          <ac:chgData name="Anaig Marechal" userId="e324b6f0-0659-498f-bc94-37f45fe1cfaf" providerId="ADAL" clId="{23D36ECA-191A-4359-B3BB-2382830C8A9B}" dt="2019-09-22T15:51:30.312" v="627" actId="478"/>
          <ac:spMkLst>
            <pc:docMk/>
            <pc:sldMk cId="4025013227" sldId="1736"/>
            <ac:spMk id="204" creationId="{639FA7B3-F326-4048-BAD6-F5C8A15A303D}"/>
          </ac:spMkLst>
        </pc:spChg>
      </pc:sldChg>
      <pc:sldChg chg="modSp add">
        <pc:chgData name="Anaig Marechal" userId="e324b6f0-0659-498f-bc94-37f45fe1cfaf" providerId="ADAL" clId="{23D36ECA-191A-4359-B3BB-2382830C8A9B}" dt="2019-09-22T17:37:08.586" v="3872" actId="20577"/>
        <pc:sldMkLst>
          <pc:docMk/>
          <pc:sldMk cId="3510077334" sldId="1826"/>
        </pc:sldMkLst>
        <pc:spChg chg="mod">
          <ac:chgData name="Anaig Marechal" userId="e324b6f0-0659-498f-bc94-37f45fe1cfaf" providerId="ADAL" clId="{23D36ECA-191A-4359-B3BB-2382830C8A9B}" dt="2019-09-22T17:36:58.018" v="3840" actId="20577"/>
          <ac:spMkLst>
            <pc:docMk/>
            <pc:sldMk cId="3510077334" sldId="1826"/>
            <ac:spMk id="2" creationId="{00000000-0000-0000-0000-000000000000}"/>
          </ac:spMkLst>
        </pc:spChg>
        <pc:spChg chg="mod">
          <ac:chgData name="Anaig Marechal" userId="e324b6f0-0659-498f-bc94-37f45fe1cfaf" providerId="ADAL" clId="{23D36ECA-191A-4359-B3BB-2382830C8A9B}" dt="2019-09-22T17:37:08.586" v="3872" actId="20577"/>
          <ac:spMkLst>
            <pc:docMk/>
            <pc:sldMk cId="3510077334" sldId="1826"/>
            <ac:spMk id="3" creationId="{275F0533-38A4-450B-83DD-FA3F5100F114}"/>
          </ac:spMkLst>
        </pc:spChg>
      </pc:sldChg>
      <pc:sldChg chg="add del">
        <pc:chgData name="Anaig Marechal" userId="e324b6f0-0659-498f-bc94-37f45fe1cfaf" providerId="ADAL" clId="{23D36ECA-191A-4359-B3BB-2382830C8A9B}" dt="2019-09-22T17:36:29.567" v="3828" actId="47"/>
        <pc:sldMkLst>
          <pc:docMk/>
          <pc:sldMk cId="456495323" sldId="1846"/>
        </pc:sldMkLst>
      </pc:sldChg>
      <pc:sldChg chg="modSp add setBg">
        <pc:chgData name="Anaig Marechal" userId="e324b6f0-0659-498f-bc94-37f45fe1cfaf" providerId="ADAL" clId="{23D36ECA-191A-4359-B3BB-2382830C8A9B}" dt="2019-09-22T15:38:01.584" v="66" actId="20577"/>
        <pc:sldMkLst>
          <pc:docMk/>
          <pc:sldMk cId="371707610" sldId="2460"/>
        </pc:sldMkLst>
        <pc:spChg chg="mod">
          <ac:chgData name="Anaig Marechal" userId="e324b6f0-0659-498f-bc94-37f45fe1cfaf" providerId="ADAL" clId="{23D36ECA-191A-4359-B3BB-2382830C8A9B}" dt="2019-09-22T15:37:49.673" v="54" actId="20577"/>
          <ac:spMkLst>
            <pc:docMk/>
            <pc:sldMk cId="371707610" sldId="2460"/>
            <ac:spMk id="31" creationId="{2557538E-C5FE-462C-B597-7AD77D85996A}"/>
          </ac:spMkLst>
        </pc:spChg>
        <pc:spChg chg="mod">
          <ac:chgData name="Anaig Marechal" userId="e324b6f0-0659-498f-bc94-37f45fe1cfaf" providerId="ADAL" clId="{23D36ECA-191A-4359-B3BB-2382830C8A9B}" dt="2019-09-22T15:38:01.584" v="66" actId="20577"/>
          <ac:spMkLst>
            <pc:docMk/>
            <pc:sldMk cId="371707610" sldId="2460"/>
            <ac:spMk id="32" creationId="{3E370F67-108A-4758-9FCB-7C01367ACD6D}"/>
          </ac:spMkLst>
        </pc:spChg>
      </pc:sldChg>
      <pc:sldChg chg="modSp add del setBg">
        <pc:chgData name="Anaig Marechal" userId="e324b6f0-0659-498f-bc94-37f45fe1cfaf" providerId="ADAL" clId="{23D36ECA-191A-4359-B3BB-2382830C8A9B}" dt="2019-09-22T15:45:46.226" v="297" actId="47"/>
        <pc:sldMkLst>
          <pc:docMk/>
          <pc:sldMk cId="2022283373" sldId="2494"/>
        </pc:sldMkLst>
        <pc:spChg chg="mod">
          <ac:chgData name="Anaig Marechal" userId="e324b6f0-0659-498f-bc94-37f45fe1cfaf" providerId="ADAL" clId="{23D36ECA-191A-4359-B3BB-2382830C8A9B}" dt="2019-09-22T15:40:52.230" v="70"/>
          <ac:spMkLst>
            <pc:docMk/>
            <pc:sldMk cId="2022283373" sldId="2494"/>
            <ac:spMk id="2" creationId="{BF6B421D-2897-4D7C-B4ED-723E66A804D7}"/>
          </ac:spMkLst>
        </pc:spChg>
      </pc:sldChg>
      <pc:sldChg chg="modSp add modNotes modNotesTx">
        <pc:chgData name="Anaig Marechal" userId="e324b6f0-0659-498f-bc94-37f45fe1cfaf" providerId="ADAL" clId="{23D36ECA-191A-4359-B3BB-2382830C8A9B}" dt="2019-09-22T15:44:25.079" v="294" actId="20577"/>
        <pc:sldMkLst>
          <pc:docMk/>
          <pc:sldMk cId="1941486164" sldId="2500"/>
        </pc:sldMkLst>
        <pc:spChg chg="mod">
          <ac:chgData name="Anaig Marechal" userId="e324b6f0-0659-498f-bc94-37f45fe1cfaf" providerId="ADAL" clId="{23D36ECA-191A-4359-B3BB-2382830C8A9B}" dt="2019-09-22T15:43:20.796" v="73" actId="27636"/>
          <ac:spMkLst>
            <pc:docMk/>
            <pc:sldMk cId="1941486164" sldId="2500"/>
            <ac:spMk id="2" creationId="{FDE68844-929F-4323-8361-3EC6E7550DC8}"/>
          </ac:spMkLst>
        </pc:spChg>
      </pc:sldChg>
      <pc:sldChg chg="modSp add modNotes modNotesTx">
        <pc:chgData name="Anaig Marechal" userId="e324b6f0-0659-498f-bc94-37f45fe1cfaf" providerId="ADAL" clId="{23D36ECA-191A-4359-B3BB-2382830C8A9B}" dt="2019-09-22T15:48:15.623" v="624" actId="20577"/>
        <pc:sldMkLst>
          <pc:docMk/>
          <pc:sldMk cId="623326165" sldId="2501"/>
        </pc:sldMkLst>
        <pc:spChg chg="mod">
          <ac:chgData name="Anaig Marechal" userId="e324b6f0-0659-498f-bc94-37f45fe1cfaf" providerId="ADAL" clId="{23D36ECA-191A-4359-B3BB-2382830C8A9B}" dt="2019-09-22T15:45:41.780" v="296" actId="27636"/>
          <ac:spMkLst>
            <pc:docMk/>
            <pc:sldMk cId="623326165" sldId="2501"/>
            <ac:spMk id="446" creationId="{7371BAE4-7130-4BDB-90B9-EDA52857421F}"/>
          </ac:spMkLst>
        </pc:spChg>
      </pc:sldChg>
      <pc:sldChg chg="addSp delSp add modNotes modNotesTx">
        <pc:chgData name="Anaig Marechal" userId="e324b6f0-0659-498f-bc94-37f45fe1cfaf" providerId="ADAL" clId="{23D36ECA-191A-4359-B3BB-2382830C8A9B}" dt="2019-09-22T16:59:00.608" v="1796" actId="478"/>
        <pc:sldMkLst>
          <pc:docMk/>
          <pc:sldMk cId="3159708113" sldId="2502"/>
        </pc:sldMkLst>
        <pc:spChg chg="add del">
          <ac:chgData name="Anaig Marechal" userId="e324b6f0-0659-498f-bc94-37f45fe1cfaf" providerId="ADAL" clId="{23D36ECA-191A-4359-B3BB-2382830C8A9B}" dt="2019-09-22T16:59:00.608" v="1796" actId="478"/>
          <ac:spMkLst>
            <pc:docMk/>
            <pc:sldMk cId="3159708113" sldId="2502"/>
            <ac:spMk id="2" creationId="{55DC2B39-7D91-4C71-97E9-EF982316D89B}"/>
          </ac:spMkLst>
        </pc:spChg>
        <pc:spChg chg="add del">
          <ac:chgData name="Anaig Marechal" userId="e324b6f0-0659-498f-bc94-37f45fe1cfaf" providerId="ADAL" clId="{23D36ECA-191A-4359-B3BB-2382830C8A9B}" dt="2019-09-22T16:58:39.346" v="1795" actId="478"/>
          <ac:spMkLst>
            <pc:docMk/>
            <pc:sldMk cId="3159708113" sldId="2502"/>
            <ac:spMk id="3" creationId="{68A5C938-88CB-482C-A7EB-DF64E4BC2692}"/>
          </ac:spMkLst>
        </pc:spChg>
      </pc:sldChg>
      <pc:sldChg chg="delSp add modNotes modNotesTx">
        <pc:chgData name="Anaig Marechal" userId="e324b6f0-0659-498f-bc94-37f45fe1cfaf" providerId="ADAL" clId="{23D36ECA-191A-4359-B3BB-2382830C8A9B}" dt="2019-09-22T17:01:21.524" v="2062" actId="20577"/>
        <pc:sldMkLst>
          <pc:docMk/>
          <pc:sldMk cId="2506679649" sldId="2503"/>
        </pc:sldMkLst>
        <pc:grpChg chg="del">
          <ac:chgData name="Anaig Marechal" userId="e324b6f0-0659-498f-bc94-37f45fe1cfaf" providerId="ADAL" clId="{23D36ECA-191A-4359-B3BB-2382830C8A9B}" dt="2019-09-22T17:00:17.270" v="1974" actId="478"/>
          <ac:grpSpMkLst>
            <pc:docMk/>
            <pc:sldMk cId="2506679649" sldId="2503"/>
            <ac:grpSpMk id="107" creationId="{F69B597D-1E62-4539-A55A-1FFE16D6B55E}"/>
          </ac:grpSpMkLst>
        </pc:grpChg>
      </pc:sldChg>
      <pc:sldChg chg="add del">
        <pc:chgData name="Anaig Marechal" userId="e324b6f0-0659-498f-bc94-37f45fe1cfaf" providerId="ADAL" clId="{23D36ECA-191A-4359-B3BB-2382830C8A9B}" dt="2019-09-22T17:40:02.191" v="3875"/>
        <pc:sldMkLst>
          <pc:docMk/>
          <pc:sldMk cId="1088117729" sldId="2507"/>
        </pc:sldMkLst>
      </pc:sldChg>
      <pc:sldChg chg="add del">
        <pc:chgData name="Anaig Marechal" userId="e324b6f0-0659-498f-bc94-37f45fe1cfaf" providerId="ADAL" clId="{23D36ECA-191A-4359-B3BB-2382830C8A9B}" dt="2019-09-22T17:40:02.191" v="3875"/>
        <pc:sldMkLst>
          <pc:docMk/>
          <pc:sldMk cId="60868866" sldId="2532"/>
        </pc:sldMkLst>
      </pc:sldChg>
      <pc:sldChg chg="add del">
        <pc:chgData name="Anaig Marechal" userId="e324b6f0-0659-498f-bc94-37f45fe1cfaf" providerId="ADAL" clId="{23D36ECA-191A-4359-B3BB-2382830C8A9B}" dt="2019-09-22T17:40:02.191" v="3875"/>
        <pc:sldMkLst>
          <pc:docMk/>
          <pc:sldMk cId="1345089537" sldId="2536"/>
        </pc:sldMkLst>
      </pc:sldChg>
      <pc:sldChg chg="add del">
        <pc:chgData name="Anaig Marechal" userId="e324b6f0-0659-498f-bc94-37f45fe1cfaf" providerId="ADAL" clId="{23D36ECA-191A-4359-B3BB-2382830C8A9B}" dt="2019-09-22T17:42:37.846" v="3879"/>
        <pc:sldMkLst>
          <pc:docMk/>
          <pc:sldMk cId="185661003" sldId="2557"/>
        </pc:sldMkLst>
      </pc:sldChg>
      <pc:sldChg chg="add del">
        <pc:chgData name="Anaig Marechal" userId="e324b6f0-0659-498f-bc94-37f45fe1cfaf" providerId="ADAL" clId="{23D36ECA-191A-4359-B3BB-2382830C8A9B}" dt="2019-09-22T17:42:37.846" v="3879"/>
        <pc:sldMkLst>
          <pc:docMk/>
          <pc:sldMk cId="3015353844" sldId="2558"/>
        </pc:sldMkLst>
      </pc:sldChg>
      <pc:sldChg chg="add modNotes modNotesTx">
        <pc:chgData name="Anaig Marechal" userId="e324b6f0-0659-498f-bc94-37f45fe1cfaf" providerId="ADAL" clId="{23D36ECA-191A-4359-B3BB-2382830C8A9B}" dt="2019-09-22T17:28:47.962" v="3811" actId="20577"/>
        <pc:sldMkLst>
          <pc:docMk/>
          <pc:sldMk cId="326176187" sldId="2580"/>
        </pc:sldMkLst>
      </pc:sldChg>
      <pc:sldChg chg="add modNotes modNotesTx">
        <pc:chgData name="Anaig Marechal" userId="e324b6f0-0659-498f-bc94-37f45fe1cfaf" providerId="ADAL" clId="{23D36ECA-191A-4359-B3BB-2382830C8A9B}" dt="2019-09-22T17:28:30.472" v="3731" actId="20577"/>
        <pc:sldMkLst>
          <pc:docMk/>
          <pc:sldMk cId="1907409042" sldId="2581"/>
        </pc:sldMkLst>
      </pc:sldChg>
      <pc:sldChg chg="add del">
        <pc:chgData name="Anaig Marechal" userId="e324b6f0-0659-498f-bc94-37f45fe1cfaf" providerId="ADAL" clId="{23D36ECA-191A-4359-B3BB-2382830C8A9B}" dt="2019-09-22T17:36:30.124" v="3829" actId="47"/>
        <pc:sldMkLst>
          <pc:docMk/>
          <pc:sldMk cId="811175681" sldId="2583"/>
        </pc:sldMkLst>
      </pc:sldChg>
      <pc:sldChg chg="modSp add modNotes modNotesTx">
        <pc:chgData name="Anaig Marechal" userId="e324b6f0-0659-498f-bc94-37f45fe1cfaf" providerId="ADAL" clId="{23D36ECA-191A-4359-B3BB-2382830C8A9B}" dt="2019-09-22T17:22:25.029" v="3642" actId="20577"/>
        <pc:sldMkLst>
          <pc:docMk/>
          <pc:sldMk cId="2966569590" sldId="10679"/>
        </pc:sldMkLst>
        <pc:spChg chg="mod">
          <ac:chgData name="Anaig Marechal" userId="e324b6f0-0659-498f-bc94-37f45fe1cfaf" providerId="ADAL" clId="{23D36ECA-191A-4359-B3BB-2382830C8A9B}" dt="2019-09-22T17:02:19.060" v="2123" actId="27636"/>
          <ac:spMkLst>
            <pc:docMk/>
            <pc:sldMk cId="2966569590" sldId="10679"/>
            <ac:spMk id="2" creationId="{ADDFCBFC-221C-4CD9-8F3C-114F84E92FA1}"/>
          </ac:spMkLst>
        </pc:spChg>
      </pc:sldChg>
      <pc:sldChg chg="modSp add modNotes modNotesTx">
        <pc:chgData name="Anaig Marechal" userId="e324b6f0-0659-498f-bc94-37f45fe1cfaf" providerId="ADAL" clId="{23D36ECA-191A-4359-B3BB-2382830C8A9B}" dt="2019-09-22T17:22:00.138" v="3609" actId="20577"/>
        <pc:sldMkLst>
          <pc:docMk/>
          <pc:sldMk cId="1779038235" sldId="10681"/>
        </pc:sldMkLst>
        <pc:spChg chg="mod">
          <ac:chgData name="Anaig Marechal" userId="e324b6f0-0659-498f-bc94-37f45fe1cfaf" providerId="ADAL" clId="{23D36ECA-191A-4359-B3BB-2382830C8A9B}" dt="2019-09-22T17:02:19.010" v="2122" actId="27636"/>
          <ac:spMkLst>
            <pc:docMk/>
            <pc:sldMk cId="1779038235" sldId="10681"/>
            <ac:spMk id="2" creationId="{ADDFCBFC-221C-4CD9-8F3C-114F84E92FA1}"/>
          </ac:spMkLst>
        </pc:spChg>
      </pc:sldChg>
      <pc:sldChg chg="add del">
        <pc:chgData name="Anaig Marechal" userId="e324b6f0-0659-498f-bc94-37f45fe1cfaf" providerId="ADAL" clId="{23D36ECA-191A-4359-B3BB-2382830C8A9B}" dt="2019-09-22T17:36:27.111" v="3823" actId="47"/>
        <pc:sldMkLst>
          <pc:docMk/>
          <pc:sldMk cId="2516556037" sldId="10683"/>
        </pc:sldMkLst>
      </pc:sldChg>
      <pc:sldChg chg="add del">
        <pc:chgData name="Anaig Marechal" userId="e324b6f0-0659-498f-bc94-37f45fe1cfaf" providerId="ADAL" clId="{23D36ECA-191A-4359-B3BB-2382830C8A9B}" dt="2019-09-22T17:36:22.785" v="3813" actId="47"/>
        <pc:sldMkLst>
          <pc:docMk/>
          <pc:sldMk cId="749066436" sldId="10685"/>
        </pc:sldMkLst>
      </pc:sldChg>
      <pc:sldChg chg="add del">
        <pc:chgData name="Anaig Marechal" userId="e324b6f0-0659-498f-bc94-37f45fe1cfaf" providerId="ADAL" clId="{23D36ECA-191A-4359-B3BB-2382830C8A9B}" dt="2019-09-22T17:35:55.979" v="3812" actId="47"/>
        <pc:sldMkLst>
          <pc:docMk/>
          <pc:sldMk cId="987404646" sldId="10686"/>
        </pc:sldMkLst>
      </pc:sldChg>
      <pc:sldChg chg="add">
        <pc:chgData name="Anaig Marechal" userId="e324b6f0-0659-498f-bc94-37f45fe1cfaf" providerId="ADAL" clId="{23D36ECA-191A-4359-B3BB-2382830C8A9B}" dt="2019-09-22T17:02:18.693" v="2121"/>
        <pc:sldMkLst>
          <pc:docMk/>
          <pc:sldMk cId="671162148" sldId="10690"/>
        </pc:sldMkLst>
      </pc:sldChg>
      <pc:sldChg chg="add modTransition modNotes modNotesTx">
        <pc:chgData name="Anaig Marechal" userId="e324b6f0-0659-498f-bc94-37f45fe1cfaf" providerId="ADAL" clId="{23D36ECA-191A-4359-B3BB-2382830C8A9B}" dt="2019-09-22T17:12:38.541" v="2663" actId="20577"/>
        <pc:sldMkLst>
          <pc:docMk/>
          <pc:sldMk cId="2657895417" sldId="10691"/>
        </pc:sldMkLst>
      </pc:sldChg>
      <pc:sldChg chg="modSp add mod modShow modNotesTx">
        <pc:chgData name="Anaig Marechal" userId="e324b6f0-0659-498f-bc94-37f45fe1cfaf" providerId="ADAL" clId="{23D36ECA-191A-4359-B3BB-2382830C8A9B}" dt="2019-09-22T17:15:17.933" v="2884" actId="729"/>
        <pc:sldMkLst>
          <pc:docMk/>
          <pc:sldMk cId="3773589256" sldId="10692"/>
        </pc:sldMkLst>
        <pc:spChg chg="mod">
          <ac:chgData name="Anaig Marechal" userId="e324b6f0-0659-498f-bc94-37f45fe1cfaf" providerId="ADAL" clId="{23D36ECA-191A-4359-B3BB-2382830C8A9B}" dt="2019-09-22T17:13:05.294" v="2665" actId="1076"/>
          <ac:spMkLst>
            <pc:docMk/>
            <pc:sldMk cId="3773589256" sldId="10692"/>
            <ac:spMk id="5" creationId="{2883ECDE-8535-8E46-A15C-E90F0B789D77}"/>
          </ac:spMkLst>
        </pc:spChg>
      </pc:sldChg>
      <pc:sldChg chg="add ord modNotesTx">
        <pc:chgData name="Anaig Marechal" userId="e324b6f0-0659-498f-bc94-37f45fe1cfaf" providerId="ADAL" clId="{23D36ECA-191A-4359-B3BB-2382830C8A9B}" dt="2019-09-22T17:40:04.930" v="3876"/>
        <pc:sldMkLst>
          <pc:docMk/>
          <pc:sldMk cId="3813182390" sldId="10694"/>
        </pc:sldMkLst>
      </pc:sldChg>
      <pc:sldChg chg="add">
        <pc:chgData name="Anaig Marechal" userId="e324b6f0-0659-498f-bc94-37f45fe1cfaf" providerId="ADAL" clId="{23D36ECA-191A-4359-B3BB-2382830C8A9B}" dt="2019-09-22T17:02:18.693" v="2121"/>
        <pc:sldMkLst>
          <pc:docMk/>
          <pc:sldMk cId="1758848394" sldId="10695"/>
        </pc:sldMkLst>
      </pc:sldChg>
      <pc:sldChg chg="add del">
        <pc:chgData name="Anaig Marechal" userId="e324b6f0-0659-498f-bc94-37f45fe1cfaf" providerId="ADAL" clId="{23D36ECA-191A-4359-B3BB-2382830C8A9B}" dt="2019-09-22T17:15:26.254" v="2885" actId="47"/>
        <pc:sldMkLst>
          <pc:docMk/>
          <pc:sldMk cId="250815783" sldId="10696"/>
        </pc:sldMkLst>
      </pc:sldChg>
      <pc:sldChg chg="add del">
        <pc:chgData name="Anaig Marechal" userId="e324b6f0-0659-498f-bc94-37f45fe1cfaf" providerId="ADAL" clId="{23D36ECA-191A-4359-B3BB-2382830C8A9B}" dt="2019-09-22T17:36:23.812" v="3815" actId="47"/>
        <pc:sldMkLst>
          <pc:docMk/>
          <pc:sldMk cId="1645231890" sldId="10697"/>
        </pc:sldMkLst>
      </pc:sldChg>
      <pc:sldChg chg="add del">
        <pc:chgData name="Anaig Marechal" userId="e324b6f0-0659-498f-bc94-37f45fe1cfaf" providerId="ADAL" clId="{23D36ECA-191A-4359-B3BB-2382830C8A9B}" dt="2019-09-22T17:36:24.187" v="3816" actId="47"/>
        <pc:sldMkLst>
          <pc:docMk/>
          <pc:sldMk cId="1032145733" sldId="10699"/>
        </pc:sldMkLst>
      </pc:sldChg>
      <pc:sldChg chg="add del">
        <pc:chgData name="Anaig Marechal" userId="e324b6f0-0659-498f-bc94-37f45fe1cfaf" providerId="ADAL" clId="{23D36ECA-191A-4359-B3BB-2382830C8A9B}" dt="2019-09-22T17:36:23.222" v="3814" actId="47"/>
        <pc:sldMkLst>
          <pc:docMk/>
          <pc:sldMk cId="779766845" sldId="10700"/>
        </pc:sldMkLst>
      </pc:sldChg>
      <pc:sldChg chg="add del">
        <pc:chgData name="Anaig Marechal" userId="e324b6f0-0659-498f-bc94-37f45fe1cfaf" providerId="ADAL" clId="{23D36ECA-191A-4359-B3BB-2382830C8A9B}" dt="2019-09-22T17:36:24.568" v="3817" actId="47"/>
        <pc:sldMkLst>
          <pc:docMk/>
          <pc:sldMk cId="3067722934" sldId="10701"/>
        </pc:sldMkLst>
      </pc:sldChg>
      <pc:sldChg chg="add del">
        <pc:chgData name="Anaig Marechal" userId="e324b6f0-0659-498f-bc94-37f45fe1cfaf" providerId="ADAL" clId="{23D36ECA-191A-4359-B3BB-2382830C8A9B}" dt="2019-09-22T17:36:25.341" v="3819" actId="47"/>
        <pc:sldMkLst>
          <pc:docMk/>
          <pc:sldMk cId="1703509017" sldId="10702"/>
        </pc:sldMkLst>
      </pc:sldChg>
      <pc:sldChg chg="add del">
        <pc:chgData name="Anaig Marechal" userId="e324b6f0-0659-498f-bc94-37f45fe1cfaf" providerId="ADAL" clId="{23D36ECA-191A-4359-B3BB-2382830C8A9B}" dt="2019-09-22T17:36:24.878" v="3818" actId="47"/>
        <pc:sldMkLst>
          <pc:docMk/>
          <pc:sldMk cId="3208720739" sldId="10703"/>
        </pc:sldMkLst>
      </pc:sldChg>
      <pc:sldChg chg="add">
        <pc:chgData name="Anaig Marechal" userId="e324b6f0-0659-498f-bc94-37f45fe1cfaf" providerId="ADAL" clId="{23D36ECA-191A-4359-B3BB-2382830C8A9B}" dt="2019-09-22T16:38:45.349" v="1300"/>
        <pc:sldMkLst>
          <pc:docMk/>
          <pc:sldMk cId="360555680" sldId="2076136355"/>
        </pc:sldMkLst>
      </pc:sldChg>
      <pc:sldChg chg="add">
        <pc:chgData name="Anaig Marechal" userId="e324b6f0-0659-498f-bc94-37f45fe1cfaf" providerId="ADAL" clId="{23D36ECA-191A-4359-B3BB-2382830C8A9B}" dt="2019-09-22T16:38:45.349" v="1300"/>
        <pc:sldMkLst>
          <pc:docMk/>
          <pc:sldMk cId="648417375" sldId="2076136356"/>
        </pc:sldMkLst>
      </pc:sldChg>
      <pc:sldChg chg="add">
        <pc:chgData name="Anaig Marechal" userId="e324b6f0-0659-498f-bc94-37f45fe1cfaf" providerId="ADAL" clId="{23D36ECA-191A-4359-B3BB-2382830C8A9B}" dt="2019-09-22T16:38:45.349" v="1300"/>
        <pc:sldMkLst>
          <pc:docMk/>
          <pc:sldMk cId="1255693242" sldId="2076136357"/>
        </pc:sldMkLst>
      </pc:sldChg>
      <pc:sldChg chg="addSp delSp modSp new mod setBg">
        <pc:chgData name="Anaig Marechal" userId="e324b6f0-0659-498f-bc94-37f45fe1cfaf" providerId="ADAL" clId="{23D36ECA-191A-4359-B3BB-2382830C8A9B}" dt="2019-09-26T08:31:44.955" v="4264" actId="26606"/>
        <pc:sldMkLst>
          <pc:docMk/>
          <pc:sldMk cId="941751147" sldId="2076136358"/>
        </pc:sldMkLst>
        <pc:spChg chg="mod">
          <ac:chgData name="Anaig Marechal" userId="e324b6f0-0659-498f-bc94-37f45fe1cfaf" providerId="ADAL" clId="{23D36ECA-191A-4359-B3BB-2382830C8A9B}" dt="2019-09-26T08:31:44.955" v="4264" actId="26606"/>
          <ac:spMkLst>
            <pc:docMk/>
            <pc:sldMk cId="941751147" sldId="2076136358"/>
            <ac:spMk id="2" creationId="{3FB8B366-D98C-4DB5-BCFA-77D60ACCD1B0}"/>
          </ac:spMkLst>
        </pc:spChg>
        <pc:spChg chg="add del mod">
          <ac:chgData name="Anaig Marechal" userId="e324b6f0-0659-498f-bc94-37f45fe1cfaf" providerId="ADAL" clId="{23D36ECA-191A-4359-B3BB-2382830C8A9B}" dt="2019-09-26T08:31:44.955" v="4264" actId="26606"/>
          <ac:spMkLst>
            <pc:docMk/>
            <pc:sldMk cId="941751147" sldId="2076136358"/>
            <ac:spMk id="3" creationId="{013D8B02-BD66-4484-9AB4-EF437D4E3629}"/>
          </ac:spMkLst>
        </pc:spChg>
        <pc:spChg chg="add del">
          <ac:chgData name="Anaig Marechal" userId="e324b6f0-0659-498f-bc94-37f45fe1cfaf" providerId="ADAL" clId="{23D36ECA-191A-4359-B3BB-2382830C8A9B}" dt="2019-09-26T08:31:43.275" v="4261" actId="26606"/>
          <ac:spMkLst>
            <pc:docMk/>
            <pc:sldMk cId="941751147" sldId="2076136358"/>
            <ac:spMk id="10" creationId="{46C2E80F-49A6-4372-B103-219D417A55ED}"/>
          </ac:spMkLst>
        </pc:spChg>
        <pc:spChg chg="add del">
          <ac:chgData name="Anaig Marechal" userId="e324b6f0-0659-498f-bc94-37f45fe1cfaf" providerId="ADAL" clId="{23D36ECA-191A-4359-B3BB-2382830C8A9B}" dt="2019-09-26T08:31:44.822" v="4263" actId="26606"/>
          <ac:spMkLst>
            <pc:docMk/>
            <pc:sldMk cId="941751147" sldId="2076136358"/>
            <ac:spMk id="13" creationId="{AFA67CD3-AB4E-4A7A-BEB8-53C445D8C44E}"/>
          </ac:spMkLst>
        </pc:spChg>
        <pc:spChg chg="add del">
          <ac:chgData name="Anaig Marechal" userId="e324b6f0-0659-498f-bc94-37f45fe1cfaf" providerId="ADAL" clId="{23D36ECA-191A-4359-B3BB-2382830C8A9B}" dt="2019-09-26T08:31:44.822" v="4263" actId="26606"/>
          <ac:spMkLst>
            <pc:docMk/>
            <pc:sldMk cId="941751147" sldId="2076136358"/>
            <ac:spMk id="14" creationId="{339C8D78-A644-462F-B674-F440635E5353}"/>
          </ac:spMkLst>
        </pc:spChg>
        <pc:spChg chg="add del">
          <ac:chgData name="Anaig Marechal" userId="e324b6f0-0659-498f-bc94-37f45fe1cfaf" providerId="ADAL" clId="{23D36ECA-191A-4359-B3BB-2382830C8A9B}" dt="2019-09-26T08:31:44.822" v="4263" actId="26606"/>
          <ac:spMkLst>
            <pc:docMk/>
            <pc:sldMk cId="941751147" sldId="2076136358"/>
            <ac:spMk id="15" creationId="{013D8B02-BD66-4484-9AB4-EF437D4E3629}"/>
          </ac:spMkLst>
        </pc:spChg>
        <pc:spChg chg="add">
          <ac:chgData name="Anaig Marechal" userId="e324b6f0-0659-498f-bc94-37f45fe1cfaf" providerId="ADAL" clId="{23D36ECA-191A-4359-B3BB-2382830C8A9B}" dt="2019-09-26T08:31:44.955" v="4264" actId="26606"/>
          <ac:spMkLst>
            <pc:docMk/>
            <pc:sldMk cId="941751147" sldId="2076136358"/>
            <ac:spMk id="17" creationId="{46C2E80F-49A6-4372-B103-219D417A55ED}"/>
          </ac:spMkLst>
        </pc:spChg>
        <pc:graphicFrameChg chg="add del">
          <ac:chgData name="Anaig Marechal" userId="e324b6f0-0659-498f-bc94-37f45fe1cfaf" providerId="ADAL" clId="{23D36ECA-191A-4359-B3BB-2382830C8A9B}" dt="2019-09-26T08:31:43.275" v="4261" actId="26606"/>
          <ac:graphicFrameMkLst>
            <pc:docMk/>
            <pc:sldMk cId="941751147" sldId="2076136358"/>
            <ac:graphicFrameMk id="5" creationId="{19734D10-5471-45E2-B604-962DA0E0BA14}"/>
          </ac:graphicFrameMkLst>
        </pc:graphicFrameChg>
        <pc:graphicFrameChg chg="add">
          <ac:chgData name="Anaig Marechal" userId="e324b6f0-0659-498f-bc94-37f45fe1cfaf" providerId="ADAL" clId="{23D36ECA-191A-4359-B3BB-2382830C8A9B}" dt="2019-09-26T08:31:44.955" v="4264" actId="26606"/>
          <ac:graphicFrameMkLst>
            <pc:docMk/>
            <pc:sldMk cId="941751147" sldId="2076136358"/>
            <ac:graphicFrameMk id="18" creationId="{E221EE20-3300-4EE9-836E-A4063D5D42D7}"/>
          </ac:graphicFrameMkLst>
        </pc:graphicFrameChg>
        <pc:picChg chg="add del">
          <ac:chgData name="Anaig Marechal" userId="e324b6f0-0659-498f-bc94-37f45fe1cfaf" providerId="ADAL" clId="{23D36ECA-191A-4359-B3BB-2382830C8A9B}" dt="2019-09-26T08:31:44.822" v="4263" actId="26606"/>
          <ac:picMkLst>
            <pc:docMk/>
            <pc:sldMk cId="941751147" sldId="2076136358"/>
            <ac:picMk id="7" creationId="{D1AD0521-2EC7-4565-8C9C-3575A5B2793E}"/>
          </ac:picMkLst>
        </pc:picChg>
        <pc:picChg chg="add del">
          <ac:chgData name="Anaig Marechal" userId="e324b6f0-0659-498f-bc94-37f45fe1cfaf" providerId="ADAL" clId="{23D36ECA-191A-4359-B3BB-2382830C8A9B}" dt="2019-09-26T08:31:44.822" v="4263" actId="26606"/>
          <ac:picMkLst>
            <pc:docMk/>
            <pc:sldMk cId="941751147" sldId="2076136358"/>
            <ac:picMk id="12" creationId="{07CF545F-9C2E-4446-97CD-AD92990C2B68}"/>
          </ac:picMkLst>
        </pc:picChg>
      </pc:sldChg>
      <pc:sldChg chg="modSp new">
        <pc:chgData name="Anaig Marechal" userId="e324b6f0-0659-498f-bc94-37f45fe1cfaf" providerId="ADAL" clId="{23D36ECA-191A-4359-B3BB-2382830C8A9B}" dt="2019-09-26T11:55:05.571" v="4404" actId="20577"/>
        <pc:sldMkLst>
          <pc:docMk/>
          <pc:sldMk cId="3587666906" sldId="2076136359"/>
        </pc:sldMkLst>
        <pc:spChg chg="mod">
          <ac:chgData name="Anaig Marechal" userId="e324b6f0-0659-498f-bc94-37f45fe1cfaf" providerId="ADAL" clId="{23D36ECA-191A-4359-B3BB-2382830C8A9B}" dt="2019-09-26T11:51:14.475" v="4290" actId="20577"/>
          <ac:spMkLst>
            <pc:docMk/>
            <pc:sldMk cId="3587666906" sldId="2076136359"/>
            <ac:spMk id="2" creationId="{DC5FC32C-7EFE-4BF4-9AAA-84B3ABD61A06}"/>
          </ac:spMkLst>
        </pc:spChg>
        <pc:spChg chg="mod">
          <ac:chgData name="Anaig Marechal" userId="e324b6f0-0659-498f-bc94-37f45fe1cfaf" providerId="ADAL" clId="{23D36ECA-191A-4359-B3BB-2382830C8A9B}" dt="2019-09-26T11:55:05.571" v="4404" actId="20577"/>
          <ac:spMkLst>
            <pc:docMk/>
            <pc:sldMk cId="3587666906" sldId="2076136359"/>
            <ac:spMk id="3" creationId="{88F9A95C-C74C-4868-8A0F-7C6B9077B93A}"/>
          </ac:spMkLst>
        </pc:spChg>
      </pc:sldChg>
      <pc:sldMasterChg chg="delSldLayout">
        <pc:chgData name="Anaig Marechal" userId="e324b6f0-0659-498f-bc94-37f45fe1cfaf" providerId="ADAL" clId="{23D36ECA-191A-4359-B3BB-2382830C8A9B}" dt="2019-09-22T17:36:29.567" v="3828" actId="47"/>
        <pc:sldMasterMkLst>
          <pc:docMk/>
          <pc:sldMasterMk cId="3462916946" sldId="2147483648"/>
        </pc:sldMasterMkLst>
        <pc:sldLayoutChg chg="del">
          <pc:chgData name="Anaig Marechal" userId="e324b6f0-0659-498f-bc94-37f45fe1cfaf" providerId="ADAL" clId="{23D36ECA-191A-4359-B3BB-2382830C8A9B}" dt="2019-09-22T17:36:25.768" v="3820" actId="47"/>
          <pc:sldLayoutMkLst>
            <pc:docMk/>
            <pc:sldMasterMk cId="3462916946" sldId="2147483648"/>
            <pc:sldLayoutMk cId="1630737777" sldId="2147483689"/>
          </pc:sldLayoutMkLst>
        </pc:sldLayoutChg>
        <pc:sldLayoutChg chg="del">
          <pc:chgData name="Anaig Marechal" userId="e324b6f0-0659-498f-bc94-37f45fe1cfaf" providerId="ADAL" clId="{23D36ECA-191A-4359-B3BB-2382830C8A9B}" dt="2019-09-22T17:36:26.152" v="3821" actId="47"/>
          <pc:sldLayoutMkLst>
            <pc:docMk/>
            <pc:sldMasterMk cId="3462916946" sldId="2147483648"/>
            <pc:sldLayoutMk cId="551990129" sldId="2147483690"/>
          </pc:sldLayoutMkLst>
        </pc:sldLayoutChg>
        <pc:sldLayoutChg chg="del">
          <pc:chgData name="Anaig Marechal" userId="e324b6f0-0659-498f-bc94-37f45fe1cfaf" providerId="ADAL" clId="{23D36ECA-191A-4359-B3BB-2382830C8A9B}" dt="2019-09-22T17:36:26.661" v="3822" actId="47"/>
          <pc:sldLayoutMkLst>
            <pc:docMk/>
            <pc:sldMasterMk cId="3462916946" sldId="2147483648"/>
            <pc:sldLayoutMk cId="3598179433" sldId="2147483691"/>
          </pc:sldLayoutMkLst>
        </pc:sldLayoutChg>
        <pc:sldLayoutChg chg="del">
          <pc:chgData name="Anaig Marechal" userId="e324b6f0-0659-498f-bc94-37f45fe1cfaf" providerId="ADAL" clId="{23D36ECA-191A-4359-B3BB-2382830C8A9B}" dt="2019-09-22T17:36:27.687" v="3824" actId="47"/>
          <pc:sldLayoutMkLst>
            <pc:docMk/>
            <pc:sldMasterMk cId="3462916946" sldId="2147483648"/>
            <pc:sldLayoutMk cId="2214685184" sldId="2147483692"/>
          </pc:sldLayoutMkLst>
        </pc:sldLayoutChg>
        <pc:sldLayoutChg chg="del">
          <pc:chgData name="Anaig Marechal" userId="e324b6f0-0659-498f-bc94-37f45fe1cfaf" providerId="ADAL" clId="{23D36ECA-191A-4359-B3BB-2382830C8A9B}" dt="2019-09-22T17:36:28.102" v="3825" actId="47"/>
          <pc:sldLayoutMkLst>
            <pc:docMk/>
            <pc:sldMasterMk cId="3462916946" sldId="2147483648"/>
            <pc:sldLayoutMk cId="3867015768" sldId="2147483693"/>
          </pc:sldLayoutMkLst>
        </pc:sldLayoutChg>
        <pc:sldLayoutChg chg="del">
          <pc:chgData name="Anaig Marechal" userId="e324b6f0-0659-498f-bc94-37f45fe1cfaf" providerId="ADAL" clId="{23D36ECA-191A-4359-B3BB-2382830C8A9B}" dt="2019-09-22T17:36:29.058" v="3827" actId="47"/>
          <pc:sldLayoutMkLst>
            <pc:docMk/>
            <pc:sldMasterMk cId="3462916946" sldId="2147483648"/>
            <pc:sldLayoutMk cId="1930142866" sldId="2147483694"/>
          </pc:sldLayoutMkLst>
        </pc:sldLayoutChg>
        <pc:sldLayoutChg chg="del">
          <pc:chgData name="Anaig Marechal" userId="e324b6f0-0659-498f-bc94-37f45fe1cfaf" providerId="ADAL" clId="{23D36ECA-191A-4359-B3BB-2382830C8A9B}" dt="2019-09-22T17:36:29.567" v="3828" actId="47"/>
          <pc:sldLayoutMkLst>
            <pc:docMk/>
            <pc:sldMasterMk cId="3462916946" sldId="2147483648"/>
            <pc:sldLayoutMk cId="1371569098" sldId="2147483695"/>
          </pc:sldLayoutMkLst>
        </pc:sldLayoutChg>
      </pc:sldMaster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9.svg"/><Relationship Id="rId1" Type="http://schemas.openxmlformats.org/officeDocument/2006/relationships/image" Target="../media/image8.png"/><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21.svg"/></Relationships>
</file>

<file path=ppt/diagrams/_rels/drawing1.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9.svg"/><Relationship Id="rId1" Type="http://schemas.openxmlformats.org/officeDocument/2006/relationships/image" Target="../media/image8.png"/><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21.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A66F9A-9C39-4793-852E-244331264EFE}" type="doc">
      <dgm:prSet loTypeId="urn:microsoft.com/office/officeart/2018/2/layout/IconVerticalSolidList" loCatId="icon" qsTypeId="urn:microsoft.com/office/officeart/2005/8/quickstyle/simple1" qsCatId="simple" csTypeId="urn:microsoft.com/office/officeart/2018/5/colors/Iconchunking_neutralbg_colorful5" csCatId="colorful" phldr="1"/>
      <dgm:spPr/>
      <dgm:t>
        <a:bodyPr/>
        <a:lstStyle/>
        <a:p>
          <a:endParaRPr lang="en-US"/>
        </a:p>
      </dgm:t>
    </dgm:pt>
    <dgm:pt modelId="{90FDA842-CE59-496D-A090-CAB01817120C}">
      <dgm:prSet/>
      <dgm:spPr/>
      <dgm:t>
        <a:bodyPr/>
        <a:lstStyle/>
        <a:p>
          <a:r>
            <a:rPr lang="en-US"/>
            <a:t>Microsoft &amp; the Digital Transformation</a:t>
          </a:r>
        </a:p>
      </dgm:t>
    </dgm:pt>
    <dgm:pt modelId="{2DD8FE3A-1DB4-4AA6-BC6A-D5D51440CE9E}" type="parTrans" cxnId="{22F812BD-8389-4425-ADBB-A1BBA0138F4B}">
      <dgm:prSet/>
      <dgm:spPr/>
      <dgm:t>
        <a:bodyPr/>
        <a:lstStyle/>
        <a:p>
          <a:endParaRPr lang="en-US"/>
        </a:p>
      </dgm:t>
    </dgm:pt>
    <dgm:pt modelId="{A9E54139-CB5E-4854-9F69-FC4367B373E9}" type="sibTrans" cxnId="{22F812BD-8389-4425-ADBB-A1BBA0138F4B}">
      <dgm:prSet/>
      <dgm:spPr/>
      <dgm:t>
        <a:bodyPr/>
        <a:lstStyle/>
        <a:p>
          <a:endParaRPr lang="en-US"/>
        </a:p>
      </dgm:t>
    </dgm:pt>
    <dgm:pt modelId="{01F82739-510C-4E07-8EA3-2BE77E805778}">
      <dgm:prSet/>
      <dgm:spPr/>
      <dgm:t>
        <a:bodyPr/>
        <a:lstStyle/>
        <a:p>
          <a:r>
            <a:rPr lang="en-US"/>
            <a:t>Blockchain fundamental</a:t>
          </a:r>
        </a:p>
      </dgm:t>
    </dgm:pt>
    <dgm:pt modelId="{E6E3D0B5-D5BE-4372-9BF6-9A80A920A496}" type="parTrans" cxnId="{35428219-753F-49B5-9F5B-D1953C12327E}">
      <dgm:prSet/>
      <dgm:spPr/>
      <dgm:t>
        <a:bodyPr/>
        <a:lstStyle/>
        <a:p>
          <a:endParaRPr lang="en-US"/>
        </a:p>
      </dgm:t>
    </dgm:pt>
    <dgm:pt modelId="{768B3D7E-B3AE-4D71-A926-6036B733A09C}" type="sibTrans" cxnId="{35428219-753F-49B5-9F5B-D1953C12327E}">
      <dgm:prSet/>
      <dgm:spPr/>
      <dgm:t>
        <a:bodyPr/>
        <a:lstStyle/>
        <a:p>
          <a:endParaRPr lang="en-US"/>
        </a:p>
      </dgm:t>
    </dgm:pt>
    <dgm:pt modelId="{2F4F0892-85D1-427E-81CE-657951F6DE6F}">
      <dgm:prSet/>
      <dgm:spPr/>
      <dgm:t>
        <a:bodyPr/>
        <a:lstStyle/>
        <a:p>
          <a:r>
            <a:rPr lang="en-US"/>
            <a:t>Blockchain application</a:t>
          </a:r>
        </a:p>
      </dgm:t>
    </dgm:pt>
    <dgm:pt modelId="{97EF5148-0A31-40A7-9486-5C3056D8B855}" type="parTrans" cxnId="{69D1DE07-89C0-46F0-8474-4917875C20AA}">
      <dgm:prSet/>
      <dgm:spPr/>
      <dgm:t>
        <a:bodyPr/>
        <a:lstStyle/>
        <a:p>
          <a:endParaRPr lang="en-US"/>
        </a:p>
      </dgm:t>
    </dgm:pt>
    <dgm:pt modelId="{BD080D09-340C-43D7-A1A0-29B2F1740EA4}" type="sibTrans" cxnId="{69D1DE07-89C0-46F0-8474-4917875C20AA}">
      <dgm:prSet/>
      <dgm:spPr/>
      <dgm:t>
        <a:bodyPr/>
        <a:lstStyle/>
        <a:p>
          <a:endParaRPr lang="en-US"/>
        </a:p>
      </dgm:t>
    </dgm:pt>
    <dgm:pt modelId="{4B2FE8BC-9FDC-4E2D-A4AF-A1BC0C3F3E8A}">
      <dgm:prSet/>
      <dgm:spPr/>
      <dgm:t>
        <a:bodyPr/>
        <a:lstStyle/>
        <a:p>
          <a:r>
            <a:rPr lang="en-US"/>
            <a:t>Blockchain on the cloud</a:t>
          </a:r>
        </a:p>
      </dgm:t>
    </dgm:pt>
    <dgm:pt modelId="{DB78CCD8-86DD-4360-AF8E-1073606C1394}" type="parTrans" cxnId="{1DF9E594-5BB9-4A3F-8C03-F0705E73A543}">
      <dgm:prSet/>
      <dgm:spPr/>
      <dgm:t>
        <a:bodyPr/>
        <a:lstStyle/>
        <a:p>
          <a:endParaRPr lang="en-US"/>
        </a:p>
      </dgm:t>
    </dgm:pt>
    <dgm:pt modelId="{FD3A09C1-55CA-4464-BE06-A0F7F08F93AD}" type="sibTrans" cxnId="{1DF9E594-5BB9-4A3F-8C03-F0705E73A543}">
      <dgm:prSet/>
      <dgm:spPr/>
      <dgm:t>
        <a:bodyPr/>
        <a:lstStyle/>
        <a:p>
          <a:endParaRPr lang="en-US"/>
        </a:p>
      </dgm:t>
    </dgm:pt>
    <dgm:pt modelId="{08253A75-293C-4B65-8B30-2CE8E837C1A5}">
      <dgm:prSet/>
      <dgm:spPr/>
      <dgm:t>
        <a:bodyPr/>
        <a:lstStyle/>
        <a:p>
          <a:r>
            <a:rPr lang="en-US"/>
            <a:t>Hands-on part 1</a:t>
          </a:r>
        </a:p>
      </dgm:t>
    </dgm:pt>
    <dgm:pt modelId="{0F41B538-6B51-4965-899A-D84853DD0C4B}" type="parTrans" cxnId="{44723548-347B-45E9-BE3C-2158E6EACA01}">
      <dgm:prSet/>
      <dgm:spPr/>
      <dgm:t>
        <a:bodyPr/>
        <a:lstStyle/>
        <a:p>
          <a:endParaRPr lang="en-US"/>
        </a:p>
      </dgm:t>
    </dgm:pt>
    <dgm:pt modelId="{715FE98D-1745-465A-ABAC-DCD3A212D8E2}" type="sibTrans" cxnId="{44723548-347B-45E9-BE3C-2158E6EACA01}">
      <dgm:prSet/>
      <dgm:spPr/>
      <dgm:t>
        <a:bodyPr/>
        <a:lstStyle/>
        <a:p>
          <a:endParaRPr lang="en-US"/>
        </a:p>
      </dgm:t>
    </dgm:pt>
    <dgm:pt modelId="{B1D5426B-0E88-4749-91C4-713A4ECD21A5}">
      <dgm:prSet/>
      <dgm:spPr/>
      <dgm:t>
        <a:bodyPr/>
        <a:lstStyle/>
        <a:p>
          <a:r>
            <a:rPr lang="en-US"/>
            <a:t>Some use-cases</a:t>
          </a:r>
        </a:p>
      </dgm:t>
    </dgm:pt>
    <dgm:pt modelId="{0B1744AD-ECDB-44F7-B4CE-B13BBF4EA5E3}" type="parTrans" cxnId="{1714270B-6B2D-451F-A2D9-3C284A2086A7}">
      <dgm:prSet/>
      <dgm:spPr/>
      <dgm:t>
        <a:bodyPr/>
        <a:lstStyle/>
        <a:p>
          <a:endParaRPr lang="en-US"/>
        </a:p>
      </dgm:t>
    </dgm:pt>
    <dgm:pt modelId="{423D6A8A-CCE4-4ED0-A290-8366CCE39596}" type="sibTrans" cxnId="{1714270B-6B2D-451F-A2D9-3C284A2086A7}">
      <dgm:prSet/>
      <dgm:spPr/>
      <dgm:t>
        <a:bodyPr/>
        <a:lstStyle/>
        <a:p>
          <a:endParaRPr lang="en-US"/>
        </a:p>
      </dgm:t>
    </dgm:pt>
    <dgm:pt modelId="{25DB7630-FE33-4F91-A758-0029BB1B1F1F}">
      <dgm:prSet/>
      <dgm:spPr/>
      <dgm:t>
        <a:bodyPr/>
        <a:lstStyle/>
        <a:p>
          <a:r>
            <a:rPr lang="en-US"/>
            <a:t>Hands-on part 2</a:t>
          </a:r>
        </a:p>
      </dgm:t>
    </dgm:pt>
    <dgm:pt modelId="{6E76BF15-CC61-4663-B005-DB34C7F49465}" type="parTrans" cxnId="{AFE8F2EF-0AE2-434E-8CE4-8DCD440F049E}">
      <dgm:prSet/>
      <dgm:spPr/>
      <dgm:t>
        <a:bodyPr/>
        <a:lstStyle/>
        <a:p>
          <a:endParaRPr lang="en-US"/>
        </a:p>
      </dgm:t>
    </dgm:pt>
    <dgm:pt modelId="{0D662CBC-E305-4012-8094-E73FD9B73B44}" type="sibTrans" cxnId="{AFE8F2EF-0AE2-434E-8CE4-8DCD440F049E}">
      <dgm:prSet/>
      <dgm:spPr/>
      <dgm:t>
        <a:bodyPr/>
        <a:lstStyle/>
        <a:p>
          <a:endParaRPr lang="en-US"/>
        </a:p>
      </dgm:t>
    </dgm:pt>
    <dgm:pt modelId="{C3259B1C-EF15-4D2E-90A2-06FF4492BA2E}" type="pres">
      <dgm:prSet presAssocID="{6EA66F9A-9C39-4793-852E-244331264EFE}" presName="root" presStyleCnt="0">
        <dgm:presLayoutVars>
          <dgm:dir/>
          <dgm:resizeHandles val="exact"/>
        </dgm:presLayoutVars>
      </dgm:prSet>
      <dgm:spPr/>
    </dgm:pt>
    <dgm:pt modelId="{FB89C2EA-FDA5-4ED3-B26B-238A45F5A1A8}" type="pres">
      <dgm:prSet presAssocID="{90FDA842-CE59-496D-A090-CAB01817120C}" presName="compNode" presStyleCnt="0"/>
      <dgm:spPr/>
    </dgm:pt>
    <dgm:pt modelId="{80251838-B3C7-40C1-BBAF-78EE7646D74F}" type="pres">
      <dgm:prSet presAssocID="{90FDA842-CE59-496D-A090-CAB01817120C}" presName="bgRect" presStyleLbl="bgShp" presStyleIdx="0" presStyleCnt="7"/>
      <dgm:spPr/>
    </dgm:pt>
    <dgm:pt modelId="{34B10493-0571-4107-AD00-32E98C46EBC6}" type="pres">
      <dgm:prSet presAssocID="{90FDA842-CE59-496D-A090-CAB01817120C}" presName="iconRect" presStyleLbl="node1" presStyleIdx="0" presStyleCnt="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ouse"/>
        </a:ext>
      </dgm:extLst>
    </dgm:pt>
    <dgm:pt modelId="{7EA9F1CE-3795-4208-90CD-4816A0D22BDD}" type="pres">
      <dgm:prSet presAssocID="{90FDA842-CE59-496D-A090-CAB01817120C}" presName="spaceRect" presStyleCnt="0"/>
      <dgm:spPr/>
    </dgm:pt>
    <dgm:pt modelId="{E478F34E-79E3-45B7-A01F-96C66995484A}" type="pres">
      <dgm:prSet presAssocID="{90FDA842-CE59-496D-A090-CAB01817120C}" presName="parTx" presStyleLbl="revTx" presStyleIdx="0" presStyleCnt="7">
        <dgm:presLayoutVars>
          <dgm:chMax val="0"/>
          <dgm:chPref val="0"/>
        </dgm:presLayoutVars>
      </dgm:prSet>
      <dgm:spPr/>
    </dgm:pt>
    <dgm:pt modelId="{03F555D5-C034-4E68-A81E-143EE7558691}" type="pres">
      <dgm:prSet presAssocID="{A9E54139-CB5E-4854-9F69-FC4367B373E9}" presName="sibTrans" presStyleCnt="0"/>
      <dgm:spPr/>
    </dgm:pt>
    <dgm:pt modelId="{3F45B087-FEEA-4960-8902-F7FF1AA04DD7}" type="pres">
      <dgm:prSet presAssocID="{01F82739-510C-4E07-8EA3-2BE77E805778}" presName="compNode" presStyleCnt="0"/>
      <dgm:spPr/>
    </dgm:pt>
    <dgm:pt modelId="{0471944C-0D9B-4239-B667-5EF3AE7D8A0B}" type="pres">
      <dgm:prSet presAssocID="{01F82739-510C-4E07-8EA3-2BE77E805778}" presName="bgRect" presStyleLbl="bgShp" presStyleIdx="1" presStyleCnt="7"/>
      <dgm:spPr/>
    </dgm:pt>
    <dgm:pt modelId="{B2A4BA0B-3F8E-46FC-86DB-59376C52ECFF}" type="pres">
      <dgm:prSet presAssocID="{01F82739-510C-4E07-8EA3-2BE77E805778}" presName="iconRect" presStyleLbl="node1" presStyleIdx="1" presStyleCnt="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lant"/>
        </a:ext>
      </dgm:extLst>
    </dgm:pt>
    <dgm:pt modelId="{10FA498A-DD9B-4548-A2D9-104A3A2AC0BE}" type="pres">
      <dgm:prSet presAssocID="{01F82739-510C-4E07-8EA3-2BE77E805778}" presName="spaceRect" presStyleCnt="0"/>
      <dgm:spPr/>
    </dgm:pt>
    <dgm:pt modelId="{7D0EA29C-8E23-4593-9E7F-750B31F577DC}" type="pres">
      <dgm:prSet presAssocID="{01F82739-510C-4E07-8EA3-2BE77E805778}" presName="parTx" presStyleLbl="revTx" presStyleIdx="1" presStyleCnt="7">
        <dgm:presLayoutVars>
          <dgm:chMax val="0"/>
          <dgm:chPref val="0"/>
        </dgm:presLayoutVars>
      </dgm:prSet>
      <dgm:spPr/>
    </dgm:pt>
    <dgm:pt modelId="{063C4C44-9F95-4129-BB53-33E95D1BFB3C}" type="pres">
      <dgm:prSet presAssocID="{768B3D7E-B3AE-4D71-A926-6036B733A09C}" presName="sibTrans" presStyleCnt="0"/>
      <dgm:spPr/>
    </dgm:pt>
    <dgm:pt modelId="{6A337C7E-C70E-42A0-B7E8-D9EB2B47C6A4}" type="pres">
      <dgm:prSet presAssocID="{2F4F0892-85D1-427E-81CE-657951F6DE6F}" presName="compNode" presStyleCnt="0"/>
      <dgm:spPr/>
    </dgm:pt>
    <dgm:pt modelId="{2A5BF889-A093-4EB4-AB35-5BE12BD20669}" type="pres">
      <dgm:prSet presAssocID="{2F4F0892-85D1-427E-81CE-657951F6DE6F}" presName="bgRect" presStyleLbl="bgShp" presStyleIdx="2" presStyleCnt="7"/>
      <dgm:spPr/>
    </dgm:pt>
    <dgm:pt modelId="{AEB8E610-5EDE-4370-978A-6D55908CBAB4}" type="pres">
      <dgm:prSet presAssocID="{2F4F0892-85D1-427E-81CE-657951F6DE6F}" presName="iconRect" presStyleLbl="node1" presStyleIdx="2" presStyleCnt="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Processor"/>
        </a:ext>
      </dgm:extLst>
    </dgm:pt>
    <dgm:pt modelId="{AC9D5779-8A75-4AA0-A964-611B5A94CB44}" type="pres">
      <dgm:prSet presAssocID="{2F4F0892-85D1-427E-81CE-657951F6DE6F}" presName="spaceRect" presStyleCnt="0"/>
      <dgm:spPr/>
    </dgm:pt>
    <dgm:pt modelId="{4F4132EB-38B2-4BBF-925B-B5E28F44C307}" type="pres">
      <dgm:prSet presAssocID="{2F4F0892-85D1-427E-81CE-657951F6DE6F}" presName="parTx" presStyleLbl="revTx" presStyleIdx="2" presStyleCnt="7">
        <dgm:presLayoutVars>
          <dgm:chMax val="0"/>
          <dgm:chPref val="0"/>
        </dgm:presLayoutVars>
      </dgm:prSet>
      <dgm:spPr/>
    </dgm:pt>
    <dgm:pt modelId="{DB1E84DC-03A8-422F-A271-A05CD163B49D}" type="pres">
      <dgm:prSet presAssocID="{BD080D09-340C-43D7-A1A0-29B2F1740EA4}" presName="sibTrans" presStyleCnt="0"/>
      <dgm:spPr/>
    </dgm:pt>
    <dgm:pt modelId="{C640E795-3B57-4AC2-98EA-2EF3F60E3690}" type="pres">
      <dgm:prSet presAssocID="{4B2FE8BC-9FDC-4E2D-A4AF-A1BC0C3F3E8A}" presName="compNode" presStyleCnt="0"/>
      <dgm:spPr/>
    </dgm:pt>
    <dgm:pt modelId="{759C5B16-BD73-4AC7-9FFA-4E3E7B49F366}" type="pres">
      <dgm:prSet presAssocID="{4B2FE8BC-9FDC-4E2D-A4AF-A1BC0C3F3E8A}" presName="bgRect" presStyleLbl="bgShp" presStyleIdx="3" presStyleCnt="7"/>
      <dgm:spPr/>
    </dgm:pt>
    <dgm:pt modelId="{70CB231D-C9E1-40FC-946E-BEB252D51A1A}" type="pres">
      <dgm:prSet presAssocID="{4B2FE8BC-9FDC-4E2D-A4AF-A1BC0C3F3E8A}" presName="iconRect" presStyleLbl="node1" presStyleIdx="3" presStyleCnt="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yncing Cloud"/>
        </a:ext>
      </dgm:extLst>
    </dgm:pt>
    <dgm:pt modelId="{D2DDE168-8CE6-42E5-84C0-5AFB6A7BF023}" type="pres">
      <dgm:prSet presAssocID="{4B2FE8BC-9FDC-4E2D-A4AF-A1BC0C3F3E8A}" presName="spaceRect" presStyleCnt="0"/>
      <dgm:spPr/>
    </dgm:pt>
    <dgm:pt modelId="{46FE1678-1181-4F1D-AE35-16F07E76ED2A}" type="pres">
      <dgm:prSet presAssocID="{4B2FE8BC-9FDC-4E2D-A4AF-A1BC0C3F3E8A}" presName="parTx" presStyleLbl="revTx" presStyleIdx="3" presStyleCnt="7">
        <dgm:presLayoutVars>
          <dgm:chMax val="0"/>
          <dgm:chPref val="0"/>
        </dgm:presLayoutVars>
      </dgm:prSet>
      <dgm:spPr/>
    </dgm:pt>
    <dgm:pt modelId="{4780A1F1-AC61-45DE-BC68-11B1DC58F59A}" type="pres">
      <dgm:prSet presAssocID="{FD3A09C1-55CA-4464-BE06-A0F7F08F93AD}" presName="sibTrans" presStyleCnt="0"/>
      <dgm:spPr/>
    </dgm:pt>
    <dgm:pt modelId="{B5153A0A-4B6D-4AC8-8DCE-674F559193B3}" type="pres">
      <dgm:prSet presAssocID="{08253A75-293C-4B65-8B30-2CE8E837C1A5}" presName="compNode" presStyleCnt="0"/>
      <dgm:spPr/>
    </dgm:pt>
    <dgm:pt modelId="{079ACDC1-0E8A-4D7A-A6D9-98BC14D3B717}" type="pres">
      <dgm:prSet presAssocID="{08253A75-293C-4B65-8B30-2CE8E837C1A5}" presName="bgRect" presStyleLbl="bgShp" presStyleIdx="4" presStyleCnt="7"/>
      <dgm:spPr/>
    </dgm:pt>
    <dgm:pt modelId="{B9AEB874-0120-4D64-8637-3D3360A4D6DF}" type="pres">
      <dgm:prSet presAssocID="{08253A75-293C-4B65-8B30-2CE8E837C1A5}" presName="iconRect" presStyleLbl="node1" presStyleIdx="4" presStyleCnt="7"/>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Sign Language"/>
        </a:ext>
      </dgm:extLst>
    </dgm:pt>
    <dgm:pt modelId="{B171530C-F511-4991-BD68-2065BF73844A}" type="pres">
      <dgm:prSet presAssocID="{08253A75-293C-4B65-8B30-2CE8E837C1A5}" presName="spaceRect" presStyleCnt="0"/>
      <dgm:spPr/>
    </dgm:pt>
    <dgm:pt modelId="{04383FB6-F64A-4E8E-AE09-84041671BC65}" type="pres">
      <dgm:prSet presAssocID="{08253A75-293C-4B65-8B30-2CE8E837C1A5}" presName="parTx" presStyleLbl="revTx" presStyleIdx="4" presStyleCnt="7">
        <dgm:presLayoutVars>
          <dgm:chMax val="0"/>
          <dgm:chPref val="0"/>
        </dgm:presLayoutVars>
      </dgm:prSet>
      <dgm:spPr/>
    </dgm:pt>
    <dgm:pt modelId="{4527A58A-C6F9-420E-BB74-A6BC93951A50}" type="pres">
      <dgm:prSet presAssocID="{715FE98D-1745-465A-ABAC-DCD3A212D8E2}" presName="sibTrans" presStyleCnt="0"/>
      <dgm:spPr/>
    </dgm:pt>
    <dgm:pt modelId="{FF522C86-7AA2-4D71-BE19-84B8403611B2}" type="pres">
      <dgm:prSet presAssocID="{B1D5426B-0E88-4749-91C4-713A4ECD21A5}" presName="compNode" presStyleCnt="0"/>
      <dgm:spPr/>
    </dgm:pt>
    <dgm:pt modelId="{952B747C-B95B-4AE5-8E3D-1DA50363A021}" type="pres">
      <dgm:prSet presAssocID="{B1D5426B-0E88-4749-91C4-713A4ECD21A5}" presName="bgRect" presStyleLbl="bgShp" presStyleIdx="5" presStyleCnt="7"/>
      <dgm:spPr/>
    </dgm:pt>
    <dgm:pt modelId="{9CF65112-C9D1-4509-A663-BFF356EB5697}" type="pres">
      <dgm:prSet presAssocID="{B1D5426B-0E88-4749-91C4-713A4ECD21A5}" presName="iconRect" presStyleLbl="node1" presStyleIdx="5" presStyleCnt="7"/>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Braille"/>
        </a:ext>
      </dgm:extLst>
    </dgm:pt>
    <dgm:pt modelId="{83D71094-359C-4D97-9357-A10DD0AFCD3E}" type="pres">
      <dgm:prSet presAssocID="{B1D5426B-0E88-4749-91C4-713A4ECD21A5}" presName="spaceRect" presStyleCnt="0"/>
      <dgm:spPr/>
    </dgm:pt>
    <dgm:pt modelId="{0628637D-595D-497B-944C-84829F50B944}" type="pres">
      <dgm:prSet presAssocID="{B1D5426B-0E88-4749-91C4-713A4ECD21A5}" presName="parTx" presStyleLbl="revTx" presStyleIdx="5" presStyleCnt="7">
        <dgm:presLayoutVars>
          <dgm:chMax val="0"/>
          <dgm:chPref val="0"/>
        </dgm:presLayoutVars>
      </dgm:prSet>
      <dgm:spPr/>
    </dgm:pt>
    <dgm:pt modelId="{77904A0C-5157-43ED-90E1-EA0556F9ED59}" type="pres">
      <dgm:prSet presAssocID="{423D6A8A-CCE4-4ED0-A290-8366CCE39596}" presName="sibTrans" presStyleCnt="0"/>
      <dgm:spPr/>
    </dgm:pt>
    <dgm:pt modelId="{AA61DEB3-A501-4AD4-BA80-E8BD48E81294}" type="pres">
      <dgm:prSet presAssocID="{25DB7630-FE33-4F91-A758-0029BB1B1F1F}" presName="compNode" presStyleCnt="0"/>
      <dgm:spPr/>
    </dgm:pt>
    <dgm:pt modelId="{5EFB998D-334E-43CA-B8E2-EB6532E1C9BF}" type="pres">
      <dgm:prSet presAssocID="{25DB7630-FE33-4F91-A758-0029BB1B1F1F}" presName="bgRect" presStyleLbl="bgShp" presStyleIdx="6" presStyleCnt="7"/>
      <dgm:spPr/>
    </dgm:pt>
    <dgm:pt modelId="{8F61592C-CC3C-4E3C-A5DE-5879C543ABFB}" type="pres">
      <dgm:prSet presAssocID="{25DB7630-FE33-4F91-A758-0029BB1B1F1F}" presName="iconRect" presStyleLbl="node1" presStyleIdx="6" presStyleCnt="7"/>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a:noFill/>
        </a:ln>
      </dgm:spPr>
      <dgm:extLst>
        <a:ext uri="{E40237B7-FDA0-4F09-8148-C483321AD2D9}">
          <dgm14:cNvPr xmlns:dgm14="http://schemas.microsoft.com/office/drawing/2010/diagram" id="0" name="" descr="Kidney"/>
        </a:ext>
      </dgm:extLst>
    </dgm:pt>
    <dgm:pt modelId="{4CC4A490-B0C6-428D-985B-F3479A639F08}" type="pres">
      <dgm:prSet presAssocID="{25DB7630-FE33-4F91-A758-0029BB1B1F1F}" presName="spaceRect" presStyleCnt="0"/>
      <dgm:spPr/>
    </dgm:pt>
    <dgm:pt modelId="{D81DBC6F-76A4-48A5-BAD8-6F98AA880006}" type="pres">
      <dgm:prSet presAssocID="{25DB7630-FE33-4F91-A758-0029BB1B1F1F}" presName="parTx" presStyleLbl="revTx" presStyleIdx="6" presStyleCnt="7">
        <dgm:presLayoutVars>
          <dgm:chMax val="0"/>
          <dgm:chPref val="0"/>
        </dgm:presLayoutVars>
      </dgm:prSet>
      <dgm:spPr/>
    </dgm:pt>
  </dgm:ptLst>
  <dgm:cxnLst>
    <dgm:cxn modelId="{69D1DE07-89C0-46F0-8474-4917875C20AA}" srcId="{6EA66F9A-9C39-4793-852E-244331264EFE}" destId="{2F4F0892-85D1-427E-81CE-657951F6DE6F}" srcOrd="2" destOrd="0" parTransId="{97EF5148-0A31-40A7-9486-5C3056D8B855}" sibTransId="{BD080D09-340C-43D7-A1A0-29B2F1740EA4}"/>
    <dgm:cxn modelId="{1714270B-6B2D-451F-A2D9-3C284A2086A7}" srcId="{6EA66F9A-9C39-4793-852E-244331264EFE}" destId="{B1D5426B-0E88-4749-91C4-713A4ECD21A5}" srcOrd="5" destOrd="0" parTransId="{0B1744AD-ECDB-44F7-B4CE-B13BBF4EA5E3}" sibTransId="{423D6A8A-CCE4-4ED0-A290-8366CCE39596}"/>
    <dgm:cxn modelId="{35428219-753F-49B5-9F5B-D1953C12327E}" srcId="{6EA66F9A-9C39-4793-852E-244331264EFE}" destId="{01F82739-510C-4E07-8EA3-2BE77E805778}" srcOrd="1" destOrd="0" parTransId="{E6E3D0B5-D5BE-4372-9BF6-9A80A920A496}" sibTransId="{768B3D7E-B3AE-4D71-A926-6036B733A09C}"/>
    <dgm:cxn modelId="{30286161-C821-473B-87C9-F57B93CF93A7}" type="presOf" srcId="{08253A75-293C-4B65-8B30-2CE8E837C1A5}" destId="{04383FB6-F64A-4E8E-AE09-84041671BC65}" srcOrd="0" destOrd="0" presId="urn:microsoft.com/office/officeart/2018/2/layout/IconVerticalSolidList"/>
    <dgm:cxn modelId="{CB800442-700C-455C-B4C9-C1D202FDE31E}" type="presOf" srcId="{6EA66F9A-9C39-4793-852E-244331264EFE}" destId="{C3259B1C-EF15-4D2E-90A2-06FF4492BA2E}" srcOrd="0" destOrd="0" presId="urn:microsoft.com/office/officeart/2018/2/layout/IconVerticalSolidList"/>
    <dgm:cxn modelId="{44723548-347B-45E9-BE3C-2158E6EACA01}" srcId="{6EA66F9A-9C39-4793-852E-244331264EFE}" destId="{08253A75-293C-4B65-8B30-2CE8E837C1A5}" srcOrd="4" destOrd="0" parTransId="{0F41B538-6B51-4965-899A-D84853DD0C4B}" sibTransId="{715FE98D-1745-465A-ABAC-DCD3A212D8E2}"/>
    <dgm:cxn modelId="{16198254-ED41-4F24-A69A-A8D9A9E8E9CB}" type="presOf" srcId="{B1D5426B-0E88-4749-91C4-713A4ECD21A5}" destId="{0628637D-595D-497B-944C-84829F50B944}" srcOrd="0" destOrd="0" presId="urn:microsoft.com/office/officeart/2018/2/layout/IconVerticalSolidList"/>
    <dgm:cxn modelId="{1DF9E594-5BB9-4A3F-8C03-F0705E73A543}" srcId="{6EA66F9A-9C39-4793-852E-244331264EFE}" destId="{4B2FE8BC-9FDC-4E2D-A4AF-A1BC0C3F3E8A}" srcOrd="3" destOrd="0" parTransId="{DB78CCD8-86DD-4360-AF8E-1073606C1394}" sibTransId="{FD3A09C1-55CA-4464-BE06-A0F7F08F93AD}"/>
    <dgm:cxn modelId="{E422F8AF-2235-4FC2-9786-6DB2619099B5}" type="presOf" srcId="{01F82739-510C-4E07-8EA3-2BE77E805778}" destId="{7D0EA29C-8E23-4593-9E7F-750B31F577DC}" srcOrd="0" destOrd="0" presId="urn:microsoft.com/office/officeart/2018/2/layout/IconVerticalSolidList"/>
    <dgm:cxn modelId="{24C12CB5-B97E-4059-9EF9-792426595EC9}" type="presOf" srcId="{90FDA842-CE59-496D-A090-CAB01817120C}" destId="{E478F34E-79E3-45B7-A01F-96C66995484A}" srcOrd="0" destOrd="0" presId="urn:microsoft.com/office/officeart/2018/2/layout/IconVerticalSolidList"/>
    <dgm:cxn modelId="{0FABA5BC-C933-4D0C-8CFF-D6CE97221BBD}" type="presOf" srcId="{4B2FE8BC-9FDC-4E2D-A4AF-A1BC0C3F3E8A}" destId="{46FE1678-1181-4F1D-AE35-16F07E76ED2A}" srcOrd="0" destOrd="0" presId="urn:microsoft.com/office/officeart/2018/2/layout/IconVerticalSolidList"/>
    <dgm:cxn modelId="{22F812BD-8389-4425-ADBB-A1BBA0138F4B}" srcId="{6EA66F9A-9C39-4793-852E-244331264EFE}" destId="{90FDA842-CE59-496D-A090-CAB01817120C}" srcOrd="0" destOrd="0" parTransId="{2DD8FE3A-1DB4-4AA6-BC6A-D5D51440CE9E}" sibTransId="{A9E54139-CB5E-4854-9F69-FC4367B373E9}"/>
    <dgm:cxn modelId="{D2970BDF-8939-44DF-8520-447A15729AB8}" type="presOf" srcId="{2F4F0892-85D1-427E-81CE-657951F6DE6F}" destId="{4F4132EB-38B2-4BBF-925B-B5E28F44C307}" srcOrd="0" destOrd="0" presId="urn:microsoft.com/office/officeart/2018/2/layout/IconVerticalSolidList"/>
    <dgm:cxn modelId="{F6F2E2EA-FEB7-4670-823C-83C6466C0F1B}" type="presOf" srcId="{25DB7630-FE33-4F91-A758-0029BB1B1F1F}" destId="{D81DBC6F-76A4-48A5-BAD8-6F98AA880006}" srcOrd="0" destOrd="0" presId="urn:microsoft.com/office/officeart/2018/2/layout/IconVerticalSolidList"/>
    <dgm:cxn modelId="{AFE8F2EF-0AE2-434E-8CE4-8DCD440F049E}" srcId="{6EA66F9A-9C39-4793-852E-244331264EFE}" destId="{25DB7630-FE33-4F91-A758-0029BB1B1F1F}" srcOrd="6" destOrd="0" parTransId="{6E76BF15-CC61-4663-B005-DB34C7F49465}" sibTransId="{0D662CBC-E305-4012-8094-E73FD9B73B44}"/>
    <dgm:cxn modelId="{AD5940FE-2FE3-44FA-856B-4539F0DE49B7}" type="presParOf" srcId="{C3259B1C-EF15-4D2E-90A2-06FF4492BA2E}" destId="{FB89C2EA-FDA5-4ED3-B26B-238A45F5A1A8}" srcOrd="0" destOrd="0" presId="urn:microsoft.com/office/officeart/2018/2/layout/IconVerticalSolidList"/>
    <dgm:cxn modelId="{DCCC905F-1390-4363-8AB2-07B5C7EB13F1}" type="presParOf" srcId="{FB89C2EA-FDA5-4ED3-B26B-238A45F5A1A8}" destId="{80251838-B3C7-40C1-BBAF-78EE7646D74F}" srcOrd="0" destOrd="0" presId="urn:microsoft.com/office/officeart/2018/2/layout/IconVerticalSolidList"/>
    <dgm:cxn modelId="{D6C61872-EA6B-40E5-8BA2-CA7EE476EB59}" type="presParOf" srcId="{FB89C2EA-FDA5-4ED3-B26B-238A45F5A1A8}" destId="{34B10493-0571-4107-AD00-32E98C46EBC6}" srcOrd="1" destOrd="0" presId="urn:microsoft.com/office/officeart/2018/2/layout/IconVerticalSolidList"/>
    <dgm:cxn modelId="{B6678761-0C79-4631-BCC2-6EE993247420}" type="presParOf" srcId="{FB89C2EA-FDA5-4ED3-B26B-238A45F5A1A8}" destId="{7EA9F1CE-3795-4208-90CD-4816A0D22BDD}" srcOrd="2" destOrd="0" presId="urn:microsoft.com/office/officeart/2018/2/layout/IconVerticalSolidList"/>
    <dgm:cxn modelId="{5F35ED46-5A46-48C0-8C23-BBF225A21BE1}" type="presParOf" srcId="{FB89C2EA-FDA5-4ED3-B26B-238A45F5A1A8}" destId="{E478F34E-79E3-45B7-A01F-96C66995484A}" srcOrd="3" destOrd="0" presId="urn:microsoft.com/office/officeart/2018/2/layout/IconVerticalSolidList"/>
    <dgm:cxn modelId="{9FABDA33-B244-4D9B-8062-DEC129180F5E}" type="presParOf" srcId="{C3259B1C-EF15-4D2E-90A2-06FF4492BA2E}" destId="{03F555D5-C034-4E68-A81E-143EE7558691}" srcOrd="1" destOrd="0" presId="urn:microsoft.com/office/officeart/2018/2/layout/IconVerticalSolidList"/>
    <dgm:cxn modelId="{3DF58C3C-8371-4A15-92C8-DF89A6BA2AC1}" type="presParOf" srcId="{C3259B1C-EF15-4D2E-90A2-06FF4492BA2E}" destId="{3F45B087-FEEA-4960-8902-F7FF1AA04DD7}" srcOrd="2" destOrd="0" presId="urn:microsoft.com/office/officeart/2018/2/layout/IconVerticalSolidList"/>
    <dgm:cxn modelId="{AAA7011D-B877-41CC-B337-FB083E086C33}" type="presParOf" srcId="{3F45B087-FEEA-4960-8902-F7FF1AA04DD7}" destId="{0471944C-0D9B-4239-B667-5EF3AE7D8A0B}" srcOrd="0" destOrd="0" presId="urn:microsoft.com/office/officeart/2018/2/layout/IconVerticalSolidList"/>
    <dgm:cxn modelId="{D839923C-FF4A-4028-AA34-3E4FEE1DA3C9}" type="presParOf" srcId="{3F45B087-FEEA-4960-8902-F7FF1AA04DD7}" destId="{B2A4BA0B-3F8E-46FC-86DB-59376C52ECFF}" srcOrd="1" destOrd="0" presId="urn:microsoft.com/office/officeart/2018/2/layout/IconVerticalSolidList"/>
    <dgm:cxn modelId="{EE6EC5D7-B873-489C-8AD0-CA10B6E86FE4}" type="presParOf" srcId="{3F45B087-FEEA-4960-8902-F7FF1AA04DD7}" destId="{10FA498A-DD9B-4548-A2D9-104A3A2AC0BE}" srcOrd="2" destOrd="0" presId="urn:microsoft.com/office/officeart/2018/2/layout/IconVerticalSolidList"/>
    <dgm:cxn modelId="{5627B76D-6943-4A0C-9ED5-F5265FD33945}" type="presParOf" srcId="{3F45B087-FEEA-4960-8902-F7FF1AA04DD7}" destId="{7D0EA29C-8E23-4593-9E7F-750B31F577DC}" srcOrd="3" destOrd="0" presId="urn:microsoft.com/office/officeart/2018/2/layout/IconVerticalSolidList"/>
    <dgm:cxn modelId="{45927316-8C6C-403D-8961-6548270496DE}" type="presParOf" srcId="{C3259B1C-EF15-4D2E-90A2-06FF4492BA2E}" destId="{063C4C44-9F95-4129-BB53-33E95D1BFB3C}" srcOrd="3" destOrd="0" presId="urn:microsoft.com/office/officeart/2018/2/layout/IconVerticalSolidList"/>
    <dgm:cxn modelId="{307AA670-D936-4134-8E82-9E9CA13A57B4}" type="presParOf" srcId="{C3259B1C-EF15-4D2E-90A2-06FF4492BA2E}" destId="{6A337C7E-C70E-42A0-B7E8-D9EB2B47C6A4}" srcOrd="4" destOrd="0" presId="urn:microsoft.com/office/officeart/2018/2/layout/IconVerticalSolidList"/>
    <dgm:cxn modelId="{716FC267-9C66-4195-AFEF-E22E37207837}" type="presParOf" srcId="{6A337C7E-C70E-42A0-B7E8-D9EB2B47C6A4}" destId="{2A5BF889-A093-4EB4-AB35-5BE12BD20669}" srcOrd="0" destOrd="0" presId="urn:microsoft.com/office/officeart/2018/2/layout/IconVerticalSolidList"/>
    <dgm:cxn modelId="{CC816F5F-7B76-41E3-B7A3-8289AC092E4C}" type="presParOf" srcId="{6A337C7E-C70E-42A0-B7E8-D9EB2B47C6A4}" destId="{AEB8E610-5EDE-4370-978A-6D55908CBAB4}" srcOrd="1" destOrd="0" presId="urn:microsoft.com/office/officeart/2018/2/layout/IconVerticalSolidList"/>
    <dgm:cxn modelId="{1DDF5040-D83F-4BA6-A0B0-E54C85D7E236}" type="presParOf" srcId="{6A337C7E-C70E-42A0-B7E8-D9EB2B47C6A4}" destId="{AC9D5779-8A75-4AA0-A964-611B5A94CB44}" srcOrd="2" destOrd="0" presId="urn:microsoft.com/office/officeart/2018/2/layout/IconVerticalSolidList"/>
    <dgm:cxn modelId="{B3A7B948-FCBA-4402-A66F-6881F3B9C4EF}" type="presParOf" srcId="{6A337C7E-C70E-42A0-B7E8-D9EB2B47C6A4}" destId="{4F4132EB-38B2-4BBF-925B-B5E28F44C307}" srcOrd="3" destOrd="0" presId="urn:microsoft.com/office/officeart/2018/2/layout/IconVerticalSolidList"/>
    <dgm:cxn modelId="{3F58547C-3883-4299-B06C-DC585EE6A01A}" type="presParOf" srcId="{C3259B1C-EF15-4D2E-90A2-06FF4492BA2E}" destId="{DB1E84DC-03A8-422F-A271-A05CD163B49D}" srcOrd="5" destOrd="0" presId="urn:microsoft.com/office/officeart/2018/2/layout/IconVerticalSolidList"/>
    <dgm:cxn modelId="{FD4B62E3-936E-41EC-A79A-6AA5AE04E048}" type="presParOf" srcId="{C3259B1C-EF15-4D2E-90A2-06FF4492BA2E}" destId="{C640E795-3B57-4AC2-98EA-2EF3F60E3690}" srcOrd="6" destOrd="0" presId="urn:microsoft.com/office/officeart/2018/2/layout/IconVerticalSolidList"/>
    <dgm:cxn modelId="{072CBF40-493A-4E92-BE3C-539C411D36FD}" type="presParOf" srcId="{C640E795-3B57-4AC2-98EA-2EF3F60E3690}" destId="{759C5B16-BD73-4AC7-9FFA-4E3E7B49F366}" srcOrd="0" destOrd="0" presId="urn:microsoft.com/office/officeart/2018/2/layout/IconVerticalSolidList"/>
    <dgm:cxn modelId="{3FD7D593-CCD0-4A19-A3D5-EA803C1E5AA3}" type="presParOf" srcId="{C640E795-3B57-4AC2-98EA-2EF3F60E3690}" destId="{70CB231D-C9E1-40FC-946E-BEB252D51A1A}" srcOrd="1" destOrd="0" presId="urn:microsoft.com/office/officeart/2018/2/layout/IconVerticalSolidList"/>
    <dgm:cxn modelId="{1C1B0AD7-E136-4BE0-A921-0AF1E9F7140A}" type="presParOf" srcId="{C640E795-3B57-4AC2-98EA-2EF3F60E3690}" destId="{D2DDE168-8CE6-42E5-84C0-5AFB6A7BF023}" srcOrd="2" destOrd="0" presId="urn:microsoft.com/office/officeart/2018/2/layout/IconVerticalSolidList"/>
    <dgm:cxn modelId="{0C464DBC-E057-4FE7-80AD-EA736902292B}" type="presParOf" srcId="{C640E795-3B57-4AC2-98EA-2EF3F60E3690}" destId="{46FE1678-1181-4F1D-AE35-16F07E76ED2A}" srcOrd="3" destOrd="0" presId="urn:microsoft.com/office/officeart/2018/2/layout/IconVerticalSolidList"/>
    <dgm:cxn modelId="{1718A9DC-56AA-484F-8423-0894EEBE8431}" type="presParOf" srcId="{C3259B1C-EF15-4D2E-90A2-06FF4492BA2E}" destId="{4780A1F1-AC61-45DE-BC68-11B1DC58F59A}" srcOrd="7" destOrd="0" presId="urn:microsoft.com/office/officeart/2018/2/layout/IconVerticalSolidList"/>
    <dgm:cxn modelId="{30570A78-C8BC-4271-98AC-2C046F8CF64E}" type="presParOf" srcId="{C3259B1C-EF15-4D2E-90A2-06FF4492BA2E}" destId="{B5153A0A-4B6D-4AC8-8DCE-674F559193B3}" srcOrd="8" destOrd="0" presId="urn:microsoft.com/office/officeart/2018/2/layout/IconVerticalSolidList"/>
    <dgm:cxn modelId="{DA9E25E6-DCF2-49A6-A8FB-049C0B93A856}" type="presParOf" srcId="{B5153A0A-4B6D-4AC8-8DCE-674F559193B3}" destId="{079ACDC1-0E8A-4D7A-A6D9-98BC14D3B717}" srcOrd="0" destOrd="0" presId="urn:microsoft.com/office/officeart/2018/2/layout/IconVerticalSolidList"/>
    <dgm:cxn modelId="{EC2806B8-5315-4A8A-9D4C-C01D2EBF8B2C}" type="presParOf" srcId="{B5153A0A-4B6D-4AC8-8DCE-674F559193B3}" destId="{B9AEB874-0120-4D64-8637-3D3360A4D6DF}" srcOrd="1" destOrd="0" presId="urn:microsoft.com/office/officeart/2018/2/layout/IconVerticalSolidList"/>
    <dgm:cxn modelId="{CE49B1AF-AA11-41C0-8BEB-54861B4792B5}" type="presParOf" srcId="{B5153A0A-4B6D-4AC8-8DCE-674F559193B3}" destId="{B171530C-F511-4991-BD68-2065BF73844A}" srcOrd="2" destOrd="0" presId="urn:microsoft.com/office/officeart/2018/2/layout/IconVerticalSolidList"/>
    <dgm:cxn modelId="{54FC92B8-E884-41E8-8F23-E54B7E51FC97}" type="presParOf" srcId="{B5153A0A-4B6D-4AC8-8DCE-674F559193B3}" destId="{04383FB6-F64A-4E8E-AE09-84041671BC65}" srcOrd="3" destOrd="0" presId="urn:microsoft.com/office/officeart/2018/2/layout/IconVerticalSolidList"/>
    <dgm:cxn modelId="{D01AEE7D-FA5D-482D-9EBF-2882BF762A17}" type="presParOf" srcId="{C3259B1C-EF15-4D2E-90A2-06FF4492BA2E}" destId="{4527A58A-C6F9-420E-BB74-A6BC93951A50}" srcOrd="9" destOrd="0" presId="urn:microsoft.com/office/officeart/2018/2/layout/IconVerticalSolidList"/>
    <dgm:cxn modelId="{ED95D502-3B70-407F-BD96-BACADEEE34A4}" type="presParOf" srcId="{C3259B1C-EF15-4D2E-90A2-06FF4492BA2E}" destId="{FF522C86-7AA2-4D71-BE19-84B8403611B2}" srcOrd="10" destOrd="0" presId="urn:microsoft.com/office/officeart/2018/2/layout/IconVerticalSolidList"/>
    <dgm:cxn modelId="{A7C79EE2-7D1C-4246-8E4F-27F009DFF183}" type="presParOf" srcId="{FF522C86-7AA2-4D71-BE19-84B8403611B2}" destId="{952B747C-B95B-4AE5-8E3D-1DA50363A021}" srcOrd="0" destOrd="0" presId="urn:microsoft.com/office/officeart/2018/2/layout/IconVerticalSolidList"/>
    <dgm:cxn modelId="{F1346F87-6EE6-45F7-889E-8F183E4E0347}" type="presParOf" srcId="{FF522C86-7AA2-4D71-BE19-84B8403611B2}" destId="{9CF65112-C9D1-4509-A663-BFF356EB5697}" srcOrd="1" destOrd="0" presId="urn:microsoft.com/office/officeart/2018/2/layout/IconVerticalSolidList"/>
    <dgm:cxn modelId="{96C28E14-04C2-4B56-B3F2-885D65976CDC}" type="presParOf" srcId="{FF522C86-7AA2-4D71-BE19-84B8403611B2}" destId="{83D71094-359C-4D97-9357-A10DD0AFCD3E}" srcOrd="2" destOrd="0" presId="urn:microsoft.com/office/officeart/2018/2/layout/IconVerticalSolidList"/>
    <dgm:cxn modelId="{4D790A26-1D9A-4097-BFBE-360933CA294A}" type="presParOf" srcId="{FF522C86-7AA2-4D71-BE19-84B8403611B2}" destId="{0628637D-595D-497B-944C-84829F50B944}" srcOrd="3" destOrd="0" presId="urn:microsoft.com/office/officeart/2018/2/layout/IconVerticalSolidList"/>
    <dgm:cxn modelId="{0AADD5F9-AA9D-4017-92E4-6E76E577CC37}" type="presParOf" srcId="{C3259B1C-EF15-4D2E-90A2-06FF4492BA2E}" destId="{77904A0C-5157-43ED-90E1-EA0556F9ED59}" srcOrd="11" destOrd="0" presId="urn:microsoft.com/office/officeart/2018/2/layout/IconVerticalSolidList"/>
    <dgm:cxn modelId="{ACA193B9-C2AF-4F0F-AF82-8CDD68DB6B83}" type="presParOf" srcId="{C3259B1C-EF15-4D2E-90A2-06FF4492BA2E}" destId="{AA61DEB3-A501-4AD4-BA80-E8BD48E81294}" srcOrd="12" destOrd="0" presId="urn:microsoft.com/office/officeart/2018/2/layout/IconVerticalSolidList"/>
    <dgm:cxn modelId="{7A77C51E-BB40-4A36-A3EE-3B4357C484D2}" type="presParOf" srcId="{AA61DEB3-A501-4AD4-BA80-E8BD48E81294}" destId="{5EFB998D-334E-43CA-B8E2-EB6532E1C9BF}" srcOrd="0" destOrd="0" presId="urn:microsoft.com/office/officeart/2018/2/layout/IconVerticalSolidList"/>
    <dgm:cxn modelId="{5E422E16-8DB1-42F2-8D78-AEB490CE96D3}" type="presParOf" srcId="{AA61DEB3-A501-4AD4-BA80-E8BD48E81294}" destId="{8F61592C-CC3C-4E3C-A5DE-5879C543ABFB}" srcOrd="1" destOrd="0" presId="urn:microsoft.com/office/officeart/2018/2/layout/IconVerticalSolidList"/>
    <dgm:cxn modelId="{3BDC349B-DBD6-4A6A-8743-362619A331BA}" type="presParOf" srcId="{AA61DEB3-A501-4AD4-BA80-E8BD48E81294}" destId="{4CC4A490-B0C6-428D-985B-F3479A639F08}" srcOrd="2" destOrd="0" presId="urn:microsoft.com/office/officeart/2018/2/layout/IconVerticalSolidList"/>
    <dgm:cxn modelId="{B9D25F4E-CCC8-4902-967D-B9C9172C100A}" type="presParOf" srcId="{AA61DEB3-A501-4AD4-BA80-E8BD48E81294}" destId="{D81DBC6F-76A4-48A5-BAD8-6F98AA880006}"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251838-B3C7-40C1-BBAF-78EE7646D74F}">
      <dsp:nvSpPr>
        <dsp:cNvPr id="0" name=""/>
        <dsp:cNvSpPr/>
      </dsp:nvSpPr>
      <dsp:spPr>
        <a:xfrm>
          <a:off x="0" y="502"/>
          <a:ext cx="6513603" cy="69228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4B10493-0571-4107-AD00-32E98C46EBC6}">
      <dsp:nvSpPr>
        <dsp:cNvPr id="0" name=""/>
        <dsp:cNvSpPr/>
      </dsp:nvSpPr>
      <dsp:spPr>
        <a:xfrm>
          <a:off x="209416" y="156266"/>
          <a:ext cx="380756" cy="38075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478F34E-79E3-45B7-A01F-96C66995484A}">
      <dsp:nvSpPr>
        <dsp:cNvPr id="0" name=""/>
        <dsp:cNvSpPr/>
      </dsp:nvSpPr>
      <dsp:spPr>
        <a:xfrm>
          <a:off x="799588" y="502"/>
          <a:ext cx="5714015" cy="6922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267" tIns="73267" rIns="73267" bIns="73267" numCol="1" spcCol="1270" anchor="ctr" anchorCtr="0">
          <a:noAutofit/>
        </a:bodyPr>
        <a:lstStyle/>
        <a:p>
          <a:pPr marL="0" lvl="0" indent="0" algn="l" defTabSz="711200">
            <a:lnSpc>
              <a:spcPct val="90000"/>
            </a:lnSpc>
            <a:spcBef>
              <a:spcPct val="0"/>
            </a:spcBef>
            <a:spcAft>
              <a:spcPct val="35000"/>
            </a:spcAft>
            <a:buNone/>
          </a:pPr>
          <a:r>
            <a:rPr lang="en-US" sz="1600" kern="1200"/>
            <a:t>Microsoft &amp; the Digital Transformation</a:t>
          </a:r>
        </a:p>
      </dsp:txBody>
      <dsp:txXfrm>
        <a:off x="799588" y="502"/>
        <a:ext cx="5714015" cy="692284"/>
      </dsp:txXfrm>
    </dsp:sp>
    <dsp:sp modelId="{0471944C-0D9B-4239-B667-5EF3AE7D8A0B}">
      <dsp:nvSpPr>
        <dsp:cNvPr id="0" name=""/>
        <dsp:cNvSpPr/>
      </dsp:nvSpPr>
      <dsp:spPr>
        <a:xfrm>
          <a:off x="0" y="865858"/>
          <a:ext cx="6513603" cy="69228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2A4BA0B-3F8E-46FC-86DB-59376C52ECFF}">
      <dsp:nvSpPr>
        <dsp:cNvPr id="0" name=""/>
        <dsp:cNvSpPr/>
      </dsp:nvSpPr>
      <dsp:spPr>
        <a:xfrm>
          <a:off x="209416" y="1021622"/>
          <a:ext cx="380756" cy="38075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D0EA29C-8E23-4593-9E7F-750B31F577DC}">
      <dsp:nvSpPr>
        <dsp:cNvPr id="0" name=""/>
        <dsp:cNvSpPr/>
      </dsp:nvSpPr>
      <dsp:spPr>
        <a:xfrm>
          <a:off x="799588" y="865858"/>
          <a:ext cx="5714015" cy="6922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267" tIns="73267" rIns="73267" bIns="73267" numCol="1" spcCol="1270" anchor="ctr" anchorCtr="0">
          <a:noAutofit/>
        </a:bodyPr>
        <a:lstStyle/>
        <a:p>
          <a:pPr marL="0" lvl="0" indent="0" algn="l" defTabSz="711200">
            <a:lnSpc>
              <a:spcPct val="90000"/>
            </a:lnSpc>
            <a:spcBef>
              <a:spcPct val="0"/>
            </a:spcBef>
            <a:spcAft>
              <a:spcPct val="35000"/>
            </a:spcAft>
            <a:buNone/>
          </a:pPr>
          <a:r>
            <a:rPr lang="en-US" sz="1600" kern="1200"/>
            <a:t>Blockchain fundamental</a:t>
          </a:r>
        </a:p>
      </dsp:txBody>
      <dsp:txXfrm>
        <a:off x="799588" y="865858"/>
        <a:ext cx="5714015" cy="692284"/>
      </dsp:txXfrm>
    </dsp:sp>
    <dsp:sp modelId="{2A5BF889-A093-4EB4-AB35-5BE12BD20669}">
      <dsp:nvSpPr>
        <dsp:cNvPr id="0" name=""/>
        <dsp:cNvSpPr/>
      </dsp:nvSpPr>
      <dsp:spPr>
        <a:xfrm>
          <a:off x="0" y="1731214"/>
          <a:ext cx="6513603" cy="69228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EB8E610-5EDE-4370-978A-6D55908CBAB4}">
      <dsp:nvSpPr>
        <dsp:cNvPr id="0" name=""/>
        <dsp:cNvSpPr/>
      </dsp:nvSpPr>
      <dsp:spPr>
        <a:xfrm>
          <a:off x="209416" y="1886978"/>
          <a:ext cx="380756" cy="38075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F4132EB-38B2-4BBF-925B-B5E28F44C307}">
      <dsp:nvSpPr>
        <dsp:cNvPr id="0" name=""/>
        <dsp:cNvSpPr/>
      </dsp:nvSpPr>
      <dsp:spPr>
        <a:xfrm>
          <a:off x="799588" y="1731214"/>
          <a:ext cx="5714015" cy="6922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267" tIns="73267" rIns="73267" bIns="73267" numCol="1" spcCol="1270" anchor="ctr" anchorCtr="0">
          <a:noAutofit/>
        </a:bodyPr>
        <a:lstStyle/>
        <a:p>
          <a:pPr marL="0" lvl="0" indent="0" algn="l" defTabSz="711200">
            <a:lnSpc>
              <a:spcPct val="90000"/>
            </a:lnSpc>
            <a:spcBef>
              <a:spcPct val="0"/>
            </a:spcBef>
            <a:spcAft>
              <a:spcPct val="35000"/>
            </a:spcAft>
            <a:buNone/>
          </a:pPr>
          <a:r>
            <a:rPr lang="en-US" sz="1600" kern="1200"/>
            <a:t>Blockchain application</a:t>
          </a:r>
        </a:p>
      </dsp:txBody>
      <dsp:txXfrm>
        <a:off x="799588" y="1731214"/>
        <a:ext cx="5714015" cy="692284"/>
      </dsp:txXfrm>
    </dsp:sp>
    <dsp:sp modelId="{759C5B16-BD73-4AC7-9FFA-4E3E7B49F366}">
      <dsp:nvSpPr>
        <dsp:cNvPr id="0" name=""/>
        <dsp:cNvSpPr/>
      </dsp:nvSpPr>
      <dsp:spPr>
        <a:xfrm>
          <a:off x="0" y="2596570"/>
          <a:ext cx="6513603" cy="69228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0CB231D-C9E1-40FC-946E-BEB252D51A1A}">
      <dsp:nvSpPr>
        <dsp:cNvPr id="0" name=""/>
        <dsp:cNvSpPr/>
      </dsp:nvSpPr>
      <dsp:spPr>
        <a:xfrm>
          <a:off x="209416" y="2752334"/>
          <a:ext cx="380756" cy="38075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6FE1678-1181-4F1D-AE35-16F07E76ED2A}">
      <dsp:nvSpPr>
        <dsp:cNvPr id="0" name=""/>
        <dsp:cNvSpPr/>
      </dsp:nvSpPr>
      <dsp:spPr>
        <a:xfrm>
          <a:off x="799588" y="2596570"/>
          <a:ext cx="5714015" cy="6922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267" tIns="73267" rIns="73267" bIns="73267" numCol="1" spcCol="1270" anchor="ctr" anchorCtr="0">
          <a:noAutofit/>
        </a:bodyPr>
        <a:lstStyle/>
        <a:p>
          <a:pPr marL="0" lvl="0" indent="0" algn="l" defTabSz="711200">
            <a:lnSpc>
              <a:spcPct val="90000"/>
            </a:lnSpc>
            <a:spcBef>
              <a:spcPct val="0"/>
            </a:spcBef>
            <a:spcAft>
              <a:spcPct val="35000"/>
            </a:spcAft>
            <a:buNone/>
          </a:pPr>
          <a:r>
            <a:rPr lang="en-US" sz="1600" kern="1200"/>
            <a:t>Blockchain on the cloud</a:t>
          </a:r>
        </a:p>
      </dsp:txBody>
      <dsp:txXfrm>
        <a:off x="799588" y="2596570"/>
        <a:ext cx="5714015" cy="692284"/>
      </dsp:txXfrm>
    </dsp:sp>
    <dsp:sp modelId="{079ACDC1-0E8A-4D7A-A6D9-98BC14D3B717}">
      <dsp:nvSpPr>
        <dsp:cNvPr id="0" name=""/>
        <dsp:cNvSpPr/>
      </dsp:nvSpPr>
      <dsp:spPr>
        <a:xfrm>
          <a:off x="0" y="3461926"/>
          <a:ext cx="6513603" cy="69228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9AEB874-0120-4D64-8637-3D3360A4D6DF}">
      <dsp:nvSpPr>
        <dsp:cNvPr id="0" name=""/>
        <dsp:cNvSpPr/>
      </dsp:nvSpPr>
      <dsp:spPr>
        <a:xfrm>
          <a:off x="209416" y="3617690"/>
          <a:ext cx="380756" cy="38075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4383FB6-F64A-4E8E-AE09-84041671BC65}">
      <dsp:nvSpPr>
        <dsp:cNvPr id="0" name=""/>
        <dsp:cNvSpPr/>
      </dsp:nvSpPr>
      <dsp:spPr>
        <a:xfrm>
          <a:off x="799588" y="3461926"/>
          <a:ext cx="5714015" cy="6922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267" tIns="73267" rIns="73267" bIns="73267" numCol="1" spcCol="1270" anchor="ctr" anchorCtr="0">
          <a:noAutofit/>
        </a:bodyPr>
        <a:lstStyle/>
        <a:p>
          <a:pPr marL="0" lvl="0" indent="0" algn="l" defTabSz="711200">
            <a:lnSpc>
              <a:spcPct val="90000"/>
            </a:lnSpc>
            <a:spcBef>
              <a:spcPct val="0"/>
            </a:spcBef>
            <a:spcAft>
              <a:spcPct val="35000"/>
            </a:spcAft>
            <a:buNone/>
          </a:pPr>
          <a:r>
            <a:rPr lang="en-US" sz="1600" kern="1200"/>
            <a:t>Hands-on part 1</a:t>
          </a:r>
        </a:p>
      </dsp:txBody>
      <dsp:txXfrm>
        <a:off x="799588" y="3461926"/>
        <a:ext cx="5714015" cy="692284"/>
      </dsp:txXfrm>
    </dsp:sp>
    <dsp:sp modelId="{952B747C-B95B-4AE5-8E3D-1DA50363A021}">
      <dsp:nvSpPr>
        <dsp:cNvPr id="0" name=""/>
        <dsp:cNvSpPr/>
      </dsp:nvSpPr>
      <dsp:spPr>
        <a:xfrm>
          <a:off x="0" y="4327282"/>
          <a:ext cx="6513603" cy="69228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CF65112-C9D1-4509-A663-BFF356EB5697}">
      <dsp:nvSpPr>
        <dsp:cNvPr id="0" name=""/>
        <dsp:cNvSpPr/>
      </dsp:nvSpPr>
      <dsp:spPr>
        <a:xfrm>
          <a:off x="209416" y="4483046"/>
          <a:ext cx="380756" cy="380756"/>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628637D-595D-497B-944C-84829F50B944}">
      <dsp:nvSpPr>
        <dsp:cNvPr id="0" name=""/>
        <dsp:cNvSpPr/>
      </dsp:nvSpPr>
      <dsp:spPr>
        <a:xfrm>
          <a:off x="799588" y="4327282"/>
          <a:ext cx="5714015" cy="6922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267" tIns="73267" rIns="73267" bIns="73267" numCol="1" spcCol="1270" anchor="ctr" anchorCtr="0">
          <a:noAutofit/>
        </a:bodyPr>
        <a:lstStyle/>
        <a:p>
          <a:pPr marL="0" lvl="0" indent="0" algn="l" defTabSz="711200">
            <a:lnSpc>
              <a:spcPct val="90000"/>
            </a:lnSpc>
            <a:spcBef>
              <a:spcPct val="0"/>
            </a:spcBef>
            <a:spcAft>
              <a:spcPct val="35000"/>
            </a:spcAft>
            <a:buNone/>
          </a:pPr>
          <a:r>
            <a:rPr lang="en-US" sz="1600" kern="1200"/>
            <a:t>Some use-cases</a:t>
          </a:r>
        </a:p>
      </dsp:txBody>
      <dsp:txXfrm>
        <a:off x="799588" y="4327282"/>
        <a:ext cx="5714015" cy="692284"/>
      </dsp:txXfrm>
    </dsp:sp>
    <dsp:sp modelId="{5EFB998D-334E-43CA-B8E2-EB6532E1C9BF}">
      <dsp:nvSpPr>
        <dsp:cNvPr id="0" name=""/>
        <dsp:cNvSpPr/>
      </dsp:nvSpPr>
      <dsp:spPr>
        <a:xfrm>
          <a:off x="0" y="5192638"/>
          <a:ext cx="6513603" cy="69228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F61592C-CC3C-4E3C-A5DE-5879C543ABFB}">
      <dsp:nvSpPr>
        <dsp:cNvPr id="0" name=""/>
        <dsp:cNvSpPr/>
      </dsp:nvSpPr>
      <dsp:spPr>
        <a:xfrm>
          <a:off x="209416" y="5348402"/>
          <a:ext cx="380756" cy="380756"/>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81DBC6F-76A4-48A5-BAD8-6F98AA880006}">
      <dsp:nvSpPr>
        <dsp:cNvPr id="0" name=""/>
        <dsp:cNvSpPr/>
      </dsp:nvSpPr>
      <dsp:spPr>
        <a:xfrm>
          <a:off x="799588" y="5192638"/>
          <a:ext cx="5714015" cy="6922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267" tIns="73267" rIns="73267" bIns="73267" numCol="1" spcCol="1270" anchor="ctr" anchorCtr="0">
          <a:noAutofit/>
        </a:bodyPr>
        <a:lstStyle/>
        <a:p>
          <a:pPr marL="0" lvl="0" indent="0" algn="l" defTabSz="711200">
            <a:lnSpc>
              <a:spcPct val="90000"/>
            </a:lnSpc>
            <a:spcBef>
              <a:spcPct val="0"/>
            </a:spcBef>
            <a:spcAft>
              <a:spcPct val="35000"/>
            </a:spcAft>
            <a:buNone/>
          </a:pPr>
          <a:r>
            <a:rPr lang="en-US" sz="1600" kern="1200"/>
            <a:t>Hands-on part 2</a:t>
          </a:r>
        </a:p>
      </dsp:txBody>
      <dsp:txXfrm>
        <a:off x="799588" y="5192638"/>
        <a:ext cx="5714015" cy="692284"/>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CCA1B9-E2F0-4FA7-9BC6-A54A45505CAE}" type="datetimeFigureOut">
              <a:rPr lang="fr-CH" smtClean="0"/>
              <a:t>26.09.2019</a:t>
            </a:fld>
            <a:endParaRPr lang="fr-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901F77-4095-4480-A54F-55443B9F46A3}" type="slidenum">
              <a:rPr lang="fr-CH" smtClean="0"/>
              <a:t>‹#›</a:t>
            </a:fld>
            <a:endParaRPr lang="fr-CH"/>
          </a:p>
        </p:txBody>
      </p:sp>
    </p:spTree>
    <p:extLst>
      <p:ext uri="{BB962C8B-B14F-4D97-AF65-F5344CB8AC3E}">
        <p14:creationId xmlns:p14="http://schemas.microsoft.com/office/powerpoint/2010/main" val="26972836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Hello, my name is __________ and today I want to talk with you about how you can capitalize on the value of blockchain with Microsoft Azure Blockchain. </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T: Let’s get started.</a:t>
            </a:r>
          </a:p>
          <a:p>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lt;CLICK&gt;</a:t>
            </a:r>
            <a:endParaRPr lang="en-US" sz="1200" kern="1200">
              <a:solidFill>
                <a:schemeClr val="tx1"/>
              </a:solidFill>
              <a:effectLst/>
              <a:latin typeface="+mn-lt"/>
              <a:ea typeface="+mn-ea"/>
              <a:cs typeface="+mn-cs"/>
            </a:endParaRP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FE431-3E25-4066-ABF0-A7FC34DA8D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5676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09C85511-16B3-4376-A429-B3642719696C}" type="slidenum">
              <a:rPr lang="en-IN" smtClean="0"/>
              <a:t>10</a:t>
            </a:fld>
            <a:endParaRPr lang="en-IN"/>
          </a:p>
        </p:txBody>
      </p:sp>
      <p:sp>
        <p:nvSpPr>
          <p:cNvPr id="3" name="Notes Placeholder 2">
            <a:extLst>
              <a:ext uri="{FF2B5EF4-FFF2-40B4-BE49-F238E27FC236}">
                <a16:creationId xmlns:a16="http://schemas.microsoft.com/office/drawing/2014/main" id="{2B1FBED9-F4F7-4DB0-937D-58CA6F1C44BB}"/>
              </a:ext>
            </a:extLst>
          </p:cNvPr>
          <p:cNvSpPr>
            <a:spLocks noGrp="1"/>
          </p:cNvSpPr>
          <p:nvPr>
            <p:ph type="body" idx="1"/>
          </p:nvPr>
        </p:nvSpPr>
        <p:spPr/>
        <p:txBody>
          <a:bodyPr/>
          <a:lstStyle/>
          <a:p>
            <a:r>
              <a:rPr lang="en-US" dirty="0"/>
              <a:t>Started with finance and crypto-currency: build deployment templates to deploy a blockchain network. Then more sophisticated</a:t>
            </a:r>
          </a:p>
          <a:p>
            <a:r>
              <a:rPr lang="en-US" dirty="0"/>
              <a:t>Some scenarios cross every industries</a:t>
            </a:r>
          </a:p>
          <a:p>
            <a:r>
              <a:rPr lang="en-US" dirty="0" err="1"/>
              <a:t>Transfering</a:t>
            </a:r>
            <a:r>
              <a:rPr lang="en-US" dirty="0"/>
              <a:t> an asset in-between parties</a:t>
            </a:r>
            <a:endParaRPr lang="fr-CH" dirty="0"/>
          </a:p>
        </p:txBody>
      </p:sp>
    </p:spTree>
    <p:extLst>
      <p:ext uri="{BB962C8B-B14F-4D97-AF65-F5344CB8AC3E}">
        <p14:creationId xmlns:p14="http://schemas.microsoft.com/office/powerpoint/2010/main" val="1487460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C8405C-EDEE-4423-B1F1-7E566064AB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5FCDDC9E-42BC-49C9-A3ED-3CBF74406613}"/>
              </a:ext>
            </a:extLst>
          </p:cNvPr>
          <p:cNvSpPr>
            <a:spLocks noGrp="1"/>
          </p:cNvSpPr>
          <p:nvPr>
            <p:ph type="body" idx="1"/>
          </p:nvPr>
        </p:nvSpPr>
        <p:spPr/>
        <p:txBody>
          <a:bodyPr/>
          <a:lstStyle/>
          <a:p>
            <a:r>
              <a:rPr lang="en-US" dirty="0"/>
              <a:t>You get ill because of a dairy product. Who’s fault</a:t>
            </a:r>
            <a:endParaRPr lang="fr-CH" dirty="0"/>
          </a:p>
        </p:txBody>
      </p:sp>
    </p:spTree>
    <p:extLst>
      <p:ext uri="{BB962C8B-B14F-4D97-AF65-F5344CB8AC3E}">
        <p14:creationId xmlns:p14="http://schemas.microsoft.com/office/powerpoint/2010/main" val="39437406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C8405C-EDEE-4423-B1F1-7E566064AB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42299FA1-69BB-4EFF-8F42-30A0BF099C3F}"/>
              </a:ext>
            </a:extLst>
          </p:cNvPr>
          <p:cNvSpPr>
            <a:spLocks noGrp="1"/>
          </p:cNvSpPr>
          <p:nvPr>
            <p:ph type="body" idx="1"/>
          </p:nvPr>
        </p:nvSpPr>
        <p:spPr/>
        <p:txBody>
          <a:bodyPr/>
          <a:lstStyle/>
          <a:p>
            <a:endParaRPr lang="fr-CH" dirty="0"/>
          </a:p>
        </p:txBody>
      </p:sp>
    </p:spTree>
    <p:extLst>
      <p:ext uri="{BB962C8B-B14F-4D97-AF65-F5344CB8AC3E}">
        <p14:creationId xmlns:p14="http://schemas.microsoft.com/office/powerpoint/2010/main" val="12573550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151B3F34-78BB-4FD4-ADF4-777D5D1F6F59}"/>
              </a:ext>
            </a:extLst>
          </p:cNvPr>
          <p:cNvSpPr>
            <a:spLocks noGrp="1"/>
          </p:cNvSpPr>
          <p:nvPr>
            <p:ph type="body" idx="1"/>
          </p:nvPr>
        </p:nvSpPr>
        <p:spPr/>
        <p:txBody>
          <a:bodyPr/>
          <a:lstStyle/>
          <a:p>
            <a:r>
              <a:rPr lang="en-US" dirty="0"/>
              <a:t>Few players come into the scenario</a:t>
            </a:r>
          </a:p>
          <a:p>
            <a:r>
              <a:rPr lang="en-US" dirty="0"/>
              <a:t>Requirements on temp and humidity</a:t>
            </a:r>
          </a:p>
          <a:p>
            <a:r>
              <a:rPr lang="en-US" dirty="0"/>
              <a:t>Concept of smart contract which is a piece of code which runs on the network. You can state conditions, everyone has access. IoT sensor to test and monitor</a:t>
            </a:r>
          </a:p>
          <a:p>
            <a:r>
              <a:rPr lang="en-US" dirty="0"/>
              <a:t>As soon as it happens: every member is alerted</a:t>
            </a:r>
          </a:p>
          <a:p>
            <a:endParaRPr lang="fr-CH" dirty="0"/>
          </a:p>
        </p:txBody>
      </p:sp>
    </p:spTree>
    <p:extLst>
      <p:ext uri="{BB962C8B-B14F-4D97-AF65-F5344CB8AC3E}">
        <p14:creationId xmlns:p14="http://schemas.microsoft.com/office/powerpoint/2010/main" val="25585288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C85511-16B3-4376-A429-B3642719696C}"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43B684EB-A722-42E9-9D24-908046932B05}"/>
              </a:ext>
            </a:extLst>
          </p:cNvPr>
          <p:cNvSpPr>
            <a:spLocks noGrp="1"/>
          </p:cNvSpPr>
          <p:nvPr>
            <p:ph type="body" idx="1"/>
          </p:nvPr>
        </p:nvSpPr>
        <p:spPr/>
        <p:txBody>
          <a:bodyPr/>
          <a:lstStyle/>
          <a:p>
            <a:r>
              <a:rPr lang="en-US" dirty="0" err="1"/>
              <a:t>Wf</a:t>
            </a:r>
            <a:r>
              <a:rPr lang="en-US" dirty="0"/>
              <a:t> : streamline cross parties by checking </a:t>
            </a:r>
            <a:r>
              <a:rPr lang="en-US" dirty="0" err="1"/>
              <a:t>transations</a:t>
            </a:r>
            <a:r>
              <a:rPr lang="en-US" dirty="0"/>
              <a:t> with pre-defined rules</a:t>
            </a:r>
          </a:p>
          <a:p>
            <a:r>
              <a:rPr lang="en-US" dirty="0"/>
              <a:t>Security tracking &amp; tracing, exchange of assets and ownership of this asset</a:t>
            </a:r>
          </a:p>
          <a:p>
            <a:endParaRPr lang="fr-CH" dirty="0"/>
          </a:p>
        </p:txBody>
      </p:sp>
    </p:spTree>
    <p:extLst>
      <p:ext uri="{BB962C8B-B14F-4D97-AF65-F5344CB8AC3E}">
        <p14:creationId xmlns:p14="http://schemas.microsoft.com/office/powerpoint/2010/main" val="748811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al of the house token for ownership of the house</a:t>
            </a:r>
          </a:p>
          <a:p>
            <a:r>
              <a:rPr lang="en-US" dirty="0"/>
              <a:t>Certificate of authenticity</a:t>
            </a:r>
          </a:p>
          <a:p>
            <a:r>
              <a:rPr lang="en-US" dirty="0"/>
              <a:t>Can be lost, damaged, should be managed</a:t>
            </a:r>
          </a:p>
          <a:p>
            <a:r>
              <a:rPr lang="en-US" dirty="0"/>
              <a:t>Exchange process between owners is easier</a:t>
            </a:r>
            <a:endParaRPr lang="fr-CH" dirty="0"/>
          </a:p>
        </p:txBody>
      </p:sp>
      <p:sp>
        <p:nvSpPr>
          <p:cNvPr id="4" name="Slide Number Placeholder 3"/>
          <p:cNvSpPr>
            <a:spLocks noGrp="1"/>
          </p:cNvSpPr>
          <p:nvPr>
            <p:ph type="sldNum" sz="quarter" idx="5"/>
          </p:nvPr>
        </p:nvSpPr>
        <p:spPr/>
        <p:txBody>
          <a:bodyPr/>
          <a:lstStyle/>
          <a:p>
            <a:fld id="{99901F77-4095-4480-A54F-55443B9F46A3}" type="slidenum">
              <a:rPr lang="fr-CH" smtClean="0"/>
              <a:t>15</a:t>
            </a:fld>
            <a:endParaRPr lang="fr-CH"/>
          </a:p>
        </p:txBody>
      </p:sp>
    </p:spTree>
    <p:extLst>
      <p:ext uri="{BB962C8B-B14F-4D97-AF65-F5344CB8AC3E}">
        <p14:creationId xmlns:p14="http://schemas.microsoft.com/office/powerpoint/2010/main" val="36703983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Unfortunately, building an end-to-end blockchain app is a huge undertaking. Blockchain’s strength lies in its ability to automatically validate transactions against pre-agreed business logic, and thus developers want to spend their time writing business logic to develop smart contracts.</a:t>
            </a:r>
          </a:p>
          <a:p>
            <a:pPr marL="0" indent="0">
              <a:buFont typeface="Arial" panose="020B0604020202020204" pitchFamily="34" charset="0"/>
              <a:buNone/>
            </a:pPr>
            <a:endParaRPr lang="en-US"/>
          </a:p>
          <a:p>
            <a:pPr marL="0" indent="0">
              <a:buFont typeface="Arial" panose="020B0604020202020204" pitchFamily="34" charset="0"/>
              <a:buNone/>
            </a:pPr>
            <a:r>
              <a:rPr lang="en-US"/>
              <a:t>But, there are dozens of other steps you must perform before getting to this. From manually deploying a ledger, to managing pre-processing and storage, building integrations, creating web clients, and more, developers get buried in the task of creating an infrastructure and can’t spend their time where it counts.</a:t>
            </a:r>
          </a:p>
          <a:p>
            <a:pPr marL="217262" lvl="1" indent="0">
              <a:buFont typeface="Arial" panose="020B0604020202020204" pitchFamily="34" charset="0"/>
              <a:buNone/>
            </a:pPr>
            <a:endParaRPr lang="en-US" i="0"/>
          </a:p>
          <a:p>
            <a:pPr marL="0" indent="0">
              <a:buFont typeface="Arial" panose="020B0604020202020204" pitchFamily="34" charset="0"/>
              <a:buNone/>
            </a:pPr>
            <a:r>
              <a:rPr lang="en-US" b="1"/>
              <a:t>T: Enterprises need a way to make blockchain accessible. &lt;click&g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C85511-16B3-4376-A429-B3642719696C}"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94178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Microsoft is committed to be the go-to cloud provider powering this new class of blockchain applications. Our work with mature consortia across industries has led to a deep understanding of the anatomy behind a blockchain application, which has allowed us to break blockchain down to its essential steps. </a:t>
            </a:r>
          </a:p>
          <a:p>
            <a:pPr marL="0" indent="0">
              <a:buFont typeface="Arial" panose="020B0604020202020204" pitchFamily="34" charset="0"/>
              <a:buNone/>
            </a:pPr>
            <a:endParaRPr lang="en-US" b="1" dirty="0"/>
          </a:p>
          <a:p>
            <a:pPr marL="0" indent="0">
              <a:buFont typeface="Arial" panose="020B0604020202020204" pitchFamily="34" charset="0"/>
              <a:buNone/>
            </a:pPr>
            <a:r>
              <a:rPr lang="en-US" b="0" dirty="0"/>
              <a:t>When building with blockchain, the first step is to </a:t>
            </a:r>
            <a:r>
              <a:rPr lang="en-US" b="1" dirty="0"/>
              <a:t>launch and manage the network</a:t>
            </a:r>
            <a:r>
              <a:rPr lang="en-US" b="0" dirty="0"/>
              <a:t>. While that might sound simple enough at first, this means deploying and managing a consortium network across the cloud footprint of multiple organizations. This involves choosing and deploying a ledger, inviting members, assigning node identities, connecting nodes, setting up permissions, and more. Once the network is set up, it must be then kept running and up to date.</a:t>
            </a:r>
          </a:p>
          <a:p>
            <a:pPr marL="0" indent="0">
              <a:buFont typeface="Arial" panose="020B0604020202020204" pitchFamily="34" charset="0"/>
              <a:buNone/>
            </a:pPr>
            <a:endParaRPr lang="en-US" b="0" dirty="0"/>
          </a:p>
          <a:p>
            <a:pPr marL="0" indent="0">
              <a:buFont typeface="Arial" panose="020B0604020202020204" pitchFamily="34" charset="0"/>
              <a:buNone/>
            </a:pPr>
            <a:r>
              <a:rPr lang="en-US" b="0" dirty="0"/>
              <a:t>From there, developers must </a:t>
            </a:r>
            <a:r>
              <a:rPr lang="en-US" b="1" dirty="0"/>
              <a:t>model smart contracts</a:t>
            </a:r>
            <a:r>
              <a:rPr lang="en-US" b="0" dirty="0"/>
              <a:t> that digitize their business workflows and ensure all business partners are on board. This means developing, testing, versioning, and iterating smart contracts until they adequately meet the business needs of all network members. On top of that, business needs change, meaning network owners must have the tools on hand to update smart contracts quickly and easily.</a:t>
            </a:r>
          </a:p>
          <a:p>
            <a:pPr marL="0" indent="0">
              <a:buFont typeface="Arial" panose="020B0604020202020204" pitchFamily="34" charset="0"/>
              <a:buNone/>
            </a:pPr>
            <a:endParaRPr lang="en-US" b="0" dirty="0"/>
          </a:p>
          <a:p>
            <a:pPr marL="0" indent="0">
              <a:buFont typeface="Arial" panose="020B0604020202020204" pitchFamily="34" charset="0"/>
              <a:buNone/>
            </a:pPr>
            <a:r>
              <a:rPr lang="en-US" b="0" dirty="0"/>
              <a:t>Once the infrastructure is set up and the business logic is translated into a smart contract, the final step is to </a:t>
            </a:r>
            <a:r>
              <a:rPr lang="en-US" b="1" dirty="0"/>
              <a:t>build and extend the application</a:t>
            </a:r>
            <a:r>
              <a:rPr lang="en-US" b="0" dirty="0"/>
              <a:t> to work with the tools your business uses today. Since the blockchain essentially acts as an immutable data layer, compatibility with existing systems is critical to enable the transfer of data to and from the ledger, and to allow for the publication of smart contract results to off-chain databases and consuming applications.</a:t>
            </a:r>
          </a:p>
          <a:p>
            <a:pPr marL="0" indent="0">
              <a:buFont typeface="Arial" panose="020B0604020202020204" pitchFamily="34" charset="0"/>
              <a:buNone/>
            </a:pPr>
            <a:endParaRPr lang="en-US" b="0" dirty="0"/>
          </a:p>
          <a:p>
            <a:pPr marL="0" indent="0">
              <a:buFont typeface="Arial" panose="020B0604020202020204" pitchFamily="34" charset="0"/>
              <a:buNone/>
            </a:pPr>
            <a:r>
              <a:rPr lang="en-US" b="1" dirty="0"/>
              <a:t>T: for enterprises that go it alone, these steps pose huge challenges… &lt;click&g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C8405C-EDEE-4423-B1F1-7E566064AB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47851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Note: This slide is animated and requires a click through.</a:t>
            </a:r>
            <a:endParaRPr lang="en-US" dirty="0"/>
          </a:p>
          <a:p>
            <a:endParaRPr lang="en-US" dirty="0"/>
          </a:p>
          <a:p>
            <a:r>
              <a:rPr lang="en-US" dirty="0"/>
              <a:t>…But we built Azure Blockchain to streamline these steps. </a:t>
            </a:r>
            <a:r>
              <a:rPr lang="en-US" b="1" dirty="0"/>
              <a:t>&lt;click&gt;</a:t>
            </a:r>
          </a:p>
          <a:p>
            <a:endParaRPr lang="en-US" dirty="0"/>
          </a:p>
          <a:p>
            <a:r>
              <a:rPr lang="en-US" dirty="0"/>
              <a:t>From the start, </a:t>
            </a:r>
            <a:r>
              <a:rPr lang="en-US" sz="1200" b="1" kern="1200" dirty="0">
                <a:solidFill>
                  <a:schemeClr val="tx1"/>
                </a:solidFill>
                <a:effectLst/>
                <a:latin typeface="+mn-lt"/>
                <a:ea typeface="+mn-ea"/>
                <a:cs typeface="+mn-cs"/>
              </a:rPr>
              <a:t>Azure Blockchain Service </a:t>
            </a:r>
            <a:r>
              <a:rPr lang="en-US" sz="1200" kern="1200" dirty="0">
                <a:solidFill>
                  <a:schemeClr val="tx1"/>
                </a:solidFill>
                <a:effectLst/>
                <a:latin typeface="+mn-lt"/>
                <a:ea typeface="+mn-ea"/>
                <a:cs typeface="+mn-cs"/>
              </a:rPr>
              <a:t>allows users to configure, deploy, and manage these networks, forming the foundation of blockchain apps in the cloud. </a:t>
            </a:r>
            <a:r>
              <a:rPr lang="en-US" sz="1200" b="1" kern="1200" dirty="0">
                <a:solidFill>
                  <a:schemeClr val="tx1"/>
                </a:solidFill>
                <a:effectLst/>
                <a:latin typeface="+mn-lt"/>
                <a:ea typeface="+mn-ea"/>
                <a:cs typeface="+mn-cs"/>
              </a:rPr>
              <a:t>&lt;click&gt;</a:t>
            </a:r>
          </a:p>
          <a:p>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Once the network is up and running, </a:t>
            </a:r>
            <a:r>
              <a:rPr lang="en-US" sz="1200" b="1" kern="1200" dirty="0">
                <a:solidFill>
                  <a:schemeClr val="tx1"/>
                </a:solidFill>
                <a:effectLst/>
                <a:latin typeface="+mn-lt"/>
                <a:ea typeface="+mn-ea"/>
                <a:cs typeface="+mn-cs"/>
              </a:rPr>
              <a:t>Azure Blockchain Workbench</a:t>
            </a:r>
            <a:r>
              <a:rPr lang="en-US" sz="1200" kern="1200" dirty="0">
                <a:solidFill>
                  <a:schemeClr val="tx1"/>
                </a:solidFill>
                <a:effectLst/>
                <a:latin typeface="+mn-lt"/>
                <a:ea typeface="+mn-ea"/>
                <a:cs typeface="+mn-cs"/>
              </a:rPr>
              <a:t> provides an intuitive UI for modelling and prototyping workflows, and VS Code integrations make it easy for experienced developers to author and test smart contracts. </a:t>
            </a:r>
            <a:r>
              <a:rPr lang="en-US" sz="1200" b="1" kern="1200" dirty="0">
                <a:solidFill>
                  <a:schemeClr val="tx1"/>
                </a:solidFill>
                <a:effectLst/>
                <a:latin typeface="+mn-lt"/>
                <a:ea typeface="+mn-ea"/>
                <a:cs typeface="+mn-cs"/>
              </a:rPr>
              <a:t>&lt;click&g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And to ensure your network communicates with the data outputs and ingesting systems you already use, </a:t>
            </a:r>
            <a:r>
              <a:rPr lang="en-US" sz="1200" b="1" kern="1200" dirty="0">
                <a:solidFill>
                  <a:schemeClr val="tx1"/>
                </a:solidFill>
                <a:effectLst/>
                <a:latin typeface="+mn-lt"/>
                <a:ea typeface="+mn-ea"/>
                <a:cs typeface="+mn-cs"/>
              </a:rPr>
              <a:t>Azure Blockchain Dev Kit</a:t>
            </a:r>
            <a:r>
              <a:rPr lang="en-US" sz="1200" kern="1200" dirty="0">
                <a:solidFill>
                  <a:schemeClr val="tx1"/>
                </a:solidFill>
                <a:effectLst/>
                <a:latin typeface="+mn-lt"/>
                <a:ea typeface="+mn-ea"/>
                <a:cs typeface="+mn-cs"/>
              </a:rPr>
              <a:t> has all the tools you need to connect blockchain applications to your business on an open and extensible 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T: let’s take a closer look at these technologies. &lt;click&gt;</a:t>
            </a:r>
          </a:p>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C85511-16B3-4376-A429-B3642719696C}"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89331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Blockchain Service : fully managed ledger service</a:t>
            </a:r>
          </a:p>
          <a:p>
            <a:r>
              <a:rPr lang="en-US" dirty="0"/>
              <a:t>Built on Ethereum with the Quorum ledger – R3 and </a:t>
            </a:r>
            <a:r>
              <a:rPr lang="en-US" dirty="0" err="1"/>
              <a:t>hyperledger</a:t>
            </a:r>
            <a:r>
              <a:rPr lang="en-US" dirty="0"/>
              <a:t> fabric to come</a:t>
            </a:r>
          </a:p>
          <a:p>
            <a:r>
              <a:rPr lang="en-US" dirty="0"/>
              <a:t>Solves the network creation</a:t>
            </a:r>
          </a:p>
          <a:p>
            <a:r>
              <a:rPr lang="en-US" dirty="0"/>
              <a:t>Osaka (feature): take data off this chain, stick it to a data source and transform it</a:t>
            </a:r>
          </a:p>
          <a:p>
            <a:r>
              <a:rPr lang="en-US" dirty="0"/>
              <a:t>Previous coco, confidential consortium framework (CCF): to ensure better throughput and latency, more confidentiality. Run inside an enclave removing consensus</a:t>
            </a:r>
          </a:p>
          <a:p>
            <a:endParaRPr lang="en-US" dirty="0"/>
          </a:p>
          <a:p>
            <a:r>
              <a:rPr lang="en-US" dirty="0"/>
              <a:t>Workbench: help build model contract</a:t>
            </a:r>
            <a:endParaRPr lang="fr-CH" dirty="0"/>
          </a:p>
        </p:txBody>
      </p:sp>
      <p:sp>
        <p:nvSpPr>
          <p:cNvPr id="4" name="Slide Number Placeholder 3"/>
          <p:cNvSpPr>
            <a:spLocks noGrp="1"/>
          </p:cNvSpPr>
          <p:nvPr>
            <p:ph type="sldNum" sz="quarter" idx="5"/>
          </p:nvPr>
        </p:nvSpPr>
        <p:spPr/>
        <p:txBody>
          <a:bodyPr/>
          <a:lstStyle/>
          <a:p>
            <a:fld id="{99901F77-4095-4480-A54F-55443B9F46A3}" type="slidenum">
              <a:rPr lang="fr-CH" smtClean="0"/>
              <a:t>19</a:t>
            </a:fld>
            <a:endParaRPr lang="fr-CH"/>
          </a:p>
        </p:txBody>
      </p:sp>
    </p:spTree>
    <p:extLst>
      <p:ext uri="{BB962C8B-B14F-4D97-AF65-F5344CB8AC3E}">
        <p14:creationId xmlns:p14="http://schemas.microsoft.com/office/powerpoint/2010/main" val="922525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H" dirty="0"/>
          </a:p>
        </p:txBody>
      </p:sp>
      <p:sp>
        <p:nvSpPr>
          <p:cNvPr id="4" name="Slide Number Placeholder 3"/>
          <p:cNvSpPr>
            <a:spLocks noGrp="1"/>
          </p:cNvSpPr>
          <p:nvPr>
            <p:ph type="sldNum" sz="quarter" idx="5"/>
          </p:nvPr>
        </p:nvSpPr>
        <p:spPr/>
        <p:txBody>
          <a:bodyPr/>
          <a:lstStyle/>
          <a:p>
            <a:fld id="{99901F77-4095-4480-A54F-55443B9F46A3}" type="slidenum">
              <a:rPr lang="fr-CH" smtClean="0"/>
              <a:t>2</a:t>
            </a:fld>
            <a:endParaRPr lang="fr-CH"/>
          </a:p>
        </p:txBody>
      </p:sp>
    </p:spTree>
    <p:extLst>
      <p:ext uri="{BB962C8B-B14F-4D97-AF65-F5344CB8AC3E}">
        <p14:creationId xmlns:p14="http://schemas.microsoft.com/office/powerpoint/2010/main" val="15054718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6/2019 10: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13950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C85511-16B3-4376-A429-B3642719696C}"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7DA620A9-6E5C-4933-81C1-FA0A6A0F0DDA}"/>
              </a:ext>
            </a:extLst>
          </p:cNvPr>
          <p:cNvSpPr>
            <a:spLocks noGrp="1"/>
          </p:cNvSpPr>
          <p:nvPr>
            <p:ph type="body" idx="1"/>
          </p:nvPr>
        </p:nvSpPr>
        <p:spPr/>
        <p:txBody>
          <a:bodyPr/>
          <a:lstStyle/>
          <a:p>
            <a:r>
              <a:rPr lang="en-US" dirty="0"/>
              <a:t>Azure blockchain network in a PaaS environment</a:t>
            </a:r>
          </a:p>
          <a:p>
            <a:r>
              <a:rPr lang="en-US" dirty="0"/>
              <a:t>Deploy quickly easily, management of the nodes. Network in a couple of minutes</a:t>
            </a:r>
            <a:endParaRPr lang="fr-CH" dirty="0"/>
          </a:p>
        </p:txBody>
      </p:sp>
    </p:spTree>
    <p:extLst>
      <p:ext uri="{BB962C8B-B14F-4D97-AF65-F5344CB8AC3E}">
        <p14:creationId xmlns:p14="http://schemas.microsoft.com/office/powerpoint/2010/main" val="33882502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C85511-16B3-4376-A429-B3642719696C}"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9FABA74B-B3C3-476B-8E69-8D65BF264691}"/>
              </a:ext>
            </a:extLst>
          </p:cNvPr>
          <p:cNvSpPr>
            <a:spLocks noGrp="1"/>
          </p:cNvSpPr>
          <p:nvPr>
            <p:ph type="body" idx="1"/>
          </p:nvPr>
        </p:nvSpPr>
        <p:spPr/>
        <p:txBody>
          <a:bodyPr/>
          <a:lstStyle/>
          <a:p>
            <a:r>
              <a:rPr lang="en-US" dirty="0"/>
              <a:t>Built-in consortium management</a:t>
            </a:r>
            <a:endParaRPr lang="fr-CH" dirty="0"/>
          </a:p>
        </p:txBody>
      </p:sp>
    </p:spTree>
    <p:extLst>
      <p:ext uri="{BB962C8B-B14F-4D97-AF65-F5344CB8AC3E}">
        <p14:creationId xmlns:p14="http://schemas.microsoft.com/office/powerpoint/2010/main" val="29399544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6/2019 10: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78595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09C85511-16B3-4376-A429-B3642719696C}" type="slidenum">
              <a:rPr lang="en-IN" smtClean="0"/>
              <a:t>24</a:t>
            </a:fld>
            <a:endParaRPr lang="en-IN"/>
          </a:p>
        </p:txBody>
      </p:sp>
      <p:sp>
        <p:nvSpPr>
          <p:cNvPr id="3" name="Notes Placeholder 2">
            <a:extLst>
              <a:ext uri="{FF2B5EF4-FFF2-40B4-BE49-F238E27FC236}">
                <a16:creationId xmlns:a16="http://schemas.microsoft.com/office/drawing/2014/main" id="{4E16F585-0E66-4561-838B-BF868F705F1B}"/>
              </a:ext>
            </a:extLst>
          </p:cNvPr>
          <p:cNvSpPr>
            <a:spLocks noGrp="1"/>
          </p:cNvSpPr>
          <p:nvPr>
            <p:ph type="body" idx="1"/>
          </p:nvPr>
        </p:nvSpPr>
        <p:spPr/>
        <p:txBody>
          <a:bodyPr/>
          <a:lstStyle/>
          <a:p>
            <a:r>
              <a:rPr lang="en-US" dirty="0"/>
              <a:t>Visual studio code extension to easily write and deploy patterns</a:t>
            </a:r>
            <a:endParaRPr lang="fr-CH" dirty="0"/>
          </a:p>
        </p:txBody>
      </p:sp>
    </p:spTree>
    <p:extLst>
      <p:ext uri="{BB962C8B-B14F-4D97-AF65-F5344CB8AC3E}">
        <p14:creationId xmlns:p14="http://schemas.microsoft.com/office/powerpoint/2010/main" val="24329402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09C85511-16B3-4376-A429-B3642719696C}" type="slidenum">
              <a:rPr lang="en-IN" smtClean="0"/>
              <a:t>25</a:t>
            </a:fld>
            <a:endParaRPr lang="en-IN"/>
          </a:p>
        </p:txBody>
      </p:sp>
      <p:sp>
        <p:nvSpPr>
          <p:cNvPr id="3" name="Notes Placeholder 2">
            <a:extLst>
              <a:ext uri="{FF2B5EF4-FFF2-40B4-BE49-F238E27FC236}">
                <a16:creationId xmlns:a16="http://schemas.microsoft.com/office/drawing/2014/main" id="{6FDF95F1-EA37-44F9-8534-083171B883C3}"/>
              </a:ext>
            </a:extLst>
          </p:cNvPr>
          <p:cNvSpPr>
            <a:spLocks noGrp="1"/>
          </p:cNvSpPr>
          <p:nvPr>
            <p:ph type="body" idx="1"/>
          </p:nvPr>
        </p:nvSpPr>
        <p:spPr/>
        <p:txBody>
          <a:bodyPr/>
          <a:lstStyle/>
          <a:p>
            <a:r>
              <a:rPr lang="en-US" dirty="0"/>
              <a:t>To have a trigger to push and pull data from a ledger: little to know code </a:t>
            </a:r>
            <a:endParaRPr lang="fr-CH" dirty="0"/>
          </a:p>
        </p:txBody>
      </p:sp>
    </p:spTree>
    <p:extLst>
      <p:ext uri="{BB962C8B-B14F-4D97-AF65-F5344CB8AC3E}">
        <p14:creationId xmlns:p14="http://schemas.microsoft.com/office/powerpoint/2010/main" val="18964413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r>
              <a:rPr kumimoji="0" lang="en-US" sz="1600" b="1"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hallenge</a:t>
            </a:r>
            <a:r>
              <a:rPr kumimoji="0" lang="en-US" sz="1600" b="0"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 </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rgbClr val="FFFFFF"/>
                </a:solidFill>
                <a:ea typeface="Segoe UI" pitchFamily="34" charset="0"/>
                <a:cs typeface="Segoe UI" pitchFamily="34" charset="0"/>
              </a:rPr>
              <a:t>Maersk wanted to eliminate duplication, inefficiency, lack of transparency, data fraud, and errors across the plethora of parties interacting in marine insurance </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rgbClr val="FFFFFF"/>
                </a:solidFill>
                <a:ea typeface="Segoe UI" pitchFamily="34" charset="0"/>
                <a:cs typeface="Segoe UI" pitchFamily="34" charset="0"/>
              </a:rPr>
              <a:t>Additionally, they sought to manage compliance across multiple regulatory bodies and jurisdictions while balancing insurance rates and costs</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endParaRPr lang="en-US">
              <a:solidFill>
                <a:srgbClr val="FFFFFF"/>
              </a:solidFill>
              <a:ea typeface="Segoe UI" pitchFamily="34" charset="0"/>
              <a:cs typeface="Segoe UI" pitchFamily="34" charset="0"/>
            </a:endParaRPr>
          </a:p>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r>
              <a:rPr kumimoji="0" lang="en-US" sz="1600" b="1"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trategy</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rgbClr val="FFFFFF"/>
                </a:solidFill>
                <a:ea typeface="Segoe UI" pitchFamily="34" charset="0"/>
                <a:cs typeface="Segoe UI" pitchFamily="34" charset="0"/>
              </a:rPr>
              <a:t>Maersk, EY, </a:t>
            </a:r>
            <a:r>
              <a:rPr lang="en-US" err="1">
                <a:solidFill>
                  <a:srgbClr val="FFFFFF"/>
                </a:solidFill>
                <a:ea typeface="Segoe UI" pitchFamily="34" charset="0"/>
                <a:cs typeface="Segoe UI" pitchFamily="34" charset="0"/>
              </a:rPr>
              <a:t>Guardtime</a:t>
            </a:r>
            <a:r>
              <a:rPr lang="en-US">
                <a:solidFill>
                  <a:srgbClr val="FFFFFF"/>
                </a:solidFill>
                <a:ea typeface="Segoe UI" pitchFamily="34" charset="0"/>
                <a:cs typeface="Segoe UI" pitchFamily="34" charset="0"/>
              </a:rPr>
              <a:t>, and Microsoft developed a real-time blockchain enabled platform for marine insurance</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rgbClr val="FFFFFF"/>
                </a:solidFill>
                <a:ea typeface="Segoe UI" pitchFamily="34" charset="0"/>
                <a:cs typeface="Segoe UI" pitchFamily="34" charset="0"/>
              </a:rPr>
              <a:t>The solution streamlined claims and settlement processes, while reducing errors</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endParaRPr lang="en-US">
              <a:solidFill>
                <a:srgbClr val="FFFFFF"/>
              </a:solidFill>
              <a:ea typeface="Segoe UI" pitchFamily="34" charset="0"/>
              <a:cs typeface="Segoe UI" pitchFamily="34" charset="0"/>
            </a:endParaRPr>
          </a:p>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r>
              <a:rPr kumimoji="0" lang="en-US" sz="1600" b="1"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Results</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rgbClr val="FFFFFF"/>
                </a:solidFill>
                <a:ea typeface="Segoe UI" pitchFamily="34" charset="0"/>
                <a:cs typeface="Segoe UI" pitchFamily="34" charset="0"/>
              </a:rPr>
              <a:t>Real-time visibility into the location, condition, and safety of high-value assets moving around the world </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rgbClr val="FFFFFF"/>
                </a:solidFill>
                <a:ea typeface="Segoe UI" pitchFamily="34" charset="0"/>
                <a:cs typeface="Segoe UI" pitchFamily="34" charset="0"/>
              </a:rPr>
              <a:t>Accurate, dynamic, and fair underwriting and pricing based on that visibility </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rgbClr val="FFFFFF"/>
                </a:solidFill>
                <a:ea typeface="Segoe UI" pitchFamily="34" charset="0"/>
                <a:cs typeface="Segoe UI" pitchFamily="34" charset="0"/>
              </a:rPr>
              <a:t>Streamlined regulatory reporting and compliance </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rgbClr val="FFFFFF"/>
                </a:solidFill>
                <a:ea typeface="Segoe UI" pitchFamily="34" charset="0"/>
                <a:cs typeface="Segoe UI" pitchFamily="34" charset="0"/>
              </a:rPr>
              <a:t>Accurate and transparent data sharing among all relevant stakeholders with audit trail</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rgbClr val="FFFFFF"/>
                </a:solidFill>
                <a:ea typeface="Segoe UI" pitchFamily="34" charset="0"/>
                <a:cs typeface="Segoe UI" pitchFamily="34" charset="0"/>
              </a:rPr>
              <a:t>Capital freed from poor credit system</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endParaRPr lang="en-US">
              <a:solidFill>
                <a:srgbClr val="FFFFFF"/>
              </a:solidFill>
              <a:ea typeface="Segoe UI" pitchFamily="34" charset="0"/>
              <a:cs typeface="Segoe UI" pitchFamily="34" charset="0"/>
            </a:endParaRP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endParaRPr lang="en-US">
              <a:solidFill>
                <a:srgbClr val="FFFFFF"/>
              </a:soli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ACD8C2-2C6B-4AC0-B3A6-A015FF2E25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93038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ACD8C2-2C6B-4AC0-B3A6-A015FF2E25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14953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r>
              <a:rPr kumimoji="0" lang="en-US" sz="1600" b="1"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hallenge</a:t>
            </a:r>
            <a:r>
              <a:rPr kumimoji="0" lang="en-US" sz="1600" b="0"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 </a:t>
            </a:r>
          </a:p>
          <a:p>
            <a:pPr marL="173665"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chemeClr val="bg1"/>
                </a:solidFill>
                <a:cs typeface="Segoe UI" pitchFamily="34" charset="0"/>
              </a:rPr>
              <a:t>Microsoft used a complicated, manual method to calculate royalties for XBOX publishers.</a:t>
            </a:r>
          </a:p>
          <a:p>
            <a:pPr marL="173665"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chemeClr val="bg1"/>
                </a:solidFill>
                <a:cs typeface="Segoe UI" pitchFamily="34" charset="0"/>
              </a:rPr>
              <a:t>Microsoft’s royalty process took 45 days, which delayed payments to publishers.</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endParaRPr lang="en-US">
              <a:solidFill>
                <a:srgbClr val="FFFFFF"/>
              </a:solidFill>
              <a:ea typeface="Segoe UI" pitchFamily="34" charset="0"/>
              <a:cs typeface="Segoe UI" pitchFamily="34" charset="0"/>
            </a:endParaRPr>
          </a:p>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r>
              <a:rPr kumimoji="0" lang="en-US" sz="1600" b="1"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trategy</a:t>
            </a:r>
          </a:p>
          <a:p>
            <a:pPr marL="171450" marR="0" lvl="0" indent="-171450" algn="l" defTabSz="914169" rtl="0" eaLnBrk="1" fontAlgn="base" latinLnBrk="0" hangingPunct="1">
              <a:lnSpc>
                <a:spcPct val="100000"/>
              </a:lnSpc>
              <a:spcBef>
                <a:spcPct val="0"/>
              </a:spcBef>
              <a:spcAft>
                <a:spcPts val="196"/>
              </a:spcAft>
              <a:buClr>
                <a:prstClr val="white"/>
              </a:buClr>
              <a:buSzPct val="100000"/>
              <a:buFont typeface="Arial" panose="020B0604020202020204" pitchFamily="34" charset="0"/>
              <a:buChar char="•"/>
              <a:tabLst/>
              <a:defRPr/>
            </a:pPr>
            <a:r>
              <a:rPr lang="en-US">
                <a:solidFill>
                  <a:schemeClr val="bg1"/>
                </a:solidFill>
                <a:ea typeface="Segoe UI" pitchFamily="34" charset="0"/>
                <a:cs typeface="Segoe UI" pitchFamily="34" charset="0"/>
              </a:rPr>
              <a:t>Microsoft developed a blockchain-based solution that offers XBOX royalty information in near real time.</a:t>
            </a:r>
          </a:p>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endParaRPr kumimoji="0" lang="en-US" sz="1600" b="0"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r>
              <a:rPr kumimoji="0" lang="en-US" sz="1600" b="1"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Results</a:t>
            </a:r>
          </a:p>
          <a:p>
            <a:pPr marL="173665"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chemeClr val="bg1"/>
                </a:solidFill>
                <a:ea typeface="Segoe UI" pitchFamily="34" charset="0"/>
                <a:cs typeface="Segoe UI" pitchFamily="34" charset="0"/>
              </a:rPr>
              <a:t>Blockchain technology improved trust by making the royalty payment calculation process more transparent for publishers.</a:t>
            </a:r>
          </a:p>
          <a:p>
            <a:pPr marL="173665"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chemeClr val="bg1"/>
                </a:solidFill>
                <a:ea typeface="Segoe UI" pitchFamily="34" charset="0"/>
                <a:cs typeface="Segoe UI" pitchFamily="34" charset="0"/>
              </a:rPr>
              <a:t>Publishers gained actionable business insights, enabling them to proactively respond to customer demand. </a:t>
            </a:r>
          </a:p>
          <a:p>
            <a:pPr marL="173665"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chemeClr val="bg1"/>
                </a:solidFill>
                <a:ea typeface="Segoe UI" pitchFamily="34" charset="0"/>
                <a:cs typeface="Segoe UI" pitchFamily="34" charset="0"/>
              </a:rPr>
              <a:t>Blockchain technology reduced XBOX process efforts by two thirds and saved publishers time by eliminating the need for manual audit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ACD8C2-2C6B-4AC0-B3A6-A015FF2E25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30396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72" fontAlgn="base">
              <a:spcBef>
                <a:spcPct val="0"/>
              </a:spcBef>
              <a:spcAft>
                <a:spcPct val="0"/>
              </a:spcAft>
              <a:buSzPct val="100000"/>
            </a:pPr>
            <a:r>
              <a:rPr lang="en-US">
                <a:solidFill>
                  <a:schemeClr val="bg1"/>
                </a:solidFill>
                <a:latin typeface="Segoe UI Semibold" panose="020B0702040204020203" pitchFamily="34" charset="0"/>
                <a:cs typeface="Segoe UI Semibold" panose="020B0702040204020203" pitchFamily="34" charset="0"/>
              </a:rPr>
              <a:t>Strategy</a:t>
            </a:r>
          </a:p>
          <a:p>
            <a:pPr marL="177800" indent="-177800" defTabSz="932472" fontAlgn="base">
              <a:spcBef>
                <a:spcPct val="0"/>
              </a:spcBef>
              <a:spcAft>
                <a:spcPct val="0"/>
              </a:spcAft>
              <a:buFont typeface="Arial" panose="020B0604020202020204" pitchFamily="34" charset="0"/>
              <a:buChar char="•"/>
            </a:pPr>
            <a:r>
              <a:rPr lang="en-US" sz="1200">
                <a:solidFill>
                  <a:schemeClr val="bg1"/>
                </a:solidFill>
                <a:cs typeface="Segoe UI" pitchFamily="34" charset="0"/>
              </a:rPr>
              <a:t>Microsoft developed a blockchain-based solution that offers XBOX royalty information in near real time.</a:t>
            </a:r>
            <a:endParaRPr lang="en-US">
              <a:solidFill>
                <a:schemeClr val="bg1"/>
              </a:solidFill>
              <a:latin typeface="Segoe UI Semibold" panose="020B0702040204020203" pitchFamily="34" charset="0"/>
              <a:cs typeface="Segoe UI Semibold" panose="020B0702040204020203" pitchFamily="34" charset="0"/>
            </a:endParaRPr>
          </a:p>
          <a:p>
            <a:pPr defTabSz="932472" fontAlgn="base">
              <a:spcBef>
                <a:spcPct val="0"/>
              </a:spcBef>
              <a:spcAft>
                <a:spcPct val="0"/>
              </a:spcAft>
              <a:buSzPct val="100000"/>
            </a:pPr>
            <a:endParaRPr lang="en-US">
              <a:solidFill>
                <a:schemeClr val="bg1"/>
              </a:solidFill>
              <a:latin typeface="Segoe UI Semibold" panose="020B0702040204020203" pitchFamily="34" charset="0"/>
              <a:cs typeface="Segoe UI Semibold" panose="020B0702040204020203" pitchFamily="34" charset="0"/>
            </a:endParaRPr>
          </a:p>
          <a:p>
            <a:pPr defTabSz="932472" fontAlgn="base">
              <a:spcBef>
                <a:spcPct val="0"/>
              </a:spcBef>
              <a:spcAft>
                <a:spcPct val="0"/>
              </a:spcAft>
              <a:buSzPct val="100000"/>
            </a:pPr>
            <a:r>
              <a:rPr lang="en-US">
                <a:solidFill>
                  <a:schemeClr val="bg1"/>
                </a:solidFill>
                <a:latin typeface="Segoe UI Semibold" panose="020B0702040204020203" pitchFamily="34" charset="0"/>
                <a:cs typeface="Segoe UI Semibold" panose="020B0702040204020203" pitchFamily="34" charset="0"/>
              </a:rPr>
              <a:t>Results</a:t>
            </a:r>
          </a:p>
          <a:p>
            <a:pPr marL="177800" indent="-177800" defTabSz="932472" fontAlgn="base">
              <a:spcBef>
                <a:spcPct val="0"/>
              </a:spcBef>
              <a:spcAft>
                <a:spcPct val="0"/>
              </a:spcAft>
              <a:buFont typeface="Arial" panose="020B0604020202020204" pitchFamily="34" charset="0"/>
              <a:buChar char="•"/>
            </a:pPr>
            <a:r>
              <a:rPr lang="en-US" sz="1200">
                <a:solidFill>
                  <a:schemeClr val="bg1"/>
                </a:solidFill>
                <a:ea typeface="Segoe UI" pitchFamily="34" charset="0"/>
                <a:cs typeface="Segoe UI" pitchFamily="34" charset="0"/>
              </a:rPr>
              <a:t>Blockchain technology improved trust by making the royalty payment calculation process more transparent for publishers.</a:t>
            </a:r>
          </a:p>
          <a:p>
            <a:pPr marL="177800" indent="-177800" defTabSz="932472" fontAlgn="base">
              <a:spcBef>
                <a:spcPct val="0"/>
              </a:spcBef>
              <a:spcAft>
                <a:spcPct val="0"/>
              </a:spcAft>
              <a:buFont typeface="Arial" panose="020B0604020202020204" pitchFamily="34" charset="0"/>
              <a:buChar char="•"/>
            </a:pPr>
            <a:r>
              <a:rPr lang="en-US" sz="1200">
                <a:solidFill>
                  <a:schemeClr val="bg1"/>
                </a:solidFill>
                <a:ea typeface="Segoe UI" pitchFamily="34" charset="0"/>
                <a:cs typeface="Segoe UI" pitchFamily="34" charset="0"/>
              </a:rPr>
              <a:t>Publishers gained actionable business insights, enabling them to proactively respond to customer demand. </a:t>
            </a:r>
          </a:p>
          <a:p>
            <a:pPr marL="177800" indent="-177800" defTabSz="932472" fontAlgn="base">
              <a:spcBef>
                <a:spcPct val="0"/>
              </a:spcBef>
              <a:spcAft>
                <a:spcPct val="0"/>
              </a:spcAft>
              <a:buFont typeface="Arial" panose="020B0604020202020204" pitchFamily="34" charset="0"/>
              <a:buChar char="•"/>
            </a:pPr>
            <a:r>
              <a:rPr lang="en-US" sz="1200">
                <a:solidFill>
                  <a:schemeClr val="bg1"/>
                </a:solidFill>
                <a:ea typeface="Segoe UI" pitchFamily="34" charset="0"/>
                <a:cs typeface="Segoe UI" pitchFamily="34" charset="0"/>
              </a:rPr>
              <a:t>Blockchain technology reduced XBOX process efforts by two thirds and saved publishers time by eliminating the need for manual audits. </a:t>
            </a:r>
          </a:p>
          <a:p>
            <a:pPr marL="177800" indent="-177800" defTabSz="932472" fontAlgn="base">
              <a:spcBef>
                <a:spcPct val="0"/>
              </a:spcBef>
              <a:spcAft>
                <a:spcPct val="0"/>
              </a:spcAft>
              <a:buFont typeface="Arial" panose="020B0604020202020204" pitchFamily="34" charset="0"/>
              <a:buChar char="•"/>
            </a:pPr>
            <a:endParaRPr lang="en-US" sz="1200">
              <a:solidFill>
                <a:schemeClr val="bg1"/>
              </a:solidFill>
              <a:ea typeface="Segoe UI" pitchFamily="34" charset="0"/>
              <a:cs typeface="Segoe UI" pitchFamily="34" charset="0"/>
            </a:endParaRPr>
          </a:p>
          <a:p>
            <a:pPr defTabSz="932472" fontAlgn="base">
              <a:spcBef>
                <a:spcPct val="0"/>
              </a:spcBef>
              <a:spcAft>
                <a:spcPct val="0"/>
              </a:spcAft>
            </a:pPr>
            <a:r>
              <a:rPr lang="en-US" sz="1200">
                <a:solidFill>
                  <a:schemeClr val="tx1"/>
                </a:solidFill>
                <a:cs typeface="Segoe UI" pitchFamily="34" charset="0"/>
              </a:rPr>
              <a:t>“We are developing an ecosystem within the gaming industry that connects developers and publishers to game performance. Providing near real-time access to data greatly improves the process’ effectiveness and insights that lead to a more enriching experience for the partners.”</a:t>
            </a:r>
            <a:r>
              <a:rPr lang="en-US" sz="1200" b="1">
                <a:solidFill>
                  <a:schemeClr val="accent1"/>
                </a:solidFill>
              </a:rPr>
              <a:t>– Tim Stuart</a:t>
            </a:r>
            <a:r>
              <a:rPr lang="en-US" sz="1200" b="1">
                <a:solidFill>
                  <a:schemeClr val="accent1"/>
                </a:solidFill>
                <a:cs typeface="Segoe UI" pitchFamily="34" charset="0"/>
              </a:rPr>
              <a:t> </a:t>
            </a:r>
            <a:r>
              <a:rPr lang="en-US" sz="1100" i="1">
                <a:solidFill>
                  <a:schemeClr val="accent1"/>
                </a:solidFill>
              </a:rPr>
              <a:t>(Chief Financial Officer of Xbox)</a:t>
            </a:r>
            <a:endParaRPr lang="en-US" sz="900" i="1">
              <a:solidFill>
                <a:schemeClr val="accent1"/>
              </a:solidFill>
            </a:endParaRPr>
          </a:p>
          <a:p>
            <a:pPr marL="177800" indent="-177800" defTabSz="932472" fontAlgn="base">
              <a:spcBef>
                <a:spcPct val="0"/>
              </a:spcBef>
              <a:spcAft>
                <a:spcPct val="0"/>
              </a:spcAft>
              <a:buFont typeface="Arial" panose="020B0604020202020204" pitchFamily="34" charset="0"/>
              <a:buChar char="•"/>
            </a:pPr>
            <a:endParaRPr lang="en-US" sz="1200">
              <a:solidFill>
                <a:schemeClr val="bg1"/>
              </a:solidFill>
              <a:ea typeface="Segoe UI" pitchFamily="34" charset="0"/>
              <a:cs typeface="Segoe UI" pitchFamily="34" charset="0"/>
            </a:endParaRPr>
          </a:p>
          <a:p>
            <a:pPr marL="0" indent="0" algn="l" defTabSz="932472" fontAlgn="base">
              <a:lnSpc>
                <a:spcPct val="90000"/>
              </a:lnSpc>
              <a:spcBef>
                <a:spcPct val="0"/>
              </a:spcBef>
              <a:spcAft>
                <a:spcPct val="0"/>
              </a:spcAft>
              <a:buNone/>
            </a:pPr>
            <a:endParaRPr lang="en-US" sz="1200">
              <a:solidFill>
                <a:schemeClr val="bg1"/>
              </a:solidFill>
              <a:ea typeface="Segoe UI" pitchFamily="34" charset="0"/>
              <a:cs typeface="Segoe UI" pitchFamily="34" charset="0"/>
            </a:endParaRPr>
          </a:p>
          <a:p>
            <a:pPr marL="0" indent="0" algn="l" defTabSz="932472" fontAlgn="base">
              <a:lnSpc>
                <a:spcPct val="90000"/>
              </a:lnSpc>
              <a:spcBef>
                <a:spcPct val="0"/>
              </a:spcBef>
              <a:spcAft>
                <a:spcPct val="0"/>
              </a:spcAft>
              <a:buNone/>
            </a:pPr>
            <a:r>
              <a:rPr lang="en-US" sz="1200" b="1">
                <a:solidFill>
                  <a:schemeClr val="bg1"/>
                </a:solidFill>
                <a:ea typeface="Segoe UI" pitchFamily="34" charset="0"/>
                <a:cs typeface="Segoe UI" pitchFamily="34" charset="0"/>
              </a:rPr>
              <a:t>T: </a:t>
            </a:r>
            <a:r>
              <a:rPr lang="en-US" b="1">
                <a:ea typeface="Segoe UI" pitchFamily="34" charset="0"/>
                <a:cs typeface="Segoe UI" pitchFamily="34" charset="0"/>
              </a:rPr>
              <a:t>Shared business processes require a shared utility with shared apps. In order to build these apps, you need a flexible, durable, and scalable founda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ACD8C2-2C6B-4AC0-B3A6-A015FF2E25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94674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54" rtl="0" eaLnBrk="1" fontAlgn="auto" latinLnBrk="0" hangingPunct="1">
              <a:lnSpc>
                <a:spcPct val="100000"/>
              </a:lnSpc>
              <a:spcBef>
                <a:spcPts val="0"/>
              </a:spcBef>
              <a:spcAft>
                <a:spcPts val="0"/>
              </a:spcAft>
              <a:buClrTx/>
              <a:buSzTx/>
              <a:buFontTx/>
              <a:buNone/>
              <a:tabLst/>
              <a:defRPr/>
            </a:pPr>
            <a:fld id="{04275124-BE68-47E0-BC08-D88C18AE843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65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56388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5A2D088-BDBD-41A5-ADCE-5C6A4DC08057}" type="datetime8">
              <a:rPr lang="en-US" smtClean="0"/>
              <a:t>9/26/2019 10:2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35287104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9/26/2019 10:27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2</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741292" rtl="0" eaLnBrk="1" fontAlgn="auto" latinLnBrk="0" hangingPunct="1">
              <a:lnSpc>
                <a:spcPct val="100000"/>
              </a:lnSpc>
              <a:spcBef>
                <a:spcPts val="0"/>
              </a:spcBef>
              <a:spcAft>
                <a:spcPts val="0"/>
              </a:spcAft>
              <a:buClrTx/>
              <a:buSzTx/>
              <a:buFontTx/>
              <a:buNone/>
              <a:tabLst/>
              <a:defRPr/>
            </a:pPr>
            <a:fld id="{447B74F3-F957-4A18-ACDB-4E406EEDEC6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74129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8254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741292" rtl="0" eaLnBrk="1" fontAlgn="auto" latinLnBrk="0" hangingPunct="1">
              <a:lnSpc>
                <a:spcPct val="100000"/>
              </a:lnSpc>
              <a:spcBef>
                <a:spcPts val="0"/>
              </a:spcBef>
              <a:spcAft>
                <a:spcPts val="0"/>
              </a:spcAft>
              <a:buClrTx/>
              <a:buSzTx/>
              <a:buFontTx/>
              <a:buNone/>
              <a:tabLst/>
              <a:defRPr/>
            </a:pPr>
            <a:fld id="{447B74F3-F957-4A18-ACDB-4E406EEDEC6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74129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09704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C85511-16B3-4376-A429-B3642719696C}" type="slidenum">
              <a:rPr kumimoji="0" lang="en-IN"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IN"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0CB8210E-B250-48A4-9301-0B16173F2106}"/>
              </a:ext>
            </a:extLst>
          </p:cNvPr>
          <p:cNvSpPr>
            <a:spLocks noGrp="1"/>
          </p:cNvSpPr>
          <p:nvPr>
            <p:ph type="body" idx="1"/>
          </p:nvPr>
        </p:nvSpPr>
        <p:spPr/>
        <p:txBody>
          <a:bodyPr/>
          <a:lstStyle/>
          <a:p>
            <a:r>
              <a:rPr lang="en-US" dirty="0"/>
              <a:t>Today, interconnected industry with multiple parties, process spend across all industries. Typically: intermediate employees or process: suboptimal</a:t>
            </a:r>
          </a:p>
          <a:p>
            <a:r>
              <a:rPr lang="en-US" dirty="0"/>
              <a:t>Blockchain –&gt; remove this friction</a:t>
            </a:r>
            <a:endParaRPr lang="fr-CH" dirty="0"/>
          </a:p>
        </p:txBody>
      </p:sp>
    </p:spTree>
    <p:extLst>
      <p:ext uri="{BB962C8B-B14F-4D97-AF65-F5344CB8AC3E}">
        <p14:creationId xmlns:p14="http://schemas.microsoft.com/office/powerpoint/2010/main" val="18081997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178F21-7BB5-4F00-9D27-A734FECBAC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F2FB508A-D40A-41F5-98A0-AA842B7DA2E8}"/>
              </a:ext>
            </a:extLst>
          </p:cNvPr>
          <p:cNvSpPr>
            <a:spLocks noGrp="1"/>
          </p:cNvSpPr>
          <p:nvPr>
            <p:ph type="body" idx="1"/>
          </p:nvPr>
        </p:nvSpPr>
        <p:spPr/>
        <p:txBody>
          <a:bodyPr/>
          <a:lstStyle/>
          <a:p>
            <a:r>
              <a:rPr lang="en-US" dirty="0"/>
              <a:t>Ledger: no deleted transaction</a:t>
            </a:r>
          </a:p>
          <a:p>
            <a:r>
              <a:rPr lang="en-US" dirty="0"/>
              <a:t>Everyone in the blockchain network has an identical copy – no single source of truth : distributed</a:t>
            </a:r>
          </a:p>
          <a:p>
            <a:r>
              <a:rPr lang="en-US" dirty="0"/>
              <a:t>Network consensus : every node process the transaction and has to agree it is correct </a:t>
            </a:r>
            <a:r>
              <a:rPr lang="en-US" dirty="0">
                <a:sym typeface="Wingdings" panose="05000000000000000000" pitchFamily="2" charset="2"/>
              </a:rPr>
              <a:t> especially public blockchain</a:t>
            </a:r>
            <a:endParaRPr lang="fr-CH" dirty="0"/>
          </a:p>
        </p:txBody>
      </p:sp>
    </p:spTree>
    <p:extLst>
      <p:ext uri="{BB962C8B-B14F-4D97-AF65-F5344CB8AC3E}">
        <p14:creationId xmlns:p14="http://schemas.microsoft.com/office/powerpoint/2010/main" val="1999901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blic blockchain : not inherent trust. Most popular consensus : Proof of work. Mining compete. Issue (one of them): very slow</a:t>
            </a:r>
          </a:p>
          <a:p>
            <a:r>
              <a:rPr lang="en-US" dirty="0"/>
              <a:t>Permission network : usually more than 2 entities with the own private blockchain network. Quorum Ethereum on both side: enterprise version of Ethereum.</a:t>
            </a:r>
          </a:p>
          <a:p>
            <a:r>
              <a:rPr lang="en-US" dirty="0"/>
              <a:t>Difference: it supports </a:t>
            </a:r>
            <a:r>
              <a:rPr lang="en-US" dirty="0" err="1"/>
              <a:t>permissioning</a:t>
            </a:r>
            <a:r>
              <a:rPr lang="en-US" dirty="0"/>
              <a:t> and it supports privacy. Confidential transactions</a:t>
            </a:r>
          </a:p>
          <a:p>
            <a:r>
              <a:rPr lang="en-US" dirty="0"/>
              <a:t>Area where Microsoft is heavily focused in</a:t>
            </a:r>
          </a:p>
          <a:p>
            <a:endParaRPr lang="en-US" dirty="0"/>
          </a:p>
          <a:p>
            <a:r>
              <a:rPr lang="en-US" dirty="0"/>
              <a:t>Different level of trust so different consensus, </a:t>
            </a:r>
            <a:r>
              <a:rPr lang="en-US" dirty="0" err="1"/>
              <a:t>PoWork</a:t>
            </a:r>
            <a:r>
              <a:rPr lang="en-US"/>
              <a:t>/stake </a:t>
            </a:r>
            <a:r>
              <a:rPr lang="en-US" dirty="0"/>
              <a:t>vs </a:t>
            </a:r>
            <a:r>
              <a:rPr lang="en-US" dirty="0" err="1"/>
              <a:t>PoAuthority</a:t>
            </a:r>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B17B004-5374-4F07-AFE1-5F113933F2B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45171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C85511-16B3-4376-A429-B3642719696C}" type="slidenum">
              <a:rPr kumimoji="0" lang="en-IN"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IN"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551DEEC2-FDE5-4647-AED0-1425E0B7C51A}"/>
              </a:ext>
            </a:extLst>
          </p:cNvPr>
          <p:cNvSpPr>
            <a:spLocks noGrp="1"/>
          </p:cNvSpPr>
          <p:nvPr>
            <p:ph type="body" idx="1"/>
          </p:nvPr>
        </p:nvSpPr>
        <p:spPr/>
        <p:txBody>
          <a:bodyPr/>
          <a:lstStyle/>
          <a:p>
            <a:r>
              <a:rPr lang="en-US" dirty="0"/>
              <a:t>4 keys questions that lead blockchain as a corporate solution</a:t>
            </a:r>
          </a:p>
          <a:p>
            <a:r>
              <a:rPr lang="en-US" dirty="0"/>
              <a:t>Business process with multiple parties: multiple companies or big company with different subsidiaries or organization </a:t>
            </a:r>
            <a:r>
              <a:rPr lang="en-US" dirty="0">
                <a:sym typeface="Wingdings" panose="05000000000000000000" pitchFamily="2" charset="2"/>
              </a:rPr>
              <a:t> some level of trust but not totally there</a:t>
            </a:r>
          </a:p>
          <a:p>
            <a:r>
              <a:rPr lang="en-US" dirty="0">
                <a:sym typeface="Wingdings" panose="05000000000000000000" pitchFamily="2" charset="2"/>
              </a:rPr>
              <a:t>Same dataset: who owns, how do you control?</a:t>
            </a:r>
          </a:p>
          <a:p>
            <a:r>
              <a:rPr lang="en-US" dirty="0">
                <a:sym typeface="Wingdings" panose="05000000000000000000" pitchFamily="2" charset="2"/>
              </a:rPr>
              <a:t>Today: you have an intermediary for truth</a:t>
            </a:r>
          </a:p>
          <a:p>
            <a:r>
              <a:rPr lang="en-US" dirty="0">
                <a:sym typeface="Wingdings" panose="05000000000000000000" pitchFamily="2" charset="2"/>
              </a:rPr>
              <a:t>Low value and manual process to verify</a:t>
            </a:r>
          </a:p>
          <a:p>
            <a:endParaRPr lang="en-US" dirty="0">
              <a:sym typeface="Wingdings" panose="05000000000000000000" pitchFamily="2" charset="2"/>
            </a:endParaRPr>
          </a:p>
          <a:p>
            <a:r>
              <a:rPr lang="en-US" dirty="0">
                <a:sym typeface="Wingdings" panose="05000000000000000000" pitchFamily="2" charset="2"/>
              </a:rPr>
              <a:t>Blockchain may be a solution. If not, </a:t>
            </a:r>
            <a:r>
              <a:rPr lang="en-US" dirty="0" err="1">
                <a:sym typeface="Wingdings" panose="05000000000000000000" pitchFamily="2" charset="2"/>
              </a:rPr>
              <a:t>traditionnal</a:t>
            </a:r>
            <a:r>
              <a:rPr lang="en-US" dirty="0">
                <a:sym typeface="Wingdings" panose="05000000000000000000" pitchFamily="2" charset="2"/>
              </a:rPr>
              <a:t> DB. Blockchain are slower than DB because of consensus. 100-1000 transactions/sec max</a:t>
            </a:r>
          </a:p>
          <a:p>
            <a:endParaRPr lang="fr-CH" dirty="0"/>
          </a:p>
        </p:txBody>
      </p:sp>
    </p:spTree>
    <p:extLst>
      <p:ext uri="{BB962C8B-B14F-4D97-AF65-F5344CB8AC3E}">
        <p14:creationId xmlns:p14="http://schemas.microsoft.com/office/powerpoint/2010/main" val="41257715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E4432-15E1-4E03-A7FA-9E1DD955A39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fr-CH"/>
          </a:p>
        </p:txBody>
      </p:sp>
      <p:sp>
        <p:nvSpPr>
          <p:cNvPr id="3" name="Subtitle 2">
            <a:extLst>
              <a:ext uri="{FF2B5EF4-FFF2-40B4-BE49-F238E27FC236}">
                <a16:creationId xmlns:a16="http://schemas.microsoft.com/office/drawing/2014/main" id="{7CAE885C-71E7-4FB9-BA71-810D4BD3776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CH"/>
          </a:p>
        </p:txBody>
      </p:sp>
      <p:sp>
        <p:nvSpPr>
          <p:cNvPr id="4" name="Date Placeholder 3">
            <a:extLst>
              <a:ext uri="{FF2B5EF4-FFF2-40B4-BE49-F238E27FC236}">
                <a16:creationId xmlns:a16="http://schemas.microsoft.com/office/drawing/2014/main" id="{A97FFB81-D234-4368-9E98-27D549C3AF75}"/>
              </a:ext>
            </a:extLst>
          </p:cNvPr>
          <p:cNvSpPr>
            <a:spLocks noGrp="1"/>
          </p:cNvSpPr>
          <p:nvPr>
            <p:ph type="dt" sz="half" idx="10"/>
          </p:nvPr>
        </p:nvSpPr>
        <p:spPr/>
        <p:txBody>
          <a:bodyPr/>
          <a:lstStyle/>
          <a:p>
            <a:fld id="{52C8F2F6-3AF4-4ED4-946F-64D74418434B}" type="datetimeFigureOut">
              <a:rPr lang="fr-CH" smtClean="0"/>
              <a:t>26.09.2019</a:t>
            </a:fld>
            <a:endParaRPr lang="fr-CH"/>
          </a:p>
        </p:txBody>
      </p:sp>
      <p:sp>
        <p:nvSpPr>
          <p:cNvPr id="5" name="Footer Placeholder 4">
            <a:extLst>
              <a:ext uri="{FF2B5EF4-FFF2-40B4-BE49-F238E27FC236}">
                <a16:creationId xmlns:a16="http://schemas.microsoft.com/office/drawing/2014/main" id="{431E1CBF-49D4-45F1-9676-C80C25E99463}"/>
              </a:ext>
            </a:extLst>
          </p:cNvPr>
          <p:cNvSpPr>
            <a:spLocks noGrp="1"/>
          </p:cNvSpPr>
          <p:nvPr>
            <p:ph type="ftr" sz="quarter" idx="11"/>
          </p:nvPr>
        </p:nvSpPr>
        <p:spPr/>
        <p:txBody>
          <a:bodyPr/>
          <a:lstStyle/>
          <a:p>
            <a:endParaRPr lang="fr-CH"/>
          </a:p>
        </p:txBody>
      </p:sp>
      <p:sp>
        <p:nvSpPr>
          <p:cNvPr id="6" name="Slide Number Placeholder 5">
            <a:extLst>
              <a:ext uri="{FF2B5EF4-FFF2-40B4-BE49-F238E27FC236}">
                <a16:creationId xmlns:a16="http://schemas.microsoft.com/office/drawing/2014/main" id="{C332891A-DC67-426E-95AA-F122791834D5}"/>
              </a:ext>
            </a:extLst>
          </p:cNvPr>
          <p:cNvSpPr>
            <a:spLocks noGrp="1"/>
          </p:cNvSpPr>
          <p:nvPr>
            <p:ph type="sldNum" sz="quarter" idx="12"/>
          </p:nvPr>
        </p:nvSpPr>
        <p:spPr/>
        <p:txBody>
          <a:bodyPr/>
          <a:lstStyle/>
          <a:p>
            <a:fld id="{19AB34F1-9614-4146-AAB5-3D64232A8AA2}" type="slidenum">
              <a:rPr lang="fr-CH" smtClean="0"/>
              <a:t>‹#›</a:t>
            </a:fld>
            <a:endParaRPr lang="fr-CH"/>
          </a:p>
        </p:txBody>
      </p:sp>
    </p:spTree>
    <p:extLst>
      <p:ext uri="{BB962C8B-B14F-4D97-AF65-F5344CB8AC3E}">
        <p14:creationId xmlns:p14="http://schemas.microsoft.com/office/powerpoint/2010/main" val="3781692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3DB477-8EFB-4141-8563-1D13C40A41C8}"/>
              </a:ext>
            </a:extLst>
          </p:cNvPr>
          <p:cNvSpPr>
            <a:spLocks noGrp="1"/>
          </p:cNvSpPr>
          <p:nvPr>
            <p:ph type="title"/>
          </p:nvPr>
        </p:nvSpPr>
        <p:spPr/>
        <p:txBody>
          <a:bodyPr/>
          <a:lstStyle/>
          <a:p>
            <a:r>
              <a:rPr lang="en-US"/>
              <a:t>Click to edit Master title style</a:t>
            </a:r>
            <a:endParaRPr lang="fr-CH"/>
          </a:p>
        </p:txBody>
      </p:sp>
      <p:sp>
        <p:nvSpPr>
          <p:cNvPr id="3" name="Vertical Text Placeholder 2">
            <a:extLst>
              <a:ext uri="{FF2B5EF4-FFF2-40B4-BE49-F238E27FC236}">
                <a16:creationId xmlns:a16="http://schemas.microsoft.com/office/drawing/2014/main" id="{DB404FFA-4914-4A53-AB31-B9E2AE6A65F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Date Placeholder 3">
            <a:extLst>
              <a:ext uri="{FF2B5EF4-FFF2-40B4-BE49-F238E27FC236}">
                <a16:creationId xmlns:a16="http://schemas.microsoft.com/office/drawing/2014/main" id="{AF81B7FA-42AD-4ED6-868D-9004131CE5A9}"/>
              </a:ext>
            </a:extLst>
          </p:cNvPr>
          <p:cNvSpPr>
            <a:spLocks noGrp="1"/>
          </p:cNvSpPr>
          <p:nvPr>
            <p:ph type="dt" sz="half" idx="10"/>
          </p:nvPr>
        </p:nvSpPr>
        <p:spPr/>
        <p:txBody>
          <a:bodyPr/>
          <a:lstStyle/>
          <a:p>
            <a:fld id="{52C8F2F6-3AF4-4ED4-946F-64D74418434B}" type="datetimeFigureOut">
              <a:rPr lang="fr-CH" smtClean="0"/>
              <a:t>26.09.2019</a:t>
            </a:fld>
            <a:endParaRPr lang="fr-CH"/>
          </a:p>
        </p:txBody>
      </p:sp>
      <p:sp>
        <p:nvSpPr>
          <p:cNvPr id="5" name="Footer Placeholder 4">
            <a:extLst>
              <a:ext uri="{FF2B5EF4-FFF2-40B4-BE49-F238E27FC236}">
                <a16:creationId xmlns:a16="http://schemas.microsoft.com/office/drawing/2014/main" id="{E36181CE-777E-4306-A602-C29691B74C04}"/>
              </a:ext>
            </a:extLst>
          </p:cNvPr>
          <p:cNvSpPr>
            <a:spLocks noGrp="1"/>
          </p:cNvSpPr>
          <p:nvPr>
            <p:ph type="ftr" sz="quarter" idx="11"/>
          </p:nvPr>
        </p:nvSpPr>
        <p:spPr/>
        <p:txBody>
          <a:bodyPr/>
          <a:lstStyle/>
          <a:p>
            <a:endParaRPr lang="fr-CH"/>
          </a:p>
        </p:txBody>
      </p:sp>
      <p:sp>
        <p:nvSpPr>
          <p:cNvPr id="6" name="Slide Number Placeholder 5">
            <a:extLst>
              <a:ext uri="{FF2B5EF4-FFF2-40B4-BE49-F238E27FC236}">
                <a16:creationId xmlns:a16="http://schemas.microsoft.com/office/drawing/2014/main" id="{738752B8-9104-4A80-A9AC-B41B16A60E49}"/>
              </a:ext>
            </a:extLst>
          </p:cNvPr>
          <p:cNvSpPr>
            <a:spLocks noGrp="1"/>
          </p:cNvSpPr>
          <p:nvPr>
            <p:ph type="sldNum" sz="quarter" idx="12"/>
          </p:nvPr>
        </p:nvSpPr>
        <p:spPr/>
        <p:txBody>
          <a:bodyPr/>
          <a:lstStyle/>
          <a:p>
            <a:fld id="{19AB34F1-9614-4146-AAB5-3D64232A8AA2}" type="slidenum">
              <a:rPr lang="fr-CH" smtClean="0"/>
              <a:t>‹#›</a:t>
            </a:fld>
            <a:endParaRPr lang="fr-CH"/>
          </a:p>
        </p:txBody>
      </p:sp>
    </p:spTree>
    <p:extLst>
      <p:ext uri="{BB962C8B-B14F-4D97-AF65-F5344CB8AC3E}">
        <p14:creationId xmlns:p14="http://schemas.microsoft.com/office/powerpoint/2010/main" val="14607316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6807CC8-EE5B-45CE-BCE9-9D3042E0CA3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fr-CH"/>
          </a:p>
        </p:txBody>
      </p:sp>
      <p:sp>
        <p:nvSpPr>
          <p:cNvPr id="3" name="Vertical Text Placeholder 2">
            <a:extLst>
              <a:ext uri="{FF2B5EF4-FFF2-40B4-BE49-F238E27FC236}">
                <a16:creationId xmlns:a16="http://schemas.microsoft.com/office/drawing/2014/main" id="{D672E82F-8663-4F7A-BCE3-7B922997256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Date Placeholder 3">
            <a:extLst>
              <a:ext uri="{FF2B5EF4-FFF2-40B4-BE49-F238E27FC236}">
                <a16:creationId xmlns:a16="http://schemas.microsoft.com/office/drawing/2014/main" id="{435EE07D-6E80-49C5-9E7A-D44F780E6A39}"/>
              </a:ext>
            </a:extLst>
          </p:cNvPr>
          <p:cNvSpPr>
            <a:spLocks noGrp="1"/>
          </p:cNvSpPr>
          <p:nvPr>
            <p:ph type="dt" sz="half" idx="10"/>
          </p:nvPr>
        </p:nvSpPr>
        <p:spPr/>
        <p:txBody>
          <a:bodyPr/>
          <a:lstStyle/>
          <a:p>
            <a:fld id="{52C8F2F6-3AF4-4ED4-946F-64D74418434B}" type="datetimeFigureOut">
              <a:rPr lang="fr-CH" smtClean="0"/>
              <a:t>26.09.2019</a:t>
            </a:fld>
            <a:endParaRPr lang="fr-CH"/>
          </a:p>
        </p:txBody>
      </p:sp>
      <p:sp>
        <p:nvSpPr>
          <p:cNvPr id="5" name="Footer Placeholder 4">
            <a:extLst>
              <a:ext uri="{FF2B5EF4-FFF2-40B4-BE49-F238E27FC236}">
                <a16:creationId xmlns:a16="http://schemas.microsoft.com/office/drawing/2014/main" id="{4B90426F-303F-44FF-987B-4FA70CA66DD0}"/>
              </a:ext>
            </a:extLst>
          </p:cNvPr>
          <p:cNvSpPr>
            <a:spLocks noGrp="1"/>
          </p:cNvSpPr>
          <p:nvPr>
            <p:ph type="ftr" sz="quarter" idx="11"/>
          </p:nvPr>
        </p:nvSpPr>
        <p:spPr/>
        <p:txBody>
          <a:bodyPr/>
          <a:lstStyle/>
          <a:p>
            <a:endParaRPr lang="fr-CH"/>
          </a:p>
        </p:txBody>
      </p:sp>
      <p:sp>
        <p:nvSpPr>
          <p:cNvPr id="6" name="Slide Number Placeholder 5">
            <a:extLst>
              <a:ext uri="{FF2B5EF4-FFF2-40B4-BE49-F238E27FC236}">
                <a16:creationId xmlns:a16="http://schemas.microsoft.com/office/drawing/2014/main" id="{10522F69-13BC-4F36-A9E7-6A0FD18C06F2}"/>
              </a:ext>
            </a:extLst>
          </p:cNvPr>
          <p:cNvSpPr>
            <a:spLocks noGrp="1"/>
          </p:cNvSpPr>
          <p:nvPr>
            <p:ph type="sldNum" sz="quarter" idx="12"/>
          </p:nvPr>
        </p:nvSpPr>
        <p:spPr/>
        <p:txBody>
          <a:bodyPr/>
          <a:lstStyle/>
          <a:p>
            <a:fld id="{19AB34F1-9614-4146-AAB5-3D64232A8AA2}" type="slidenum">
              <a:rPr lang="fr-CH" smtClean="0"/>
              <a:t>‹#›</a:t>
            </a:fld>
            <a:endParaRPr lang="fr-CH"/>
          </a:p>
        </p:txBody>
      </p:sp>
    </p:spTree>
    <p:extLst>
      <p:ext uri="{BB962C8B-B14F-4D97-AF65-F5344CB8AC3E}">
        <p14:creationId xmlns:p14="http://schemas.microsoft.com/office/powerpoint/2010/main" val="39279868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1"/>
        </a:solidFill>
        <a:effectLst/>
      </p:bgPr>
    </p:bg>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1A44DE7B-58F3-4CF0-9666-27726C9F3C84}"/>
              </a:ext>
            </a:extLst>
          </p:cNvPr>
          <p:cNvSpPr/>
          <p:nvPr userDrawn="1"/>
        </p:nvSpPr>
        <p:spPr bwMode="auto">
          <a:xfrm>
            <a:off x="0" y="1314450"/>
            <a:ext cx="12192000" cy="55435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3B19F035-9E4B-41D2-A99B-4B977B190C14}"/>
              </a:ext>
            </a:extLst>
          </p:cNvPr>
          <p:cNvSpPr/>
          <p:nvPr userDrawn="1"/>
        </p:nvSpPr>
        <p:spPr bwMode="auto">
          <a:xfrm>
            <a:off x="0" y="0"/>
            <a:ext cx="12192000" cy="1333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4800" spc="-98" baseline="0">
                <a:solidFill>
                  <a:schemeClr val="bg1">
                    <a:lumMod val="20000"/>
                    <a:lumOff val="80000"/>
                  </a:schemeClr>
                </a:soli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2800" spc="0" baseline="0">
                <a:solidFill>
                  <a:schemeClr val="bg1">
                    <a:lumMod val="20000"/>
                    <a:lumOff val="80000"/>
                  </a:schemeClr>
                </a:solidFill>
                <a:latin typeface="+mn-lt"/>
              </a:defRPr>
            </a:lvl1pPr>
          </a:lstStyle>
          <a:p>
            <a:pPr lvl="0"/>
            <a:r>
              <a:rPr lang="en-US"/>
              <a:t>Speaker name</a:t>
            </a:r>
          </a:p>
        </p:txBody>
      </p:sp>
      <p:sp>
        <p:nvSpPr>
          <p:cNvPr id="7" name="Text Placeholder 16"/>
          <p:cNvSpPr>
            <a:spLocks noGrp="1"/>
          </p:cNvSpPr>
          <p:nvPr>
            <p:ph type="body" sz="quarter" idx="13" hasCustomPrompt="1"/>
          </p:nvPr>
        </p:nvSpPr>
        <p:spPr>
          <a:xfrm>
            <a:off x="8339677" y="288560"/>
            <a:ext cx="3585699" cy="544765"/>
          </a:xfrm>
        </p:spPr>
        <p:txBody>
          <a:bodyPr lIns="182880" tIns="146304" rIns="182880" bIns="146304"/>
          <a:lstStyle>
            <a:lvl1pPr marL="0" indent="0" algn="r">
              <a:buNone/>
              <a:defRPr sz="1800">
                <a:solidFill>
                  <a:schemeClr val="bg1"/>
                </a:solidFill>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6019330"/>
            <a:ext cx="3585699" cy="544765"/>
          </a:xfrm>
        </p:spPr>
        <p:txBody>
          <a:bodyPr lIns="182880" tIns="146304" rIns="182880" bIns="146304" anchor="b"/>
          <a:lstStyle>
            <a:lvl1pPr marL="0" indent="0" algn="l">
              <a:buNone/>
              <a:defRPr sz="1800">
                <a:solidFill>
                  <a:schemeClr val="bg1">
                    <a:lumMod val="20000"/>
                    <a:lumOff val="80000"/>
                  </a:schemeClr>
                </a:solidFill>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grpSp>
        <p:nvGrpSpPr>
          <p:cNvPr id="146" name="Group 145">
            <a:extLst>
              <a:ext uri="{FF2B5EF4-FFF2-40B4-BE49-F238E27FC236}">
                <a16:creationId xmlns:a16="http://schemas.microsoft.com/office/drawing/2014/main" id="{BB9CB220-FE0A-49C5-BB38-B0B2004CF4DB}"/>
              </a:ext>
            </a:extLst>
          </p:cNvPr>
          <p:cNvGrpSpPr/>
          <p:nvPr userDrawn="1"/>
        </p:nvGrpSpPr>
        <p:grpSpPr>
          <a:xfrm>
            <a:off x="5686142" y="-656888"/>
            <a:ext cx="8970047" cy="6732131"/>
            <a:chOff x="4695826" y="-185343"/>
            <a:chExt cx="2286000" cy="1715671"/>
          </a:xfrm>
        </p:grpSpPr>
        <p:grpSp>
          <p:nvGrpSpPr>
            <p:cNvPr id="147" name="Group 146">
              <a:extLst>
                <a:ext uri="{FF2B5EF4-FFF2-40B4-BE49-F238E27FC236}">
                  <a16:creationId xmlns:a16="http://schemas.microsoft.com/office/drawing/2014/main" id="{4B6F1FBF-35D7-435B-8027-93B490A96F46}"/>
                </a:ext>
              </a:extLst>
            </p:cNvPr>
            <p:cNvGrpSpPr/>
            <p:nvPr/>
          </p:nvGrpSpPr>
          <p:grpSpPr>
            <a:xfrm>
              <a:off x="5095876" y="267094"/>
              <a:ext cx="1885950" cy="1263234"/>
              <a:chOff x="485776" y="12163427"/>
              <a:chExt cx="5884863" cy="3941763"/>
            </a:xfrm>
          </p:grpSpPr>
          <p:sp>
            <p:nvSpPr>
              <p:cNvPr id="181" name="Freeform 5">
                <a:extLst>
                  <a:ext uri="{FF2B5EF4-FFF2-40B4-BE49-F238E27FC236}">
                    <a16:creationId xmlns:a16="http://schemas.microsoft.com/office/drawing/2014/main" id="{A325872A-A24F-4541-A046-E4B48E19B303}"/>
                  </a:ext>
                </a:extLst>
              </p:cNvPr>
              <p:cNvSpPr>
                <a:spLocks/>
              </p:cNvSpPr>
              <p:nvPr/>
            </p:nvSpPr>
            <p:spPr bwMode="auto">
              <a:xfrm>
                <a:off x="485776" y="13768390"/>
                <a:ext cx="1658938" cy="1911350"/>
              </a:xfrm>
              <a:custGeom>
                <a:avLst/>
                <a:gdLst>
                  <a:gd name="T0" fmla="*/ 1045 w 1045"/>
                  <a:gd name="T1" fmla="*/ 904 h 1204"/>
                  <a:gd name="T2" fmla="*/ 1045 w 1045"/>
                  <a:gd name="T3" fmla="*/ 302 h 1204"/>
                  <a:gd name="T4" fmla="*/ 523 w 1045"/>
                  <a:gd name="T5" fmla="*/ 0 h 1204"/>
                  <a:gd name="T6" fmla="*/ 0 w 1045"/>
                  <a:gd name="T7" fmla="*/ 302 h 1204"/>
                  <a:gd name="T8" fmla="*/ 0 w 1045"/>
                  <a:gd name="T9" fmla="*/ 904 h 1204"/>
                  <a:gd name="T10" fmla="*/ 523 w 1045"/>
                  <a:gd name="T11" fmla="*/ 1204 h 1204"/>
                  <a:gd name="T12" fmla="*/ 1045 w 1045"/>
                  <a:gd name="T13" fmla="*/ 904 h 1204"/>
                </a:gdLst>
                <a:ahLst/>
                <a:cxnLst>
                  <a:cxn ang="0">
                    <a:pos x="T0" y="T1"/>
                  </a:cxn>
                  <a:cxn ang="0">
                    <a:pos x="T2" y="T3"/>
                  </a:cxn>
                  <a:cxn ang="0">
                    <a:pos x="T4" y="T5"/>
                  </a:cxn>
                  <a:cxn ang="0">
                    <a:pos x="T6" y="T7"/>
                  </a:cxn>
                  <a:cxn ang="0">
                    <a:pos x="T8" y="T9"/>
                  </a:cxn>
                  <a:cxn ang="0">
                    <a:pos x="T10" y="T11"/>
                  </a:cxn>
                  <a:cxn ang="0">
                    <a:pos x="T12" y="T13"/>
                  </a:cxn>
                </a:cxnLst>
                <a:rect l="0" t="0" r="r" b="b"/>
                <a:pathLst>
                  <a:path w="1045" h="1204">
                    <a:moveTo>
                      <a:pt x="1045" y="904"/>
                    </a:moveTo>
                    <a:lnTo>
                      <a:pt x="1045" y="302"/>
                    </a:lnTo>
                    <a:lnTo>
                      <a:pt x="523" y="0"/>
                    </a:lnTo>
                    <a:lnTo>
                      <a:pt x="0" y="302"/>
                    </a:lnTo>
                    <a:lnTo>
                      <a:pt x="0" y="904"/>
                    </a:lnTo>
                    <a:lnTo>
                      <a:pt x="523" y="1204"/>
                    </a:lnTo>
                    <a:lnTo>
                      <a:pt x="1045" y="90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2" name="Line 6">
                <a:extLst>
                  <a:ext uri="{FF2B5EF4-FFF2-40B4-BE49-F238E27FC236}">
                    <a16:creationId xmlns:a16="http://schemas.microsoft.com/office/drawing/2014/main" id="{2D0DC17F-DB6B-408D-B1DC-E5639F6BC3D1}"/>
                  </a:ext>
                </a:extLst>
              </p:cNvPr>
              <p:cNvSpPr>
                <a:spLocks noChangeShapeType="1"/>
              </p:cNvSpPr>
              <p:nvPr/>
            </p:nvSpPr>
            <p:spPr bwMode="auto">
              <a:xfrm flipV="1">
                <a:off x="485776" y="14247815"/>
                <a:ext cx="1658938" cy="9556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3" name="Line 7">
                <a:extLst>
                  <a:ext uri="{FF2B5EF4-FFF2-40B4-BE49-F238E27FC236}">
                    <a16:creationId xmlns:a16="http://schemas.microsoft.com/office/drawing/2014/main" id="{5C4CA297-FBB9-4DCB-94D5-F920975F136A}"/>
                  </a:ext>
                </a:extLst>
              </p:cNvPr>
              <p:cNvSpPr>
                <a:spLocks noChangeShapeType="1"/>
              </p:cNvSpPr>
              <p:nvPr/>
            </p:nvSpPr>
            <p:spPr bwMode="auto">
              <a:xfrm flipH="1" flipV="1">
                <a:off x="485776" y="14247815"/>
                <a:ext cx="1658938" cy="9556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4" name="Line 8">
                <a:extLst>
                  <a:ext uri="{FF2B5EF4-FFF2-40B4-BE49-F238E27FC236}">
                    <a16:creationId xmlns:a16="http://schemas.microsoft.com/office/drawing/2014/main" id="{C8B2DB13-7D9A-4369-AC73-988BC417C9B1}"/>
                  </a:ext>
                </a:extLst>
              </p:cNvPr>
              <p:cNvSpPr>
                <a:spLocks noChangeShapeType="1"/>
              </p:cNvSpPr>
              <p:nvPr/>
            </p:nvSpPr>
            <p:spPr bwMode="auto">
              <a:xfrm flipV="1">
                <a:off x="1316039" y="13768390"/>
                <a:ext cx="0" cy="19113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5" name="Freeform 9">
                <a:extLst>
                  <a:ext uri="{FF2B5EF4-FFF2-40B4-BE49-F238E27FC236}">
                    <a16:creationId xmlns:a16="http://schemas.microsoft.com/office/drawing/2014/main" id="{F3F63DA0-7409-4836-8AE6-C5245DA47E82}"/>
                  </a:ext>
                </a:extLst>
              </p:cNvPr>
              <p:cNvSpPr>
                <a:spLocks/>
              </p:cNvSpPr>
              <p:nvPr/>
            </p:nvSpPr>
            <p:spPr bwMode="auto">
              <a:xfrm>
                <a:off x="1512889" y="13403265"/>
                <a:ext cx="1006475" cy="1162050"/>
              </a:xfrm>
              <a:custGeom>
                <a:avLst/>
                <a:gdLst>
                  <a:gd name="T0" fmla="*/ 634 w 634"/>
                  <a:gd name="T1" fmla="*/ 549 h 732"/>
                  <a:gd name="T2" fmla="*/ 634 w 634"/>
                  <a:gd name="T3" fmla="*/ 183 h 732"/>
                  <a:gd name="T4" fmla="*/ 317 w 634"/>
                  <a:gd name="T5" fmla="*/ 0 h 732"/>
                  <a:gd name="T6" fmla="*/ 0 w 634"/>
                  <a:gd name="T7" fmla="*/ 183 h 732"/>
                  <a:gd name="T8" fmla="*/ 0 w 634"/>
                  <a:gd name="T9" fmla="*/ 549 h 732"/>
                  <a:gd name="T10" fmla="*/ 317 w 634"/>
                  <a:gd name="T11" fmla="*/ 732 h 732"/>
                  <a:gd name="T12" fmla="*/ 634 w 634"/>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4" h="732">
                    <a:moveTo>
                      <a:pt x="634" y="549"/>
                    </a:moveTo>
                    <a:lnTo>
                      <a:pt x="634" y="183"/>
                    </a:lnTo>
                    <a:lnTo>
                      <a:pt x="317" y="0"/>
                    </a:lnTo>
                    <a:lnTo>
                      <a:pt x="0" y="183"/>
                    </a:lnTo>
                    <a:lnTo>
                      <a:pt x="0" y="549"/>
                    </a:lnTo>
                    <a:lnTo>
                      <a:pt x="317" y="732"/>
                    </a:lnTo>
                    <a:lnTo>
                      <a:pt x="634"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6" name="Line 10">
                <a:extLst>
                  <a:ext uri="{FF2B5EF4-FFF2-40B4-BE49-F238E27FC236}">
                    <a16:creationId xmlns:a16="http://schemas.microsoft.com/office/drawing/2014/main" id="{D7D55060-F780-4D26-B1A2-9C8FD406DF6A}"/>
                  </a:ext>
                </a:extLst>
              </p:cNvPr>
              <p:cNvSpPr>
                <a:spLocks noChangeShapeType="1"/>
              </p:cNvSpPr>
              <p:nvPr/>
            </p:nvSpPr>
            <p:spPr bwMode="auto">
              <a:xfrm flipV="1">
                <a:off x="1512889" y="13693777"/>
                <a:ext cx="1006475"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7" name="Line 11">
                <a:extLst>
                  <a:ext uri="{FF2B5EF4-FFF2-40B4-BE49-F238E27FC236}">
                    <a16:creationId xmlns:a16="http://schemas.microsoft.com/office/drawing/2014/main" id="{71FC999B-6CCD-4676-B0AF-836C92A2767C}"/>
                  </a:ext>
                </a:extLst>
              </p:cNvPr>
              <p:cNvSpPr>
                <a:spLocks noChangeShapeType="1"/>
              </p:cNvSpPr>
              <p:nvPr/>
            </p:nvSpPr>
            <p:spPr bwMode="auto">
              <a:xfrm flipH="1" flipV="1">
                <a:off x="1512889" y="13693777"/>
                <a:ext cx="1006475"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8" name="Line 12">
                <a:extLst>
                  <a:ext uri="{FF2B5EF4-FFF2-40B4-BE49-F238E27FC236}">
                    <a16:creationId xmlns:a16="http://schemas.microsoft.com/office/drawing/2014/main" id="{29F4723C-6EC3-49AD-AD24-AF4C2934440D}"/>
                  </a:ext>
                </a:extLst>
              </p:cNvPr>
              <p:cNvSpPr>
                <a:spLocks noChangeShapeType="1"/>
              </p:cNvSpPr>
              <p:nvPr/>
            </p:nvSpPr>
            <p:spPr bwMode="auto">
              <a:xfrm flipV="1">
                <a:off x="2016126" y="13403265"/>
                <a:ext cx="0" cy="11620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9" name="Freeform 13">
                <a:extLst>
                  <a:ext uri="{FF2B5EF4-FFF2-40B4-BE49-F238E27FC236}">
                    <a16:creationId xmlns:a16="http://schemas.microsoft.com/office/drawing/2014/main" id="{30755653-E9AC-4C40-8482-6A48588350D0}"/>
                  </a:ext>
                </a:extLst>
              </p:cNvPr>
              <p:cNvSpPr>
                <a:spLocks/>
              </p:cNvSpPr>
              <p:nvPr/>
            </p:nvSpPr>
            <p:spPr bwMode="auto">
              <a:xfrm>
                <a:off x="1703389" y="14851065"/>
                <a:ext cx="1008063" cy="1162050"/>
              </a:xfrm>
              <a:custGeom>
                <a:avLst/>
                <a:gdLst>
                  <a:gd name="T0" fmla="*/ 635 w 635"/>
                  <a:gd name="T1" fmla="*/ 549 h 732"/>
                  <a:gd name="T2" fmla="*/ 635 w 635"/>
                  <a:gd name="T3" fmla="*/ 183 h 732"/>
                  <a:gd name="T4" fmla="*/ 318 w 635"/>
                  <a:gd name="T5" fmla="*/ 0 h 732"/>
                  <a:gd name="T6" fmla="*/ 0 w 635"/>
                  <a:gd name="T7" fmla="*/ 183 h 732"/>
                  <a:gd name="T8" fmla="*/ 0 w 635"/>
                  <a:gd name="T9" fmla="*/ 549 h 732"/>
                  <a:gd name="T10" fmla="*/ 318 w 635"/>
                  <a:gd name="T11" fmla="*/ 732 h 732"/>
                  <a:gd name="T12" fmla="*/ 635 w 635"/>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5" h="732">
                    <a:moveTo>
                      <a:pt x="635" y="549"/>
                    </a:moveTo>
                    <a:lnTo>
                      <a:pt x="635" y="183"/>
                    </a:lnTo>
                    <a:lnTo>
                      <a:pt x="318" y="0"/>
                    </a:lnTo>
                    <a:lnTo>
                      <a:pt x="0" y="183"/>
                    </a:lnTo>
                    <a:lnTo>
                      <a:pt x="0" y="549"/>
                    </a:lnTo>
                    <a:lnTo>
                      <a:pt x="318" y="732"/>
                    </a:lnTo>
                    <a:lnTo>
                      <a:pt x="635"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0" name="Line 14">
                <a:extLst>
                  <a:ext uri="{FF2B5EF4-FFF2-40B4-BE49-F238E27FC236}">
                    <a16:creationId xmlns:a16="http://schemas.microsoft.com/office/drawing/2014/main" id="{8043CEFA-4DEB-4EAE-BF09-E9D1407A19EF}"/>
                  </a:ext>
                </a:extLst>
              </p:cNvPr>
              <p:cNvSpPr>
                <a:spLocks noChangeShapeType="1"/>
              </p:cNvSpPr>
              <p:nvPr/>
            </p:nvSpPr>
            <p:spPr bwMode="auto">
              <a:xfrm flipV="1">
                <a:off x="1703389" y="15141577"/>
                <a:ext cx="1008063"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1" name="Line 15">
                <a:extLst>
                  <a:ext uri="{FF2B5EF4-FFF2-40B4-BE49-F238E27FC236}">
                    <a16:creationId xmlns:a16="http://schemas.microsoft.com/office/drawing/2014/main" id="{EFEF79D8-9A0F-4074-AA19-1CA8C136219B}"/>
                  </a:ext>
                </a:extLst>
              </p:cNvPr>
              <p:cNvSpPr>
                <a:spLocks noChangeShapeType="1"/>
              </p:cNvSpPr>
              <p:nvPr/>
            </p:nvSpPr>
            <p:spPr bwMode="auto">
              <a:xfrm flipH="1" flipV="1">
                <a:off x="1703389" y="15141577"/>
                <a:ext cx="1008063"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2" name="Line 16">
                <a:extLst>
                  <a:ext uri="{FF2B5EF4-FFF2-40B4-BE49-F238E27FC236}">
                    <a16:creationId xmlns:a16="http://schemas.microsoft.com/office/drawing/2014/main" id="{A858863B-371B-4CBF-A2AF-1081CB2E4CA7}"/>
                  </a:ext>
                </a:extLst>
              </p:cNvPr>
              <p:cNvSpPr>
                <a:spLocks noChangeShapeType="1"/>
              </p:cNvSpPr>
              <p:nvPr/>
            </p:nvSpPr>
            <p:spPr bwMode="auto">
              <a:xfrm flipV="1">
                <a:off x="2208214" y="14851065"/>
                <a:ext cx="0" cy="11620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3" name="Freeform 17">
                <a:extLst>
                  <a:ext uri="{FF2B5EF4-FFF2-40B4-BE49-F238E27FC236}">
                    <a16:creationId xmlns:a16="http://schemas.microsoft.com/office/drawing/2014/main" id="{FABC6FF8-EA8A-46F7-9E01-795C98F72B91}"/>
                  </a:ext>
                </a:extLst>
              </p:cNvPr>
              <p:cNvSpPr>
                <a:spLocks/>
              </p:cNvSpPr>
              <p:nvPr/>
            </p:nvSpPr>
            <p:spPr bwMode="auto">
              <a:xfrm>
                <a:off x="2306639" y="13830302"/>
                <a:ext cx="1366838" cy="1574800"/>
              </a:xfrm>
              <a:custGeom>
                <a:avLst/>
                <a:gdLst>
                  <a:gd name="T0" fmla="*/ 861 w 861"/>
                  <a:gd name="T1" fmla="*/ 744 h 992"/>
                  <a:gd name="T2" fmla="*/ 861 w 861"/>
                  <a:gd name="T3" fmla="*/ 248 h 992"/>
                  <a:gd name="T4" fmla="*/ 430 w 861"/>
                  <a:gd name="T5" fmla="*/ 0 h 992"/>
                  <a:gd name="T6" fmla="*/ 0 w 861"/>
                  <a:gd name="T7" fmla="*/ 248 h 992"/>
                  <a:gd name="T8" fmla="*/ 0 w 861"/>
                  <a:gd name="T9" fmla="*/ 744 h 992"/>
                  <a:gd name="T10" fmla="*/ 430 w 861"/>
                  <a:gd name="T11" fmla="*/ 992 h 992"/>
                  <a:gd name="T12" fmla="*/ 861 w 861"/>
                  <a:gd name="T13" fmla="*/ 744 h 992"/>
                </a:gdLst>
                <a:ahLst/>
                <a:cxnLst>
                  <a:cxn ang="0">
                    <a:pos x="T0" y="T1"/>
                  </a:cxn>
                  <a:cxn ang="0">
                    <a:pos x="T2" y="T3"/>
                  </a:cxn>
                  <a:cxn ang="0">
                    <a:pos x="T4" y="T5"/>
                  </a:cxn>
                  <a:cxn ang="0">
                    <a:pos x="T6" y="T7"/>
                  </a:cxn>
                  <a:cxn ang="0">
                    <a:pos x="T8" y="T9"/>
                  </a:cxn>
                  <a:cxn ang="0">
                    <a:pos x="T10" y="T11"/>
                  </a:cxn>
                  <a:cxn ang="0">
                    <a:pos x="T12" y="T13"/>
                  </a:cxn>
                </a:cxnLst>
                <a:rect l="0" t="0" r="r" b="b"/>
                <a:pathLst>
                  <a:path w="861" h="992">
                    <a:moveTo>
                      <a:pt x="861" y="744"/>
                    </a:moveTo>
                    <a:lnTo>
                      <a:pt x="861" y="248"/>
                    </a:lnTo>
                    <a:lnTo>
                      <a:pt x="430" y="0"/>
                    </a:lnTo>
                    <a:lnTo>
                      <a:pt x="0" y="248"/>
                    </a:lnTo>
                    <a:lnTo>
                      <a:pt x="0" y="744"/>
                    </a:lnTo>
                    <a:lnTo>
                      <a:pt x="430" y="992"/>
                    </a:lnTo>
                    <a:lnTo>
                      <a:pt x="861" y="74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4" name="Line 18">
                <a:extLst>
                  <a:ext uri="{FF2B5EF4-FFF2-40B4-BE49-F238E27FC236}">
                    <a16:creationId xmlns:a16="http://schemas.microsoft.com/office/drawing/2014/main" id="{A99D932D-F5E8-48DE-9CDC-B2F7EB61EF37}"/>
                  </a:ext>
                </a:extLst>
              </p:cNvPr>
              <p:cNvSpPr>
                <a:spLocks noChangeShapeType="1"/>
              </p:cNvSpPr>
              <p:nvPr/>
            </p:nvSpPr>
            <p:spPr bwMode="auto">
              <a:xfrm flipV="1">
                <a:off x="2306639" y="14224002"/>
                <a:ext cx="1366838" cy="7874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5" name="Line 19">
                <a:extLst>
                  <a:ext uri="{FF2B5EF4-FFF2-40B4-BE49-F238E27FC236}">
                    <a16:creationId xmlns:a16="http://schemas.microsoft.com/office/drawing/2014/main" id="{7C7CC8A1-510E-4AAE-90EB-C90FB28D60BD}"/>
                  </a:ext>
                </a:extLst>
              </p:cNvPr>
              <p:cNvSpPr>
                <a:spLocks noChangeShapeType="1"/>
              </p:cNvSpPr>
              <p:nvPr/>
            </p:nvSpPr>
            <p:spPr bwMode="auto">
              <a:xfrm flipH="1" flipV="1">
                <a:off x="2306639" y="14224002"/>
                <a:ext cx="1366838" cy="7874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6" name="Line 20">
                <a:extLst>
                  <a:ext uri="{FF2B5EF4-FFF2-40B4-BE49-F238E27FC236}">
                    <a16:creationId xmlns:a16="http://schemas.microsoft.com/office/drawing/2014/main" id="{40A655A6-B2B0-4B50-9B00-C8BDEAA2977C}"/>
                  </a:ext>
                </a:extLst>
              </p:cNvPr>
              <p:cNvSpPr>
                <a:spLocks noChangeShapeType="1"/>
              </p:cNvSpPr>
              <p:nvPr/>
            </p:nvSpPr>
            <p:spPr bwMode="auto">
              <a:xfrm flipV="1">
                <a:off x="2989264" y="13830302"/>
                <a:ext cx="0" cy="15748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7" name="Freeform 21">
                <a:extLst>
                  <a:ext uri="{FF2B5EF4-FFF2-40B4-BE49-F238E27FC236}">
                    <a16:creationId xmlns:a16="http://schemas.microsoft.com/office/drawing/2014/main" id="{C4650B4F-87E7-4FCD-8FFE-FDD6D278D938}"/>
                  </a:ext>
                </a:extLst>
              </p:cNvPr>
              <p:cNvSpPr>
                <a:spLocks/>
              </p:cNvSpPr>
              <p:nvPr/>
            </p:nvSpPr>
            <p:spPr bwMode="auto">
              <a:xfrm>
                <a:off x="4000501" y="13792202"/>
                <a:ext cx="2006600" cy="2312988"/>
              </a:xfrm>
              <a:custGeom>
                <a:avLst/>
                <a:gdLst>
                  <a:gd name="T0" fmla="*/ 1264 w 1264"/>
                  <a:gd name="T1" fmla="*/ 1093 h 1457"/>
                  <a:gd name="T2" fmla="*/ 1264 w 1264"/>
                  <a:gd name="T3" fmla="*/ 364 h 1457"/>
                  <a:gd name="T4" fmla="*/ 632 w 1264"/>
                  <a:gd name="T5" fmla="*/ 0 h 1457"/>
                  <a:gd name="T6" fmla="*/ 0 w 1264"/>
                  <a:gd name="T7" fmla="*/ 364 h 1457"/>
                  <a:gd name="T8" fmla="*/ 0 w 1264"/>
                  <a:gd name="T9" fmla="*/ 1093 h 1457"/>
                  <a:gd name="T10" fmla="*/ 632 w 1264"/>
                  <a:gd name="T11" fmla="*/ 1457 h 1457"/>
                  <a:gd name="T12" fmla="*/ 1264 w 1264"/>
                  <a:gd name="T13" fmla="*/ 1093 h 1457"/>
                </a:gdLst>
                <a:ahLst/>
                <a:cxnLst>
                  <a:cxn ang="0">
                    <a:pos x="T0" y="T1"/>
                  </a:cxn>
                  <a:cxn ang="0">
                    <a:pos x="T2" y="T3"/>
                  </a:cxn>
                  <a:cxn ang="0">
                    <a:pos x="T4" y="T5"/>
                  </a:cxn>
                  <a:cxn ang="0">
                    <a:pos x="T6" y="T7"/>
                  </a:cxn>
                  <a:cxn ang="0">
                    <a:pos x="T8" y="T9"/>
                  </a:cxn>
                  <a:cxn ang="0">
                    <a:pos x="T10" y="T11"/>
                  </a:cxn>
                  <a:cxn ang="0">
                    <a:pos x="T12" y="T13"/>
                  </a:cxn>
                </a:cxnLst>
                <a:rect l="0" t="0" r="r" b="b"/>
                <a:pathLst>
                  <a:path w="1264" h="1457">
                    <a:moveTo>
                      <a:pt x="1264" y="1093"/>
                    </a:moveTo>
                    <a:lnTo>
                      <a:pt x="1264" y="364"/>
                    </a:lnTo>
                    <a:lnTo>
                      <a:pt x="632" y="0"/>
                    </a:lnTo>
                    <a:lnTo>
                      <a:pt x="0" y="364"/>
                    </a:lnTo>
                    <a:lnTo>
                      <a:pt x="0" y="1093"/>
                    </a:lnTo>
                    <a:lnTo>
                      <a:pt x="632" y="1457"/>
                    </a:lnTo>
                    <a:lnTo>
                      <a:pt x="1264" y="1093"/>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8" name="Line 22">
                <a:extLst>
                  <a:ext uri="{FF2B5EF4-FFF2-40B4-BE49-F238E27FC236}">
                    <a16:creationId xmlns:a16="http://schemas.microsoft.com/office/drawing/2014/main" id="{8DB504C2-A10E-40C1-8EFF-EB0485D695DF}"/>
                  </a:ext>
                </a:extLst>
              </p:cNvPr>
              <p:cNvSpPr>
                <a:spLocks noChangeShapeType="1"/>
              </p:cNvSpPr>
              <p:nvPr/>
            </p:nvSpPr>
            <p:spPr bwMode="auto">
              <a:xfrm flipV="1">
                <a:off x="4000501" y="14370052"/>
                <a:ext cx="2006600" cy="11572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9" name="Line 23">
                <a:extLst>
                  <a:ext uri="{FF2B5EF4-FFF2-40B4-BE49-F238E27FC236}">
                    <a16:creationId xmlns:a16="http://schemas.microsoft.com/office/drawing/2014/main" id="{5B86D918-17EF-4EE8-AD5B-1302BE6371DC}"/>
                  </a:ext>
                </a:extLst>
              </p:cNvPr>
              <p:cNvSpPr>
                <a:spLocks noChangeShapeType="1"/>
              </p:cNvSpPr>
              <p:nvPr/>
            </p:nvSpPr>
            <p:spPr bwMode="auto">
              <a:xfrm flipH="1" flipV="1">
                <a:off x="4000501" y="14370052"/>
                <a:ext cx="2006600" cy="11572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0" name="Line 24">
                <a:extLst>
                  <a:ext uri="{FF2B5EF4-FFF2-40B4-BE49-F238E27FC236}">
                    <a16:creationId xmlns:a16="http://schemas.microsoft.com/office/drawing/2014/main" id="{6A53F6AE-D02B-4A2B-82E4-CDBFB509CB44}"/>
                  </a:ext>
                </a:extLst>
              </p:cNvPr>
              <p:cNvSpPr>
                <a:spLocks noChangeShapeType="1"/>
              </p:cNvSpPr>
              <p:nvPr/>
            </p:nvSpPr>
            <p:spPr bwMode="auto">
              <a:xfrm flipV="1">
                <a:off x="5003801" y="13792202"/>
                <a:ext cx="0" cy="23129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1" name="Freeform 25">
                <a:extLst>
                  <a:ext uri="{FF2B5EF4-FFF2-40B4-BE49-F238E27FC236}">
                    <a16:creationId xmlns:a16="http://schemas.microsoft.com/office/drawing/2014/main" id="{41851CEA-7FFB-4634-8E5F-E0A90FCC3BAD}"/>
                  </a:ext>
                </a:extLst>
              </p:cNvPr>
              <p:cNvSpPr>
                <a:spLocks/>
              </p:cNvSpPr>
              <p:nvPr/>
            </p:nvSpPr>
            <p:spPr bwMode="auto">
              <a:xfrm>
                <a:off x="4362451" y="12163427"/>
                <a:ext cx="2008188" cy="2314575"/>
              </a:xfrm>
              <a:custGeom>
                <a:avLst/>
                <a:gdLst>
                  <a:gd name="T0" fmla="*/ 1265 w 1265"/>
                  <a:gd name="T1" fmla="*/ 1094 h 1458"/>
                  <a:gd name="T2" fmla="*/ 1265 w 1265"/>
                  <a:gd name="T3" fmla="*/ 364 h 1458"/>
                  <a:gd name="T4" fmla="*/ 633 w 1265"/>
                  <a:gd name="T5" fmla="*/ 0 h 1458"/>
                  <a:gd name="T6" fmla="*/ 0 w 1265"/>
                  <a:gd name="T7" fmla="*/ 364 h 1458"/>
                  <a:gd name="T8" fmla="*/ 0 w 1265"/>
                  <a:gd name="T9" fmla="*/ 1094 h 1458"/>
                  <a:gd name="T10" fmla="*/ 633 w 1265"/>
                  <a:gd name="T11" fmla="*/ 1458 h 1458"/>
                  <a:gd name="T12" fmla="*/ 1265 w 1265"/>
                  <a:gd name="T13" fmla="*/ 1094 h 1458"/>
                </a:gdLst>
                <a:ahLst/>
                <a:cxnLst>
                  <a:cxn ang="0">
                    <a:pos x="T0" y="T1"/>
                  </a:cxn>
                  <a:cxn ang="0">
                    <a:pos x="T2" y="T3"/>
                  </a:cxn>
                  <a:cxn ang="0">
                    <a:pos x="T4" y="T5"/>
                  </a:cxn>
                  <a:cxn ang="0">
                    <a:pos x="T6" y="T7"/>
                  </a:cxn>
                  <a:cxn ang="0">
                    <a:pos x="T8" y="T9"/>
                  </a:cxn>
                  <a:cxn ang="0">
                    <a:pos x="T10" y="T11"/>
                  </a:cxn>
                  <a:cxn ang="0">
                    <a:pos x="T12" y="T13"/>
                  </a:cxn>
                </a:cxnLst>
                <a:rect l="0" t="0" r="r" b="b"/>
                <a:pathLst>
                  <a:path w="1265" h="1458">
                    <a:moveTo>
                      <a:pt x="1265" y="1094"/>
                    </a:moveTo>
                    <a:lnTo>
                      <a:pt x="1265" y="364"/>
                    </a:lnTo>
                    <a:lnTo>
                      <a:pt x="633" y="0"/>
                    </a:lnTo>
                    <a:lnTo>
                      <a:pt x="0" y="364"/>
                    </a:lnTo>
                    <a:lnTo>
                      <a:pt x="0" y="1094"/>
                    </a:lnTo>
                    <a:lnTo>
                      <a:pt x="633" y="1458"/>
                    </a:lnTo>
                    <a:lnTo>
                      <a:pt x="1265" y="1094"/>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2" name="Line 26">
                <a:extLst>
                  <a:ext uri="{FF2B5EF4-FFF2-40B4-BE49-F238E27FC236}">
                    <a16:creationId xmlns:a16="http://schemas.microsoft.com/office/drawing/2014/main" id="{846F7858-23A9-466E-A98A-8B6CD112FF60}"/>
                  </a:ext>
                </a:extLst>
              </p:cNvPr>
              <p:cNvSpPr>
                <a:spLocks noChangeShapeType="1"/>
              </p:cNvSpPr>
              <p:nvPr/>
            </p:nvSpPr>
            <p:spPr bwMode="auto">
              <a:xfrm flipV="1">
                <a:off x="4362451" y="12741277"/>
                <a:ext cx="2008188" cy="11588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3" name="Line 27">
                <a:extLst>
                  <a:ext uri="{FF2B5EF4-FFF2-40B4-BE49-F238E27FC236}">
                    <a16:creationId xmlns:a16="http://schemas.microsoft.com/office/drawing/2014/main" id="{FAEA0ACB-499C-40E2-A633-BB0465C9F92E}"/>
                  </a:ext>
                </a:extLst>
              </p:cNvPr>
              <p:cNvSpPr>
                <a:spLocks noChangeShapeType="1"/>
              </p:cNvSpPr>
              <p:nvPr/>
            </p:nvSpPr>
            <p:spPr bwMode="auto">
              <a:xfrm flipH="1" flipV="1">
                <a:off x="4362451" y="12741277"/>
                <a:ext cx="2008188" cy="11588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4" name="Line 28">
                <a:extLst>
                  <a:ext uri="{FF2B5EF4-FFF2-40B4-BE49-F238E27FC236}">
                    <a16:creationId xmlns:a16="http://schemas.microsoft.com/office/drawing/2014/main" id="{A00DB3CE-E13C-4392-AC64-23E61C8EE878}"/>
                  </a:ext>
                </a:extLst>
              </p:cNvPr>
              <p:cNvSpPr>
                <a:spLocks noChangeShapeType="1"/>
              </p:cNvSpPr>
              <p:nvPr/>
            </p:nvSpPr>
            <p:spPr bwMode="auto">
              <a:xfrm flipV="1">
                <a:off x="5367339" y="12163427"/>
                <a:ext cx="0" cy="23145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5" name="Freeform 29">
                <a:extLst>
                  <a:ext uri="{FF2B5EF4-FFF2-40B4-BE49-F238E27FC236}">
                    <a16:creationId xmlns:a16="http://schemas.microsoft.com/office/drawing/2014/main" id="{BB06D51A-3C26-40B0-9A07-91001F3451A9}"/>
                  </a:ext>
                </a:extLst>
              </p:cNvPr>
              <p:cNvSpPr>
                <a:spLocks/>
              </p:cNvSpPr>
              <p:nvPr/>
            </p:nvSpPr>
            <p:spPr bwMode="auto">
              <a:xfrm>
                <a:off x="3197226" y="14689140"/>
                <a:ext cx="1065213" cy="1228725"/>
              </a:xfrm>
              <a:custGeom>
                <a:avLst/>
                <a:gdLst>
                  <a:gd name="T0" fmla="*/ 671 w 671"/>
                  <a:gd name="T1" fmla="*/ 581 h 774"/>
                  <a:gd name="T2" fmla="*/ 671 w 671"/>
                  <a:gd name="T3" fmla="*/ 194 h 774"/>
                  <a:gd name="T4" fmla="*/ 335 w 671"/>
                  <a:gd name="T5" fmla="*/ 0 h 774"/>
                  <a:gd name="T6" fmla="*/ 0 w 671"/>
                  <a:gd name="T7" fmla="*/ 194 h 774"/>
                  <a:gd name="T8" fmla="*/ 0 w 671"/>
                  <a:gd name="T9" fmla="*/ 581 h 774"/>
                  <a:gd name="T10" fmla="*/ 335 w 671"/>
                  <a:gd name="T11" fmla="*/ 774 h 774"/>
                  <a:gd name="T12" fmla="*/ 671 w 671"/>
                  <a:gd name="T13" fmla="*/ 581 h 774"/>
                </a:gdLst>
                <a:ahLst/>
                <a:cxnLst>
                  <a:cxn ang="0">
                    <a:pos x="T0" y="T1"/>
                  </a:cxn>
                  <a:cxn ang="0">
                    <a:pos x="T2" y="T3"/>
                  </a:cxn>
                  <a:cxn ang="0">
                    <a:pos x="T4" y="T5"/>
                  </a:cxn>
                  <a:cxn ang="0">
                    <a:pos x="T6" y="T7"/>
                  </a:cxn>
                  <a:cxn ang="0">
                    <a:pos x="T8" y="T9"/>
                  </a:cxn>
                  <a:cxn ang="0">
                    <a:pos x="T10" y="T11"/>
                  </a:cxn>
                  <a:cxn ang="0">
                    <a:pos x="T12" y="T13"/>
                  </a:cxn>
                </a:cxnLst>
                <a:rect l="0" t="0" r="r" b="b"/>
                <a:pathLst>
                  <a:path w="671" h="774">
                    <a:moveTo>
                      <a:pt x="671" y="581"/>
                    </a:moveTo>
                    <a:lnTo>
                      <a:pt x="671" y="194"/>
                    </a:lnTo>
                    <a:lnTo>
                      <a:pt x="335" y="0"/>
                    </a:lnTo>
                    <a:lnTo>
                      <a:pt x="0" y="194"/>
                    </a:lnTo>
                    <a:lnTo>
                      <a:pt x="0" y="581"/>
                    </a:lnTo>
                    <a:lnTo>
                      <a:pt x="335" y="774"/>
                    </a:lnTo>
                    <a:lnTo>
                      <a:pt x="671" y="581"/>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6" name="Line 30">
                <a:extLst>
                  <a:ext uri="{FF2B5EF4-FFF2-40B4-BE49-F238E27FC236}">
                    <a16:creationId xmlns:a16="http://schemas.microsoft.com/office/drawing/2014/main" id="{8BB1746E-F8C1-4568-84AF-0B9B3DFCBCE0}"/>
                  </a:ext>
                </a:extLst>
              </p:cNvPr>
              <p:cNvSpPr>
                <a:spLocks noChangeShapeType="1"/>
              </p:cNvSpPr>
              <p:nvPr/>
            </p:nvSpPr>
            <p:spPr bwMode="auto">
              <a:xfrm flipV="1">
                <a:off x="3197226" y="14997115"/>
                <a:ext cx="1065213" cy="614363"/>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7" name="Line 31">
                <a:extLst>
                  <a:ext uri="{FF2B5EF4-FFF2-40B4-BE49-F238E27FC236}">
                    <a16:creationId xmlns:a16="http://schemas.microsoft.com/office/drawing/2014/main" id="{2269E44C-A644-4C4F-B642-314FDFC324D4}"/>
                  </a:ext>
                </a:extLst>
              </p:cNvPr>
              <p:cNvSpPr>
                <a:spLocks noChangeShapeType="1"/>
              </p:cNvSpPr>
              <p:nvPr/>
            </p:nvSpPr>
            <p:spPr bwMode="auto">
              <a:xfrm flipH="1" flipV="1">
                <a:off x="3197226" y="14997115"/>
                <a:ext cx="1065213" cy="614363"/>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8" name="Line 32">
                <a:extLst>
                  <a:ext uri="{FF2B5EF4-FFF2-40B4-BE49-F238E27FC236}">
                    <a16:creationId xmlns:a16="http://schemas.microsoft.com/office/drawing/2014/main" id="{FA8CAAD9-B80F-4872-9BEA-8891B7BC039C}"/>
                  </a:ext>
                </a:extLst>
              </p:cNvPr>
              <p:cNvSpPr>
                <a:spLocks noChangeShapeType="1"/>
              </p:cNvSpPr>
              <p:nvPr/>
            </p:nvSpPr>
            <p:spPr bwMode="auto">
              <a:xfrm flipV="1">
                <a:off x="3729039" y="14689140"/>
                <a:ext cx="0" cy="12287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9" name="Freeform 33">
                <a:extLst>
                  <a:ext uri="{FF2B5EF4-FFF2-40B4-BE49-F238E27FC236}">
                    <a16:creationId xmlns:a16="http://schemas.microsoft.com/office/drawing/2014/main" id="{57D89F8B-EB38-4581-8B52-34048D9F686A}"/>
                  </a:ext>
                </a:extLst>
              </p:cNvPr>
              <p:cNvSpPr>
                <a:spLocks/>
              </p:cNvSpPr>
              <p:nvPr/>
            </p:nvSpPr>
            <p:spPr bwMode="auto">
              <a:xfrm>
                <a:off x="3230564" y="13009565"/>
                <a:ext cx="1316038" cy="1519238"/>
              </a:xfrm>
              <a:custGeom>
                <a:avLst/>
                <a:gdLst>
                  <a:gd name="T0" fmla="*/ 829 w 829"/>
                  <a:gd name="T1" fmla="*/ 718 h 957"/>
                  <a:gd name="T2" fmla="*/ 829 w 829"/>
                  <a:gd name="T3" fmla="*/ 240 h 957"/>
                  <a:gd name="T4" fmla="*/ 414 w 829"/>
                  <a:gd name="T5" fmla="*/ 0 h 957"/>
                  <a:gd name="T6" fmla="*/ 0 w 829"/>
                  <a:gd name="T7" fmla="*/ 240 h 957"/>
                  <a:gd name="T8" fmla="*/ 0 w 829"/>
                  <a:gd name="T9" fmla="*/ 718 h 957"/>
                  <a:gd name="T10" fmla="*/ 414 w 829"/>
                  <a:gd name="T11" fmla="*/ 957 h 957"/>
                  <a:gd name="T12" fmla="*/ 829 w 829"/>
                  <a:gd name="T13" fmla="*/ 718 h 957"/>
                </a:gdLst>
                <a:ahLst/>
                <a:cxnLst>
                  <a:cxn ang="0">
                    <a:pos x="T0" y="T1"/>
                  </a:cxn>
                  <a:cxn ang="0">
                    <a:pos x="T2" y="T3"/>
                  </a:cxn>
                  <a:cxn ang="0">
                    <a:pos x="T4" y="T5"/>
                  </a:cxn>
                  <a:cxn ang="0">
                    <a:pos x="T6" y="T7"/>
                  </a:cxn>
                  <a:cxn ang="0">
                    <a:pos x="T8" y="T9"/>
                  </a:cxn>
                  <a:cxn ang="0">
                    <a:pos x="T10" y="T11"/>
                  </a:cxn>
                  <a:cxn ang="0">
                    <a:pos x="T12" y="T13"/>
                  </a:cxn>
                </a:cxnLst>
                <a:rect l="0" t="0" r="r" b="b"/>
                <a:pathLst>
                  <a:path w="829" h="957">
                    <a:moveTo>
                      <a:pt x="829" y="718"/>
                    </a:moveTo>
                    <a:lnTo>
                      <a:pt x="829" y="240"/>
                    </a:lnTo>
                    <a:lnTo>
                      <a:pt x="414" y="0"/>
                    </a:lnTo>
                    <a:lnTo>
                      <a:pt x="0" y="240"/>
                    </a:lnTo>
                    <a:lnTo>
                      <a:pt x="0" y="718"/>
                    </a:lnTo>
                    <a:lnTo>
                      <a:pt x="414" y="957"/>
                    </a:lnTo>
                    <a:lnTo>
                      <a:pt x="829" y="718"/>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10" name="Line 34">
                <a:extLst>
                  <a:ext uri="{FF2B5EF4-FFF2-40B4-BE49-F238E27FC236}">
                    <a16:creationId xmlns:a16="http://schemas.microsoft.com/office/drawing/2014/main" id="{2A940AB3-278C-4778-98C9-6DC916C0FE2C}"/>
                  </a:ext>
                </a:extLst>
              </p:cNvPr>
              <p:cNvSpPr>
                <a:spLocks noChangeShapeType="1"/>
              </p:cNvSpPr>
              <p:nvPr/>
            </p:nvSpPr>
            <p:spPr bwMode="auto">
              <a:xfrm flipV="1">
                <a:off x="3230564" y="13390565"/>
                <a:ext cx="1316038" cy="7588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11" name="Line 35">
                <a:extLst>
                  <a:ext uri="{FF2B5EF4-FFF2-40B4-BE49-F238E27FC236}">
                    <a16:creationId xmlns:a16="http://schemas.microsoft.com/office/drawing/2014/main" id="{E97DEC58-6BB4-46D9-B287-8203C444E230}"/>
                  </a:ext>
                </a:extLst>
              </p:cNvPr>
              <p:cNvSpPr>
                <a:spLocks noChangeShapeType="1"/>
              </p:cNvSpPr>
              <p:nvPr/>
            </p:nvSpPr>
            <p:spPr bwMode="auto">
              <a:xfrm flipH="1" flipV="1">
                <a:off x="3230564" y="13390565"/>
                <a:ext cx="1316038" cy="7588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12" name="Line 36">
                <a:extLst>
                  <a:ext uri="{FF2B5EF4-FFF2-40B4-BE49-F238E27FC236}">
                    <a16:creationId xmlns:a16="http://schemas.microsoft.com/office/drawing/2014/main" id="{19986E94-AABD-4635-BF24-71FBCD0C887E}"/>
                  </a:ext>
                </a:extLst>
              </p:cNvPr>
              <p:cNvSpPr>
                <a:spLocks noChangeShapeType="1"/>
              </p:cNvSpPr>
              <p:nvPr/>
            </p:nvSpPr>
            <p:spPr bwMode="auto">
              <a:xfrm flipV="1">
                <a:off x="3887789" y="13009565"/>
                <a:ext cx="0" cy="151923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grpSp>
        <p:grpSp>
          <p:nvGrpSpPr>
            <p:cNvPr id="148" name="Group 147">
              <a:extLst>
                <a:ext uri="{FF2B5EF4-FFF2-40B4-BE49-F238E27FC236}">
                  <a16:creationId xmlns:a16="http://schemas.microsoft.com/office/drawing/2014/main" id="{1AAE70D1-9307-4885-B3C4-CF7995584E66}"/>
                </a:ext>
              </a:extLst>
            </p:cNvPr>
            <p:cNvGrpSpPr/>
            <p:nvPr/>
          </p:nvGrpSpPr>
          <p:grpSpPr>
            <a:xfrm rot="10800000">
              <a:off x="4695826" y="-185343"/>
              <a:ext cx="1885950" cy="1263234"/>
              <a:chOff x="485776" y="12163427"/>
              <a:chExt cx="5884863" cy="3941763"/>
            </a:xfrm>
          </p:grpSpPr>
          <p:sp>
            <p:nvSpPr>
              <p:cNvPr id="149" name="Freeform 5">
                <a:extLst>
                  <a:ext uri="{FF2B5EF4-FFF2-40B4-BE49-F238E27FC236}">
                    <a16:creationId xmlns:a16="http://schemas.microsoft.com/office/drawing/2014/main" id="{F7C301FC-28B4-41AF-AC1F-91554CEA15F5}"/>
                  </a:ext>
                </a:extLst>
              </p:cNvPr>
              <p:cNvSpPr>
                <a:spLocks/>
              </p:cNvSpPr>
              <p:nvPr/>
            </p:nvSpPr>
            <p:spPr bwMode="auto">
              <a:xfrm>
                <a:off x="485776" y="13768390"/>
                <a:ext cx="1658938" cy="1911350"/>
              </a:xfrm>
              <a:custGeom>
                <a:avLst/>
                <a:gdLst>
                  <a:gd name="T0" fmla="*/ 1045 w 1045"/>
                  <a:gd name="T1" fmla="*/ 904 h 1204"/>
                  <a:gd name="T2" fmla="*/ 1045 w 1045"/>
                  <a:gd name="T3" fmla="*/ 302 h 1204"/>
                  <a:gd name="T4" fmla="*/ 523 w 1045"/>
                  <a:gd name="T5" fmla="*/ 0 h 1204"/>
                  <a:gd name="T6" fmla="*/ 0 w 1045"/>
                  <a:gd name="T7" fmla="*/ 302 h 1204"/>
                  <a:gd name="T8" fmla="*/ 0 w 1045"/>
                  <a:gd name="T9" fmla="*/ 904 h 1204"/>
                  <a:gd name="T10" fmla="*/ 523 w 1045"/>
                  <a:gd name="T11" fmla="*/ 1204 h 1204"/>
                  <a:gd name="T12" fmla="*/ 1045 w 1045"/>
                  <a:gd name="T13" fmla="*/ 904 h 1204"/>
                </a:gdLst>
                <a:ahLst/>
                <a:cxnLst>
                  <a:cxn ang="0">
                    <a:pos x="T0" y="T1"/>
                  </a:cxn>
                  <a:cxn ang="0">
                    <a:pos x="T2" y="T3"/>
                  </a:cxn>
                  <a:cxn ang="0">
                    <a:pos x="T4" y="T5"/>
                  </a:cxn>
                  <a:cxn ang="0">
                    <a:pos x="T6" y="T7"/>
                  </a:cxn>
                  <a:cxn ang="0">
                    <a:pos x="T8" y="T9"/>
                  </a:cxn>
                  <a:cxn ang="0">
                    <a:pos x="T10" y="T11"/>
                  </a:cxn>
                  <a:cxn ang="0">
                    <a:pos x="T12" y="T13"/>
                  </a:cxn>
                </a:cxnLst>
                <a:rect l="0" t="0" r="r" b="b"/>
                <a:pathLst>
                  <a:path w="1045" h="1204">
                    <a:moveTo>
                      <a:pt x="1045" y="904"/>
                    </a:moveTo>
                    <a:lnTo>
                      <a:pt x="1045" y="302"/>
                    </a:lnTo>
                    <a:lnTo>
                      <a:pt x="523" y="0"/>
                    </a:lnTo>
                    <a:lnTo>
                      <a:pt x="0" y="302"/>
                    </a:lnTo>
                    <a:lnTo>
                      <a:pt x="0" y="904"/>
                    </a:lnTo>
                    <a:lnTo>
                      <a:pt x="523" y="1204"/>
                    </a:lnTo>
                    <a:lnTo>
                      <a:pt x="1045" y="90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0" name="Line 6">
                <a:extLst>
                  <a:ext uri="{FF2B5EF4-FFF2-40B4-BE49-F238E27FC236}">
                    <a16:creationId xmlns:a16="http://schemas.microsoft.com/office/drawing/2014/main" id="{BABED39B-F5E3-45A1-BF7E-204575972584}"/>
                  </a:ext>
                </a:extLst>
              </p:cNvPr>
              <p:cNvSpPr>
                <a:spLocks noChangeShapeType="1"/>
              </p:cNvSpPr>
              <p:nvPr/>
            </p:nvSpPr>
            <p:spPr bwMode="auto">
              <a:xfrm flipV="1">
                <a:off x="485776" y="14247815"/>
                <a:ext cx="1658938" cy="9556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1" name="Line 7">
                <a:extLst>
                  <a:ext uri="{FF2B5EF4-FFF2-40B4-BE49-F238E27FC236}">
                    <a16:creationId xmlns:a16="http://schemas.microsoft.com/office/drawing/2014/main" id="{24E01529-B305-47CA-BDDB-413E72FB694D}"/>
                  </a:ext>
                </a:extLst>
              </p:cNvPr>
              <p:cNvSpPr>
                <a:spLocks noChangeShapeType="1"/>
              </p:cNvSpPr>
              <p:nvPr/>
            </p:nvSpPr>
            <p:spPr bwMode="auto">
              <a:xfrm flipH="1" flipV="1">
                <a:off x="485776" y="14247815"/>
                <a:ext cx="1658938" cy="9556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2" name="Line 8">
                <a:extLst>
                  <a:ext uri="{FF2B5EF4-FFF2-40B4-BE49-F238E27FC236}">
                    <a16:creationId xmlns:a16="http://schemas.microsoft.com/office/drawing/2014/main" id="{5C12FE66-15D2-4BBB-AE3F-3EB545F066C7}"/>
                  </a:ext>
                </a:extLst>
              </p:cNvPr>
              <p:cNvSpPr>
                <a:spLocks noChangeShapeType="1"/>
              </p:cNvSpPr>
              <p:nvPr/>
            </p:nvSpPr>
            <p:spPr bwMode="auto">
              <a:xfrm flipV="1">
                <a:off x="1316039" y="13768390"/>
                <a:ext cx="0" cy="19113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3" name="Freeform 9">
                <a:extLst>
                  <a:ext uri="{FF2B5EF4-FFF2-40B4-BE49-F238E27FC236}">
                    <a16:creationId xmlns:a16="http://schemas.microsoft.com/office/drawing/2014/main" id="{8B30DFB0-0852-4784-ABA3-2C3C52129ED2}"/>
                  </a:ext>
                </a:extLst>
              </p:cNvPr>
              <p:cNvSpPr>
                <a:spLocks/>
              </p:cNvSpPr>
              <p:nvPr/>
            </p:nvSpPr>
            <p:spPr bwMode="auto">
              <a:xfrm>
                <a:off x="1512889" y="13403265"/>
                <a:ext cx="1006475" cy="1162050"/>
              </a:xfrm>
              <a:custGeom>
                <a:avLst/>
                <a:gdLst>
                  <a:gd name="T0" fmla="*/ 634 w 634"/>
                  <a:gd name="T1" fmla="*/ 549 h 732"/>
                  <a:gd name="T2" fmla="*/ 634 w 634"/>
                  <a:gd name="T3" fmla="*/ 183 h 732"/>
                  <a:gd name="T4" fmla="*/ 317 w 634"/>
                  <a:gd name="T5" fmla="*/ 0 h 732"/>
                  <a:gd name="T6" fmla="*/ 0 w 634"/>
                  <a:gd name="T7" fmla="*/ 183 h 732"/>
                  <a:gd name="T8" fmla="*/ 0 w 634"/>
                  <a:gd name="T9" fmla="*/ 549 h 732"/>
                  <a:gd name="T10" fmla="*/ 317 w 634"/>
                  <a:gd name="T11" fmla="*/ 732 h 732"/>
                  <a:gd name="T12" fmla="*/ 634 w 634"/>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4" h="732">
                    <a:moveTo>
                      <a:pt x="634" y="549"/>
                    </a:moveTo>
                    <a:lnTo>
                      <a:pt x="634" y="183"/>
                    </a:lnTo>
                    <a:lnTo>
                      <a:pt x="317" y="0"/>
                    </a:lnTo>
                    <a:lnTo>
                      <a:pt x="0" y="183"/>
                    </a:lnTo>
                    <a:lnTo>
                      <a:pt x="0" y="549"/>
                    </a:lnTo>
                    <a:lnTo>
                      <a:pt x="317" y="732"/>
                    </a:lnTo>
                    <a:lnTo>
                      <a:pt x="634"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4" name="Line 10">
                <a:extLst>
                  <a:ext uri="{FF2B5EF4-FFF2-40B4-BE49-F238E27FC236}">
                    <a16:creationId xmlns:a16="http://schemas.microsoft.com/office/drawing/2014/main" id="{D5166107-18E5-4281-93F6-0078A2D8A557}"/>
                  </a:ext>
                </a:extLst>
              </p:cNvPr>
              <p:cNvSpPr>
                <a:spLocks noChangeShapeType="1"/>
              </p:cNvSpPr>
              <p:nvPr/>
            </p:nvSpPr>
            <p:spPr bwMode="auto">
              <a:xfrm flipV="1">
                <a:off x="1512889" y="13693777"/>
                <a:ext cx="1006475"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5" name="Line 11">
                <a:extLst>
                  <a:ext uri="{FF2B5EF4-FFF2-40B4-BE49-F238E27FC236}">
                    <a16:creationId xmlns:a16="http://schemas.microsoft.com/office/drawing/2014/main" id="{47439158-DB3C-4F80-BD2B-C7F03D4CC0BE}"/>
                  </a:ext>
                </a:extLst>
              </p:cNvPr>
              <p:cNvSpPr>
                <a:spLocks noChangeShapeType="1"/>
              </p:cNvSpPr>
              <p:nvPr/>
            </p:nvSpPr>
            <p:spPr bwMode="auto">
              <a:xfrm flipH="1" flipV="1">
                <a:off x="1512889" y="13693777"/>
                <a:ext cx="1006475"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6" name="Line 12">
                <a:extLst>
                  <a:ext uri="{FF2B5EF4-FFF2-40B4-BE49-F238E27FC236}">
                    <a16:creationId xmlns:a16="http://schemas.microsoft.com/office/drawing/2014/main" id="{2AA9B475-0D64-4C8B-867A-1133501C432C}"/>
                  </a:ext>
                </a:extLst>
              </p:cNvPr>
              <p:cNvSpPr>
                <a:spLocks noChangeShapeType="1"/>
              </p:cNvSpPr>
              <p:nvPr/>
            </p:nvSpPr>
            <p:spPr bwMode="auto">
              <a:xfrm flipV="1">
                <a:off x="2016126" y="13403265"/>
                <a:ext cx="0" cy="11620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7" name="Freeform 13">
                <a:extLst>
                  <a:ext uri="{FF2B5EF4-FFF2-40B4-BE49-F238E27FC236}">
                    <a16:creationId xmlns:a16="http://schemas.microsoft.com/office/drawing/2014/main" id="{6C174CD5-BB2A-4E30-89D1-567B87107E9A}"/>
                  </a:ext>
                </a:extLst>
              </p:cNvPr>
              <p:cNvSpPr>
                <a:spLocks/>
              </p:cNvSpPr>
              <p:nvPr/>
            </p:nvSpPr>
            <p:spPr bwMode="auto">
              <a:xfrm>
                <a:off x="1703389" y="14851065"/>
                <a:ext cx="1008063" cy="1162050"/>
              </a:xfrm>
              <a:custGeom>
                <a:avLst/>
                <a:gdLst>
                  <a:gd name="T0" fmla="*/ 635 w 635"/>
                  <a:gd name="T1" fmla="*/ 549 h 732"/>
                  <a:gd name="T2" fmla="*/ 635 w 635"/>
                  <a:gd name="T3" fmla="*/ 183 h 732"/>
                  <a:gd name="T4" fmla="*/ 318 w 635"/>
                  <a:gd name="T5" fmla="*/ 0 h 732"/>
                  <a:gd name="T6" fmla="*/ 0 w 635"/>
                  <a:gd name="T7" fmla="*/ 183 h 732"/>
                  <a:gd name="T8" fmla="*/ 0 w 635"/>
                  <a:gd name="T9" fmla="*/ 549 h 732"/>
                  <a:gd name="T10" fmla="*/ 318 w 635"/>
                  <a:gd name="T11" fmla="*/ 732 h 732"/>
                  <a:gd name="T12" fmla="*/ 635 w 635"/>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5" h="732">
                    <a:moveTo>
                      <a:pt x="635" y="549"/>
                    </a:moveTo>
                    <a:lnTo>
                      <a:pt x="635" y="183"/>
                    </a:lnTo>
                    <a:lnTo>
                      <a:pt x="318" y="0"/>
                    </a:lnTo>
                    <a:lnTo>
                      <a:pt x="0" y="183"/>
                    </a:lnTo>
                    <a:lnTo>
                      <a:pt x="0" y="549"/>
                    </a:lnTo>
                    <a:lnTo>
                      <a:pt x="318" y="732"/>
                    </a:lnTo>
                    <a:lnTo>
                      <a:pt x="635"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8" name="Line 14">
                <a:extLst>
                  <a:ext uri="{FF2B5EF4-FFF2-40B4-BE49-F238E27FC236}">
                    <a16:creationId xmlns:a16="http://schemas.microsoft.com/office/drawing/2014/main" id="{6A9B5595-FE99-499C-B047-C445A4138F96}"/>
                  </a:ext>
                </a:extLst>
              </p:cNvPr>
              <p:cNvSpPr>
                <a:spLocks noChangeShapeType="1"/>
              </p:cNvSpPr>
              <p:nvPr/>
            </p:nvSpPr>
            <p:spPr bwMode="auto">
              <a:xfrm flipV="1">
                <a:off x="1703389" y="15141577"/>
                <a:ext cx="1008063"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9" name="Line 15">
                <a:extLst>
                  <a:ext uri="{FF2B5EF4-FFF2-40B4-BE49-F238E27FC236}">
                    <a16:creationId xmlns:a16="http://schemas.microsoft.com/office/drawing/2014/main" id="{C51563A0-23E7-4AC2-A52B-358ADA3D58CE}"/>
                  </a:ext>
                </a:extLst>
              </p:cNvPr>
              <p:cNvSpPr>
                <a:spLocks noChangeShapeType="1"/>
              </p:cNvSpPr>
              <p:nvPr/>
            </p:nvSpPr>
            <p:spPr bwMode="auto">
              <a:xfrm flipH="1" flipV="1">
                <a:off x="1703389" y="15141577"/>
                <a:ext cx="1008063"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0" name="Line 16">
                <a:extLst>
                  <a:ext uri="{FF2B5EF4-FFF2-40B4-BE49-F238E27FC236}">
                    <a16:creationId xmlns:a16="http://schemas.microsoft.com/office/drawing/2014/main" id="{BF0DBE8C-AA68-4EAC-936D-83D6BC6C0BEA}"/>
                  </a:ext>
                </a:extLst>
              </p:cNvPr>
              <p:cNvSpPr>
                <a:spLocks noChangeShapeType="1"/>
              </p:cNvSpPr>
              <p:nvPr/>
            </p:nvSpPr>
            <p:spPr bwMode="auto">
              <a:xfrm flipV="1">
                <a:off x="2208214" y="14851065"/>
                <a:ext cx="0" cy="11620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1" name="Freeform 17">
                <a:extLst>
                  <a:ext uri="{FF2B5EF4-FFF2-40B4-BE49-F238E27FC236}">
                    <a16:creationId xmlns:a16="http://schemas.microsoft.com/office/drawing/2014/main" id="{BCAD9CFB-25D5-4F8F-AF81-D0B9D04D460D}"/>
                  </a:ext>
                </a:extLst>
              </p:cNvPr>
              <p:cNvSpPr>
                <a:spLocks/>
              </p:cNvSpPr>
              <p:nvPr/>
            </p:nvSpPr>
            <p:spPr bwMode="auto">
              <a:xfrm>
                <a:off x="2306639" y="13830302"/>
                <a:ext cx="1366838" cy="1574800"/>
              </a:xfrm>
              <a:custGeom>
                <a:avLst/>
                <a:gdLst>
                  <a:gd name="T0" fmla="*/ 861 w 861"/>
                  <a:gd name="T1" fmla="*/ 744 h 992"/>
                  <a:gd name="T2" fmla="*/ 861 w 861"/>
                  <a:gd name="T3" fmla="*/ 248 h 992"/>
                  <a:gd name="T4" fmla="*/ 430 w 861"/>
                  <a:gd name="T5" fmla="*/ 0 h 992"/>
                  <a:gd name="T6" fmla="*/ 0 w 861"/>
                  <a:gd name="T7" fmla="*/ 248 h 992"/>
                  <a:gd name="T8" fmla="*/ 0 w 861"/>
                  <a:gd name="T9" fmla="*/ 744 h 992"/>
                  <a:gd name="T10" fmla="*/ 430 w 861"/>
                  <a:gd name="T11" fmla="*/ 992 h 992"/>
                  <a:gd name="T12" fmla="*/ 861 w 861"/>
                  <a:gd name="T13" fmla="*/ 744 h 992"/>
                </a:gdLst>
                <a:ahLst/>
                <a:cxnLst>
                  <a:cxn ang="0">
                    <a:pos x="T0" y="T1"/>
                  </a:cxn>
                  <a:cxn ang="0">
                    <a:pos x="T2" y="T3"/>
                  </a:cxn>
                  <a:cxn ang="0">
                    <a:pos x="T4" y="T5"/>
                  </a:cxn>
                  <a:cxn ang="0">
                    <a:pos x="T6" y="T7"/>
                  </a:cxn>
                  <a:cxn ang="0">
                    <a:pos x="T8" y="T9"/>
                  </a:cxn>
                  <a:cxn ang="0">
                    <a:pos x="T10" y="T11"/>
                  </a:cxn>
                  <a:cxn ang="0">
                    <a:pos x="T12" y="T13"/>
                  </a:cxn>
                </a:cxnLst>
                <a:rect l="0" t="0" r="r" b="b"/>
                <a:pathLst>
                  <a:path w="861" h="992">
                    <a:moveTo>
                      <a:pt x="861" y="744"/>
                    </a:moveTo>
                    <a:lnTo>
                      <a:pt x="861" y="248"/>
                    </a:lnTo>
                    <a:lnTo>
                      <a:pt x="430" y="0"/>
                    </a:lnTo>
                    <a:lnTo>
                      <a:pt x="0" y="248"/>
                    </a:lnTo>
                    <a:lnTo>
                      <a:pt x="0" y="744"/>
                    </a:lnTo>
                    <a:lnTo>
                      <a:pt x="430" y="992"/>
                    </a:lnTo>
                    <a:lnTo>
                      <a:pt x="861" y="74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2" name="Line 18">
                <a:extLst>
                  <a:ext uri="{FF2B5EF4-FFF2-40B4-BE49-F238E27FC236}">
                    <a16:creationId xmlns:a16="http://schemas.microsoft.com/office/drawing/2014/main" id="{832F7290-3438-48EA-AEBF-604ECBFF42B5}"/>
                  </a:ext>
                </a:extLst>
              </p:cNvPr>
              <p:cNvSpPr>
                <a:spLocks noChangeShapeType="1"/>
              </p:cNvSpPr>
              <p:nvPr/>
            </p:nvSpPr>
            <p:spPr bwMode="auto">
              <a:xfrm flipV="1">
                <a:off x="2306639" y="14224002"/>
                <a:ext cx="1366838" cy="7874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3" name="Line 19">
                <a:extLst>
                  <a:ext uri="{FF2B5EF4-FFF2-40B4-BE49-F238E27FC236}">
                    <a16:creationId xmlns:a16="http://schemas.microsoft.com/office/drawing/2014/main" id="{A9FEF3F1-A651-44DE-8198-667B39BEE466}"/>
                  </a:ext>
                </a:extLst>
              </p:cNvPr>
              <p:cNvSpPr>
                <a:spLocks noChangeShapeType="1"/>
              </p:cNvSpPr>
              <p:nvPr/>
            </p:nvSpPr>
            <p:spPr bwMode="auto">
              <a:xfrm flipH="1" flipV="1">
                <a:off x="2306639" y="14224002"/>
                <a:ext cx="1366838" cy="7874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4" name="Line 20">
                <a:extLst>
                  <a:ext uri="{FF2B5EF4-FFF2-40B4-BE49-F238E27FC236}">
                    <a16:creationId xmlns:a16="http://schemas.microsoft.com/office/drawing/2014/main" id="{40E494B2-CEB4-4E65-8A12-32D34340D89F}"/>
                  </a:ext>
                </a:extLst>
              </p:cNvPr>
              <p:cNvSpPr>
                <a:spLocks noChangeShapeType="1"/>
              </p:cNvSpPr>
              <p:nvPr/>
            </p:nvSpPr>
            <p:spPr bwMode="auto">
              <a:xfrm flipV="1">
                <a:off x="2989264" y="13830302"/>
                <a:ext cx="0" cy="15748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5" name="Freeform 21">
                <a:extLst>
                  <a:ext uri="{FF2B5EF4-FFF2-40B4-BE49-F238E27FC236}">
                    <a16:creationId xmlns:a16="http://schemas.microsoft.com/office/drawing/2014/main" id="{61D34658-553E-4F9E-B3A9-9E25A3A99B6C}"/>
                  </a:ext>
                </a:extLst>
              </p:cNvPr>
              <p:cNvSpPr>
                <a:spLocks/>
              </p:cNvSpPr>
              <p:nvPr/>
            </p:nvSpPr>
            <p:spPr bwMode="auto">
              <a:xfrm>
                <a:off x="4000501" y="13792202"/>
                <a:ext cx="2006600" cy="2312988"/>
              </a:xfrm>
              <a:custGeom>
                <a:avLst/>
                <a:gdLst>
                  <a:gd name="T0" fmla="*/ 1264 w 1264"/>
                  <a:gd name="T1" fmla="*/ 1093 h 1457"/>
                  <a:gd name="T2" fmla="*/ 1264 w 1264"/>
                  <a:gd name="T3" fmla="*/ 364 h 1457"/>
                  <a:gd name="T4" fmla="*/ 632 w 1264"/>
                  <a:gd name="T5" fmla="*/ 0 h 1457"/>
                  <a:gd name="T6" fmla="*/ 0 w 1264"/>
                  <a:gd name="T7" fmla="*/ 364 h 1457"/>
                  <a:gd name="T8" fmla="*/ 0 w 1264"/>
                  <a:gd name="T9" fmla="*/ 1093 h 1457"/>
                  <a:gd name="T10" fmla="*/ 632 w 1264"/>
                  <a:gd name="T11" fmla="*/ 1457 h 1457"/>
                  <a:gd name="T12" fmla="*/ 1264 w 1264"/>
                  <a:gd name="T13" fmla="*/ 1093 h 1457"/>
                </a:gdLst>
                <a:ahLst/>
                <a:cxnLst>
                  <a:cxn ang="0">
                    <a:pos x="T0" y="T1"/>
                  </a:cxn>
                  <a:cxn ang="0">
                    <a:pos x="T2" y="T3"/>
                  </a:cxn>
                  <a:cxn ang="0">
                    <a:pos x="T4" y="T5"/>
                  </a:cxn>
                  <a:cxn ang="0">
                    <a:pos x="T6" y="T7"/>
                  </a:cxn>
                  <a:cxn ang="0">
                    <a:pos x="T8" y="T9"/>
                  </a:cxn>
                  <a:cxn ang="0">
                    <a:pos x="T10" y="T11"/>
                  </a:cxn>
                  <a:cxn ang="0">
                    <a:pos x="T12" y="T13"/>
                  </a:cxn>
                </a:cxnLst>
                <a:rect l="0" t="0" r="r" b="b"/>
                <a:pathLst>
                  <a:path w="1264" h="1457">
                    <a:moveTo>
                      <a:pt x="1264" y="1093"/>
                    </a:moveTo>
                    <a:lnTo>
                      <a:pt x="1264" y="364"/>
                    </a:lnTo>
                    <a:lnTo>
                      <a:pt x="632" y="0"/>
                    </a:lnTo>
                    <a:lnTo>
                      <a:pt x="0" y="364"/>
                    </a:lnTo>
                    <a:lnTo>
                      <a:pt x="0" y="1093"/>
                    </a:lnTo>
                    <a:lnTo>
                      <a:pt x="632" y="1457"/>
                    </a:lnTo>
                    <a:lnTo>
                      <a:pt x="1264" y="1093"/>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6" name="Line 22">
                <a:extLst>
                  <a:ext uri="{FF2B5EF4-FFF2-40B4-BE49-F238E27FC236}">
                    <a16:creationId xmlns:a16="http://schemas.microsoft.com/office/drawing/2014/main" id="{C937D6A9-5857-444E-A16D-5977BC4D2BF4}"/>
                  </a:ext>
                </a:extLst>
              </p:cNvPr>
              <p:cNvSpPr>
                <a:spLocks noChangeShapeType="1"/>
              </p:cNvSpPr>
              <p:nvPr/>
            </p:nvSpPr>
            <p:spPr bwMode="auto">
              <a:xfrm flipV="1">
                <a:off x="4000501" y="14370052"/>
                <a:ext cx="2006600" cy="11572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7" name="Line 23">
                <a:extLst>
                  <a:ext uri="{FF2B5EF4-FFF2-40B4-BE49-F238E27FC236}">
                    <a16:creationId xmlns:a16="http://schemas.microsoft.com/office/drawing/2014/main" id="{02D4F60D-1622-42BE-91F3-6A192014FD98}"/>
                  </a:ext>
                </a:extLst>
              </p:cNvPr>
              <p:cNvSpPr>
                <a:spLocks noChangeShapeType="1"/>
              </p:cNvSpPr>
              <p:nvPr/>
            </p:nvSpPr>
            <p:spPr bwMode="auto">
              <a:xfrm flipH="1" flipV="1">
                <a:off x="4000501" y="14370052"/>
                <a:ext cx="2006600" cy="11572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8" name="Line 24">
                <a:extLst>
                  <a:ext uri="{FF2B5EF4-FFF2-40B4-BE49-F238E27FC236}">
                    <a16:creationId xmlns:a16="http://schemas.microsoft.com/office/drawing/2014/main" id="{C1841704-6002-4403-AB3B-5FB306F2A807}"/>
                  </a:ext>
                </a:extLst>
              </p:cNvPr>
              <p:cNvSpPr>
                <a:spLocks noChangeShapeType="1"/>
              </p:cNvSpPr>
              <p:nvPr/>
            </p:nvSpPr>
            <p:spPr bwMode="auto">
              <a:xfrm flipV="1">
                <a:off x="5003801" y="13792202"/>
                <a:ext cx="0" cy="23129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9" name="Freeform 25">
                <a:extLst>
                  <a:ext uri="{FF2B5EF4-FFF2-40B4-BE49-F238E27FC236}">
                    <a16:creationId xmlns:a16="http://schemas.microsoft.com/office/drawing/2014/main" id="{20C342E2-577E-4D37-A940-653A4E66FD1E}"/>
                  </a:ext>
                </a:extLst>
              </p:cNvPr>
              <p:cNvSpPr>
                <a:spLocks/>
              </p:cNvSpPr>
              <p:nvPr/>
            </p:nvSpPr>
            <p:spPr bwMode="auto">
              <a:xfrm>
                <a:off x="4362451" y="12163427"/>
                <a:ext cx="2008188" cy="2314575"/>
              </a:xfrm>
              <a:custGeom>
                <a:avLst/>
                <a:gdLst>
                  <a:gd name="T0" fmla="*/ 1265 w 1265"/>
                  <a:gd name="T1" fmla="*/ 1094 h 1458"/>
                  <a:gd name="T2" fmla="*/ 1265 w 1265"/>
                  <a:gd name="T3" fmla="*/ 364 h 1458"/>
                  <a:gd name="T4" fmla="*/ 633 w 1265"/>
                  <a:gd name="T5" fmla="*/ 0 h 1458"/>
                  <a:gd name="T6" fmla="*/ 0 w 1265"/>
                  <a:gd name="T7" fmla="*/ 364 h 1458"/>
                  <a:gd name="T8" fmla="*/ 0 w 1265"/>
                  <a:gd name="T9" fmla="*/ 1094 h 1458"/>
                  <a:gd name="T10" fmla="*/ 633 w 1265"/>
                  <a:gd name="T11" fmla="*/ 1458 h 1458"/>
                  <a:gd name="T12" fmla="*/ 1265 w 1265"/>
                  <a:gd name="T13" fmla="*/ 1094 h 1458"/>
                </a:gdLst>
                <a:ahLst/>
                <a:cxnLst>
                  <a:cxn ang="0">
                    <a:pos x="T0" y="T1"/>
                  </a:cxn>
                  <a:cxn ang="0">
                    <a:pos x="T2" y="T3"/>
                  </a:cxn>
                  <a:cxn ang="0">
                    <a:pos x="T4" y="T5"/>
                  </a:cxn>
                  <a:cxn ang="0">
                    <a:pos x="T6" y="T7"/>
                  </a:cxn>
                  <a:cxn ang="0">
                    <a:pos x="T8" y="T9"/>
                  </a:cxn>
                  <a:cxn ang="0">
                    <a:pos x="T10" y="T11"/>
                  </a:cxn>
                  <a:cxn ang="0">
                    <a:pos x="T12" y="T13"/>
                  </a:cxn>
                </a:cxnLst>
                <a:rect l="0" t="0" r="r" b="b"/>
                <a:pathLst>
                  <a:path w="1265" h="1458">
                    <a:moveTo>
                      <a:pt x="1265" y="1094"/>
                    </a:moveTo>
                    <a:lnTo>
                      <a:pt x="1265" y="364"/>
                    </a:lnTo>
                    <a:lnTo>
                      <a:pt x="633" y="0"/>
                    </a:lnTo>
                    <a:lnTo>
                      <a:pt x="0" y="364"/>
                    </a:lnTo>
                    <a:lnTo>
                      <a:pt x="0" y="1094"/>
                    </a:lnTo>
                    <a:lnTo>
                      <a:pt x="633" y="1458"/>
                    </a:lnTo>
                    <a:lnTo>
                      <a:pt x="1265" y="1094"/>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0" name="Line 26">
                <a:extLst>
                  <a:ext uri="{FF2B5EF4-FFF2-40B4-BE49-F238E27FC236}">
                    <a16:creationId xmlns:a16="http://schemas.microsoft.com/office/drawing/2014/main" id="{F6753830-3FAF-4FA3-8F05-46072F4EBBD0}"/>
                  </a:ext>
                </a:extLst>
              </p:cNvPr>
              <p:cNvSpPr>
                <a:spLocks noChangeShapeType="1"/>
              </p:cNvSpPr>
              <p:nvPr/>
            </p:nvSpPr>
            <p:spPr bwMode="auto">
              <a:xfrm flipV="1">
                <a:off x="4362451" y="12741277"/>
                <a:ext cx="2008188" cy="11588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1" name="Line 27">
                <a:extLst>
                  <a:ext uri="{FF2B5EF4-FFF2-40B4-BE49-F238E27FC236}">
                    <a16:creationId xmlns:a16="http://schemas.microsoft.com/office/drawing/2014/main" id="{BED395EB-7208-4336-B3A7-9FEF7D0D0492}"/>
                  </a:ext>
                </a:extLst>
              </p:cNvPr>
              <p:cNvSpPr>
                <a:spLocks noChangeShapeType="1"/>
              </p:cNvSpPr>
              <p:nvPr/>
            </p:nvSpPr>
            <p:spPr bwMode="auto">
              <a:xfrm flipH="1" flipV="1">
                <a:off x="4362451" y="12741277"/>
                <a:ext cx="2008188" cy="11588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2" name="Line 28">
                <a:extLst>
                  <a:ext uri="{FF2B5EF4-FFF2-40B4-BE49-F238E27FC236}">
                    <a16:creationId xmlns:a16="http://schemas.microsoft.com/office/drawing/2014/main" id="{C8F13409-4304-4CFC-8254-8CEA0595870C}"/>
                  </a:ext>
                </a:extLst>
              </p:cNvPr>
              <p:cNvSpPr>
                <a:spLocks noChangeShapeType="1"/>
              </p:cNvSpPr>
              <p:nvPr/>
            </p:nvSpPr>
            <p:spPr bwMode="auto">
              <a:xfrm flipV="1">
                <a:off x="5367339" y="12163427"/>
                <a:ext cx="0" cy="23145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3" name="Freeform 29">
                <a:extLst>
                  <a:ext uri="{FF2B5EF4-FFF2-40B4-BE49-F238E27FC236}">
                    <a16:creationId xmlns:a16="http://schemas.microsoft.com/office/drawing/2014/main" id="{83011D40-281C-43AD-96C2-A6716D546AE6}"/>
                  </a:ext>
                </a:extLst>
              </p:cNvPr>
              <p:cNvSpPr>
                <a:spLocks/>
              </p:cNvSpPr>
              <p:nvPr/>
            </p:nvSpPr>
            <p:spPr bwMode="auto">
              <a:xfrm>
                <a:off x="3197226" y="14689140"/>
                <a:ext cx="1065213" cy="1228725"/>
              </a:xfrm>
              <a:custGeom>
                <a:avLst/>
                <a:gdLst>
                  <a:gd name="T0" fmla="*/ 671 w 671"/>
                  <a:gd name="T1" fmla="*/ 581 h 774"/>
                  <a:gd name="T2" fmla="*/ 671 w 671"/>
                  <a:gd name="T3" fmla="*/ 194 h 774"/>
                  <a:gd name="T4" fmla="*/ 335 w 671"/>
                  <a:gd name="T5" fmla="*/ 0 h 774"/>
                  <a:gd name="T6" fmla="*/ 0 w 671"/>
                  <a:gd name="T7" fmla="*/ 194 h 774"/>
                  <a:gd name="T8" fmla="*/ 0 w 671"/>
                  <a:gd name="T9" fmla="*/ 581 h 774"/>
                  <a:gd name="T10" fmla="*/ 335 w 671"/>
                  <a:gd name="T11" fmla="*/ 774 h 774"/>
                  <a:gd name="T12" fmla="*/ 671 w 671"/>
                  <a:gd name="T13" fmla="*/ 581 h 774"/>
                </a:gdLst>
                <a:ahLst/>
                <a:cxnLst>
                  <a:cxn ang="0">
                    <a:pos x="T0" y="T1"/>
                  </a:cxn>
                  <a:cxn ang="0">
                    <a:pos x="T2" y="T3"/>
                  </a:cxn>
                  <a:cxn ang="0">
                    <a:pos x="T4" y="T5"/>
                  </a:cxn>
                  <a:cxn ang="0">
                    <a:pos x="T6" y="T7"/>
                  </a:cxn>
                  <a:cxn ang="0">
                    <a:pos x="T8" y="T9"/>
                  </a:cxn>
                  <a:cxn ang="0">
                    <a:pos x="T10" y="T11"/>
                  </a:cxn>
                  <a:cxn ang="0">
                    <a:pos x="T12" y="T13"/>
                  </a:cxn>
                </a:cxnLst>
                <a:rect l="0" t="0" r="r" b="b"/>
                <a:pathLst>
                  <a:path w="671" h="774">
                    <a:moveTo>
                      <a:pt x="671" y="581"/>
                    </a:moveTo>
                    <a:lnTo>
                      <a:pt x="671" y="194"/>
                    </a:lnTo>
                    <a:lnTo>
                      <a:pt x="335" y="0"/>
                    </a:lnTo>
                    <a:lnTo>
                      <a:pt x="0" y="194"/>
                    </a:lnTo>
                    <a:lnTo>
                      <a:pt x="0" y="581"/>
                    </a:lnTo>
                    <a:lnTo>
                      <a:pt x="335" y="774"/>
                    </a:lnTo>
                    <a:lnTo>
                      <a:pt x="671" y="581"/>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4" name="Line 30">
                <a:extLst>
                  <a:ext uri="{FF2B5EF4-FFF2-40B4-BE49-F238E27FC236}">
                    <a16:creationId xmlns:a16="http://schemas.microsoft.com/office/drawing/2014/main" id="{90D857AA-C899-4A2D-A7C8-25AAA0B2D083}"/>
                  </a:ext>
                </a:extLst>
              </p:cNvPr>
              <p:cNvSpPr>
                <a:spLocks noChangeShapeType="1"/>
              </p:cNvSpPr>
              <p:nvPr/>
            </p:nvSpPr>
            <p:spPr bwMode="auto">
              <a:xfrm flipV="1">
                <a:off x="3197226" y="14997115"/>
                <a:ext cx="1065213" cy="614363"/>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5" name="Line 31">
                <a:extLst>
                  <a:ext uri="{FF2B5EF4-FFF2-40B4-BE49-F238E27FC236}">
                    <a16:creationId xmlns:a16="http://schemas.microsoft.com/office/drawing/2014/main" id="{1057201A-6419-4BCE-861F-F85476710B0A}"/>
                  </a:ext>
                </a:extLst>
              </p:cNvPr>
              <p:cNvSpPr>
                <a:spLocks noChangeShapeType="1"/>
              </p:cNvSpPr>
              <p:nvPr/>
            </p:nvSpPr>
            <p:spPr bwMode="auto">
              <a:xfrm flipH="1" flipV="1">
                <a:off x="3197226" y="14997115"/>
                <a:ext cx="1065213" cy="614363"/>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6" name="Line 32">
                <a:extLst>
                  <a:ext uri="{FF2B5EF4-FFF2-40B4-BE49-F238E27FC236}">
                    <a16:creationId xmlns:a16="http://schemas.microsoft.com/office/drawing/2014/main" id="{E61A8FCA-6C9C-4563-8D56-ABC11B155502}"/>
                  </a:ext>
                </a:extLst>
              </p:cNvPr>
              <p:cNvSpPr>
                <a:spLocks noChangeShapeType="1"/>
              </p:cNvSpPr>
              <p:nvPr/>
            </p:nvSpPr>
            <p:spPr bwMode="auto">
              <a:xfrm flipV="1">
                <a:off x="3729039" y="14689140"/>
                <a:ext cx="0" cy="12287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7" name="Freeform 33">
                <a:extLst>
                  <a:ext uri="{FF2B5EF4-FFF2-40B4-BE49-F238E27FC236}">
                    <a16:creationId xmlns:a16="http://schemas.microsoft.com/office/drawing/2014/main" id="{CC0C7DC4-7066-43FD-B85E-81AF5F4FC561}"/>
                  </a:ext>
                </a:extLst>
              </p:cNvPr>
              <p:cNvSpPr>
                <a:spLocks/>
              </p:cNvSpPr>
              <p:nvPr/>
            </p:nvSpPr>
            <p:spPr bwMode="auto">
              <a:xfrm>
                <a:off x="3230564" y="13009565"/>
                <a:ext cx="1316038" cy="1519238"/>
              </a:xfrm>
              <a:custGeom>
                <a:avLst/>
                <a:gdLst>
                  <a:gd name="T0" fmla="*/ 829 w 829"/>
                  <a:gd name="T1" fmla="*/ 718 h 957"/>
                  <a:gd name="T2" fmla="*/ 829 w 829"/>
                  <a:gd name="T3" fmla="*/ 240 h 957"/>
                  <a:gd name="T4" fmla="*/ 414 w 829"/>
                  <a:gd name="T5" fmla="*/ 0 h 957"/>
                  <a:gd name="T6" fmla="*/ 0 w 829"/>
                  <a:gd name="T7" fmla="*/ 240 h 957"/>
                  <a:gd name="T8" fmla="*/ 0 w 829"/>
                  <a:gd name="T9" fmla="*/ 718 h 957"/>
                  <a:gd name="T10" fmla="*/ 414 w 829"/>
                  <a:gd name="T11" fmla="*/ 957 h 957"/>
                  <a:gd name="T12" fmla="*/ 829 w 829"/>
                  <a:gd name="T13" fmla="*/ 718 h 957"/>
                </a:gdLst>
                <a:ahLst/>
                <a:cxnLst>
                  <a:cxn ang="0">
                    <a:pos x="T0" y="T1"/>
                  </a:cxn>
                  <a:cxn ang="0">
                    <a:pos x="T2" y="T3"/>
                  </a:cxn>
                  <a:cxn ang="0">
                    <a:pos x="T4" y="T5"/>
                  </a:cxn>
                  <a:cxn ang="0">
                    <a:pos x="T6" y="T7"/>
                  </a:cxn>
                  <a:cxn ang="0">
                    <a:pos x="T8" y="T9"/>
                  </a:cxn>
                  <a:cxn ang="0">
                    <a:pos x="T10" y="T11"/>
                  </a:cxn>
                  <a:cxn ang="0">
                    <a:pos x="T12" y="T13"/>
                  </a:cxn>
                </a:cxnLst>
                <a:rect l="0" t="0" r="r" b="b"/>
                <a:pathLst>
                  <a:path w="829" h="957">
                    <a:moveTo>
                      <a:pt x="829" y="718"/>
                    </a:moveTo>
                    <a:lnTo>
                      <a:pt x="829" y="240"/>
                    </a:lnTo>
                    <a:lnTo>
                      <a:pt x="414" y="0"/>
                    </a:lnTo>
                    <a:lnTo>
                      <a:pt x="0" y="240"/>
                    </a:lnTo>
                    <a:lnTo>
                      <a:pt x="0" y="718"/>
                    </a:lnTo>
                    <a:lnTo>
                      <a:pt x="414" y="957"/>
                    </a:lnTo>
                    <a:lnTo>
                      <a:pt x="829" y="718"/>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8" name="Line 34">
                <a:extLst>
                  <a:ext uri="{FF2B5EF4-FFF2-40B4-BE49-F238E27FC236}">
                    <a16:creationId xmlns:a16="http://schemas.microsoft.com/office/drawing/2014/main" id="{B9F0BFC4-284B-47F3-B8DF-16409529C107}"/>
                  </a:ext>
                </a:extLst>
              </p:cNvPr>
              <p:cNvSpPr>
                <a:spLocks noChangeShapeType="1"/>
              </p:cNvSpPr>
              <p:nvPr/>
            </p:nvSpPr>
            <p:spPr bwMode="auto">
              <a:xfrm flipV="1">
                <a:off x="3230564" y="13390565"/>
                <a:ext cx="1316038" cy="7588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9" name="Line 35">
                <a:extLst>
                  <a:ext uri="{FF2B5EF4-FFF2-40B4-BE49-F238E27FC236}">
                    <a16:creationId xmlns:a16="http://schemas.microsoft.com/office/drawing/2014/main" id="{1B2A2F18-DBF3-47EB-9445-8CD7306E40FF}"/>
                  </a:ext>
                </a:extLst>
              </p:cNvPr>
              <p:cNvSpPr>
                <a:spLocks noChangeShapeType="1"/>
              </p:cNvSpPr>
              <p:nvPr/>
            </p:nvSpPr>
            <p:spPr bwMode="auto">
              <a:xfrm flipH="1" flipV="1">
                <a:off x="3230564" y="13390565"/>
                <a:ext cx="1316038" cy="7588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0" name="Line 36">
                <a:extLst>
                  <a:ext uri="{FF2B5EF4-FFF2-40B4-BE49-F238E27FC236}">
                    <a16:creationId xmlns:a16="http://schemas.microsoft.com/office/drawing/2014/main" id="{D265770D-AF19-4D85-AF68-54CF91FB77E1}"/>
                  </a:ext>
                </a:extLst>
              </p:cNvPr>
              <p:cNvSpPr>
                <a:spLocks noChangeShapeType="1"/>
              </p:cNvSpPr>
              <p:nvPr/>
            </p:nvSpPr>
            <p:spPr bwMode="auto">
              <a:xfrm flipV="1">
                <a:off x="3887789" y="13009565"/>
                <a:ext cx="0" cy="151923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grpSp>
      </p:grpSp>
      <p:grpSp>
        <p:nvGrpSpPr>
          <p:cNvPr id="3" name="Group 2">
            <a:extLst>
              <a:ext uri="{FF2B5EF4-FFF2-40B4-BE49-F238E27FC236}">
                <a16:creationId xmlns:a16="http://schemas.microsoft.com/office/drawing/2014/main" id="{7F6F4A87-D663-4FEA-A020-726B12EB823D}"/>
              </a:ext>
            </a:extLst>
          </p:cNvPr>
          <p:cNvGrpSpPr/>
          <p:nvPr userDrawn="1"/>
        </p:nvGrpSpPr>
        <p:grpSpPr>
          <a:xfrm>
            <a:off x="451632" y="468476"/>
            <a:ext cx="1430221" cy="306418"/>
            <a:chOff x="451632" y="468476"/>
            <a:chExt cx="1430221" cy="306418"/>
          </a:xfrm>
        </p:grpSpPr>
        <p:pic>
          <p:nvPicPr>
            <p:cNvPr id="10" name="Picture 9">
              <a:extLst>
                <a:ext uri="{FF2B5EF4-FFF2-40B4-BE49-F238E27FC236}">
                  <a16:creationId xmlns:a16="http://schemas.microsoft.com/office/drawing/2014/main" id="{21192D5F-1038-4F8E-88F2-D315D8D030F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1632" y="468769"/>
              <a:ext cx="1390452" cy="306125"/>
            </a:xfrm>
            <a:prstGeom prst="rect">
              <a:avLst/>
            </a:prstGeom>
          </p:spPr>
        </p:pic>
        <p:pic>
          <p:nvPicPr>
            <p:cNvPr id="213" name="Picture 212">
              <a:extLst>
                <a:ext uri="{FF2B5EF4-FFF2-40B4-BE49-F238E27FC236}">
                  <a16:creationId xmlns:a16="http://schemas.microsoft.com/office/drawing/2014/main" id="{C45001F7-6401-4AE7-A4B0-E03D533E9A29}"/>
                </a:ext>
              </a:extLst>
            </p:cNvPr>
            <p:cNvPicPr>
              <a:picLocks noChangeAspect="1"/>
            </p:cNvPicPr>
            <p:nvPr userDrawn="1"/>
          </p:nvPicPr>
          <p:blipFill rotWithShape="1">
            <a:blip r:embed="rId2" cstate="print">
              <a:biLevel thresh="25000"/>
              <a:extLst>
                <a:ext uri="{28A0092B-C50C-407E-A947-70E740481C1C}">
                  <a14:useLocalDpi xmlns:a14="http://schemas.microsoft.com/office/drawing/2010/main" val="0"/>
                </a:ext>
              </a:extLst>
            </a:blip>
            <a:srcRect l="25203" r="-2873"/>
            <a:stretch/>
          </p:blipFill>
          <p:spPr>
            <a:xfrm>
              <a:off x="801858" y="468476"/>
              <a:ext cx="1079995" cy="306125"/>
            </a:xfrm>
            <a:prstGeom prst="rect">
              <a:avLst/>
            </a:prstGeom>
          </p:spPr>
        </p:pic>
      </p:grpSp>
      <p:sp>
        <p:nvSpPr>
          <p:cNvPr id="4" name="Rectangle 3">
            <a:extLst>
              <a:ext uri="{FF2B5EF4-FFF2-40B4-BE49-F238E27FC236}">
                <a16:creationId xmlns:a16="http://schemas.microsoft.com/office/drawing/2014/main" id="{A3FDE298-7815-47CD-B20F-6229E5D2BB2F}"/>
              </a:ext>
            </a:extLst>
          </p:cNvPr>
          <p:cNvSpPr/>
          <p:nvPr userDrawn="1"/>
        </p:nvSpPr>
        <p:spPr bwMode="auto">
          <a:xfrm>
            <a:off x="4804012" y="-1398896"/>
            <a:ext cx="7642746" cy="1398896"/>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5" name="Rectangle 214">
            <a:extLst>
              <a:ext uri="{FF2B5EF4-FFF2-40B4-BE49-F238E27FC236}">
                <a16:creationId xmlns:a16="http://schemas.microsoft.com/office/drawing/2014/main" id="{00E81728-F939-4C5F-960C-B7F76859F232}"/>
              </a:ext>
            </a:extLst>
          </p:cNvPr>
          <p:cNvSpPr/>
          <p:nvPr userDrawn="1"/>
        </p:nvSpPr>
        <p:spPr bwMode="auto">
          <a:xfrm rot="5400000">
            <a:off x="9945122" y="2094976"/>
            <a:ext cx="7642746" cy="3132068"/>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383368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0697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200" strike="noStrike">
                <a:gradFill>
                  <a:gsLst>
                    <a:gs pos="2917">
                      <a:schemeClr val="tx1"/>
                    </a:gs>
                    <a:gs pos="30000">
                      <a:schemeClr val="tx1"/>
                    </a:gs>
                  </a:gsLst>
                  <a:lin ang="5400000" scaled="0"/>
                </a:gra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rgbClr val="FFFFFF">
                    <a:lumMod val="65000"/>
                  </a:srgbClr>
                </a:solidFill>
              </a:rPr>
              <a:t>© Microsoft Corporation                                                                                  								                      Dynamics 365 </a:t>
            </a:r>
          </a:p>
        </p:txBody>
      </p:sp>
    </p:spTree>
    <p:extLst>
      <p:ext uri="{BB962C8B-B14F-4D97-AF65-F5344CB8AC3E}">
        <p14:creationId xmlns:p14="http://schemas.microsoft.com/office/powerpoint/2010/main" val="364647829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29246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252314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09674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4"/>
            <a:ext cx="5113948" cy="615609"/>
            <a:chOff x="274638" y="4554933"/>
            <a:chExt cx="5216493" cy="627864"/>
          </a:xfrm>
        </p:grpSpPr>
        <p:sp>
          <p:nvSpPr>
            <p:cNvPr id="7" name="TextBox 6"/>
            <p:cNvSpPr txBox="1"/>
            <p:nvPr userDrawn="1"/>
          </p:nvSpPr>
          <p:spPr>
            <a:xfrm>
              <a:off x="274638" y="4554933"/>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628670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4"/>
            <a:ext cx="5113948" cy="615609"/>
            <a:chOff x="274638" y="4554933"/>
            <a:chExt cx="5216493" cy="627864"/>
          </a:xfrm>
        </p:grpSpPr>
        <p:sp>
          <p:nvSpPr>
            <p:cNvPr id="7" name="TextBox 6"/>
            <p:cNvSpPr txBox="1"/>
            <p:nvPr userDrawn="1"/>
          </p:nvSpPr>
          <p:spPr>
            <a:xfrm>
              <a:off x="274638" y="4554933"/>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1895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CC4B3-07B0-4F5C-9DCB-49EEA81E2727}"/>
              </a:ext>
            </a:extLst>
          </p:cNvPr>
          <p:cNvSpPr>
            <a:spLocks noGrp="1"/>
          </p:cNvSpPr>
          <p:nvPr>
            <p:ph type="title"/>
          </p:nvPr>
        </p:nvSpPr>
        <p:spPr/>
        <p:txBody>
          <a:bodyPr/>
          <a:lstStyle/>
          <a:p>
            <a:r>
              <a:rPr lang="en-US"/>
              <a:t>Click to edit Master title style</a:t>
            </a:r>
            <a:endParaRPr lang="fr-CH"/>
          </a:p>
        </p:txBody>
      </p:sp>
      <p:sp>
        <p:nvSpPr>
          <p:cNvPr id="3" name="Content Placeholder 2">
            <a:extLst>
              <a:ext uri="{FF2B5EF4-FFF2-40B4-BE49-F238E27FC236}">
                <a16:creationId xmlns:a16="http://schemas.microsoft.com/office/drawing/2014/main" id="{96C89E39-E1AF-49B0-ABA7-C333FAE352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Date Placeholder 3">
            <a:extLst>
              <a:ext uri="{FF2B5EF4-FFF2-40B4-BE49-F238E27FC236}">
                <a16:creationId xmlns:a16="http://schemas.microsoft.com/office/drawing/2014/main" id="{4AECFE0F-857E-4DCD-B9E8-E27C0D067911}"/>
              </a:ext>
            </a:extLst>
          </p:cNvPr>
          <p:cNvSpPr>
            <a:spLocks noGrp="1"/>
          </p:cNvSpPr>
          <p:nvPr>
            <p:ph type="dt" sz="half" idx="10"/>
          </p:nvPr>
        </p:nvSpPr>
        <p:spPr/>
        <p:txBody>
          <a:bodyPr/>
          <a:lstStyle/>
          <a:p>
            <a:fld id="{52C8F2F6-3AF4-4ED4-946F-64D74418434B}" type="datetimeFigureOut">
              <a:rPr lang="fr-CH" smtClean="0"/>
              <a:t>26.09.2019</a:t>
            </a:fld>
            <a:endParaRPr lang="fr-CH"/>
          </a:p>
        </p:txBody>
      </p:sp>
      <p:sp>
        <p:nvSpPr>
          <p:cNvPr id="5" name="Footer Placeholder 4">
            <a:extLst>
              <a:ext uri="{FF2B5EF4-FFF2-40B4-BE49-F238E27FC236}">
                <a16:creationId xmlns:a16="http://schemas.microsoft.com/office/drawing/2014/main" id="{3EFE770F-81F1-42A1-BC9D-AA180073C56D}"/>
              </a:ext>
            </a:extLst>
          </p:cNvPr>
          <p:cNvSpPr>
            <a:spLocks noGrp="1"/>
          </p:cNvSpPr>
          <p:nvPr>
            <p:ph type="ftr" sz="quarter" idx="11"/>
          </p:nvPr>
        </p:nvSpPr>
        <p:spPr/>
        <p:txBody>
          <a:bodyPr/>
          <a:lstStyle/>
          <a:p>
            <a:endParaRPr lang="fr-CH"/>
          </a:p>
        </p:txBody>
      </p:sp>
      <p:sp>
        <p:nvSpPr>
          <p:cNvPr id="6" name="Slide Number Placeholder 5">
            <a:extLst>
              <a:ext uri="{FF2B5EF4-FFF2-40B4-BE49-F238E27FC236}">
                <a16:creationId xmlns:a16="http://schemas.microsoft.com/office/drawing/2014/main" id="{3740E226-98E8-4F69-9CD4-D9513C4C498E}"/>
              </a:ext>
            </a:extLst>
          </p:cNvPr>
          <p:cNvSpPr>
            <a:spLocks noGrp="1"/>
          </p:cNvSpPr>
          <p:nvPr>
            <p:ph type="sldNum" sz="quarter" idx="12"/>
          </p:nvPr>
        </p:nvSpPr>
        <p:spPr/>
        <p:txBody>
          <a:bodyPr/>
          <a:lstStyle/>
          <a:p>
            <a:fld id="{19AB34F1-9614-4146-AAB5-3D64232A8AA2}" type="slidenum">
              <a:rPr lang="fr-CH" smtClean="0"/>
              <a:t>‹#›</a:t>
            </a:fld>
            <a:endParaRPr lang="fr-CH"/>
          </a:p>
        </p:txBody>
      </p:sp>
    </p:spTree>
    <p:extLst>
      <p:ext uri="{BB962C8B-B14F-4D97-AF65-F5344CB8AC3E}">
        <p14:creationId xmlns:p14="http://schemas.microsoft.com/office/powerpoint/2010/main" val="13136495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2800" spc="0" baseline="0">
                <a:solidFill>
                  <a:schemeClr val="bg1"/>
                </a:solidFill>
                <a:latin typeface="+mn-lt"/>
              </a:defRPr>
            </a:lvl1pPr>
          </a:lstStyle>
          <a:p>
            <a:pPr lvl="0"/>
            <a:r>
              <a:rPr lang="en-US"/>
              <a:t>Speaker name</a:t>
            </a:r>
          </a:p>
        </p:txBody>
      </p:sp>
      <p:sp>
        <p:nvSpPr>
          <p:cNvPr id="7" name="Text Placeholder 16"/>
          <p:cNvSpPr>
            <a:spLocks noGrp="1"/>
          </p:cNvSpPr>
          <p:nvPr>
            <p:ph type="body" sz="quarter" idx="13" hasCustomPrompt="1"/>
          </p:nvPr>
        </p:nvSpPr>
        <p:spPr>
          <a:xfrm>
            <a:off x="8339677" y="288560"/>
            <a:ext cx="3585699" cy="544765"/>
          </a:xfrm>
        </p:spPr>
        <p:txBody>
          <a:bodyPr lIns="182880" tIns="146304" rIns="182880" bIns="146304"/>
          <a:lstStyle>
            <a:lvl1pPr marL="0" indent="0" algn="r">
              <a:buNone/>
              <a:defRPr sz="1800">
                <a:solidFill>
                  <a:schemeClr val="bg1"/>
                </a:solidFill>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6019330"/>
            <a:ext cx="3585699" cy="544765"/>
          </a:xfrm>
        </p:spPr>
        <p:txBody>
          <a:bodyPr lIns="182880" tIns="146304" rIns="182880" bIns="146304" anchor="b"/>
          <a:lstStyle>
            <a:lvl1pPr marL="0" indent="0" algn="l">
              <a:buNone/>
              <a:defRPr sz="1800">
                <a:solidFill>
                  <a:schemeClr val="bg1"/>
                </a:solidFill>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pic>
        <p:nvPicPr>
          <p:cNvPr id="10" name="Picture 9">
            <a:extLst>
              <a:ext uri="{FF2B5EF4-FFF2-40B4-BE49-F238E27FC236}">
                <a16:creationId xmlns:a16="http://schemas.microsoft.com/office/drawing/2014/main" id="{21192D5F-1038-4F8E-88F2-D315D8D030F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1632" y="468769"/>
            <a:ext cx="1390452" cy="306125"/>
          </a:xfrm>
          <a:prstGeom prst="rect">
            <a:avLst/>
          </a:prstGeom>
        </p:spPr>
      </p:pic>
    </p:spTree>
    <p:extLst>
      <p:ext uri="{BB962C8B-B14F-4D97-AF65-F5344CB8AC3E}">
        <p14:creationId xmlns:p14="http://schemas.microsoft.com/office/powerpoint/2010/main" val="4111823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1A44DE7B-58F3-4CF0-9666-27726C9F3C84}"/>
              </a:ext>
            </a:extLst>
          </p:cNvPr>
          <p:cNvSpPr/>
          <p:nvPr userDrawn="1"/>
        </p:nvSpPr>
        <p:spPr bwMode="auto">
          <a:xfrm>
            <a:off x="0" y="1314450"/>
            <a:ext cx="12192000" cy="55435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3B19F035-9E4B-41D2-A99B-4B977B190C14}"/>
              </a:ext>
            </a:extLst>
          </p:cNvPr>
          <p:cNvSpPr/>
          <p:nvPr userDrawn="1"/>
        </p:nvSpPr>
        <p:spPr bwMode="auto">
          <a:xfrm>
            <a:off x="0" y="0"/>
            <a:ext cx="12192000" cy="1333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4800" spc="-98" baseline="0">
                <a:solidFill>
                  <a:schemeClr val="bg1">
                    <a:lumMod val="20000"/>
                    <a:lumOff val="80000"/>
                  </a:schemeClr>
                </a:soli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2800" spc="0" baseline="0">
                <a:solidFill>
                  <a:schemeClr val="bg1">
                    <a:lumMod val="20000"/>
                    <a:lumOff val="80000"/>
                  </a:schemeClr>
                </a:solidFill>
                <a:latin typeface="+mn-lt"/>
              </a:defRPr>
            </a:lvl1pPr>
          </a:lstStyle>
          <a:p>
            <a:pPr lvl="0"/>
            <a:r>
              <a:rPr lang="en-US"/>
              <a:t>Speaker name</a:t>
            </a:r>
          </a:p>
        </p:txBody>
      </p:sp>
      <p:sp>
        <p:nvSpPr>
          <p:cNvPr id="7" name="Text Placeholder 16"/>
          <p:cNvSpPr>
            <a:spLocks noGrp="1"/>
          </p:cNvSpPr>
          <p:nvPr>
            <p:ph type="body" sz="quarter" idx="13" hasCustomPrompt="1"/>
          </p:nvPr>
        </p:nvSpPr>
        <p:spPr>
          <a:xfrm>
            <a:off x="8339677" y="288560"/>
            <a:ext cx="3585699" cy="544765"/>
          </a:xfrm>
        </p:spPr>
        <p:txBody>
          <a:bodyPr lIns="182880" tIns="146304" rIns="182880" bIns="146304"/>
          <a:lstStyle>
            <a:lvl1pPr marL="0" indent="0" algn="r">
              <a:buNone/>
              <a:defRPr sz="1800">
                <a:solidFill>
                  <a:schemeClr val="bg1"/>
                </a:solidFill>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6019330"/>
            <a:ext cx="3585699" cy="544765"/>
          </a:xfrm>
        </p:spPr>
        <p:txBody>
          <a:bodyPr lIns="182880" tIns="146304" rIns="182880" bIns="146304" anchor="b"/>
          <a:lstStyle>
            <a:lvl1pPr marL="0" indent="0" algn="l">
              <a:buNone/>
              <a:defRPr sz="1800">
                <a:solidFill>
                  <a:schemeClr val="bg1">
                    <a:lumMod val="20000"/>
                    <a:lumOff val="80000"/>
                  </a:schemeClr>
                </a:solidFill>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grpSp>
        <p:nvGrpSpPr>
          <p:cNvPr id="146" name="Group 145">
            <a:extLst>
              <a:ext uri="{FF2B5EF4-FFF2-40B4-BE49-F238E27FC236}">
                <a16:creationId xmlns:a16="http://schemas.microsoft.com/office/drawing/2014/main" id="{BB9CB220-FE0A-49C5-BB38-B0B2004CF4DB}"/>
              </a:ext>
            </a:extLst>
          </p:cNvPr>
          <p:cNvGrpSpPr/>
          <p:nvPr userDrawn="1"/>
        </p:nvGrpSpPr>
        <p:grpSpPr>
          <a:xfrm>
            <a:off x="5686142" y="-656888"/>
            <a:ext cx="8970047" cy="6732131"/>
            <a:chOff x="4695826" y="-185343"/>
            <a:chExt cx="2286000" cy="1715671"/>
          </a:xfrm>
        </p:grpSpPr>
        <p:grpSp>
          <p:nvGrpSpPr>
            <p:cNvPr id="147" name="Group 146">
              <a:extLst>
                <a:ext uri="{FF2B5EF4-FFF2-40B4-BE49-F238E27FC236}">
                  <a16:creationId xmlns:a16="http://schemas.microsoft.com/office/drawing/2014/main" id="{4B6F1FBF-35D7-435B-8027-93B490A96F46}"/>
                </a:ext>
              </a:extLst>
            </p:cNvPr>
            <p:cNvGrpSpPr/>
            <p:nvPr/>
          </p:nvGrpSpPr>
          <p:grpSpPr>
            <a:xfrm>
              <a:off x="5095876" y="267094"/>
              <a:ext cx="1885950" cy="1263234"/>
              <a:chOff x="485776" y="12163427"/>
              <a:chExt cx="5884863" cy="3941763"/>
            </a:xfrm>
          </p:grpSpPr>
          <p:sp>
            <p:nvSpPr>
              <p:cNvPr id="181" name="Freeform 5">
                <a:extLst>
                  <a:ext uri="{FF2B5EF4-FFF2-40B4-BE49-F238E27FC236}">
                    <a16:creationId xmlns:a16="http://schemas.microsoft.com/office/drawing/2014/main" id="{A325872A-A24F-4541-A046-E4B48E19B303}"/>
                  </a:ext>
                </a:extLst>
              </p:cNvPr>
              <p:cNvSpPr>
                <a:spLocks/>
              </p:cNvSpPr>
              <p:nvPr/>
            </p:nvSpPr>
            <p:spPr bwMode="auto">
              <a:xfrm>
                <a:off x="485776" y="13768390"/>
                <a:ext cx="1658938" cy="1911350"/>
              </a:xfrm>
              <a:custGeom>
                <a:avLst/>
                <a:gdLst>
                  <a:gd name="T0" fmla="*/ 1045 w 1045"/>
                  <a:gd name="T1" fmla="*/ 904 h 1204"/>
                  <a:gd name="T2" fmla="*/ 1045 w 1045"/>
                  <a:gd name="T3" fmla="*/ 302 h 1204"/>
                  <a:gd name="T4" fmla="*/ 523 w 1045"/>
                  <a:gd name="T5" fmla="*/ 0 h 1204"/>
                  <a:gd name="T6" fmla="*/ 0 w 1045"/>
                  <a:gd name="T7" fmla="*/ 302 h 1204"/>
                  <a:gd name="T8" fmla="*/ 0 w 1045"/>
                  <a:gd name="T9" fmla="*/ 904 h 1204"/>
                  <a:gd name="T10" fmla="*/ 523 w 1045"/>
                  <a:gd name="T11" fmla="*/ 1204 h 1204"/>
                  <a:gd name="T12" fmla="*/ 1045 w 1045"/>
                  <a:gd name="T13" fmla="*/ 904 h 1204"/>
                </a:gdLst>
                <a:ahLst/>
                <a:cxnLst>
                  <a:cxn ang="0">
                    <a:pos x="T0" y="T1"/>
                  </a:cxn>
                  <a:cxn ang="0">
                    <a:pos x="T2" y="T3"/>
                  </a:cxn>
                  <a:cxn ang="0">
                    <a:pos x="T4" y="T5"/>
                  </a:cxn>
                  <a:cxn ang="0">
                    <a:pos x="T6" y="T7"/>
                  </a:cxn>
                  <a:cxn ang="0">
                    <a:pos x="T8" y="T9"/>
                  </a:cxn>
                  <a:cxn ang="0">
                    <a:pos x="T10" y="T11"/>
                  </a:cxn>
                  <a:cxn ang="0">
                    <a:pos x="T12" y="T13"/>
                  </a:cxn>
                </a:cxnLst>
                <a:rect l="0" t="0" r="r" b="b"/>
                <a:pathLst>
                  <a:path w="1045" h="1204">
                    <a:moveTo>
                      <a:pt x="1045" y="904"/>
                    </a:moveTo>
                    <a:lnTo>
                      <a:pt x="1045" y="302"/>
                    </a:lnTo>
                    <a:lnTo>
                      <a:pt x="523" y="0"/>
                    </a:lnTo>
                    <a:lnTo>
                      <a:pt x="0" y="302"/>
                    </a:lnTo>
                    <a:lnTo>
                      <a:pt x="0" y="904"/>
                    </a:lnTo>
                    <a:lnTo>
                      <a:pt x="523" y="1204"/>
                    </a:lnTo>
                    <a:lnTo>
                      <a:pt x="1045" y="90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2" name="Line 6">
                <a:extLst>
                  <a:ext uri="{FF2B5EF4-FFF2-40B4-BE49-F238E27FC236}">
                    <a16:creationId xmlns:a16="http://schemas.microsoft.com/office/drawing/2014/main" id="{2D0DC17F-DB6B-408D-B1DC-E5639F6BC3D1}"/>
                  </a:ext>
                </a:extLst>
              </p:cNvPr>
              <p:cNvSpPr>
                <a:spLocks noChangeShapeType="1"/>
              </p:cNvSpPr>
              <p:nvPr/>
            </p:nvSpPr>
            <p:spPr bwMode="auto">
              <a:xfrm flipV="1">
                <a:off x="485776" y="14247815"/>
                <a:ext cx="1658938" cy="9556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3" name="Line 7">
                <a:extLst>
                  <a:ext uri="{FF2B5EF4-FFF2-40B4-BE49-F238E27FC236}">
                    <a16:creationId xmlns:a16="http://schemas.microsoft.com/office/drawing/2014/main" id="{5C4CA297-FBB9-4DCB-94D5-F920975F136A}"/>
                  </a:ext>
                </a:extLst>
              </p:cNvPr>
              <p:cNvSpPr>
                <a:spLocks noChangeShapeType="1"/>
              </p:cNvSpPr>
              <p:nvPr/>
            </p:nvSpPr>
            <p:spPr bwMode="auto">
              <a:xfrm flipH="1" flipV="1">
                <a:off x="485776" y="14247815"/>
                <a:ext cx="1658938" cy="9556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4" name="Line 8">
                <a:extLst>
                  <a:ext uri="{FF2B5EF4-FFF2-40B4-BE49-F238E27FC236}">
                    <a16:creationId xmlns:a16="http://schemas.microsoft.com/office/drawing/2014/main" id="{C8B2DB13-7D9A-4369-AC73-988BC417C9B1}"/>
                  </a:ext>
                </a:extLst>
              </p:cNvPr>
              <p:cNvSpPr>
                <a:spLocks noChangeShapeType="1"/>
              </p:cNvSpPr>
              <p:nvPr/>
            </p:nvSpPr>
            <p:spPr bwMode="auto">
              <a:xfrm flipV="1">
                <a:off x="1316039" y="13768390"/>
                <a:ext cx="0" cy="19113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5" name="Freeform 9">
                <a:extLst>
                  <a:ext uri="{FF2B5EF4-FFF2-40B4-BE49-F238E27FC236}">
                    <a16:creationId xmlns:a16="http://schemas.microsoft.com/office/drawing/2014/main" id="{F3F63DA0-7409-4836-8AE6-C5245DA47E82}"/>
                  </a:ext>
                </a:extLst>
              </p:cNvPr>
              <p:cNvSpPr>
                <a:spLocks/>
              </p:cNvSpPr>
              <p:nvPr/>
            </p:nvSpPr>
            <p:spPr bwMode="auto">
              <a:xfrm>
                <a:off x="1512889" y="13403265"/>
                <a:ext cx="1006475" cy="1162050"/>
              </a:xfrm>
              <a:custGeom>
                <a:avLst/>
                <a:gdLst>
                  <a:gd name="T0" fmla="*/ 634 w 634"/>
                  <a:gd name="T1" fmla="*/ 549 h 732"/>
                  <a:gd name="T2" fmla="*/ 634 w 634"/>
                  <a:gd name="T3" fmla="*/ 183 h 732"/>
                  <a:gd name="T4" fmla="*/ 317 w 634"/>
                  <a:gd name="T5" fmla="*/ 0 h 732"/>
                  <a:gd name="T6" fmla="*/ 0 w 634"/>
                  <a:gd name="T7" fmla="*/ 183 h 732"/>
                  <a:gd name="T8" fmla="*/ 0 w 634"/>
                  <a:gd name="T9" fmla="*/ 549 h 732"/>
                  <a:gd name="T10" fmla="*/ 317 w 634"/>
                  <a:gd name="T11" fmla="*/ 732 h 732"/>
                  <a:gd name="T12" fmla="*/ 634 w 634"/>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4" h="732">
                    <a:moveTo>
                      <a:pt x="634" y="549"/>
                    </a:moveTo>
                    <a:lnTo>
                      <a:pt x="634" y="183"/>
                    </a:lnTo>
                    <a:lnTo>
                      <a:pt x="317" y="0"/>
                    </a:lnTo>
                    <a:lnTo>
                      <a:pt x="0" y="183"/>
                    </a:lnTo>
                    <a:lnTo>
                      <a:pt x="0" y="549"/>
                    </a:lnTo>
                    <a:lnTo>
                      <a:pt x="317" y="732"/>
                    </a:lnTo>
                    <a:lnTo>
                      <a:pt x="634"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6" name="Line 10">
                <a:extLst>
                  <a:ext uri="{FF2B5EF4-FFF2-40B4-BE49-F238E27FC236}">
                    <a16:creationId xmlns:a16="http://schemas.microsoft.com/office/drawing/2014/main" id="{D7D55060-F780-4D26-B1A2-9C8FD406DF6A}"/>
                  </a:ext>
                </a:extLst>
              </p:cNvPr>
              <p:cNvSpPr>
                <a:spLocks noChangeShapeType="1"/>
              </p:cNvSpPr>
              <p:nvPr/>
            </p:nvSpPr>
            <p:spPr bwMode="auto">
              <a:xfrm flipV="1">
                <a:off x="1512889" y="13693777"/>
                <a:ext cx="1006475"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7" name="Line 11">
                <a:extLst>
                  <a:ext uri="{FF2B5EF4-FFF2-40B4-BE49-F238E27FC236}">
                    <a16:creationId xmlns:a16="http://schemas.microsoft.com/office/drawing/2014/main" id="{71FC999B-6CCD-4676-B0AF-836C92A2767C}"/>
                  </a:ext>
                </a:extLst>
              </p:cNvPr>
              <p:cNvSpPr>
                <a:spLocks noChangeShapeType="1"/>
              </p:cNvSpPr>
              <p:nvPr/>
            </p:nvSpPr>
            <p:spPr bwMode="auto">
              <a:xfrm flipH="1" flipV="1">
                <a:off x="1512889" y="13693777"/>
                <a:ext cx="1006475"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8" name="Line 12">
                <a:extLst>
                  <a:ext uri="{FF2B5EF4-FFF2-40B4-BE49-F238E27FC236}">
                    <a16:creationId xmlns:a16="http://schemas.microsoft.com/office/drawing/2014/main" id="{29F4723C-6EC3-49AD-AD24-AF4C2934440D}"/>
                  </a:ext>
                </a:extLst>
              </p:cNvPr>
              <p:cNvSpPr>
                <a:spLocks noChangeShapeType="1"/>
              </p:cNvSpPr>
              <p:nvPr/>
            </p:nvSpPr>
            <p:spPr bwMode="auto">
              <a:xfrm flipV="1">
                <a:off x="2016126" y="13403265"/>
                <a:ext cx="0" cy="11620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9" name="Freeform 13">
                <a:extLst>
                  <a:ext uri="{FF2B5EF4-FFF2-40B4-BE49-F238E27FC236}">
                    <a16:creationId xmlns:a16="http://schemas.microsoft.com/office/drawing/2014/main" id="{30755653-E9AC-4C40-8482-6A48588350D0}"/>
                  </a:ext>
                </a:extLst>
              </p:cNvPr>
              <p:cNvSpPr>
                <a:spLocks/>
              </p:cNvSpPr>
              <p:nvPr/>
            </p:nvSpPr>
            <p:spPr bwMode="auto">
              <a:xfrm>
                <a:off x="1703389" y="14851065"/>
                <a:ext cx="1008063" cy="1162050"/>
              </a:xfrm>
              <a:custGeom>
                <a:avLst/>
                <a:gdLst>
                  <a:gd name="T0" fmla="*/ 635 w 635"/>
                  <a:gd name="T1" fmla="*/ 549 h 732"/>
                  <a:gd name="T2" fmla="*/ 635 w 635"/>
                  <a:gd name="T3" fmla="*/ 183 h 732"/>
                  <a:gd name="T4" fmla="*/ 318 w 635"/>
                  <a:gd name="T5" fmla="*/ 0 h 732"/>
                  <a:gd name="T6" fmla="*/ 0 w 635"/>
                  <a:gd name="T7" fmla="*/ 183 h 732"/>
                  <a:gd name="T8" fmla="*/ 0 w 635"/>
                  <a:gd name="T9" fmla="*/ 549 h 732"/>
                  <a:gd name="T10" fmla="*/ 318 w 635"/>
                  <a:gd name="T11" fmla="*/ 732 h 732"/>
                  <a:gd name="T12" fmla="*/ 635 w 635"/>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5" h="732">
                    <a:moveTo>
                      <a:pt x="635" y="549"/>
                    </a:moveTo>
                    <a:lnTo>
                      <a:pt x="635" y="183"/>
                    </a:lnTo>
                    <a:lnTo>
                      <a:pt x="318" y="0"/>
                    </a:lnTo>
                    <a:lnTo>
                      <a:pt x="0" y="183"/>
                    </a:lnTo>
                    <a:lnTo>
                      <a:pt x="0" y="549"/>
                    </a:lnTo>
                    <a:lnTo>
                      <a:pt x="318" y="732"/>
                    </a:lnTo>
                    <a:lnTo>
                      <a:pt x="635"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0" name="Line 14">
                <a:extLst>
                  <a:ext uri="{FF2B5EF4-FFF2-40B4-BE49-F238E27FC236}">
                    <a16:creationId xmlns:a16="http://schemas.microsoft.com/office/drawing/2014/main" id="{8043CEFA-4DEB-4EAE-BF09-E9D1407A19EF}"/>
                  </a:ext>
                </a:extLst>
              </p:cNvPr>
              <p:cNvSpPr>
                <a:spLocks noChangeShapeType="1"/>
              </p:cNvSpPr>
              <p:nvPr/>
            </p:nvSpPr>
            <p:spPr bwMode="auto">
              <a:xfrm flipV="1">
                <a:off x="1703389" y="15141577"/>
                <a:ext cx="1008063"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1" name="Line 15">
                <a:extLst>
                  <a:ext uri="{FF2B5EF4-FFF2-40B4-BE49-F238E27FC236}">
                    <a16:creationId xmlns:a16="http://schemas.microsoft.com/office/drawing/2014/main" id="{EFEF79D8-9A0F-4074-AA19-1CA8C136219B}"/>
                  </a:ext>
                </a:extLst>
              </p:cNvPr>
              <p:cNvSpPr>
                <a:spLocks noChangeShapeType="1"/>
              </p:cNvSpPr>
              <p:nvPr/>
            </p:nvSpPr>
            <p:spPr bwMode="auto">
              <a:xfrm flipH="1" flipV="1">
                <a:off x="1703389" y="15141577"/>
                <a:ext cx="1008063"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2" name="Line 16">
                <a:extLst>
                  <a:ext uri="{FF2B5EF4-FFF2-40B4-BE49-F238E27FC236}">
                    <a16:creationId xmlns:a16="http://schemas.microsoft.com/office/drawing/2014/main" id="{A858863B-371B-4CBF-A2AF-1081CB2E4CA7}"/>
                  </a:ext>
                </a:extLst>
              </p:cNvPr>
              <p:cNvSpPr>
                <a:spLocks noChangeShapeType="1"/>
              </p:cNvSpPr>
              <p:nvPr/>
            </p:nvSpPr>
            <p:spPr bwMode="auto">
              <a:xfrm flipV="1">
                <a:off x="2208214" y="14851065"/>
                <a:ext cx="0" cy="11620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3" name="Freeform 17">
                <a:extLst>
                  <a:ext uri="{FF2B5EF4-FFF2-40B4-BE49-F238E27FC236}">
                    <a16:creationId xmlns:a16="http://schemas.microsoft.com/office/drawing/2014/main" id="{FABC6FF8-EA8A-46F7-9E01-795C98F72B91}"/>
                  </a:ext>
                </a:extLst>
              </p:cNvPr>
              <p:cNvSpPr>
                <a:spLocks/>
              </p:cNvSpPr>
              <p:nvPr/>
            </p:nvSpPr>
            <p:spPr bwMode="auto">
              <a:xfrm>
                <a:off x="2306639" y="13830302"/>
                <a:ext cx="1366838" cy="1574800"/>
              </a:xfrm>
              <a:custGeom>
                <a:avLst/>
                <a:gdLst>
                  <a:gd name="T0" fmla="*/ 861 w 861"/>
                  <a:gd name="T1" fmla="*/ 744 h 992"/>
                  <a:gd name="T2" fmla="*/ 861 w 861"/>
                  <a:gd name="T3" fmla="*/ 248 h 992"/>
                  <a:gd name="T4" fmla="*/ 430 w 861"/>
                  <a:gd name="T5" fmla="*/ 0 h 992"/>
                  <a:gd name="T6" fmla="*/ 0 w 861"/>
                  <a:gd name="T7" fmla="*/ 248 h 992"/>
                  <a:gd name="T8" fmla="*/ 0 w 861"/>
                  <a:gd name="T9" fmla="*/ 744 h 992"/>
                  <a:gd name="T10" fmla="*/ 430 w 861"/>
                  <a:gd name="T11" fmla="*/ 992 h 992"/>
                  <a:gd name="T12" fmla="*/ 861 w 861"/>
                  <a:gd name="T13" fmla="*/ 744 h 992"/>
                </a:gdLst>
                <a:ahLst/>
                <a:cxnLst>
                  <a:cxn ang="0">
                    <a:pos x="T0" y="T1"/>
                  </a:cxn>
                  <a:cxn ang="0">
                    <a:pos x="T2" y="T3"/>
                  </a:cxn>
                  <a:cxn ang="0">
                    <a:pos x="T4" y="T5"/>
                  </a:cxn>
                  <a:cxn ang="0">
                    <a:pos x="T6" y="T7"/>
                  </a:cxn>
                  <a:cxn ang="0">
                    <a:pos x="T8" y="T9"/>
                  </a:cxn>
                  <a:cxn ang="0">
                    <a:pos x="T10" y="T11"/>
                  </a:cxn>
                  <a:cxn ang="0">
                    <a:pos x="T12" y="T13"/>
                  </a:cxn>
                </a:cxnLst>
                <a:rect l="0" t="0" r="r" b="b"/>
                <a:pathLst>
                  <a:path w="861" h="992">
                    <a:moveTo>
                      <a:pt x="861" y="744"/>
                    </a:moveTo>
                    <a:lnTo>
                      <a:pt x="861" y="248"/>
                    </a:lnTo>
                    <a:lnTo>
                      <a:pt x="430" y="0"/>
                    </a:lnTo>
                    <a:lnTo>
                      <a:pt x="0" y="248"/>
                    </a:lnTo>
                    <a:lnTo>
                      <a:pt x="0" y="744"/>
                    </a:lnTo>
                    <a:lnTo>
                      <a:pt x="430" y="992"/>
                    </a:lnTo>
                    <a:lnTo>
                      <a:pt x="861" y="74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4" name="Line 18">
                <a:extLst>
                  <a:ext uri="{FF2B5EF4-FFF2-40B4-BE49-F238E27FC236}">
                    <a16:creationId xmlns:a16="http://schemas.microsoft.com/office/drawing/2014/main" id="{A99D932D-F5E8-48DE-9CDC-B2F7EB61EF37}"/>
                  </a:ext>
                </a:extLst>
              </p:cNvPr>
              <p:cNvSpPr>
                <a:spLocks noChangeShapeType="1"/>
              </p:cNvSpPr>
              <p:nvPr/>
            </p:nvSpPr>
            <p:spPr bwMode="auto">
              <a:xfrm flipV="1">
                <a:off x="2306639" y="14224002"/>
                <a:ext cx="1366838" cy="7874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5" name="Line 19">
                <a:extLst>
                  <a:ext uri="{FF2B5EF4-FFF2-40B4-BE49-F238E27FC236}">
                    <a16:creationId xmlns:a16="http://schemas.microsoft.com/office/drawing/2014/main" id="{7C7CC8A1-510E-4AAE-90EB-C90FB28D60BD}"/>
                  </a:ext>
                </a:extLst>
              </p:cNvPr>
              <p:cNvSpPr>
                <a:spLocks noChangeShapeType="1"/>
              </p:cNvSpPr>
              <p:nvPr/>
            </p:nvSpPr>
            <p:spPr bwMode="auto">
              <a:xfrm flipH="1" flipV="1">
                <a:off x="2306639" y="14224002"/>
                <a:ext cx="1366838" cy="7874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6" name="Line 20">
                <a:extLst>
                  <a:ext uri="{FF2B5EF4-FFF2-40B4-BE49-F238E27FC236}">
                    <a16:creationId xmlns:a16="http://schemas.microsoft.com/office/drawing/2014/main" id="{40A655A6-B2B0-4B50-9B00-C8BDEAA2977C}"/>
                  </a:ext>
                </a:extLst>
              </p:cNvPr>
              <p:cNvSpPr>
                <a:spLocks noChangeShapeType="1"/>
              </p:cNvSpPr>
              <p:nvPr/>
            </p:nvSpPr>
            <p:spPr bwMode="auto">
              <a:xfrm flipV="1">
                <a:off x="2989264" y="13830302"/>
                <a:ext cx="0" cy="15748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7" name="Freeform 21">
                <a:extLst>
                  <a:ext uri="{FF2B5EF4-FFF2-40B4-BE49-F238E27FC236}">
                    <a16:creationId xmlns:a16="http://schemas.microsoft.com/office/drawing/2014/main" id="{C4650B4F-87E7-4FCD-8FFE-FDD6D278D938}"/>
                  </a:ext>
                </a:extLst>
              </p:cNvPr>
              <p:cNvSpPr>
                <a:spLocks/>
              </p:cNvSpPr>
              <p:nvPr/>
            </p:nvSpPr>
            <p:spPr bwMode="auto">
              <a:xfrm>
                <a:off x="4000501" y="13792202"/>
                <a:ext cx="2006600" cy="2312988"/>
              </a:xfrm>
              <a:custGeom>
                <a:avLst/>
                <a:gdLst>
                  <a:gd name="T0" fmla="*/ 1264 w 1264"/>
                  <a:gd name="T1" fmla="*/ 1093 h 1457"/>
                  <a:gd name="T2" fmla="*/ 1264 w 1264"/>
                  <a:gd name="T3" fmla="*/ 364 h 1457"/>
                  <a:gd name="T4" fmla="*/ 632 w 1264"/>
                  <a:gd name="T5" fmla="*/ 0 h 1457"/>
                  <a:gd name="T6" fmla="*/ 0 w 1264"/>
                  <a:gd name="T7" fmla="*/ 364 h 1457"/>
                  <a:gd name="T8" fmla="*/ 0 w 1264"/>
                  <a:gd name="T9" fmla="*/ 1093 h 1457"/>
                  <a:gd name="T10" fmla="*/ 632 w 1264"/>
                  <a:gd name="T11" fmla="*/ 1457 h 1457"/>
                  <a:gd name="T12" fmla="*/ 1264 w 1264"/>
                  <a:gd name="T13" fmla="*/ 1093 h 1457"/>
                </a:gdLst>
                <a:ahLst/>
                <a:cxnLst>
                  <a:cxn ang="0">
                    <a:pos x="T0" y="T1"/>
                  </a:cxn>
                  <a:cxn ang="0">
                    <a:pos x="T2" y="T3"/>
                  </a:cxn>
                  <a:cxn ang="0">
                    <a:pos x="T4" y="T5"/>
                  </a:cxn>
                  <a:cxn ang="0">
                    <a:pos x="T6" y="T7"/>
                  </a:cxn>
                  <a:cxn ang="0">
                    <a:pos x="T8" y="T9"/>
                  </a:cxn>
                  <a:cxn ang="0">
                    <a:pos x="T10" y="T11"/>
                  </a:cxn>
                  <a:cxn ang="0">
                    <a:pos x="T12" y="T13"/>
                  </a:cxn>
                </a:cxnLst>
                <a:rect l="0" t="0" r="r" b="b"/>
                <a:pathLst>
                  <a:path w="1264" h="1457">
                    <a:moveTo>
                      <a:pt x="1264" y="1093"/>
                    </a:moveTo>
                    <a:lnTo>
                      <a:pt x="1264" y="364"/>
                    </a:lnTo>
                    <a:lnTo>
                      <a:pt x="632" y="0"/>
                    </a:lnTo>
                    <a:lnTo>
                      <a:pt x="0" y="364"/>
                    </a:lnTo>
                    <a:lnTo>
                      <a:pt x="0" y="1093"/>
                    </a:lnTo>
                    <a:lnTo>
                      <a:pt x="632" y="1457"/>
                    </a:lnTo>
                    <a:lnTo>
                      <a:pt x="1264" y="1093"/>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8" name="Line 22">
                <a:extLst>
                  <a:ext uri="{FF2B5EF4-FFF2-40B4-BE49-F238E27FC236}">
                    <a16:creationId xmlns:a16="http://schemas.microsoft.com/office/drawing/2014/main" id="{8DB504C2-A10E-40C1-8EFF-EB0485D695DF}"/>
                  </a:ext>
                </a:extLst>
              </p:cNvPr>
              <p:cNvSpPr>
                <a:spLocks noChangeShapeType="1"/>
              </p:cNvSpPr>
              <p:nvPr/>
            </p:nvSpPr>
            <p:spPr bwMode="auto">
              <a:xfrm flipV="1">
                <a:off x="4000501" y="14370052"/>
                <a:ext cx="2006600" cy="11572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9" name="Line 23">
                <a:extLst>
                  <a:ext uri="{FF2B5EF4-FFF2-40B4-BE49-F238E27FC236}">
                    <a16:creationId xmlns:a16="http://schemas.microsoft.com/office/drawing/2014/main" id="{5B86D918-17EF-4EE8-AD5B-1302BE6371DC}"/>
                  </a:ext>
                </a:extLst>
              </p:cNvPr>
              <p:cNvSpPr>
                <a:spLocks noChangeShapeType="1"/>
              </p:cNvSpPr>
              <p:nvPr/>
            </p:nvSpPr>
            <p:spPr bwMode="auto">
              <a:xfrm flipH="1" flipV="1">
                <a:off x="4000501" y="14370052"/>
                <a:ext cx="2006600" cy="11572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0" name="Line 24">
                <a:extLst>
                  <a:ext uri="{FF2B5EF4-FFF2-40B4-BE49-F238E27FC236}">
                    <a16:creationId xmlns:a16="http://schemas.microsoft.com/office/drawing/2014/main" id="{6A53F6AE-D02B-4A2B-82E4-CDBFB509CB44}"/>
                  </a:ext>
                </a:extLst>
              </p:cNvPr>
              <p:cNvSpPr>
                <a:spLocks noChangeShapeType="1"/>
              </p:cNvSpPr>
              <p:nvPr/>
            </p:nvSpPr>
            <p:spPr bwMode="auto">
              <a:xfrm flipV="1">
                <a:off x="5003801" y="13792202"/>
                <a:ext cx="0" cy="23129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1" name="Freeform 25">
                <a:extLst>
                  <a:ext uri="{FF2B5EF4-FFF2-40B4-BE49-F238E27FC236}">
                    <a16:creationId xmlns:a16="http://schemas.microsoft.com/office/drawing/2014/main" id="{41851CEA-7FFB-4634-8E5F-E0A90FCC3BAD}"/>
                  </a:ext>
                </a:extLst>
              </p:cNvPr>
              <p:cNvSpPr>
                <a:spLocks/>
              </p:cNvSpPr>
              <p:nvPr/>
            </p:nvSpPr>
            <p:spPr bwMode="auto">
              <a:xfrm>
                <a:off x="4362451" y="12163427"/>
                <a:ext cx="2008188" cy="2314575"/>
              </a:xfrm>
              <a:custGeom>
                <a:avLst/>
                <a:gdLst>
                  <a:gd name="T0" fmla="*/ 1265 w 1265"/>
                  <a:gd name="T1" fmla="*/ 1094 h 1458"/>
                  <a:gd name="T2" fmla="*/ 1265 w 1265"/>
                  <a:gd name="T3" fmla="*/ 364 h 1458"/>
                  <a:gd name="T4" fmla="*/ 633 w 1265"/>
                  <a:gd name="T5" fmla="*/ 0 h 1458"/>
                  <a:gd name="T6" fmla="*/ 0 w 1265"/>
                  <a:gd name="T7" fmla="*/ 364 h 1458"/>
                  <a:gd name="T8" fmla="*/ 0 w 1265"/>
                  <a:gd name="T9" fmla="*/ 1094 h 1458"/>
                  <a:gd name="T10" fmla="*/ 633 w 1265"/>
                  <a:gd name="T11" fmla="*/ 1458 h 1458"/>
                  <a:gd name="T12" fmla="*/ 1265 w 1265"/>
                  <a:gd name="T13" fmla="*/ 1094 h 1458"/>
                </a:gdLst>
                <a:ahLst/>
                <a:cxnLst>
                  <a:cxn ang="0">
                    <a:pos x="T0" y="T1"/>
                  </a:cxn>
                  <a:cxn ang="0">
                    <a:pos x="T2" y="T3"/>
                  </a:cxn>
                  <a:cxn ang="0">
                    <a:pos x="T4" y="T5"/>
                  </a:cxn>
                  <a:cxn ang="0">
                    <a:pos x="T6" y="T7"/>
                  </a:cxn>
                  <a:cxn ang="0">
                    <a:pos x="T8" y="T9"/>
                  </a:cxn>
                  <a:cxn ang="0">
                    <a:pos x="T10" y="T11"/>
                  </a:cxn>
                  <a:cxn ang="0">
                    <a:pos x="T12" y="T13"/>
                  </a:cxn>
                </a:cxnLst>
                <a:rect l="0" t="0" r="r" b="b"/>
                <a:pathLst>
                  <a:path w="1265" h="1458">
                    <a:moveTo>
                      <a:pt x="1265" y="1094"/>
                    </a:moveTo>
                    <a:lnTo>
                      <a:pt x="1265" y="364"/>
                    </a:lnTo>
                    <a:lnTo>
                      <a:pt x="633" y="0"/>
                    </a:lnTo>
                    <a:lnTo>
                      <a:pt x="0" y="364"/>
                    </a:lnTo>
                    <a:lnTo>
                      <a:pt x="0" y="1094"/>
                    </a:lnTo>
                    <a:lnTo>
                      <a:pt x="633" y="1458"/>
                    </a:lnTo>
                    <a:lnTo>
                      <a:pt x="1265" y="1094"/>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2" name="Line 26">
                <a:extLst>
                  <a:ext uri="{FF2B5EF4-FFF2-40B4-BE49-F238E27FC236}">
                    <a16:creationId xmlns:a16="http://schemas.microsoft.com/office/drawing/2014/main" id="{846F7858-23A9-466E-A98A-8B6CD112FF60}"/>
                  </a:ext>
                </a:extLst>
              </p:cNvPr>
              <p:cNvSpPr>
                <a:spLocks noChangeShapeType="1"/>
              </p:cNvSpPr>
              <p:nvPr/>
            </p:nvSpPr>
            <p:spPr bwMode="auto">
              <a:xfrm flipV="1">
                <a:off x="4362451" y="12741277"/>
                <a:ext cx="2008188" cy="11588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3" name="Line 27">
                <a:extLst>
                  <a:ext uri="{FF2B5EF4-FFF2-40B4-BE49-F238E27FC236}">
                    <a16:creationId xmlns:a16="http://schemas.microsoft.com/office/drawing/2014/main" id="{FAEA0ACB-499C-40E2-A633-BB0465C9F92E}"/>
                  </a:ext>
                </a:extLst>
              </p:cNvPr>
              <p:cNvSpPr>
                <a:spLocks noChangeShapeType="1"/>
              </p:cNvSpPr>
              <p:nvPr/>
            </p:nvSpPr>
            <p:spPr bwMode="auto">
              <a:xfrm flipH="1" flipV="1">
                <a:off x="4362451" y="12741277"/>
                <a:ext cx="2008188" cy="11588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4" name="Line 28">
                <a:extLst>
                  <a:ext uri="{FF2B5EF4-FFF2-40B4-BE49-F238E27FC236}">
                    <a16:creationId xmlns:a16="http://schemas.microsoft.com/office/drawing/2014/main" id="{A00DB3CE-E13C-4392-AC64-23E61C8EE878}"/>
                  </a:ext>
                </a:extLst>
              </p:cNvPr>
              <p:cNvSpPr>
                <a:spLocks noChangeShapeType="1"/>
              </p:cNvSpPr>
              <p:nvPr/>
            </p:nvSpPr>
            <p:spPr bwMode="auto">
              <a:xfrm flipV="1">
                <a:off x="5367339" y="12163427"/>
                <a:ext cx="0" cy="23145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5" name="Freeform 29">
                <a:extLst>
                  <a:ext uri="{FF2B5EF4-FFF2-40B4-BE49-F238E27FC236}">
                    <a16:creationId xmlns:a16="http://schemas.microsoft.com/office/drawing/2014/main" id="{BB06D51A-3C26-40B0-9A07-91001F3451A9}"/>
                  </a:ext>
                </a:extLst>
              </p:cNvPr>
              <p:cNvSpPr>
                <a:spLocks/>
              </p:cNvSpPr>
              <p:nvPr/>
            </p:nvSpPr>
            <p:spPr bwMode="auto">
              <a:xfrm>
                <a:off x="3197226" y="14689140"/>
                <a:ext cx="1065213" cy="1228725"/>
              </a:xfrm>
              <a:custGeom>
                <a:avLst/>
                <a:gdLst>
                  <a:gd name="T0" fmla="*/ 671 w 671"/>
                  <a:gd name="T1" fmla="*/ 581 h 774"/>
                  <a:gd name="T2" fmla="*/ 671 w 671"/>
                  <a:gd name="T3" fmla="*/ 194 h 774"/>
                  <a:gd name="T4" fmla="*/ 335 w 671"/>
                  <a:gd name="T5" fmla="*/ 0 h 774"/>
                  <a:gd name="T6" fmla="*/ 0 w 671"/>
                  <a:gd name="T7" fmla="*/ 194 h 774"/>
                  <a:gd name="T8" fmla="*/ 0 w 671"/>
                  <a:gd name="T9" fmla="*/ 581 h 774"/>
                  <a:gd name="T10" fmla="*/ 335 w 671"/>
                  <a:gd name="T11" fmla="*/ 774 h 774"/>
                  <a:gd name="T12" fmla="*/ 671 w 671"/>
                  <a:gd name="T13" fmla="*/ 581 h 774"/>
                </a:gdLst>
                <a:ahLst/>
                <a:cxnLst>
                  <a:cxn ang="0">
                    <a:pos x="T0" y="T1"/>
                  </a:cxn>
                  <a:cxn ang="0">
                    <a:pos x="T2" y="T3"/>
                  </a:cxn>
                  <a:cxn ang="0">
                    <a:pos x="T4" y="T5"/>
                  </a:cxn>
                  <a:cxn ang="0">
                    <a:pos x="T6" y="T7"/>
                  </a:cxn>
                  <a:cxn ang="0">
                    <a:pos x="T8" y="T9"/>
                  </a:cxn>
                  <a:cxn ang="0">
                    <a:pos x="T10" y="T11"/>
                  </a:cxn>
                  <a:cxn ang="0">
                    <a:pos x="T12" y="T13"/>
                  </a:cxn>
                </a:cxnLst>
                <a:rect l="0" t="0" r="r" b="b"/>
                <a:pathLst>
                  <a:path w="671" h="774">
                    <a:moveTo>
                      <a:pt x="671" y="581"/>
                    </a:moveTo>
                    <a:lnTo>
                      <a:pt x="671" y="194"/>
                    </a:lnTo>
                    <a:lnTo>
                      <a:pt x="335" y="0"/>
                    </a:lnTo>
                    <a:lnTo>
                      <a:pt x="0" y="194"/>
                    </a:lnTo>
                    <a:lnTo>
                      <a:pt x="0" y="581"/>
                    </a:lnTo>
                    <a:lnTo>
                      <a:pt x="335" y="774"/>
                    </a:lnTo>
                    <a:lnTo>
                      <a:pt x="671" y="581"/>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6" name="Line 30">
                <a:extLst>
                  <a:ext uri="{FF2B5EF4-FFF2-40B4-BE49-F238E27FC236}">
                    <a16:creationId xmlns:a16="http://schemas.microsoft.com/office/drawing/2014/main" id="{8BB1746E-F8C1-4568-84AF-0B9B3DFCBCE0}"/>
                  </a:ext>
                </a:extLst>
              </p:cNvPr>
              <p:cNvSpPr>
                <a:spLocks noChangeShapeType="1"/>
              </p:cNvSpPr>
              <p:nvPr/>
            </p:nvSpPr>
            <p:spPr bwMode="auto">
              <a:xfrm flipV="1">
                <a:off x="3197226" y="14997115"/>
                <a:ext cx="1065213" cy="614363"/>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7" name="Line 31">
                <a:extLst>
                  <a:ext uri="{FF2B5EF4-FFF2-40B4-BE49-F238E27FC236}">
                    <a16:creationId xmlns:a16="http://schemas.microsoft.com/office/drawing/2014/main" id="{2269E44C-A644-4C4F-B642-314FDFC324D4}"/>
                  </a:ext>
                </a:extLst>
              </p:cNvPr>
              <p:cNvSpPr>
                <a:spLocks noChangeShapeType="1"/>
              </p:cNvSpPr>
              <p:nvPr/>
            </p:nvSpPr>
            <p:spPr bwMode="auto">
              <a:xfrm flipH="1" flipV="1">
                <a:off x="3197226" y="14997115"/>
                <a:ext cx="1065213" cy="614363"/>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8" name="Line 32">
                <a:extLst>
                  <a:ext uri="{FF2B5EF4-FFF2-40B4-BE49-F238E27FC236}">
                    <a16:creationId xmlns:a16="http://schemas.microsoft.com/office/drawing/2014/main" id="{FA8CAAD9-B80F-4872-9BEA-8891B7BC039C}"/>
                  </a:ext>
                </a:extLst>
              </p:cNvPr>
              <p:cNvSpPr>
                <a:spLocks noChangeShapeType="1"/>
              </p:cNvSpPr>
              <p:nvPr/>
            </p:nvSpPr>
            <p:spPr bwMode="auto">
              <a:xfrm flipV="1">
                <a:off x="3729039" y="14689140"/>
                <a:ext cx="0" cy="12287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9" name="Freeform 33">
                <a:extLst>
                  <a:ext uri="{FF2B5EF4-FFF2-40B4-BE49-F238E27FC236}">
                    <a16:creationId xmlns:a16="http://schemas.microsoft.com/office/drawing/2014/main" id="{57D89F8B-EB38-4581-8B52-34048D9F686A}"/>
                  </a:ext>
                </a:extLst>
              </p:cNvPr>
              <p:cNvSpPr>
                <a:spLocks/>
              </p:cNvSpPr>
              <p:nvPr/>
            </p:nvSpPr>
            <p:spPr bwMode="auto">
              <a:xfrm>
                <a:off x="3230564" y="13009565"/>
                <a:ext cx="1316038" cy="1519238"/>
              </a:xfrm>
              <a:custGeom>
                <a:avLst/>
                <a:gdLst>
                  <a:gd name="T0" fmla="*/ 829 w 829"/>
                  <a:gd name="T1" fmla="*/ 718 h 957"/>
                  <a:gd name="T2" fmla="*/ 829 w 829"/>
                  <a:gd name="T3" fmla="*/ 240 h 957"/>
                  <a:gd name="T4" fmla="*/ 414 w 829"/>
                  <a:gd name="T5" fmla="*/ 0 h 957"/>
                  <a:gd name="T6" fmla="*/ 0 w 829"/>
                  <a:gd name="T7" fmla="*/ 240 h 957"/>
                  <a:gd name="T8" fmla="*/ 0 w 829"/>
                  <a:gd name="T9" fmla="*/ 718 h 957"/>
                  <a:gd name="T10" fmla="*/ 414 w 829"/>
                  <a:gd name="T11" fmla="*/ 957 h 957"/>
                  <a:gd name="T12" fmla="*/ 829 w 829"/>
                  <a:gd name="T13" fmla="*/ 718 h 957"/>
                </a:gdLst>
                <a:ahLst/>
                <a:cxnLst>
                  <a:cxn ang="0">
                    <a:pos x="T0" y="T1"/>
                  </a:cxn>
                  <a:cxn ang="0">
                    <a:pos x="T2" y="T3"/>
                  </a:cxn>
                  <a:cxn ang="0">
                    <a:pos x="T4" y="T5"/>
                  </a:cxn>
                  <a:cxn ang="0">
                    <a:pos x="T6" y="T7"/>
                  </a:cxn>
                  <a:cxn ang="0">
                    <a:pos x="T8" y="T9"/>
                  </a:cxn>
                  <a:cxn ang="0">
                    <a:pos x="T10" y="T11"/>
                  </a:cxn>
                  <a:cxn ang="0">
                    <a:pos x="T12" y="T13"/>
                  </a:cxn>
                </a:cxnLst>
                <a:rect l="0" t="0" r="r" b="b"/>
                <a:pathLst>
                  <a:path w="829" h="957">
                    <a:moveTo>
                      <a:pt x="829" y="718"/>
                    </a:moveTo>
                    <a:lnTo>
                      <a:pt x="829" y="240"/>
                    </a:lnTo>
                    <a:lnTo>
                      <a:pt x="414" y="0"/>
                    </a:lnTo>
                    <a:lnTo>
                      <a:pt x="0" y="240"/>
                    </a:lnTo>
                    <a:lnTo>
                      <a:pt x="0" y="718"/>
                    </a:lnTo>
                    <a:lnTo>
                      <a:pt x="414" y="957"/>
                    </a:lnTo>
                    <a:lnTo>
                      <a:pt x="829" y="718"/>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10" name="Line 34">
                <a:extLst>
                  <a:ext uri="{FF2B5EF4-FFF2-40B4-BE49-F238E27FC236}">
                    <a16:creationId xmlns:a16="http://schemas.microsoft.com/office/drawing/2014/main" id="{2A940AB3-278C-4778-98C9-6DC916C0FE2C}"/>
                  </a:ext>
                </a:extLst>
              </p:cNvPr>
              <p:cNvSpPr>
                <a:spLocks noChangeShapeType="1"/>
              </p:cNvSpPr>
              <p:nvPr/>
            </p:nvSpPr>
            <p:spPr bwMode="auto">
              <a:xfrm flipV="1">
                <a:off x="3230564" y="13390565"/>
                <a:ext cx="1316038" cy="7588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11" name="Line 35">
                <a:extLst>
                  <a:ext uri="{FF2B5EF4-FFF2-40B4-BE49-F238E27FC236}">
                    <a16:creationId xmlns:a16="http://schemas.microsoft.com/office/drawing/2014/main" id="{E97DEC58-6BB4-46D9-B287-8203C444E230}"/>
                  </a:ext>
                </a:extLst>
              </p:cNvPr>
              <p:cNvSpPr>
                <a:spLocks noChangeShapeType="1"/>
              </p:cNvSpPr>
              <p:nvPr/>
            </p:nvSpPr>
            <p:spPr bwMode="auto">
              <a:xfrm flipH="1" flipV="1">
                <a:off x="3230564" y="13390565"/>
                <a:ext cx="1316038" cy="7588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12" name="Line 36">
                <a:extLst>
                  <a:ext uri="{FF2B5EF4-FFF2-40B4-BE49-F238E27FC236}">
                    <a16:creationId xmlns:a16="http://schemas.microsoft.com/office/drawing/2014/main" id="{19986E94-AABD-4635-BF24-71FBCD0C887E}"/>
                  </a:ext>
                </a:extLst>
              </p:cNvPr>
              <p:cNvSpPr>
                <a:spLocks noChangeShapeType="1"/>
              </p:cNvSpPr>
              <p:nvPr/>
            </p:nvSpPr>
            <p:spPr bwMode="auto">
              <a:xfrm flipV="1">
                <a:off x="3887789" y="13009565"/>
                <a:ext cx="0" cy="151923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grpSp>
        <p:grpSp>
          <p:nvGrpSpPr>
            <p:cNvPr id="148" name="Group 147">
              <a:extLst>
                <a:ext uri="{FF2B5EF4-FFF2-40B4-BE49-F238E27FC236}">
                  <a16:creationId xmlns:a16="http://schemas.microsoft.com/office/drawing/2014/main" id="{1AAE70D1-9307-4885-B3C4-CF7995584E66}"/>
                </a:ext>
              </a:extLst>
            </p:cNvPr>
            <p:cNvGrpSpPr/>
            <p:nvPr/>
          </p:nvGrpSpPr>
          <p:grpSpPr>
            <a:xfrm rot="10800000">
              <a:off x="4695826" y="-185343"/>
              <a:ext cx="1885950" cy="1263234"/>
              <a:chOff x="485776" y="12163427"/>
              <a:chExt cx="5884863" cy="3941763"/>
            </a:xfrm>
          </p:grpSpPr>
          <p:sp>
            <p:nvSpPr>
              <p:cNvPr id="149" name="Freeform 5">
                <a:extLst>
                  <a:ext uri="{FF2B5EF4-FFF2-40B4-BE49-F238E27FC236}">
                    <a16:creationId xmlns:a16="http://schemas.microsoft.com/office/drawing/2014/main" id="{F7C301FC-28B4-41AF-AC1F-91554CEA15F5}"/>
                  </a:ext>
                </a:extLst>
              </p:cNvPr>
              <p:cNvSpPr>
                <a:spLocks/>
              </p:cNvSpPr>
              <p:nvPr/>
            </p:nvSpPr>
            <p:spPr bwMode="auto">
              <a:xfrm>
                <a:off x="485776" y="13768390"/>
                <a:ext cx="1658938" cy="1911350"/>
              </a:xfrm>
              <a:custGeom>
                <a:avLst/>
                <a:gdLst>
                  <a:gd name="T0" fmla="*/ 1045 w 1045"/>
                  <a:gd name="T1" fmla="*/ 904 h 1204"/>
                  <a:gd name="T2" fmla="*/ 1045 w 1045"/>
                  <a:gd name="T3" fmla="*/ 302 h 1204"/>
                  <a:gd name="T4" fmla="*/ 523 w 1045"/>
                  <a:gd name="T5" fmla="*/ 0 h 1204"/>
                  <a:gd name="T6" fmla="*/ 0 w 1045"/>
                  <a:gd name="T7" fmla="*/ 302 h 1204"/>
                  <a:gd name="T8" fmla="*/ 0 w 1045"/>
                  <a:gd name="T9" fmla="*/ 904 h 1204"/>
                  <a:gd name="T10" fmla="*/ 523 w 1045"/>
                  <a:gd name="T11" fmla="*/ 1204 h 1204"/>
                  <a:gd name="T12" fmla="*/ 1045 w 1045"/>
                  <a:gd name="T13" fmla="*/ 904 h 1204"/>
                </a:gdLst>
                <a:ahLst/>
                <a:cxnLst>
                  <a:cxn ang="0">
                    <a:pos x="T0" y="T1"/>
                  </a:cxn>
                  <a:cxn ang="0">
                    <a:pos x="T2" y="T3"/>
                  </a:cxn>
                  <a:cxn ang="0">
                    <a:pos x="T4" y="T5"/>
                  </a:cxn>
                  <a:cxn ang="0">
                    <a:pos x="T6" y="T7"/>
                  </a:cxn>
                  <a:cxn ang="0">
                    <a:pos x="T8" y="T9"/>
                  </a:cxn>
                  <a:cxn ang="0">
                    <a:pos x="T10" y="T11"/>
                  </a:cxn>
                  <a:cxn ang="0">
                    <a:pos x="T12" y="T13"/>
                  </a:cxn>
                </a:cxnLst>
                <a:rect l="0" t="0" r="r" b="b"/>
                <a:pathLst>
                  <a:path w="1045" h="1204">
                    <a:moveTo>
                      <a:pt x="1045" y="904"/>
                    </a:moveTo>
                    <a:lnTo>
                      <a:pt x="1045" y="302"/>
                    </a:lnTo>
                    <a:lnTo>
                      <a:pt x="523" y="0"/>
                    </a:lnTo>
                    <a:lnTo>
                      <a:pt x="0" y="302"/>
                    </a:lnTo>
                    <a:lnTo>
                      <a:pt x="0" y="904"/>
                    </a:lnTo>
                    <a:lnTo>
                      <a:pt x="523" y="1204"/>
                    </a:lnTo>
                    <a:lnTo>
                      <a:pt x="1045" y="90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0" name="Line 6">
                <a:extLst>
                  <a:ext uri="{FF2B5EF4-FFF2-40B4-BE49-F238E27FC236}">
                    <a16:creationId xmlns:a16="http://schemas.microsoft.com/office/drawing/2014/main" id="{BABED39B-F5E3-45A1-BF7E-204575972584}"/>
                  </a:ext>
                </a:extLst>
              </p:cNvPr>
              <p:cNvSpPr>
                <a:spLocks noChangeShapeType="1"/>
              </p:cNvSpPr>
              <p:nvPr/>
            </p:nvSpPr>
            <p:spPr bwMode="auto">
              <a:xfrm flipV="1">
                <a:off x="485776" y="14247815"/>
                <a:ext cx="1658938" cy="9556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1" name="Line 7">
                <a:extLst>
                  <a:ext uri="{FF2B5EF4-FFF2-40B4-BE49-F238E27FC236}">
                    <a16:creationId xmlns:a16="http://schemas.microsoft.com/office/drawing/2014/main" id="{24E01529-B305-47CA-BDDB-413E72FB694D}"/>
                  </a:ext>
                </a:extLst>
              </p:cNvPr>
              <p:cNvSpPr>
                <a:spLocks noChangeShapeType="1"/>
              </p:cNvSpPr>
              <p:nvPr/>
            </p:nvSpPr>
            <p:spPr bwMode="auto">
              <a:xfrm flipH="1" flipV="1">
                <a:off x="485776" y="14247815"/>
                <a:ext cx="1658938" cy="9556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2" name="Line 8">
                <a:extLst>
                  <a:ext uri="{FF2B5EF4-FFF2-40B4-BE49-F238E27FC236}">
                    <a16:creationId xmlns:a16="http://schemas.microsoft.com/office/drawing/2014/main" id="{5C12FE66-15D2-4BBB-AE3F-3EB545F066C7}"/>
                  </a:ext>
                </a:extLst>
              </p:cNvPr>
              <p:cNvSpPr>
                <a:spLocks noChangeShapeType="1"/>
              </p:cNvSpPr>
              <p:nvPr/>
            </p:nvSpPr>
            <p:spPr bwMode="auto">
              <a:xfrm flipV="1">
                <a:off x="1316039" y="13768390"/>
                <a:ext cx="0" cy="19113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3" name="Freeform 9">
                <a:extLst>
                  <a:ext uri="{FF2B5EF4-FFF2-40B4-BE49-F238E27FC236}">
                    <a16:creationId xmlns:a16="http://schemas.microsoft.com/office/drawing/2014/main" id="{8B30DFB0-0852-4784-ABA3-2C3C52129ED2}"/>
                  </a:ext>
                </a:extLst>
              </p:cNvPr>
              <p:cNvSpPr>
                <a:spLocks/>
              </p:cNvSpPr>
              <p:nvPr/>
            </p:nvSpPr>
            <p:spPr bwMode="auto">
              <a:xfrm>
                <a:off x="1512889" y="13403265"/>
                <a:ext cx="1006475" cy="1162050"/>
              </a:xfrm>
              <a:custGeom>
                <a:avLst/>
                <a:gdLst>
                  <a:gd name="T0" fmla="*/ 634 w 634"/>
                  <a:gd name="T1" fmla="*/ 549 h 732"/>
                  <a:gd name="T2" fmla="*/ 634 w 634"/>
                  <a:gd name="T3" fmla="*/ 183 h 732"/>
                  <a:gd name="T4" fmla="*/ 317 w 634"/>
                  <a:gd name="T5" fmla="*/ 0 h 732"/>
                  <a:gd name="T6" fmla="*/ 0 w 634"/>
                  <a:gd name="T7" fmla="*/ 183 h 732"/>
                  <a:gd name="T8" fmla="*/ 0 w 634"/>
                  <a:gd name="T9" fmla="*/ 549 h 732"/>
                  <a:gd name="T10" fmla="*/ 317 w 634"/>
                  <a:gd name="T11" fmla="*/ 732 h 732"/>
                  <a:gd name="T12" fmla="*/ 634 w 634"/>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4" h="732">
                    <a:moveTo>
                      <a:pt x="634" y="549"/>
                    </a:moveTo>
                    <a:lnTo>
                      <a:pt x="634" y="183"/>
                    </a:lnTo>
                    <a:lnTo>
                      <a:pt x="317" y="0"/>
                    </a:lnTo>
                    <a:lnTo>
                      <a:pt x="0" y="183"/>
                    </a:lnTo>
                    <a:lnTo>
                      <a:pt x="0" y="549"/>
                    </a:lnTo>
                    <a:lnTo>
                      <a:pt x="317" y="732"/>
                    </a:lnTo>
                    <a:lnTo>
                      <a:pt x="634"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4" name="Line 10">
                <a:extLst>
                  <a:ext uri="{FF2B5EF4-FFF2-40B4-BE49-F238E27FC236}">
                    <a16:creationId xmlns:a16="http://schemas.microsoft.com/office/drawing/2014/main" id="{D5166107-18E5-4281-93F6-0078A2D8A557}"/>
                  </a:ext>
                </a:extLst>
              </p:cNvPr>
              <p:cNvSpPr>
                <a:spLocks noChangeShapeType="1"/>
              </p:cNvSpPr>
              <p:nvPr/>
            </p:nvSpPr>
            <p:spPr bwMode="auto">
              <a:xfrm flipV="1">
                <a:off x="1512889" y="13693777"/>
                <a:ext cx="1006475"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5" name="Line 11">
                <a:extLst>
                  <a:ext uri="{FF2B5EF4-FFF2-40B4-BE49-F238E27FC236}">
                    <a16:creationId xmlns:a16="http://schemas.microsoft.com/office/drawing/2014/main" id="{47439158-DB3C-4F80-BD2B-C7F03D4CC0BE}"/>
                  </a:ext>
                </a:extLst>
              </p:cNvPr>
              <p:cNvSpPr>
                <a:spLocks noChangeShapeType="1"/>
              </p:cNvSpPr>
              <p:nvPr/>
            </p:nvSpPr>
            <p:spPr bwMode="auto">
              <a:xfrm flipH="1" flipV="1">
                <a:off x="1512889" y="13693777"/>
                <a:ext cx="1006475"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6" name="Line 12">
                <a:extLst>
                  <a:ext uri="{FF2B5EF4-FFF2-40B4-BE49-F238E27FC236}">
                    <a16:creationId xmlns:a16="http://schemas.microsoft.com/office/drawing/2014/main" id="{2AA9B475-0D64-4C8B-867A-1133501C432C}"/>
                  </a:ext>
                </a:extLst>
              </p:cNvPr>
              <p:cNvSpPr>
                <a:spLocks noChangeShapeType="1"/>
              </p:cNvSpPr>
              <p:nvPr/>
            </p:nvSpPr>
            <p:spPr bwMode="auto">
              <a:xfrm flipV="1">
                <a:off x="2016126" y="13403265"/>
                <a:ext cx="0" cy="11620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7" name="Freeform 13">
                <a:extLst>
                  <a:ext uri="{FF2B5EF4-FFF2-40B4-BE49-F238E27FC236}">
                    <a16:creationId xmlns:a16="http://schemas.microsoft.com/office/drawing/2014/main" id="{6C174CD5-BB2A-4E30-89D1-567B87107E9A}"/>
                  </a:ext>
                </a:extLst>
              </p:cNvPr>
              <p:cNvSpPr>
                <a:spLocks/>
              </p:cNvSpPr>
              <p:nvPr/>
            </p:nvSpPr>
            <p:spPr bwMode="auto">
              <a:xfrm>
                <a:off x="1703389" y="14851065"/>
                <a:ext cx="1008063" cy="1162050"/>
              </a:xfrm>
              <a:custGeom>
                <a:avLst/>
                <a:gdLst>
                  <a:gd name="T0" fmla="*/ 635 w 635"/>
                  <a:gd name="T1" fmla="*/ 549 h 732"/>
                  <a:gd name="T2" fmla="*/ 635 w 635"/>
                  <a:gd name="T3" fmla="*/ 183 h 732"/>
                  <a:gd name="T4" fmla="*/ 318 w 635"/>
                  <a:gd name="T5" fmla="*/ 0 h 732"/>
                  <a:gd name="T6" fmla="*/ 0 w 635"/>
                  <a:gd name="T7" fmla="*/ 183 h 732"/>
                  <a:gd name="T8" fmla="*/ 0 w 635"/>
                  <a:gd name="T9" fmla="*/ 549 h 732"/>
                  <a:gd name="T10" fmla="*/ 318 w 635"/>
                  <a:gd name="T11" fmla="*/ 732 h 732"/>
                  <a:gd name="T12" fmla="*/ 635 w 635"/>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5" h="732">
                    <a:moveTo>
                      <a:pt x="635" y="549"/>
                    </a:moveTo>
                    <a:lnTo>
                      <a:pt x="635" y="183"/>
                    </a:lnTo>
                    <a:lnTo>
                      <a:pt x="318" y="0"/>
                    </a:lnTo>
                    <a:lnTo>
                      <a:pt x="0" y="183"/>
                    </a:lnTo>
                    <a:lnTo>
                      <a:pt x="0" y="549"/>
                    </a:lnTo>
                    <a:lnTo>
                      <a:pt x="318" y="732"/>
                    </a:lnTo>
                    <a:lnTo>
                      <a:pt x="635"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8" name="Line 14">
                <a:extLst>
                  <a:ext uri="{FF2B5EF4-FFF2-40B4-BE49-F238E27FC236}">
                    <a16:creationId xmlns:a16="http://schemas.microsoft.com/office/drawing/2014/main" id="{6A9B5595-FE99-499C-B047-C445A4138F96}"/>
                  </a:ext>
                </a:extLst>
              </p:cNvPr>
              <p:cNvSpPr>
                <a:spLocks noChangeShapeType="1"/>
              </p:cNvSpPr>
              <p:nvPr/>
            </p:nvSpPr>
            <p:spPr bwMode="auto">
              <a:xfrm flipV="1">
                <a:off x="1703389" y="15141577"/>
                <a:ext cx="1008063"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9" name="Line 15">
                <a:extLst>
                  <a:ext uri="{FF2B5EF4-FFF2-40B4-BE49-F238E27FC236}">
                    <a16:creationId xmlns:a16="http://schemas.microsoft.com/office/drawing/2014/main" id="{C51563A0-23E7-4AC2-A52B-358ADA3D58CE}"/>
                  </a:ext>
                </a:extLst>
              </p:cNvPr>
              <p:cNvSpPr>
                <a:spLocks noChangeShapeType="1"/>
              </p:cNvSpPr>
              <p:nvPr/>
            </p:nvSpPr>
            <p:spPr bwMode="auto">
              <a:xfrm flipH="1" flipV="1">
                <a:off x="1703389" y="15141577"/>
                <a:ext cx="1008063"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0" name="Line 16">
                <a:extLst>
                  <a:ext uri="{FF2B5EF4-FFF2-40B4-BE49-F238E27FC236}">
                    <a16:creationId xmlns:a16="http://schemas.microsoft.com/office/drawing/2014/main" id="{BF0DBE8C-AA68-4EAC-936D-83D6BC6C0BEA}"/>
                  </a:ext>
                </a:extLst>
              </p:cNvPr>
              <p:cNvSpPr>
                <a:spLocks noChangeShapeType="1"/>
              </p:cNvSpPr>
              <p:nvPr/>
            </p:nvSpPr>
            <p:spPr bwMode="auto">
              <a:xfrm flipV="1">
                <a:off x="2208214" y="14851065"/>
                <a:ext cx="0" cy="11620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1" name="Freeform 17">
                <a:extLst>
                  <a:ext uri="{FF2B5EF4-FFF2-40B4-BE49-F238E27FC236}">
                    <a16:creationId xmlns:a16="http://schemas.microsoft.com/office/drawing/2014/main" id="{BCAD9CFB-25D5-4F8F-AF81-D0B9D04D460D}"/>
                  </a:ext>
                </a:extLst>
              </p:cNvPr>
              <p:cNvSpPr>
                <a:spLocks/>
              </p:cNvSpPr>
              <p:nvPr/>
            </p:nvSpPr>
            <p:spPr bwMode="auto">
              <a:xfrm>
                <a:off x="2306639" y="13830302"/>
                <a:ext cx="1366838" cy="1574800"/>
              </a:xfrm>
              <a:custGeom>
                <a:avLst/>
                <a:gdLst>
                  <a:gd name="T0" fmla="*/ 861 w 861"/>
                  <a:gd name="T1" fmla="*/ 744 h 992"/>
                  <a:gd name="T2" fmla="*/ 861 w 861"/>
                  <a:gd name="T3" fmla="*/ 248 h 992"/>
                  <a:gd name="T4" fmla="*/ 430 w 861"/>
                  <a:gd name="T5" fmla="*/ 0 h 992"/>
                  <a:gd name="T6" fmla="*/ 0 w 861"/>
                  <a:gd name="T7" fmla="*/ 248 h 992"/>
                  <a:gd name="T8" fmla="*/ 0 w 861"/>
                  <a:gd name="T9" fmla="*/ 744 h 992"/>
                  <a:gd name="T10" fmla="*/ 430 w 861"/>
                  <a:gd name="T11" fmla="*/ 992 h 992"/>
                  <a:gd name="T12" fmla="*/ 861 w 861"/>
                  <a:gd name="T13" fmla="*/ 744 h 992"/>
                </a:gdLst>
                <a:ahLst/>
                <a:cxnLst>
                  <a:cxn ang="0">
                    <a:pos x="T0" y="T1"/>
                  </a:cxn>
                  <a:cxn ang="0">
                    <a:pos x="T2" y="T3"/>
                  </a:cxn>
                  <a:cxn ang="0">
                    <a:pos x="T4" y="T5"/>
                  </a:cxn>
                  <a:cxn ang="0">
                    <a:pos x="T6" y="T7"/>
                  </a:cxn>
                  <a:cxn ang="0">
                    <a:pos x="T8" y="T9"/>
                  </a:cxn>
                  <a:cxn ang="0">
                    <a:pos x="T10" y="T11"/>
                  </a:cxn>
                  <a:cxn ang="0">
                    <a:pos x="T12" y="T13"/>
                  </a:cxn>
                </a:cxnLst>
                <a:rect l="0" t="0" r="r" b="b"/>
                <a:pathLst>
                  <a:path w="861" h="992">
                    <a:moveTo>
                      <a:pt x="861" y="744"/>
                    </a:moveTo>
                    <a:lnTo>
                      <a:pt x="861" y="248"/>
                    </a:lnTo>
                    <a:lnTo>
                      <a:pt x="430" y="0"/>
                    </a:lnTo>
                    <a:lnTo>
                      <a:pt x="0" y="248"/>
                    </a:lnTo>
                    <a:lnTo>
                      <a:pt x="0" y="744"/>
                    </a:lnTo>
                    <a:lnTo>
                      <a:pt x="430" y="992"/>
                    </a:lnTo>
                    <a:lnTo>
                      <a:pt x="861" y="74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2" name="Line 18">
                <a:extLst>
                  <a:ext uri="{FF2B5EF4-FFF2-40B4-BE49-F238E27FC236}">
                    <a16:creationId xmlns:a16="http://schemas.microsoft.com/office/drawing/2014/main" id="{832F7290-3438-48EA-AEBF-604ECBFF42B5}"/>
                  </a:ext>
                </a:extLst>
              </p:cNvPr>
              <p:cNvSpPr>
                <a:spLocks noChangeShapeType="1"/>
              </p:cNvSpPr>
              <p:nvPr/>
            </p:nvSpPr>
            <p:spPr bwMode="auto">
              <a:xfrm flipV="1">
                <a:off x="2306639" y="14224002"/>
                <a:ext cx="1366838" cy="7874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3" name="Line 19">
                <a:extLst>
                  <a:ext uri="{FF2B5EF4-FFF2-40B4-BE49-F238E27FC236}">
                    <a16:creationId xmlns:a16="http://schemas.microsoft.com/office/drawing/2014/main" id="{A9FEF3F1-A651-44DE-8198-667B39BEE466}"/>
                  </a:ext>
                </a:extLst>
              </p:cNvPr>
              <p:cNvSpPr>
                <a:spLocks noChangeShapeType="1"/>
              </p:cNvSpPr>
              <p:nvPr/>
            </p:nvSpPr>
            <p:spPr bwMode="auto">
              <a:xfrm flipH="1" flipV="1">
                <a:off x="2306639" y="14224002"/>
                <a:ext cx="1366838" cy="7874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4" name="Line 20">
                <a:extLst>
                  <a:ext uri="{FF2B5EF4-FFF2-40B4-BE49-F238E27FC236}">
                    <a16:creationId xmlns:a16="http://schemas.microsoft.com/office/drawing/2014/main" id="{40E494B2-CEB4-4E65-8A12-32D34340D89F}"/>
                  </a:ext>
                </a:extLst>
              </p:cNvPr>
              <p:cNvSpPr>
                <a:spLocks noChangeShapeType="1"/>
              </p:cNvSpPr>
              <p:nvPr/>
            </p:nvSpPr>
            <p:spPr bwMode="auto">
              <a:xfrm flipV="1">
                <a:off x="2989264" y="13830302"/>
                <a:ext cx="0" cy="15748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5" name="Freeform 21">
                <a:extLst>
                  <a:ext uri="{FF2B5EF4-FFF2-40B4-BE49-F238E27FC236}">
                    <a16:creationId xmlns:a16="http://schemas.microsoft.com/office/drawing/2014/main" id="{61D34658-553E-4F9E-B3A9-9E25A3A99B6C}"/>
                  </a:ext>
                </a:extLst>
              </p:cNvPr>
              <p:cNvSpPr>
                <a:spLocks/>
              </p:cNvSpPr>
              <p:nvPr/>
            </p:nvSpPr>
            <p:spPr bwMode="auto">
              <a:xfrm>
                <a:off x="4000501" y="13792202"/>
                <a:ext cx="2006600" cy="2312988"/>
              </a:xfrm>
              <a:custGeom>
                <a:avLst/>
                <a:gdLst>
                  <a:gd name="T0" fmla="*/ 1264 w 1264"/>
                  <a:gd name="T1" fmla="*/ 1093 h 1457"/>
                  <a:gd name="T2" fmla="*/ 1264 w 1264"/>
                  <a:gd name="T3" fmla="*/ 364 h 1457"/>
                  <a:gd name="T4" fmla="*/ 632 w 1264"/>
                  <a:gd name="T5" fmla="*/ 0 h 1457"/>
                  <a:gd name="T6" fmla="*/ 0 w 1264"/>
                  <a:gd name="T7" fmla="*/ 364 h 1457"/>
                  <a:gd name="T8" fmla="*/ 0 w 1264"/>
                  <a:gd name="T9" fmla="*/ 1093 h 1457"/>
                  <a:gd name="T10" fmla="*/ 632 w 1264"/>
                  <a:gd name="T11" fmla="*/ 1457 h 1457"/>
                  <a:gd name="T12" fmla="*/ 1264 w 1264"/>
                  <a:gd name="T13" fmla="*/ 1093 h 1457"/>
                </a:gdLst>
                <a:ahLst/>
                <a:cxnLst>
                  <a:cxn ang="0">
                    <a:pos x="T0" y="T1"/>
                  </a:cxn>
                  <a:cxn ang="0">
                    <a:pos x="T2" y="T3"/>
                  </a:cxn>
                  <a:cxn ang="0">
                    <a:pos x="T4" y="T5"/>
                  </a:cxn>
                  <a:cxn ang="0">
                    <a:pos x="T6" y="T7"/>
                  </a:cxn>
                  <a:cxn ang="0">
                    <a:pos x="T8" y="T9"/>
                  </a:cxn>
                  <a:cxn ang="0">
                    <a:pos x="T10" y="T11"/>
                  </a:cxn>
                  <a:cxn ang="0">
                    <a:pos x="T12" y="T13"/>
                  </a:cxn>
                </a:cxnLst>
                <a:rect l="0" t="0" r="r" b="b"/>
                <a:pathLst>
                  <a:path w="1264" h="1457">
                    <a:moveTo>
                      <a:pt x="1264" y="1093"/>
                    </a:moveTo>
                    <a:lnTo>
                      <a:pt x="1264" y="364"/>
                    </a:lnTo>
                    <a:lnTo>
                      <a:pt x="632" y="0"/>
                    </a:lnTo>
                    <a:lnTo>
                      <a:pt x="0" y="364"/>
                    </a:lnTo>
                    <a:lnTo>
                      <a:pt x="0" y="1093"/>
                    </a:lnTo>
                    <a:lnTo>
                      <a:pt x="632" y="1457"/>
                    </a:lnTo>
                    <a:lnTo>
                      <a:pt x="1264" y="1093"/>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6" name="Line 22">
                <a:extLst>
                  <a:ext uri="{FF2B5EF4-FFF2-40B4-BE49-F238E27FC236}">
                    <a16:creationId xmlns:a16="http://schemas.microsoft.com/office/drawing/2014/main" id="{C937D6A9-5857-444E-A16D-5977BC4D2BF4}"/>
                  </a:ext>
                </a:extLst>
              </p:cNvPr>
              <p:cNvSpPr>
                <a:spLocks noChangeShapeType="1"/>
              </p:cNvSpPr>
              <p:nvPr/>
            </p:nvSpPr>
            <p:spPr bwMode="auto">
              <a:xfrm flipV="1">
                <a:off x="4000501" y="14370052"/>
                <a:ext cx="2006600" cy="11572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7" name="Line 23">
                <a:extLst>
                  <a:ext uri="{FF2B5EF4-FFF2-40B4-BE49-F238E27FC236}">
                    <a16:creationId xmlns:a16="http://schemas.microsoft.com/office/drawing/2014/main" id="{02D4F60D-1622-42BE-91F3-6A192014FD98}"/>
                  </a:ext>
                </a:extLst>
              </p:cNvPr>
              <p:cNvSpPr>
                <a:spLocks noChangeShapeType="1"/>
              </p:cNvSpPr>
              <p:nvPr/>
            </p:nvSpPr>
            <p:spPr bwMode="auto">
              <a:xfrm flipH="1" flipV="1">
                <a:off x="4000501" y="14370052"/>
                <a:ext cx="2006600" cy="11572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8" name="Line 24">
                <a:extLst>
                  <a:ext uri="{FF2B5EF4-FFF2-40B4-BE49-F238E27FC236}">
                    <a16:creationId xmlns:a16="http://schemas.microsoft.com/office/drawing/2014/main" id="{C1841704-6002-4403-AB3B-5FB306F2A807}"/>
                  </a:ext>
                </a:extLst>
              </p:cNvPr>
              <p:cNvSpPr>
                <a:spLocks noChangeShapeType="1"/>
              </p:cNvSpPr>
              <p:nvPr/>
            </p:nvSpPr>
            <p:spPr bwMode="auto">
              <a:xfrm flipV="1">
                <a:off x="5003801" y="13792202"/>
                <a:ext cx="0" cy="23129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9" name="Freeform 25">
                <a:extLst>
                  <a:ext uri="{FF2B5EF4-FFF2-40B4-BE49-F238E27FC236}">
                    <a16:creationId xmlns:a16="http://schemas.microsoft.com/office/drawing/2014/main" id="{20C342E2-577E-4D37-A940-653A4E66FD1E}"/>
                  </a:ext>
                </a:extLst>
              </p:cNvPr>
              <p:cNvSpPr>
                <a:spLocks/>
              </p:cNvSpPr>
              <p:nvPr/>
            </p:nvSpPr>
            <p:spPr bwMode="auto">
              <a:xfrm>
                <a:off x="4362451" y="12163427"/>
                <a:ext cx="2008188" cy="2314575"/>
              </a:xfrm>
              <a:custGeom>
                <a:avLst/>
                <a:gdLst>
                  <a:gd name="T0" fmla="*/ 1265 w 1265"/>
                  <a:gd name="T1" fmla="*/ 1094 h 1458"/>
                  <a:gd name="T2" fmla="*/ 1265 w 1265"/>
                  <a:gd name="T3" fmla="*/ 364 h 1458"/>
                  <a:gd name="T4" fmla="*/ 633 w 1265"/>
                  <a:gd name="T5" fmla="*/ 0 h 1458"/>
                  <a:gd name="T6" fmla="*/ 0 w 1265"/>
                  <a:gd name="T7" fmla="*/ 364 h 1458"/>
                  <a:gd name="T8" fmla="*/ 0 w 1265"/>
                  <a:gd name="T9" fmla="*/ 1094 h 1458"/>
                  <a:gd name="T10" fmla="*/ 633 w 1265"/>
                  <a:gd name="T11" fmla="*/ 1458 h 1458"/>
                  <a:gd name="T12" fmla="*/ 1265 w 1265"/>
                  <a:gd name="T13" fmla="*/ 1094 h 1458"/>
                </a:gdLst>
                <a:ahLst/>
                <a:cxnLst>
                  <a:cxn ang="0">
                    <a:pos x="T0" y="T1"/>
                  </a:cxn>
                  <a:cxn ang="0">
                    <a:pos x="T2" y="T3"/>
                  </a:cxn>
                  <a:cxn ang="0">
                    <a:pos x="T4" y="T5"/>
                  </a:cxn>
                  <a:cxn ang="0">
                    <a:pos x="T6" y="T7"/>
                  </a:cxn>
                  <a:cxn ang="0">
                    <a:pos x="T8" y="T9"/>
                  </a:cxn>
                  <a:cxn ang="0">
                    <a:pos x="T10" y="T11"/>
                  </a:cxn>
                  <a:cxn ang="0">
                    <a:pos x="T12" y="T13"/>
                  </a:cxn>
                </a:cxnLst>
                <a:rect l="0" t="0" r="r" b="b"/>
                <a:pathLst>
                  <a:path w="1265" h="1458">
                    <a:moveTo>
                      <a:pt x="1265" y="1094"/>
                    </a:moveTo>
                    <a:lnTo>
                      <a:pt x="1265" y="364"/>
                    </a:lnTo>
                    <a:lnTo>
                      <a:pt x="633" y="0"/>
                    </a:lnTo>
                    <a:lnTo>
                      <a:pt x="0" y="364"/>
                    </a:lnTo>
                    <a:lnTo>
                      <a:pt x="0" y="1094"/>
                    </a:lnTo>
                    <a:lnTo>
                      <a:pt x="633" y="1458"/>
                    </a:lnTo>
                    <a:lnTo>
                      <a:pt x="1265" y="1094"/>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0" name="Line 26">
                <a:extLst>
                  <a:ext uri="{FF2B5EF4-FFF2-40B4-BE49-F238E27FC236}">
                    <a16:creationId xmlns:a16="http://schemas.microsoft.com/office/drawing/2014/main" id="{F6753830-3FAF-4FA3-8F05-46072F4EBBD0}"/>
                  </a:ext>
                </a:extLst>
              </p:cNvPr>
              <p:cNvSpPr>
                <a:spLocks noChangeShapeType="1"/>
              </p:cNvSpPr>
              <p:nvPr/>
            </p:nvSpPr>
            <p:spPr bwMode="auto">
              <a:xfrm flipV="1">
                <a:off x="4362451" y="12741277"/>
                <a:ext cx="2008188" cy="11588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1" name="Line 27">
                <a:extLst>
                  <a:ext uri="{FF2B5EF4-FFF2-40B4-BE49-F238E27FC236}">
                    <a16:creationId xmlns:a16="http://schemas.microsoft.com/office/drawing/2014/main" id="{BED395EB-7208-4336-B3A7-9FEF7D0D0492}"/>
                  </a:ext>
                </a:extLst>
              </p:cNvPr>
              <p:cNvSpPr>
                <a:spLocks noChangeShapeType="1"/>
              </p:cNvSpPr>
              <p:nvPr/>
            </p:nvSpPr>
            <p:spPr bwMode="auto">
              <a:xfrm flipH="1" flipV="1">
                <a:off x="4362451" y="12741277"/>
                <a:ext cx="2008188" cy="11588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2" name="Line 28">
                <a:extLst>
                  <a:ext uri="{FF2B5EF4-FFF2-40B4-BE49-F238E27FC236}">
                    <a16:creationId xmlns:a16="http://schemas.microsoft.com/office/drawing/2014/main" id="{C8F13409-4304-4CFC-8254-8CEA0595870C}"/>
                  </a:ext>
                </a:extLst>
              </p:cNvPr>
              <p:cNvSpPr>
                <a:spLocks noChangeShapeType="1"/>
              </p:cNvSpPr>
              <p:nvPr/>
            </p:nvSpPr>
            <p:spPr bwMode="auto">
              <a:xfrm flipV="1">
                <a:off x="5367339" y="12163427"/>
                <a:ext cx="0" cy="23145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3" name="Freeform 29">
                <a:extLst>
                  <a:ext uri="{FF2B5EF4-FFF2-40B4-BE49-F238E27FC236}">
                    <a16:creationId xmlns:a16="http://schemas.microsoft.com/office/drawing/2014/main" id="{83011D40-281C-43AD-96C2-A6716D546AE6}"/>
                  </a:ext>
                </a:extLst>
              </p:cNvPr>
              <p:cNvSpPr>
                <a:spLocks/>
              </p:cNvSpPr>
              <p:nvPr/>
            </p:nvSpPr>
            <p:spPr bwMode="auto">
              <a:xfrm>
                <a:off x="3197226" y="14689140"/>
                <a:ext cx="1065213" cy="1228725"/>
              </a:xfrm>
              <a:custGeom>
                <a:avLst/>
                <a:gdLst>
                  <a:gd name="T0" fmla="*/ 671 w 671"/>
                  <a:gd name="T1" fmla="*/ 581 h 774"/>
                  <a:gd name="T2" fmla="*/ 671 w 671"/>
                  <a:gd name="T3" fmla="*/ 194 h 774"/>
                  <a:gd name="T4" fmla="*/ 335 w 671"/>
                  <a:gd name="T5" fmla="*/ 0 h 774"/>
                  <a:gd name="T6" fmla="*/ 0 w 671"/>
                  <a:gd name="T7" fmla="*/ 194 h 774"/>
                  <a:gd name="T8" fmla="*/ 0 w 671"/>
                  <a:gd name="T9" fmla="*/ 581 h 774"/>
                  <a:gd name="T10" fmla="*/ 335 w 671"/>
                  <a:gd name="T11" fmla="*/ 774 h 774"/>
                  <a:gd name="T12" fmla="*/ 671 w 671"/>
                  <a:gd name="T13" fmla="*/ 581 h 774"/>
                </a:gdLst>
                <a:ahLst/>
                <a:cxnLst>
                  <a:cxn ang="0">
                    <a:pos x="T0" y="T1"/>
                  </a:cxn>
                  <a:cxn ang="0">
                    <a:pos x="T2" y="T3"/>
                  </a:cxn>
                  <a:cxn ang="0">
                    <a:pos x="T4" y="T5"/>
                  </a:cxn>
                  <a:cxn ang="0">
                    <a:pos x="T6" y="T7"/>
                  </a:cxn>
                  <a:cxn ang="0">
                    <a:pos x="T8" y="T9"/>
                  </a:cxn>
                  <a:cxn ang="0">
                    <a:pos x="T10" y="T11"/>
                  </a:cxn>
                  <a:cxn ang="0">
                    <a:pos x="T12" y="T13"/>
                  </a:cxn>
                </a:cxnLst>
                <a:rect l="0" t="0" r="r" b="b"/>
                <a:pathLst>
                  <a:path w="671" h="774">
                    <a:moveTo>
                      <a:pt x="671" y="581"/>
                    </a:moveTo>
                    <a:lnTo>
                      <a:pt x="671" y="194"/>
                    </a:lnTo>
                    <a:lnTo>
                      <a:pt x="335" y="0"/>
                    </a:lnTo>
                    <a:lnTo>
                      <a:pt x="0" y="194"/>
                    </a:lnTo>
                    <a:lnTo>
                      <a:pt x="0" y="581"/>
                    </a:lnTo>
                    <a:lnTo>
                      <a:pt x="335" y="774"/>
                    </a:lnTo>
                    <a:lnTo>
                      <a:pt x="671" y="581"/>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4" name="Line 30">
                <a:extLst>
                  <a:ext uri="{FF2B5EF4-FFF2-40B4-BE49-F238E27FC236}">
                    <a16:creationId xmlns:a16="http://schemas.microsoft.com/office/drawing/2014/main" id="{90D857AA-C899-4A2D-A7C8-25AAA0B2D083}"/>
                  </a:ext>
                </a:extLst>
              </p:cNvPr>
              <p:cNvSpPr>
                <a:spLocks noChangeShapeType="1"/>
              </p:cNvSpPr>
              <p:nvPr/>
            </p:nvSpPr>
            <p:spPr bwMode="auto">
              <a:xfrm flipV="1">
                <a:off x="3197226" y="14997115"/>
                <a:ext cx="1065213" cy="614363"/>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5" name="Line 31">
                <a:extLst>
                  <a:ext uri="{FF2B5EF4-FFF2-40B4-BE49-F238E27FC236}">
                    <a16:creationId xmlns:a16="http://schemas.microsoft.com/office/drawing/2014/main" id="{1057201A-6419-4BCE-861F-F85476710B0A}"/>
                  </a:ext>
                </a:extLst>
              </p:cNvPr>
              <p:cNvSpPr>
                <a:spLocks noChangeShapeType="1"/>
              </p:cNvSpPr>
              <p:nvPr/>
            </p:nvSpPr>
            <p:spPr bwMode="auto">
              <a:xfrm flipH="1" flipV="1">
                <a:off x="3197226" y="14997115"/>
                <a:ext cx="1065213" cy="614363"/>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6" name="Line 32">
                <a:extLst>
                  <a:ext uri="{FF2B5EF4-FFF2-40B4-BE49-F238E27FC236}">
                    <a16:creationId xmlns:a16="http://schemas.microsoft.com/office/drawing/2014/main" id="{E61A8FCA-6C9C-4563-8D56-ABC11B155502}"/>
                  </a:ext>
                </a:extLst>
              </p:cNvPr>
              <p:cNvSpPr>
                <a:spLocks noChangeShapeType="1"/>
              </p:cNvSpPr>
              <p:nvPr/>
            </p:nvSpPr>
            <p:spPr bwMode="auto">
              <a:xfrm flipV="1">
                <a:off x="3729039" y="14689140"/>
                <a:ext cx="0" cy="12287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7" name="Freeform 33">
                <a:extLst>
                  <a:ext uri="{FF2B5EF4-FFF2-40B4-BE49-F238E27FC236}">
                    <a16:creationId xmlns:a16="http://schemas.microsoft.com/office/drawing/2014/main" id="{CC0C7DC4-7066-43FD-B85E-81AF5F4FC561}"/>
                  </a:ext>
                </a:extLst>
              </p:cNvPr>
              <p:cNvSpPr>
                <a:spLocks/>
              </p:cNvSpPr>
              <p:nvPr/>
            </p:nvSpPr>
            <p:spPr bwMode="auto">
              <a:xfrm>
                <a:off x="3230564" y="13009565"/>
                <a:ext cx="1316038" cy="1519238"/>
              </a:xfrm>
              <a:custGeom>
                <a:avLst/>
                <a:gdLst>
                  <a:gd name="T0" fmla="*/ 829 w 829"/>
                  <a:gd name="T1" fmla="*/ 718 h 957"/>
                  <a:gd name="T2" fmla="*/ 829 w 829"/>
                  <a:gd name="T3" fmla="*/ 240 h 957"/>
                  <a:gd name="T4" fmla="*/ 414 w 829"/>
                  <a:gd name="T5" fmla="*/ 0 h 957"/>
                  <a:gd name="T6" fmla="*/ 0 w 829"/>
                  <a:gd name="T7" fmla="*/ 240 h 957"/>
                  <a:gd name="T8" fmla="*/ 0 w 829"/>
                  <a:gd name="T9" fmla="*/ 718 h 957"/>
                  <a:gd name="T10" fmla="*/ 414 w 829"/>
                  <a:gd name="T11" fmla="*/ 957 h 957"/>
                  <a:gd name="T12" fmla="*/ 829 w 829"/>
                  <a:gd name="T13" fmla="*/ 718 h 957"/>
                </a:gdLst>
                <a:ahLst/>
                <a:cxnLst>
                  <a:cxn ang="0">
                    <a:pos x="T0" y="T1"/>
                  </a:cxn>
                  <a:cxn ang="0">
                    <a:pos x="T2" y="T3"/>
                  </a:cxn>
                  <a:cxn ang="0">
                    <a:pos x="T4" y="T5"/>
                  </a:cxn>
                  <a:cxn ang="0">
                    <a:pos x="T6" y="T7"/>
                  </a:cxn>
                  <a:cxn ang="0">
                    <a:pos x="T8" y="T9"/>
                  </a:cxn>
                  <a:cxn ang="0">
                    <a:pos x="T10" y="T11"/>
                  </a:cxn>
                  <a:cxn ang="0">
                    <a:pos x="T12" y="T13"/>
                  </a:cxn>
                </a:cxnLst>
                <a:rect l="0" t="0" r="r" b="b"/>
                <a:pathLst>
                  <a:path w="829" h="957">
                    <a:moveTo>
                      <a:pt x="829" y="718"/>
                    </a:moveTo>
                    <a:lnTo>
                      <a:pt x="829" y="240"/>
                    </a:lnTo>
                    <a:lnTo>
                      <a:pt x="414" y="0"/>
                    </a:lnTo>
                    <a:lnTo>
                      <a:pt x="0" y="240"/>
                    </a:lnTo>
                    <a:lnTo>
                      <a:pt x="0" y="718"/>
                    </a:lnTo>
                    <a:lnTo>
                      <a:pt x="414" y="957"/>
                    </a:lnTo>
                    <a:lnTo>
                      <a:pt x="829" y="718"/>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8" name="Line 34">
                <a:extLst>
                  <a:ext uri="{FF2B5EF4-FFF2-40B4-BE49-F238E27FC236}">
                    <a16:creationId xmlns:a16="http://schemas.microsoft.com/office/drawing/2014/main" id="{B9F0BFC4-284B-47F3-B8DF-16409529C107}"/>
                  </a:ext>
                </a:extLst>
              </p:cNvPr>
              <p:cNvSpPr>
                <a:spLocks noChangeShapeType="1"/>
              </p:cNvSpPr>
              <p:nvPr/>
            </p:nvSpPr>
            <p:spPr bwMode="auto">
              <a:xfrm flipV="1">
                <a:off x="3230564" y="13390565"/>
                <a:ext cx="1316038" cy="7588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9" name="Line 35">
                <a:extLst>
                  <a:ext uri="{FF2B5EF4-FFF2-40B4-BE49-F238E27FC236}">
                    <a16:creationId xmlns:a16="http://schemas.microsoft.com/office/drawing/2014/main" id="{1B2A2F18-DBF3-47EB-9445-8CD7306E40FF}"/>
                  </a:ext>
                </a:extLst>
              </p:cNvPr>
              <p:cNvSpPr>
                <a:spLocks noChangeShapeType="1"/>
              </p:cNvSpPr>
              <p:nvPr/>
            </p:nvSpPr>
            <p:spPr bwMode="auto">
              <a:xfrm flipH="1" flipV="1">
                <a:off x="3230564" y="13390565"/>
                <a:ext cx="1316038" cy="7588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0" name="Line 36">
                <a:extLst>
                  <a:ext uri="{FF2B5EF4-FFF2-40B4-BE49-F238E27FC236}">
                    <a16:creationId xmlns:a16="http://schemas.microsoft.com/office/drawing/2014/main" id="{D265770D-AF19-4D85-AF68-54CF91FB77E1}"/>
                  </a:ext>
                </a:extLst>
              </p:cNvPr>
              <p:cNvSpPr>
                <a:spLocks noChangeShapeType="1"/>
              </p:cNvSpPr>
              <p:nvPr/>
            </p:nvSpPr>
            <p:spPr bwMode="auto">
              <a:xfrm flipV="1">
                <a:off x="3887789" y="13009565"/>
                <a:ext cx="0" cy="151923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grpSp>
      </p:grpSp>
      <p:grpSp>
        <p:nvGrpSpPr>
          <p:cNvPr id="3" name="Group 2">
            <a:extLst>
              <a:ext uri="{FF2B5EF4-FFF2-40B4-BE49-F238E27FC236}">
                <a16:creationId xmlns:a16="http://schemas.microsoft.com/office/drawing/2014/main" id="{7F6F4A87-D663-4FEA-A020-726B12EB823D}"/>
              </a:ext>
            </a:extLst>
          </p:cNvPr>
          <p:cNvGrpSpPr/>
          <p:nvPr userDrawn="1"/>
        </p:nvGrpSpPr>
        <p:grpSpPr>
          <a:xfrm>
            <a:off x="451632" y="468476"/>
            <a:ext cx="1430221" cy="306418"/>
            <a:chOff x="451632" y="468476"/>
            <a:chExt cx="1430221" cy="306418"/>
          </a:xfrm>
        </p:grpSpPr>
        <p:pic>
          <p:nvPicPr>
            <p:cNvPr id="10" name="Picture 9">
              <a:extLst>
                <a:ext uri="{FF2B5EF4-FFF2-40B4-BE49-F238E27FC236}">
                  <a16:creationId xmlns:a16="http://schemas.microsoft.com/office/drawing/2014/main" id="{21192D5F-1038-4F8E-88F2-D315D8D030F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1632" y="468769"/>
              <a:ext cx="1390452" cy="306125"/>
            </a:xfrm>
            <a:prstGeom prst="rect">
              <a:avLst/>
            </a:prstGeom>
          </p:spPr>
        </p:pic>
        <p:pic>
          <p:nvPicPr>
            <p:cNvPr id="213" name="Picture 212">
              <a:extLst>
                <a:ext uri="{FF2B5EF4-FFF2-40B4-BE49-F238E27FC236}">
                  <a16:creationId xmlns:a16="http://schemas.microsoft.com/office/drawing/2014/main" id="{C45001F7-6401-4AE7-A4B0-E03D533E9A29}"/>
                </a:ext>
              </a:extLst>
            </p:cNvPr>
            <p:cNvPicPr>
              <a:picLocks noChangeAspect="1"/>
            </p:cNvPicPr>
            <p:nvPr userDrawn="1"/>
          </p:nvPicPr>
          <p:blipFill rotWithShape="1">
            <a:blip r:embed="rId2" cstate="print">
              <a:biLevel thresh="25000"/>
              <a:extLst>
                <a:ext uri="{28A0092B-C50C-407E-A947-70E740481C1C}">
                  <a14:useLocalDpi xmlns:a14="http://schemas.microsoft.com/office/drawing/2010/main" val="0"/>
                </a:ext>
              </a:extLst>
            </a:blip>
            <a:srcRect l="25203" r="-2873"/>
            <a:stretch/>
          </p:blipFill>
          <p:spPr>
            <a:xfrm>
              <a:off x="801858" y="468476"/>
              <a:ext cx="1079995" cy="306125"/>
            </a:xfrm>
            <a:prstGeom prst="rect">
              <a:avLst/>
            </a:prstGeom>
          </p:spPr>
        </p:pic>
      </p:grpSp>
      <p:sp>
        <p:nvSpPr>
          <p:cNvPr id="4" name="Rectangle 3">
            <a:extLst>
              <a:ext uri="{FF2B5EF4-FFF2-40B4-BE49-F238E27FC236}">
                <a16:creationId xmlns:a16="http://schemas.microsoft.com/office/drawing/2014/main" id="{A3FDE298-7815-47CD-B20F-6229E5D2BB2F}"/>
              </a:ext>
            </a:extLst>
          </p:cNvPr>
          <p:cNvSpPr/>
          <p:nvPr userDrawn="1"/>
        </p:nvSpPr>
        <p:spPr bwMode="auto">
          <a:xfrm>
            <a:off x="4804012" y="-1398896"/>
            <a:ext cx="7642746" cy="1398896"/>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5" name="Rectangle 214">
            <a:extLst>
              <a:ext uri="{FF2B5EF4-FFF2-40B4-BE49-F238E27FC236}">
                <a16:creationId xmlns:a16="http://schemas.microsoft.com/office/drawing/2014/main" id="{00E81728-F939-4C5F-960C-B7F76859F232}"/>
              </a:ext>
            </a:extLst>
          </p:cNvPr>
          <p:cNvSpPr/>
          <p:nvPr userDrawn="1"/>
        </p:nvSpPr>
        <p:spPr bwMode="auto">
          <a:xfrm rot="5400000">
            <a:off x="9945122" y="2094976"/>
            <a:ext cx="7642746" cy="3132068"/>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90211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512272B-6700-43D8-91D2-E2B214118AE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560"/>
          <a:stretch/>
        </p:blipFill>
        <p:spPr>
          <a:xfrm>
            <a:off x="0" y="-1"/>
            <a:ext cx="12192000" cy="6858001"/>
          </a:xfrm>
          <a:prstGeom prst="rect">
            <a:avLst/>
          </a:prstGeom>
        </p:spPr>
      </p:pic>
      <p:sp>
        <p:nvSpPr>
          <p:cNvPr id="12" name="Rectangle 11">
            <a:extLst>
              <a:ext uri="{FF2B5EF4-FFF2-40B4-BE49-F238E27FC236}">
                <a16:creationId xmlns:a16="http://schemas.microsoft.com/office/drawing/2014/main" id="{78DFD15D-688B-493A-A79A-E8A5090CDBC8}"/>
              </a:ext>
            </a:extLst>
          </p:cNvPr>
          <p:cNvSpPr/>
          <p:nvPr userDrawn="1"/>
        </p:nvSpPr>
        <p:spPr bwMode="auto">
          <a:xfrm>
            <a:off x="0" y="2702560"/>
            <a:ext cx="6126480" cy="3616960"/>
          </a:xfrm>
          <a:prstGeom prst="rect">
            <a:avLst/>
          </a:prstGeom>
          <a:solidFill>
            <a:schemeClr val="accent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702560"/>
            <a:ext cx="5735258" cy="1838959"/>
          </a:xfrm>
          <a:noFill/>
        </p:spPr>
        <p:txBody>
          <a:bodyPr lIns="146304" tIns="91440" rIns="146304" bIns="91440" anchor="b" anchorCtr="0"/>
          <a:lstStyle>
            <a:lvl1pPr>
              <a:defRPr sz="4800"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4595648"/>
            <a:ext cx="5735260"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702598"/>
            <a:ext cx="3585699" cy="567015"/>
          </a:xfrm>
        </p:spPr>
        <p:txBody>
          <a:bodyPr lIns="182880" tIns="146304" rIns="182880" bIns="146304" anchor="ct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5852972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3140710"/>
            <a:ext cx="4797997" cy="1838959"/>
          </a:xfrm>
          <a:noFill/>
        </p:spPr>
        <p:txBody>
          <a:bodyPr lIns="146304" tIns="91440" rIns="146304" bIns="91440" anchor="b" anchorCtr="0"/>
          <a:lstStyle>
            <a:lvl1pPr>
              <a:defRPr sz="4800"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5033798"/>
            <a:ext cx="4797999"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816675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2"/>
        </a:solidFill>
        <a:effectLst/>
      </p:bgPr>
    </p:bg>
    <p:spTree>
      <p:nvGrpSpPr>
        <p:cNvPr id="1" name=""/>
        <p:cNvGrpSpPr/>
        <p:nvPr/>
      </p:nvGrpSpPr>
      <p:grpSpPr>
        <a:xfrm>
          <a:off x="0" y="0"/>
          <a:ext cx="0" cy="0"/>
          <a:chOff x="0" y="0"/>
          <a:chExt cx="0" cy="0"/>
        </a:xfrm>
      </p:grpSpPr>
      <p:pic>
        <p:nvPicPr>
          <p:cNvPr id="3" name="Picture 2" descr="A person sitting in a room&#10;&#10;Description generated with very high confidence">
            <a:extLst>
              <a:ext uri="{FF2B5EF4-FFF2-40B4-BE49-F238E27FC236}">
                <a16:creationId xmlns:a16="http://schemas.microsoft.com/office/drawing/2014/main" id="{E23B8A7C-DB17-4C7E-AF2D-D21ECBB0D03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t="13518" r="1235" b="3148"/>
          <a:stretch/>
        </p:blipFill>
        <p:spPr>
          <a:xfrm>
            <a:off x="0" y="0"/>
            <a:ext cx="12192000" cy="6858000"/>
          </a:xfrm>
          <a:prstGeom prst="rect">
            <a:avLst/>
          </a:prstGeom>
        </p:spPr>
      </p:pic>
      <p:sp>
        <p:nvSpPr>
          <p:cNvPr id="15" name="Rectangle 14">
            <a:extLst>
              <a:ext uri="{FF2B5EF4-FFF2-40B4-BE49-F238E27FC236}">
                <a16:creationId xmlns:a16="http://schemas.microsoft.com/office/drawing/2014/main" id="{85DB54E2-5BBA-49E9-9AE0-587E809F4D91}"/>
              </a:ext>
            </a:extLst>
          </p:cNvPr>
          <p:cNvSpPr/>
          <p:nvPr userDrawn="1"/>
        </p:nvSpPr>
        <p:spPr bwMode="auto">
          <a:xfrm>
            <a:off x="0" y="2702560"/>
            <a:ext cx="6126480" cy="3000615"/>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702560"/>
            <a:ext cx="5735258" cy="1838959"/>
          </a:xfrm>
          <a:noFill/>
        </p:spPr>
        <p:txBody>
          <a:bodyPr lIns="146304" tIns="91440" rIns="146304" bIns="91440" anchor="b" anchorCtr="0"/>
          <a:lstStyle>
            <a:lvl1pPr>
              <a:defRPr sz="4800"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4595648"/>
            <a:ext cx="5735260"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pic>
        <p:nvPicPr>
          <p:cNvPr id="14" name="Picture 13">
            <a:extLst>
              <a:ext uri="{FF2B5EF4-FFF2-40B4-BE49-F238E27FC236}">
                <a16:creationId xmlns:a16="http://schemas.microsoft.com/office/drawing/2014/main" id="{F194B800-7BDE-45B5-AAE6-3FA1ECE2B91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1632" y="470067"/>
            <a:ext cx="1423303" cy="304977"/>
          </a:xfrm>
          <a:prstGeom prst="rect">
            <a:avLst/>
          </a:prstGeom>
        </p:spPr>
      </p:pic>
    </p:spTree>
    <p:extLst>
      <p:ext uri="{BB962C8B-B14F-4D97-AF65-F5344CB8AC3E}">
        <p14:creationId xmlns:p14="http://schemas.microsoft.com/office/powerpoint/2010/main" val="2534899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834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461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593573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270093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tx1"/>
                </a:solidFill>
              </a:defRPr>
            </a:lvl1pPr>
          </a:lstStyle>
          <a:p>
            <a:r>
              <a:rPr lang="en-US"/>
              <a:t>Click to edit Master title style</a:t>
            </a:r>
          </a:p>
        </p:txBody>
      </p:sp>
      <p:sp>
        <p:nvSpPr>
          <p:cNvPr id="5" name="Text Placeholder 4">
            <a:extLst>
              <a:ext uri="{FF2B5EF4-FFF2-40B4-BE49-F238E27FC236}">
                <a16:creationId xmlns:a16="http://schemas.microsoft.com/office/drawing/2014/main" id="{6F4BC869-BDC3-4FA7-95DB-ECF24CF16A40}"/>
              </a:ext>
            </a:extLst>
          </p:cNvPr>
          <p:cNvSpPr>
            <a:spLocks noGrp="1"/>
          </p:cNvSpPr>
          <p:nvPr>
            <p:ph type="body" sz="quarter" idx="10" hasCustomPrompt="1"/>
          </p:nvPr>
        </p:nvSpPr>
        <p:spPr>
          <a:xfrm>
            <a:off x="269875" y="1094906"/>
            <a:ext cx="11655425" cy="461665"/>
          </a:xfrm>
        </p:spPr>
        <p:txBody>
          <a:bodyPr/>
          <a:lstStyle>
            <a:lvl1pPr marL="0" indent="0">
              <a:buNone/>
              <a:defRPr sz="2000">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58618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163D57-F9C7-4337-8CB8-BB0C60BD9B8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fr-CH"/>
          </a:p>
        </p:txBody>
      </p:sp>
      <p:sp>
        <p:nvSpPr>
          <p:cNvPr id="3" name="Text Placeholder 2">
            <a:extLst>
              <a:ext uri="{FF2B5EF4-FFF2-40B4-BE49-F238E27FC236}">
                <a16:creationId xmlns:a16="http://schemas.microsoft.com/office/drawing/2014/main" id="{5F143FC8-C01D-493E-8D48-F7BCBB92D7B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9D91739-D443-48F3-BD78-75C5E40E5DFC}"/>
              </a:ext>
            </a:extLst>
          </p:cNvPr>
          <p:cNvSpPr>
            <a:spLocks noGrp="1"/>
          </p:cNvSpPr>
          <p:nvPr>
            <p:ph type="dt" sz="half" idx="10"/>
          </p:nvPr>
        </p:nvSpPr>
        <p:spPr/>
        <p:txBody>
          <a:bodyPr/>
          <a:lstStyle/>
          <a:p>
            <a:fld id="{52C8F2F6-3AF4-4ED4-946F-64D74418434B}" type="datetimeFigureOut">
              <a:rPr lang="fr-CH" smtClean="0"/>
              <a:t>26.09.2019</a:t>
            </a:fld>
            <a:endParaRPr lang="fr-CH"/>
          </a:p>
        </p:txBody>
      </p:sp>
      <p:sp>
        <p:nvSpPr>
          <p:cNvPr id="5" name="Footer Placeholder 4">
            <a:extLst>
              <a:ext uri="{FF2B5EF4-FFF2-40B4-BE49-F238E27FC236}">
                <a16:creationId xmlns:a16="http://schemas.microsoft.com/office/drawing/2014/main" id="{6F378B82-CD21-46F7-8A5F-E0606596D556}"/>
              </a:ext>
            </a:extLst>
          </p:cNvPr>
          <p:cNvSpPr>
            <a:spLocks noGrp="1"/>
          </p:cNvSpPr>
          <p:nvPr>
            <p:ph type="ftr" sz="quarter" idx="11"/>
          </p:nvPr>
        </p:nvSpPr>
        <p:spPr/>
        <p:txBody>
          <a:bodyPr/>
          <a:lstStyle/>
          <a:p>
            <a:endParaRPr lang="fr-CH"/>
          </a:p>
        </p:txBody>
      </p:sp>
      <p:sp>
        <p:nvSpPr>
          <p:cNvPr id="6" name="Slide Number Placeholder 5">
            <a:extLst>
              <a:ext uri="{FF2B5EF4-FFF2-40B4-BE49-F238E27FC236}">
                <a16:creationId xmlns:a16="http://schemas.microsoft.com/office/drawing/2014/main" id="{8007E78E-95CD-49CD-816E-B864777874C5}"/>
              </a:ext>
            </a:extLst>
          </p:cNvPr>
          <p:cNvSpPr>
            <a:spLocks noGrp="1"/>
          </p:cNvSpPr>
          <p:nvPr>
            <p:ph type="sldNum" sz="quarter" idx="12"/>
          </p:nvPr>
        </p:nvSpPr>
        <p:spPr/>
        <p:txBody>
          <a:bodyPr/>
          <a:lstStyle/>
          <a:p>
            <a:fld id="{19AB34F1-9614-4146-AAB5-3D64232A8AA2}" type="slidenum">
              <a:rPr lang="fr-CH" smtClean="0"/>
              <a:t>‹#›</a:t>
            </a:fld>
            <a:endParaRPr lang="fr-CH"/>
          </a:p>
        </p:txBody>
      </p:sp>
    </p:spTree>
    <p:extLst>
      <p:ext uri="{BB962C8B-B14F-4D97-AF65-F5344CB8AC3E}">
        <p14:creationId xmlns:p14="http://schemas.microsoft.com/office/powerpoint/2010/main" val="23529780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tx1"/>
                </a:solidFill>
              </a:defRPr>
            </a:lvl1pPr>
          </a:lstStyle>
          <a:p>
            <a:r>
              <a:rPr lang="en-US"/>
              <a:t>Click to edit Master title style</a:t>
            </a:r>
          </a:p>
        </p:txBody>
      </p:sp>
      <p:grpSp>
        <p:nvGrpSpPr>
          <p:cNvPr id="3" name="Group 2">
            <a:extLst>
              <a:ext uri="{FF2B5EF4-FFF2-40B4-BE49-F238E27FC236}">
                <a16:creationId xmlns:a16="http://schemas.microsoft.com/office/drawing/2014/main" id="{29DB9C31-C2DE-4448-B166-25811365A1BA}"/>
              </a:ext>
            </a:extLst>
          </p:cNvPr>
          <p:cNvGrpSpPr/>
          <p:nvPr userDrawn="1"/>
        </p:nvGrpSpPr>
        <p:grpSpPr>
          <a:xfrm>
            <a:off x="7494800" y="5579707"/>
            <a:ext cx="5093650" cy="1750570"/>
            <a:chOff x="7494800" y="5579707"/>
            <a:chExt cx="5093650" cy="1750570"/>
          </a:xfrm>
        </p:grpSpPr>
        <p:sp>
          <p:nvSpPr>
            <p:cNvPr id="4" name="Hexagon 3">
              <a:extLst>
                <a:ext uri="{FF2B5EF4-FFF2-40B4-BE49-F238E27FC236}">
                  <a16:creationId xmlns:a16="http://schemas.microsoft.com/office/drawing/2014/main" id="{AFE0C88E-159E-4946-B1B9-FB5A7C832B87}"/>
                </a:ext>
              </a:extLst>
            </p:cNvPr>
            <p:cNvSpPr/>
            <p:nvPr/>
          </p:nvSpPr>
          <p:spPr bwMode="auto">
            <a:xfrm rot="5400000">
              <a:off x="11732117" y="5643139"/>
              <a:ext cx="919765" cy="79290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5" name="Hexagon 4">
              <a:extLst>
                <a:ext uri="{FF2B5EF4-FFF2-40B4-BE49-F238E27FC236}">
                  <a16:creationId xmlns:a16="http://schemas.microsoft.com/office/drawing/2014/main" id="{4FABEB8C-9B7D-43F5-8766-0E32416269E1}"/>
                </a:ext>
              </a:extLst>
            </p:cNvPr>
            <p:cNvSpPr/>
            <p:nvPr/>
          </p:nvSpPr>
          <p:spPr bwMode="auto">
            <a:xfrm rot="5400000">
              <a:off x="11348416" y="5928370"/>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 name="Hexagon 5">
              <a:extLst>
                <a:ext uri="{FF2B5EF4-FFF2-40B4-BE49-F238E27FC236}">
                  <a16:creationId xmlns:a16="http://schemas.microsoft.com/office/drawing/2014/main" id="{7D502961-E09D-4BED-89B8-E6837ED1377C}"/>
                </a:ext>
              </a:extLst>
            </p:cNvPr>
            <p:cNvSpPr/>
            <p:nvPr/>
          </p:nvSpPr>
          <p:spPr bwMode="auto">
            <a:xfrm rot="5400000">
              <a:off x="10957434" y="6163577"/>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7" name="Hexagon 6">
              <a:extLst>
                <a:ext uri="{FF2B5EF4-FFF2-40B4-BE49-F238E27FC236}">
                  <a16:creationId xmlns:a16="http://schemas.microsoft.com/office/drawing/2014/main" id="{477CFD32-51D7-4395-BA69-D3DEA969CE09}"/>
                </a:ext>
              </a:extLst>
            </p:cNvPr>
            <p:cNvSpPr/>
            <p:nvPr/>
          </p:nvSpPr>
          <p:spPr bwMode="auto">
            <a:xfrm rot="5400000">
              <a:off x="10536812" y="5928370"/>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8" name="Hexagon 7">
              <a:extLst>
                <a:ext uri="{FF2B5EF4-FFF2-40B4-BE49-F238E27FC236}">
                  <a16:creationId xmlns:a16="http://schemas.microsoft.com/office/drawing/2014/main" id="{A9793F40-3A56-4089-B382-1978EFA0A8D5}"/>
                </a:ext>
              </a:extLst>
            </p:cNvPr>
            <p:cNvSpPr/>
            <p:nvPr/>
          </p:nvSpPr>
          <p:spPr bwMode="auto">
            <a:xfrm rot="5400000">
              <a:off x="10145830" y="6163577"/>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9" name="Hexagon 8">
              <a:extLst>
                <a:ext uri="{FF2B5EF4-FFF2-40B4-BE49-F238E27FC236}">
                  <a16:creationId xmlns:a16="http://schemas.microsoft.com/office/drawing/2014/main" id="{14C0C2EC-7F00-427D-805B-30B282449075}"/>
                </a:ext>
              </a:extLst>
            </p:cNvPr>
            <p:cNvSpPr/>
            <p:nvPr/>
          </p:nvSpPr>
          <p:spPr bwMode="auto">
            <a:xfrm rot="5400000">
              <a:off x="9479377" y="6237195"/>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 name="Hexagon 9">
              <a:extLst>
                <a:ext uri="{FF2B5EF4-FFF2-40B4-BE49-F238E27FC236}">
                  <a16:creationId xmlns:a16="http://schemas.microsoft.com/office/drawing/2014/main" id="{F70FDD8D-ED74-447E-BA3D-932BCEBA0D65}"/>
                </a:ext>
              </a:extLst>
            </p:cNvPr>
            <p:cNvSpPr/>
            <p:nvPr/>
          </p:nvSpPr>
          <p:spPr bwMode="auto">
            <a:xfrm rot="5400000">
              <a:off x="9148529" y="633547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1" name="Hexagon 10">
              <a:extLst>
                <a:ext uri="{FF2B5EF4-FFF2-40B4-BE49-F238E27FC236}">
                  <a16:creationId xmlns:a16="http://schemas.microsoft.com/office/drawing/2014/main" id="{1587E359-F461-4BFB-BA9C-DD48DC85F78F}"/>
                </a:ext>
              </a:extLst>
            </p:cNvPr>
            <p:cNvSpPr/>
            <p:nvPr/>
          </p:nvSpPr>
          <p:spPr bwMode="auto">
            <a:xfrm rot="5400000">
              <a:off x="7870795" y="6644487"/>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2" name="Hexagon 11">
              <a:extLst>
                <a:ext uri="{FF2B5EF4-FFF2-40B4-BE49-F238E27FC236}">
                  <a16:creationId xmlns:a16="http://schemas.microsoft.com/office/drawing/2014/main" id="{56C28ACA-C36A-4D68-B5F7-B9F291B31041}"/>
                </a:ext>
              </a:extLst>
            </p:cNvPr>
            <p:cNvSpPr/>
            <p:nvPr/>
          </p:nvSpPr>
          <p:spPr bwMode="auto">
            <a:xfrm rot="5400000">
              <a:off x="7456094" y="6781520"/>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3" name="Hexagon 12">
              <a:extLst>
                <a:ext uri="{FF2B5EF4-FFF2-40B4-BE49-F238E27FC236}">
                  <a16:creationId xmlns:a16="http://schemas.microsoft.com/office/drawing/2014/main" id="{1D23BDB0-34C5-48AA-9CD7-01FB700F3FAA}"/>
                </a:ext>
              </a:extLst>
            </p:cNvPr>
            <p:cNvSpPr/>
            <p:nvPr/>
          </p:nvSpPr>
          <p:spPr bwMode="auto">
            <a:xfrm rot="5400000">
              <a:off x="8387828" y="6529716"/>
              <a:ext cx="438538" cy="378050"/>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4" name="Hexagon 13">
              <a:extLst>
                <a:ext uri="{FF2B5EF4-FFF2-40B4-BE49-F238E27FC236}">
                  <a16:creationId xmlns:a16="http://schemas.microsoft.com/office/drawing/2014/main" id="{C098327F-938B-4B56-A4FA-B3338E8B4457}"/>
                </a:ext>
              </a:extLst>
            </p:cNvPr>
            <p:cNvSpPr/>
            <p:nvPr/>
          </p:nvSpPr>
          <p:spPr bwMode="auto">
            <a:xfrm rot="5400000">
              <a:off x="8697934" y="6474245"/>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5" name="Hexagon 14">
              <a:extLst>
                <a:ext uri="{FF2B5EF4-FFF2-40B4-BE49-F238E27FC236}">
                  <a16:creationId xmlns:a16="http://schemas.microsoft.com/office/drawing/2014/main" id="{99F2FEAA-ABD8-473E-8C2A-ACAB5FA8FDA6}"/>
                </a:ext>
              </a:extLst>
            </p:cNvPr>
            <p:cNvSpPr/>
            <p:nvPr/>
          </p:nvSpPr>
          <p:spPr bwMode="auto">
            <a:xfrm rot="5400000">
              <a:off x="10106668" y="6609723"/>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6" name="Hexagon 15">
              <a:extLst>
                <a:ext uri="{FF2B5EF4-FFF2-40B4-BE49-F238E27FC236}">
                  <a16:creationId xmlns:a16="http://schemas.microsoft.com/office/drawing/2014/main" id="{C521B346-85D0-4A1D-BA6D-E63D250289AD}"/>
                </a:ext>
              </a:extLst>
            </p:cNvPr>
            <p:cNvSpPr/>
            <p:nvPr/>
          </p:nvSpPr>
          <p:spPr bwMode="auto">
            <a:xfrm rot="5400000">
              <a:off x="10909866" y="6605661"/>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7" name="Hexagon 16">
              <a:extLst>
                <a:ext uri="{FF2B5EF4-FFF2-40B4-BE49-F238E27FC236}">
                  <a16:creationId xmlns:a16="http://schemas.microsoft.com/office/drawing/2014/main" id="{A1B586B2-0078-42A1-B236-00FE0221AD86}"/>
                </a:ext>
              </a:extLst>
            </p:cNvPr>
            <p:cNvSpPr/>
            <p:nvPr/>
          </p:nvSpPr>
          <p:spPr bwMode="auto">
            <a:xfrm rot="5400000">
              <a:off x="9193106" y="6696099"/>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8" name="Hexagon 17">
              <a:extLst>
                <a:ext uri="{FF2B5EF4-FFF2-40B4-BE49-F238E27FC236}">
                  <a16:creationId xmlns:a16="http://schemas.microsoft.com/office/drawing/2014/main" id="{B7D732CA-D8B5-40FC-AECF-C8C799052095}"/>
                </a:ext>
              </a:extLst>
            </p:cNvPr>
            <p:cNvSpPr/>
            <p:nvPr/>
          </p:nvSpPr>
          <p:spPr bwMode="auto">
            <a:xfrm rot="5400000">
              <a:off x="8853387" y="641548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 name="Hexagon 18">
              <a:extLst>
                <a:ext uri="{FF2B5EF4-FFF2-40B4-BE49-F238E27FC236}">
                  <a16:creationId xmlns:a16="http://schemas.microsoft.com/office/drawing/2014/main" id="{77EBF3C5-1B80-456A-8B2C-C61AE2D01D06}"/>
                </a:ext>
              </a:extLst>
            </p:cNvPr>
            <p:cNvSpPr/>
            <p:nvPr/>
          </p:nvSpPr>
          <p:spPr bwMode="auto">
            <a:xfrm rot="5400000">
              <a:off x="8628004" y="660223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0" name="Hexagon 19">
              <a:extLst>
                <a:ext uri="{FF2B5EF4-FFF2-40B4-BE49-F238E27FC236}">
                  <a16:creationId xmlns:a16="http://schemas.microsoft.com/office/drawing/2014/main" id="{E12E662B-722E-491E-B6E9-B2760558301B}"/>
                </a:ext>
              </a:extLst>
            </p:cNvPr>
            <p:cNvSpPr/>
            <p:nvPr/>
          </p:nvSpPr>
          <p:spPr bwMode="auto">
            <a:xfrm rot="5400000">
              <a:off x="10352519" y="653014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1" name="Hexagon 20">
              <a:extLst>
                <a:ext uri="{FF2B5EF4-FFF2-40B4-BE49-F238E27FC236}">
                  <a16:creationId xmlns:a16="http://schemas.microsoft.com/office/drawing/2014/main" id="{2C169068-2FA7-4B28-81A1-EBDA517D64D6}"/>
                </a:ext>
              </a:extLst>
            </p:cNvPr>
            <p:cNvSpPr/>
            <p:nvPr/>
          </p:nvSpPr>
          <p:spPr bwMode="auto">
            <a:xfrm rot="5400000">
              <a:off x="10210619" y="6703444"/>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2" name="Hexagon 21">
              <a:extLst>
                <a:ext uri="{FF2B5EF4-FFF2-40B4-BE49-F238E27FC236}">
                  <a16:creationId xmlns:a16="http://schemas.microsoft.com/office/drawing/2014/main" id="{D58C3C0C-6F70-4B80-BF24-20F04A8E1403}"/>
                </a:ext>
              </a:extLst>
            </p:cNvPr>
            <p:cNvSpPr/>
            <p:nvPr/>
          </p:nvSpPr>
          <p:spPr bwMode="auto">
            <a:xfrm rot="5400000">
              <a:off x="9981502" y="6163958"/>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3" name="Hexagon 22">
              <a:extLst>
                <a:ext uri="{FF2B5EF4-FFF2-40B4-BE49-F238E27FC236}">
                  <a16:creationId xmlns:a16="http://schemas.microsoft.com/office/drawing/2014/main" id="{F218C57C-28FF-490A-828F-057C1955CD57}"/>
                </a:ext>
              </a:extLst>
            </p:cNvPr>
            <p:cNvSpPr/>
            <p:nvPr/>
          </p:nvSpPr>
          <p:spPr bwMode="auto">
            <a:xfrm rot="5400000">
              <a:off x="11075359" y="5870132"/>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4" name="Hexagon 23">
              <a:extLst>
                <a:ext uri="{FF2B5EF4-FFF2-40B4-BE49-F238E27FC236}">
                  <a16:creationId xmlns:a16="http://schemas.microsoft.com/office/drawing/2014/main" id="{B4A9C7B7-C814-4BC9-BBB7-910B6E3F1A43}"/>
                </a:ext>
              </a:extLst>
            </p:cNvPr>
            <p:cNvSpPr/>
            <p:nvPr/>
          </p:nvSpPr>
          <p:spPr bwMode="auto">
            <a:xfrm rot="5400000">
              <a:off x="11318432" y="5870133"/>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5" name="Hexagon 24">
              <a:extLst>
                <a:ext uri="{FF2B5EF4-FFF2-40B4-BE49-F238E27FC236}">
                  <a16:creationId xmlns:a16="http://schemas.microsoft.com/office/drawing/2014/main" id="{CE180EE0-F3B3-4F32-8EBD-8ED19AABCA49}"/>
                </a:ext>
              </a:extLst>
            </p:cNvPr>
            <p:cNvSpPr/>
            <p:nvPr/>
          </p:nvSpPr>
          <p:spPr bwMode="auto">
            <a:xfrm rot="5400000">
              <a:off x="11693867" y="5704966"/>
              <a:ext cx="172085" cy="148349"/>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6" name="Hexagon 25">
              <a:extLst>
                <a:ext uri="{FF2B5EF4-FFF2-40B4-BE49-F238E27FC236}">
                  <a16:creationId xmlns:a16="http://schemas.microsoft.com/office/drawing/2014/main" id="{3B8AC29E-2D96-451A-9A2C-15D54781B1BD}"/>
                </a:ext>
              </a:extLst>
            </p:cNvPr>
            <p:cNvSpPr/>
            <p:nvPr/>
          </p:nvSpPr>
          <p:spPr bwMode="auto">
            <a:xfrm rot="5400000">
              <a:off x="11529571" y="5777603"/>
              <a:ext cx="124926" cy="10769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7" name="Hexagon 26">
              <a:extLst>
                <a:ext uri="{FF2B5EF4-FFF2-40B4-BE49-F238E27FC236}">
                  <a16:creationId xmlns:a16="http://schemas.microsoft.com/office/drawing/2014/main" id="{ABC34F33-C95D-4599-B30E-46B9E0B6DBAD}"/>
                </a:ext>
              </a:extLst>
            </p:cNvPr>
            <p:cNvSpPr/>
            <p:nvPr/>
          </p:nvSpPr>
          <p:spPr bwMode="auto">
            <a:xfrm rot="5400000">
              <a:off x="11099777" y="653014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8" name="Hexagon 27">
              <a:extLst>
                <a:ext uri="{FF2B5EF4-FFF2-40B4-BE49-F238E27FC236}">
                  <a16:creationId xmlns:a16="http://schemas.microsoft.com/office/drawing/2014/main" id="{F241720E-FE5F-4329-891B-B6C2D8B716B8}"/>
                </a:ext>
              </a:extLst>
            </p:cNvPr>
            <p:cNvSpPr/>
            <p:nvPr/>
          </p:nvSpPr>
          <p:spPr bwMode="auto">
            <a:xfrm rot="5400000">
              <a:off x="11508326" y="644886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9" name="Hexagon 28">
              <a:extLst>
                <a:ext uri="{FF2B5EF4-FFF2-40B4-BE49-F238E27FC236}">
                  <a16:creationId xmlns:a16="http://schemas.microsoft.com/office/drawing/2014/main" id="{C682D322-293C-49D2-BE53-C33BC4122EC9}"/>
                </a:ext>
              </a:extLst>
            </p:cNvPr>
            <p:cNvSpPr/>
            <p:nvPr/>
          </p:nvSpPr>
          <p:spPr bwMode="auto">
            <a:xfrm rot="5400000">
              <a:off x="11848185" y="6389494"/>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30" name="Hexagon 29">
              <a:extLst>
                <a:ext uri="{FF2B5EF4-FFF2-40B4-BE49-F238E27FC236}">
                  <a16:creationId xmlns:a16="http://schemas.microsoft.com/office/drawing/2014/main" id="{252B569D-B0AB-4AE9-8BEB-FE8827C3D12E}"/>
                </a:ext>
              </a:extLst>
            </p:cNvPr>
            <p:cNvSpPr/>
            <p:nvPr/>
          </p:nvSpPr>
          <p:spPr bwMode="auto">
            <a:xfrm rot="5400000">
              <a:off x="10711419" y="6759509"/>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31" name="Hexagon 30">
              <a:extLst>
                <a:ext uri="{FF2B5EF4-FFF2-40B4-BE49-F238E27FC236}">
                  <a16:creationId xmlns:a16="http://schemas.microsoft.com/office/drawing/2014/main" id="{D41BB82F-EB5E-4EE8-A733-2571E59E3B88}"/>
                </a:ext>
              </a:extLst>
            </p:cNvPr>
            <p:cNvSpPr/>
            <p:nvPr/>
          </p:nvSpPr>
          <p:spPr bwMode="auto">
            <a:xfrm rot="5400000">
              <a:off x="9666481" y="675082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1251228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17945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131801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07132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56774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41056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3704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658549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873730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5"/>
            <a:ext cx="11653523" cy="1158793"/>
          </a:xfrm>
          <a:noFill/>
        </p:spPr>
        <p:txBody>
          <a:bodyPr tIns="91440" bIns="91440" anchor="t" anchorCtr="0">
            <a:spAutoFit/>
          </a:bodyPr>
          <a:lstStyle>
            <a:lvl1pPr>
              <a:defRPr sz="7053"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73158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B562E-9EED-4251-B312-134687200C39}"/>
              </a:ext>
            </a:extLst>
          </p:cNvPr>
          <p:cNvSpPr>
            <a:spLocks noGrp="1"/>
          </p:cNvSpPr>
          <p:nvPr>
            <p:ph type="title"/>
          </p:nvPr>
        </p:nvSpPr>
        <p:spPr/>
        <p:txBody>
          <a:bodyPr/>
          <a:lstStyle/>
          <a:p>
            <a:r>
              <a:rPr lang="en-US"/>
              <a:t>Click to edit Master title style</a:t>
            </a:r>
            <a:endParaRPr lang="fr-CH"/>
          </a:p>
        </p:txBody>
      </p:sp>
      <p:sp>
        <p:nvSpPr>
          <p:cNvPr id="3" name="Content Placeholder 2">
            <a:extLst>
              <a:ext uri="{FF2B5EF4-FFF2-40B4-BE49-F238E27FC236}">
                <a16:creationId xmlns:a16="http://schemas.microsoft.com/office/drawing/2014/main" id="{B39A7BDA-79FC-4CAC-B719-B2EFE44F3E5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Content Placeholder 3">
            <a:extLst>
              <a:ext uri="{FF2B5EF4-FFF2-40B4-BE49-F238E27FC236}">
                <a16:creationId xmlns:a16="http://schemas.microsoft.com/office/drawing/2014/main" id="{A2EC9D3E-C0C6-4F20-BD32-A8F1420093C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5" name="Date Placeholder 4">
            <a:extLst>
              <a:ext uri="{FF2B5EF4-FFF2-40B4-BE49-F238E27FC236}">
                <a16:creationId xmlns:a16="http://schemas.microsoft.com/office/drawing/2014/main" id="{4A37628A-EAA8-458B-A97F-64A33681313B}"/>
              </a:ext>
            </a:extLst>
          </p:cNvPr>
          <p:cNvSpPr>
            <a:spLocks noGrp="1"/>
          </p:cNvSpPr>
          <p:nvPr>
            <p:ph type="dt" sz="half" idx="10"/>
          </p:nvPr>
        </p:nvSpPr>
        <p:spPr/>
        <p:txBody>
          <a:bodyPr/>
          <a:lstStyle/>
          <a:p>
            <a:fld id="{52C8F2F6-3AF4-4ED4-946F-64D74418434B}" type="datetimeFigureOut">
              <a:rPr lang="fr-CH" smtClean="0"/>
              <a:t>26.09.2019</a:t>
            </a:fld>
            <a:endParaRPr lang="fr-CH"/>
          </a:p>
        </p:txBody>
      </p:sp>
      <p:sp>
        <p:nvSpPr>
          <p:cNvPr id="6" name="Footer Placeholder 5">
            <a:extLst>
              <a:ext uri="{FF2B5EF4-FFF2-40B4-BE49-F238E27FC236}">
                <a16:creationId xmlns:a16="http://schemas.microsoft.com/office/drawing/2014/main" id="{CAFC1DA4-FD17-49CB-AF84-85D8254B22F9}"/>
              </a:ext>
            </a:extLst>
          </p:cNvPr>
          <p:cNvSpPr>
            <a:spLocks noGrp="1"/>
          </p:cNvSpPr>
          <p:nvPr>
            <p:ph type="ftr" sz="quarter" idx="11"/>
          </p:nvPr>
        </p:nvSpPr>
        <p:spPr/>
        <p:txBody>
          <a:bodyPr/>
          <a:lstStyle/>
          <a:p>
            <a:endParaRPr lang="fr-CH"/>
          </a:p>
        </p:txBody>
      </p:sp>
      <p:sp>
        <p:nvSpPr>
          <p:cNvPr id="7" name="Slide Number Placeholder 6">
            <a:extLst>
              <a:ext uri="{FF2B5EF4-FFF2-40B4-BE49-F238E27FC236}">
                <a16:creationId xmlns:a16="http://schemas.microsoft.com/office/drawing/2014/main" id="{D87A7AF1-4D77-4D4D-9C4E-B5052DB22E35}"/>
              </a:ext>
            </a:extLst>
          </p:cNvPr>
          <p:cNvSpPr>
            <a:spLocks noGrp="1"/>
          </p:cNvSpPr>
          <p:nvPr>
            <p:ph type="sldNum" sz="quarter" idx="12"/>
          </p:nvPr>
        </p:nvSpPr>
        <p:spPr/>
        <p:txBody>
          <a:bodyPr/>
          <a:lstStyle/>
          <a:p>
            <a:fld id="{19AB34F1-9614-4146-AAB5-3D64232A8AA2}" type="slidenum">
              <a:rPr lang="fr-CH" smtClean="0"/>
              <a:t>‹#›</a:t>
            </a:fld>
            <a:endParaRPr lang="fr-CH"/>
          </a:p>
        </p:txBody>
      </p:sp>
    </p:spTree>
    <p:extLst>
      <p:ext uri="{BB962C8B-B14F-4D97-AF65-F5344CB8AC3E}">
        <p14:creationId xmlns:p14="http://schemas.microsoft.com/office/powerpoint/2010/main" val="2788350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914261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4" y="470067"/>
            <a:ext cx="1423303" cy="304828"/>
          </a:xfrm>
          <a:prstGeom prst="rect">
            <a:avLst/>
          </a:prstGeom>
        </p:spPr>
      </p:pic>
      <p:grpSp>
        <p:nvGrpSpPr>
          <p:cNvPr id="12" name="Group 11"/>
          <p:cNvGrpSpPr/>
          <p:nvPr/>
        </p:nvGrpSpPr>
        <p:grpSpPr>
          <a:xfrm>
            <a:off x="6857009" y="5999451"/>
            <a:ext cx="5122236" cy="621324"/>
            <a:chOff x="274638" y="4554931"/>
            <a:chExt cx="5224948" cy="633693"/>
          </a:xfrm>
        </p:grpSpPr>
        <p:sp>
          <p:nvSpPr>
            <p:cNvPr id="7" name="TextBox 6"/>
            <p:cNvSpPr txBox="1"/>
            <p:nvPr/>
          </p:nvSpPr>
          <p:spPr>
            <a:xfrm>
              <a:off x="274638" y="4554931"/>
              <a:ext cx="5224948" cy="633693"/>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4" y="1834505"/>
            <a:ext cx="5692890" cy="1023000"/>
          </a:xfrm>
          <a:prstGeom prst="rect">
            <a:avLst/>
          </a:prstGeom>
          <a:noFill/>
        </p:spPr>
        <p:txBody>
          <a:bodyPr wrap="none" lIns="179285" tIns="143428" rIns="179285" bIns="143428" rtlCol="0">
            <a:spAutoFit/>
          </a:bodyPr>
          <a:lstStyle/>
          <a:p>
            <a:pPr>
              <a:lnSpc>
                <a:spcPct val="90000"/>
              </a:lnSpc>
              <a:spcAft>
                <a:spcPts val="588"/>
              </a:spcAft>
            </a:pPr>
            <a:r>
              <a:rPr lang="en-US" sz="5295">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5" cy="1028808"/>
          </a:xfrm>
        </p:spPr>
        <p:txBody>
          <a:bodyPr lIns="182880" tIns="146304" rIns="182880" bIns="146304"/>
          <a:lstStyle>
            <a:lvl1pPr marL="0" indent="0">
              <a:buNone/>
              <a:defRPr sz="5295"/>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02097" y="2599698"/>
            <a:ext cx="5661415" cy="1023000"/>
          </a:xfrm>
          <a:prstGeom prst="rect">
            <a:avLst/>
          </a:prstGeom>
          <a:noFill/>
        </p:spPr>
        <p:txBody>
          <a:bodyPr wrap="square" lIns="179285" tIns="143428" rIns="179285" bIns="143428" rtlCol="0">
            <a:spAutoFit/>
          </a:bodyPr>
          <a:lstStyle/>
          <a:p>
            <a:pPr algn="r">
              <a:lnSpc>
                <a:spcPct val="90000"/>
              </a:lnSpc>
              <a:spcAft>
                <a:spcPts val="588"/>
              </a:spcAft>
            </a:pPr>
            <a:r>
              <a:rPr lang="en-US" sz="5295">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5" cy="1028808"/>
          </a:xfrm>
        </p:spPr>
        <p:txBody>
          <a:bodyPr lIns="182880" tIns="146304" rIns="182880" bIns="146304"/>
          <a:lstStyle>
            <a:lvl1pPr marL="0" indent="0">
              <a:buNone/>
              <a:defRPr sz="5295"/>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02097" y="3378027"/>
            <a:ext cx="5661415" cy="1023000"/>
          </a:xfrm>
          <a:prstGeom prst="rect">
            <a:avLst/>
          </a:prstGeom>
          <a:noFill/>
        </p:spPr>
        <p:txBody>
          <a:bodyPr wrap="square" lIns="179285" tIns="143428" rIns="179285" bIns="143428" rtlCol="0">
            <a:spAutoFit/>
          </a:bodyPr>
          <a:lstStyle/>
          <a:p>
            <a:pPr algn="r">
              <a:lnSpc>
                <a:spcPct val="90000"/>
              </a:lnSpc>
              <a:spcAft>
                <a:spcPts val="588"/>
              </a:spcAft>
            </a:pPr>
            <a:r>
              <a:rPr lang="en-US" sz="5295">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5" cy="1028808"/>
          </a:xfrm>
        </p:spPr>
        <p:txBody>
          <a:bodyPr lIns="182880" tIns="146304" rIns="182880" bIns="146304"/>
          <a:lstStyle>
            <a:lvl1pPr marL="0" indent="0">
              <a:buNone/>
              <a:defRPr sz="5295"/>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27287" y="4143221"/>
            <a:ext cx="6305622" cy="1023000"/>
          </a:xfrm>
          <a:prstGeom prst="rect">
            <a:avLst/>
          </a:prstGeom>
          <a:noFill/>
        </p:spPr>
        <p:txBody>
          <a:bodyPr wrap="none" lIns="179285" tIns="143428" rIns="179285" bIns="143428" rtlCol="0">
            <a:spAutoFit/>
          </a:bodyPr>
          <a:lstStyle/>
          <a:p>
            <a:pPr>
              <a:lnSpc>
                <a:spcPct val="90000"/>
              </a:lnSpc>
              <a:spcAft>
                <a:spcPts val="588"/>
              </a:spcAft>
            </a:pPr>
            <a:r>
              <a:rPr lang="en-US" sz="5295">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5767066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4" y="470067"/>
            <a:ext cx="1423303" cy="304828"/>
          </a:xfrm>
          <a:prstGeom prst="rect">
            <a:avLst/>
          </a:prstGeom>
        </p:spPr>
      </p:pic>
      <p:grpSp>
        <p:nvGrpSpPr>
          <p:cNvPr id="12" name="Group 11"/>
          <p:cNvGrpSpPr/>
          <p:nvPr/>
        </p:nvGrpSpPr>
        <p:grpSpPr>
          <a:xfrm>
            <a:off x="6857009" y="5999451"/>
            <a:ext cx="5122236" cy="621324"/>
            <a:chOff x="274638" y="4554931"/>
            <a:chExt cx="5224948" cy="633693"/>
          </a:xfrm>
        </p:grpSpPr>
        <p:sp>
          <p:nvSpPr>
            <p:cNvPr id="7" name="TextBox 6"/>
            <p:cNvSpPr txBox="1"/>
            <p:nvPr/>
          </p:nvSpPr>
          <p:spPr>
            <a:xfrm>
              <a:off x="274638" y="4554931"/>
              <a:ext cx="5224948" cy="633693"/>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5"/>
            <a:ext cx="7874577" cy="1023000"/>
          </a:xfrm>
          <a:prstGeom prst="rect">
            <a:avLst/>
          </a:prstGeom>
          <a:noFill/>
        </p:spPr>
        <p:txBody>
          <a:bodyPr wrap="none" lIns="179285" tIns="143428" rIns="179285" bIns="143428" rtlCol="0">
            <a:spAutoFit/>
          </a:bodyPr>
          <a:lstStyle/>
          <a:p>
            <a:pPr>
              <a:lnSpc>
                <a:spcPct val="90000"/>
              </a:lnSpc>
              <a:spcAft>
                <a:spcPts val="588"/>
              </a:spcAft>
            </a:pPr>
            <a:r>
              <a:rPr lang="en-US" sz="5295">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p:nvSpPr>
        <p:spPr>
          <a:xfrm>
            <a:off x="4927288" y="2599698"/>
            <a:ext cx="5661415" cy="1023000"/>
          </a:xfrm>
          <a:prstGeom prst="rect">
            <a:avLst/>
          </a:prstGeom>
          <a:noFill/>
        </p:spPr>
        <p:txBody>
          <a:bodyPr wrap="square" lIns="179285" tIns="143428" rIns="179285" bIns="143428" rtlCol="0">
            <a:spAutoFit/>
          </a:bodyPr>
          <a:lstStyle/>
          <a:p>
            <a:pPr algn="l">
              <a:lnSpc>
                <a:spcPct val="90000"/>
              </a:lnSpc>
              <a:spcAft>
                <a:spcPts val="588"/>
              </a:spcAft>
            </a:pPr>
            <a:r>
              <a:rPr lang="en-US" sz="5295">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p:nvSpPr>
        <p:spPr>
          <a:xfrm>
            <a:off x="4927288" y="3378027"/>
            <a:ext cx="5661415" cy="1023000"/>
          </a:xfrm>
          <a:prstGeom prst="rect">
            <a:avLst/>
          </a:prstGeom>
          <a:noFill/>
        </p:spPr>
        <p:txBody>
          <a:bodyPr wrap="square" lIns="179285" tIns="143428" rIns="179285" bIns="143428" rtlCol="0">
            <a:spAutoFit/>
          </a:bodyPr>
          <a:lstStyle/>
          <a:p>
            <a:pPr algn="l">
              <a:lnSpc>
                <a:spcPct val="90000"/>
              </a:lnSpc>
              <a:spcAft>
                <a:spcPts val="588"/>
              </a:spcAft>
            </a:pPr>
            <a:r>
              <a:rPr lang="en-US" sz="5295">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27287" y="4143221"/>
            <a:ext cx="6305622" cy="1023000"/>
          </a:xfrm>
          <a:prstGeom prst="rect">
            <a:avLst/>
          </a:prstGeom>
          <a:noFill/>
        </p:spPr>
        <p:txBody>
          <a:bodyPr wrap="none" lIns="179285" tIns="143428" rIns="179285" bIns="143428" rtlCol="0">
            <a:spAutoFit/>
          </a:bodyPr>
          <a:lstStyle/>
          <a:p>
            <a:pPr>
              <a:lnSpc>
                <a:spcPct val="90000"/>
              </a:lnSpc>
              <a:spcAft>
                <a:spcPts val="588"/>
              </a:spcAft>
            </a:pPr>
            <a:r>
              <a:rPr lang="en-US" sz="5295">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371752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4800" spc="-99"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2800" spc="0" baseline="0">
                <a:solidFill>
                  <a:schemeClr val="bg1"/>
                </a:solidFill>
                <a:latin typeface="+mn-lt"/>
              </a:defRPr>
            </a:lvl1pPr>
          </a:lstStyle>
          <a:p>
            <a:pPr lvl="0"/>
            <a:r>
              <a:rPr lang="en-US"/>
              <a:t>Speaker name</a:t>
            </a:r>
          </a:p>
        </p:txBody>
      </p:sp>
      <p:sp>
        <p:nvSpPr>
          <p:cNvPr id="7" name="Text Placeholder 16"/>
          <p:cNvSpPr>
            <a:spLocks noGrp="1"/>
          </p:cNvSpPr>
          <p:nvPr>
            <p:ph type="body" sz="quarter" idx="13" hasCustomPrompt="1"/>
          </p:nvPr>
        </p:nvSpPr>
        <p:spPr>
          <a:xfrm>
            <a:off x="8339677" y="288561"/>
            <a:ext cx="3585699" cy="544765"/>
          </a:xfrm>
        </p:spPr>
        <p:txBody>
          <a:bodyPr lIns="182880" tIns="146304" rIns="182880" bIns="146304"/>
          <a:lstStyle>
            <a:lvl1pPr marL="0" indent="0" algn="r">
              <a:buNone/>
              <a:defRPr sz="1800">
                <a:solidFill>
                  <a:schemeClr val="bg1"/>
                </a:solidFill>
                <a:latin typeface="+mn-lt"/>
              </a:defRPr>
            </a:lvl1pPr>
            <a:lvl2pPr marL="336137" indent="0">
              <a:buNone/>
              <a:defRPr sz="1961"/>
            </a:lvl2pPr>
            <a:lvl3pPr marL="560227" indent="0">
              <a:buNone/>
              <a:defRPr sz="1961"/>
            </a:lvl3pPr>
            <a:lvl4pPr marL="784319" indent="0">
              <a:buNone/>
              <a:defRPr sz="1961"/>
            </a:lvl4pPr>
            <a:lvl5pPr marL="1008409"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4" y="6019331"/>
            <a:ext cx="3585699" cy="544765"/>
          </a:xfrm>
        </p:spPr>
        <p:txBody>
          <a:bodyPr lIns="182880" tIns="146304" rIns="182880" bIns="146304" anchor="b"/>
          <a:lstStyle>
            <a:lvl1pPr marL="0" indent="0" algn="l">
              <a:buNone/>
              <a:defRPr sz="1800">
                <a:solidFill>
                  <a:schemeClr val="bg1"/>
                </a:solidFill>
                <a:latin typeface="+mn-lt"/>
              </a:defRPr>
            </a:lvl1pPr>
            <a:lvl2pPr marL="336137" indent="0">
              <a:buNone/>
              <a:defRPr sz="1961"/>
            </a:lvl2pPr>
            <a:lvl3pPr marL="560227" indent="0">
              <a:buNone/>
              <a:defRPr sz="1961"/>
            </a:lvl3pPr>
            <a:lvl4pPr marL="784319" indent="0">
              <a:buNone/>
              <a:defRPr sz="1961"/>
            </a:lvl4pPr>
            <a:lvl5pPr marL="1008409" indent="0">
              <a:buNone/>
              <a:defRPr sz="1961"/>
            </a:lvl5pPr>
          </a:lstStyle>
          <a:p>
            <a:pPr lvl="0"/>
            <a:r>
              <a:rPr lang="en-US"/>
              <a:t>Yammer hashtag</a:t>
            </a:r>
          </a:p>
        </p:txBody>
      </p:sp>
      <p:pic>
        <p:nvPicPr>
          <p:cNvPr id="10" name="Picture 9">
            <a:extLst>
              <a:ext uri="{FF2B5EF4-FFF2-40B4-BE49-F238E27FC236}">
                <a16:creationId xmlns:a16="http://schemas.microsoft.com/office/drawing/2014/main" id="{21192D5F-1038-4F8E-88F2-D315D8D030F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1633" y="468771"/>
            <a:ext cx="1390452" cy="306125"/>
          </a:xfrm>
          <a:prstGeom prst="rect">
            <a:avLst/>
          </a:prstGeom>
        </p:spPr>
      </p:pic>
    </p:spTree>
    <p:extLst>
      <p:ext uri="{BB962C8B-B14F-4D97-AF65-F5344CB8AC3E}">
        <p14:creationId xmlns:p14="http://schemas.microsoft.com/office/powerpoint/2010/main" val="3687016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2_Title Slide">
    <p:bg>
      <p:bgPr>
        <a:solidFill>
          <a:schemeClr val="bg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512272B-6700-43D8-91D2-E2B214118AE8}"/>
              </a:ext>
            </a:extLst>
          </p:cNvPr>
          <p:cNvPicPr>
            <a:picLocks noChangeAspect="1"/>
          </p:cNvPicPr>
          <p:nvPr/>
        </p:nvPicPr>
        <p:blipFill rotWithShape="1">
          <a:blip r:embed="rId2">
            <a:extLst>
              <a:ext uri="{28A0092B-C50C-407E-A947-70E740481C1C}">
                <a14:useLocalDpi xmlns:a14="http://schemas.microsoft.com/office/drawing/2010/main" val="0"/>
              </a:ext>
            </a:extLst>
          </a:blip>
          <a:srcRect b="15560"/>
          <a:stretch/>
        </p:blipFill>
        <p:spPr>
          <a:xfrm>
            <a:off x="0" y="-1"/>
            <a:ext cx="12192000" cy="6858001"/>
          </a:xfrm>
          <a:prstGeom prst="rect">
            <a:avLst/>
          </a:prstGeom>
        </p:spPr>
      </p:pic>
      <p:sp>
        <p:nvSpPr>
          <p:cNvPr id="12" name="Rectangle 11">
            <a:extLst>
              <a:ext uri="{FF2B5EF4-FFF2-40B4-BE49-F238E27FC236}">
                <a16:creationId xmlns:a16="http://schemas.microsoft.com/office/drawing/2014/main" id="{78DFD15D-688B-493A-A79A-E8A5090CDBC8}"/>
              </a:ext>
            </a:extLst>
          </p:cNvPr>
          <p:cNvSpPr/>
          <p:nvPr/>
        </p:nvSpPr>
        <p:spPr bwMode="auto">
          <a:xfrm>
            <a:off x="0" y="2702560"/>
            <a:ext cx="6126480" cy="3616960"/>
          </a:xfrm>
          <a:prstGeom prst="rect">
            <a:avLst/>
          </a:prstGeom>
          <a:solidFill>
            <a:schemeClr val="accent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702562"/>
            <a:ext cx="5735259" cy="1838959"/>
          </a:xfrm>
          <a:noFill/>
        </p:spPr>
        <p:txBody>
          <a:bodyPr lIns="146304" tIns="91440" rIns="146304" bIns="91440" anchor="b" anchorCtr="0"/>
          <a:lstStyle>
            <a:lvl1pPr>
              <a:defRPr sz="4800" spc="-99"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595648"/>
            <a:ext cx="5735260"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3"/>
          <a:stretch>
            <a:fillRect/>
          </a:stretch>
        </p:blipFill>
        <p:spPr bwMode="black">
          <a:xfrm>
            <a:off x="451634" y="470067"/>
            <a:ext cx="1423303" cy="304828"/>
          </a:xfrm>
          <a:prstGeom prst="rect">
            <a:avLst/>
          </a:prstGeom>
        </p:spPr>
      </p:pic>
      <p:sp>
        <p:nvSpPr>
          <p:cNvPr id="7" name="Text Placeholder 16"/>
          <p:cNvSpPr>
            <a:spLocks noGrp="1"/>
          </p:cNvSpPr>
          <p:nvPr>
            <p:ph type="body" sz="quarter" idx="13" hasCustomPrompt="1"/>
          </p:nvPr>
        </p:nvSpPr>
        <p:spPr>
          <a:xfrm>
            <a:off x="8339677" y="288561"/>
            <a:ext cx="3585699" cy="567015"/>
          </a:xfrm>
        </p:spPr>
        <p:txBody>
          <a:bodyPr lIns="182880" tIns="146304" rIns="182880" bIns="146304"/>
          <a:lstStyle>
            <a:lvl1pPr marL="0" indent="0" algn="r">
              <a:buNone/>
              <a:defRPr sz="1961">
                <a:latin typeface="+mn-lt"/>
              </a:defRPr>
            </a:lvl1pPr>
            <a:lvl2pPr marL="336137" indent="0">
              <a:buNone/>
              <a:defRPr sz="1961"/>
            </a:lvl2pPr>
            <a:lvl3pPr marL="560227" indent="0">
              <a:buNone/>
              <a:defRPr sz="1961"/>
            </a:lvl3pPr>
            <a:lvl4pPr marL="784319" indent="0">
              <a:buNone/>
              <a:defRPr sz="1961"/>
            </a:lvl4pPr>
            <a:lvl5pPr marL="1008409"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4" y="5702599"/>
            <a:ext cx="3585699" cy="567015"/>
          </a:xfrm>
        </p:spPr>
        <p:txBody>
          <a:bodyPr lIns="182880" tIns="146304" rIns="182880" bIns="146304" anchor="ctr"/>
          <a:lstStyle>
            <a:lvl1pPr marL="0" indent="0" algn="l">
              <a:buNone/>
              <a:defRPr sz="1961">
                <a:latin typeface="+mn-lt"/>
              </a:defRPr>
            </a:lvl1pPr>
            <a:lvl2pPr marL="336137" indent="0">
              <a:buNone/>
              <a:defRPr sz="1961"/>
            </a:lvl2pPr>
            <a:lvl3pPr marL="560227" indent="0">
              <a:buNone/>
              <a:defRPr sz="1961"/>
            </a:lvl3pPr>
            <a:lvl4pPr marL="784319" indent="0">
              <a:buNone/>
              <a:defRPr sz="1961"/>
            </a:lvl4pPr>
            <a:lvl5pPr marL="1008409" indent="0">
              <a:buNone/>
              <a:defRPr sz="1961"/>
            </a:lvl5pPr>
          </a:lstStyle>
          <a:p>
            <a:pPr lvl="0"/>
            <a:r>
              <a:rPr lang="en-US"/>
              <a:t>Yammer hashtag</a:t>
            </a:r>
          </a:p>
        </p:txBody>
      </p:sp>
    </p:spTree>
    <p:extLst>
      <p:ext uri="{BB962C8B-B14F-4D97-AF65-F5344CB8AC3E}">
        <p14:creationId xmlns:p14="http://schemas.microsoft.com/office/powerpoint/2010/main" val="976824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4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3140712"/>
            <a:ext cx="4797997" cy="1838959"/>
          </a:xfrm>
          <a:noFill/>
        </p:spPr>
        <p:txBody>
          <a:bodyPr lIns="146304" tIns="91440" rIns="146304" bIns="91440" anchor="b" anchorCtr="0"/>
          <a:lstStyle>
            <a:lvl1pPr>
              <a:defRPr sz="4800" spc="-99"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5033798"/>
            <a:ext cx="4797999"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36720111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Slide">
    <p:bg>
      <p:bgPr>
        <a:solidFill>
          <a:schemeClr val="bg2"/>
        </a:solidFill>
        <a:effectLst/>
      </p:bgPr>
    </p:bg>
    <p:spTree>
      <p:nvGrpSpPr>
        <p:cNvPr id="1" name=""/>
        <p:cNvGrpSpPr/>
        <p:nvPr/>
      </p:nvGrpSpPr>
      <p:grpSpPr>
        <a:xfrm>
          <a:off x="0" y="0"/>
          <a:ext cx="0" cy="0"/>
          <a:chOff x="0" y="0"/>
          <a:chExt cx="0" cy="0"/>
        </a:xfrm>
      </p:grpSpPr>
      <p:pic>
        <p:nvPicPr>
          <p:cNvPr id="3" name="Picture 2" descr="A person sitting in a room&#10;&#10;Description generated with very high confidence">
            <a:extLst>
              <a:ext uri="{FF2B5EF4-FFF2-40B4-BE49-F238E27FC236}">
                <a16:creationId xmlns:a16="http://schemas.microsoft.com/office/drawing/2014/main" id="{E23B8A7C-DB17-4C7E-AF2D-D21ECBB0D03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 t="13518" r="1235" b="3148"/>
          <a:stretch/>
        </p:blipFill>
        <p:spPr>
          <a:xfrm>
            <a:off x="0" y="0"/>
            <a:ext cx="12192000" cy="6858000"/>
          </a:xfrm>
          <a:prstGeom prst="rect">
            <a:avLst/>
          </a:prstGeom>
        </p:spPr>
      </p:pic>
      <p:sp>
        <p:nvSpPr>
          <p:cNvPr id="15" name="Rectangle 14">
            <a:extLst>
              <a:ext uri="{FF2B5EF4-FFF2-40B4-BE49-F238E27FC236}">
                <a16:creationId xmlns:a16="http://schemas.microsoft.com/office/drawing/2014/main" id="{85DB54E2-5BBA-49E9-9AE0-587E809F4D91}"/>
              </a:ext>
            </a:extLst>
          </p:cNvPr>
          <p:cNvSpPr/>
          <p:nvPr/>
        </p:nvSpPr>
        <p:spPr bwMode="auto">
          <a:xfrm>
            <a:off x="0" y="2702562"/>
            <a:ext cx="6126480" cy="3000615"/>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702562"/>
            <a:ext cx="5735259" cy="1838959"/>
          </a:xfrm>
          <a:noFill/>
        </p:spPr>
        <p:txBody>
          <a:bodyPr lIns="146304" tIns="91440" rIns="146304" bIns="91440" anchor="b" anchorCtr="0"/>
          <a:lstStyle>
            <a:lvl1pPr>
              <a:defRPr sz="4800" spc="-99"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595648"/>
            <a:ext cx="5735260"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Text Placeholder 16"/>
          <p:cNvSpPr>
            <a:spLocks noGrp="1"/>
          </p:cNvSpPr>
          <p:nvPr>
            <p:ph type="body" sz="quarter" idx="13" hasCustomPrompt="1"/>
          </p:nvPr>
        </p:nvSpPr>
        <p:spPr>
          <a:xfrm>
            <a:off x="8339677" y="288561"/>
            <a:ext cx="3585699" cy="567015"/>
          </a:xfrm>
        </p:spPr>
        <p:txBody>
          <a:bodyPr lIns="182880" tIns="146304" rIns="182880" bIns="146304"/>
          <a:lstStyle>
            <a:lvl1pPr marL="0" indent="0" algn="r">
              <a:buNone/>
              <a:defRPr sz="1961">
                <a:latin typeface="+mn-lt"/>
              </a:defRPr>
            </a:lvl1pPr>
            <a:lvl2pPr marL="336137" indent="0">
              <a:buNone/>
              <a:defRPr sz="1961"/>
            </a:lvl2pPr>
            <a:lvl3pPr marL="560227" indent="0">
              <a:buNone/>
              <a:defRPr sz="1961"/>
            </a:lvl3pPr>
            <a:lvl4pPr marL="784319" indent="0">
              <a:buNone/>
              <a:defRPr sz="1961"/>
            </a:lvl4pPr>
            <a:lvl5pPr marL="1008409" indent="0">
              <a:buNone/>
              <a:defRPr sz="1961"/>
            </a:lvl5pPr>
          </a:lstStyle>
          <a:p>
            <a:pPr lvl="0"/>
            <a:r>
              <a:rPr lang="en-US"/>
              <a:t>Session Code</a:t>
            </a:r>
          </a:p>
        </p:txBody>
      </p:sp>
      <p:pic>
        <p:nvPicPr>
          <p:cNvPr id="14" name="Picture 13">
            <a:extLst>
              <a:ext uri="{FF2B5EF4-FFF2-40B4-BE49-F238E27FC236}">
                <a16:creationId xmlns:a16="http://schemas.microsoft.com/office/drawing/2014/main" id="{F194B800-7BDE-45B5-AAE6-3FA1ECE2B91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1634" y="470069"/>
            <a:ext cx="1423303" cy="304977"/>
          </a:xfrm>
          <a:prstGeom prst="rect">
            <a:avLst/>
          </a:prstGeom>
        </p:spPr>
      </p:pic>
    </p:spTree>
    <p:extLst>
      <p:ext uri="{BB962C8B-B14F-4D97-AF65-F5344CB8AC3E}">
        <p14:creationId xmlns:p14="http://schemas.microsoft.com/office/powerpoint/2010/main" val="2641156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11655079" cy="2266583"/>
          </a:xfrm>
        </p:spPr>
        <p:txBody>
          <a:bodyPr>
            <a:spAutoFit/>
          </a:bodyPr>
          <a:lstStyle>
            <a:lvl1pPr marL="0" indent="0">
              <a:buNone/>
              <a:defRPr/>
            </a:lvl1pPr>
            <a:lvl2pPr marL="224092" indent="0">
              <a:buNone/>
              <a:defRPr/>
            </a:lvl2pPr>
            <a:lvl3pPr marL="448182" indent="0">
              <a:buNone/>
              <a:defRPr/>
            </a:lvl3pPr>
            <a:lvl4pPr marL="672274" indent="0">
              <a:buNone/>
              <a:defRPr/>
            </a:lvl4pPr>
            <a:lvl5pPr marL="89636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0914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5"/>
            <a:ext cx="11655079"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310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5"/>
            <a:ext cx="5378548" cy="2085507"/>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47" indent="0">
              <a:buFont typeface="Wingdings" panose="05000000000000000000" pitchFamily="2" charset="2"/>
              <a:buNone/>
              <a:defRPr sz="2353" b="0"/>
            </a:lvl2pPr>
            <a:lvl3pPr marL="441957" indent="0">
              <a:buFont typeface="Wingdings" panose="05000000000000000000" pitchFamily="2" charset="2"/>
              <a:buNone/>
              <a:tabLst/>
              <a:defRPr sz="2157" b="0"/>
            </a:lvl3pPr>
            <a:lvl4pPr marL="639592" indent="0">
              <a:buFont typeface="Wingdings" panose="05000000000000000000" pitchFamily="2" charset="2"/>
              <a:buNone/>
              <a:defRPr sz="2157" b="0"/>
            </a:lvl4pPr>
            <a:lvl5pPr marL="83723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47"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5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592"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3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05" marR="0" lvl="0" indent="-504205" algn="l" defTabSz="914344" rtl="0" eaLnBrk="1" fontAlgn="auto" latinLnBrk="0" hangingPunct="1">
              <a:lnSpc>
                <a:spcPct val="90000"/>
              </a:lnSpc>
              <a:spcBef>
                <a:spcPts val="1200"/>
              </a:spcBef>
              <a:spcAft>
                <a:spcPts val="0"/>
              </a:spcAft>
              <a:buClr>
                <a:schemeClr val="tx1"/>
              </a:buClr>
              <a:buSzPct val="90000"/>
              <a:tabLst/>
            </a:pPr>
            <a:r>
              <a:rPr lang="en-US"/>
              <a:t>Edit Master text styles</a:t>
            </a:r>
          </a:p>
          <a:p>
            <a:pPr marL="504205" marR="0" lvl="1" indent="-504205" algn="l" defTabSz="914344" rtl="0" eaLnBrk="1" fontAlgn="auto" latinLnBrk="0" hangingPunct="1">
              <a:lnSpc>
                <a:spcPct val="90000"/>
              </a:lnSpc>
              <a:spcBef>
                <a:spcPts val="1200"/>
              </a:spcBef>
              <a:spcAft>
                <a:spcPts val="0"/>
              </a:spcAft>
              <a:buClr>
                <a:schemeClr val="tx1"/>
              </a:buClr>
              <a:buSzPct val="90000"/>
              <a:tabLst/>
            </a:pPr>
            <a:r>
              <a:rPr lang="en-US"/>
              <a:t>Second level</a:t>
            </a:r>
          </a:p>
          <a:p>
            <a:pPr marL="504205" marR="0" lvl="2" indent="-504205" algn="l" defTabSz="914344" rtl="0" eaLnBrk="1" fontAlgn="auto" latinLnBrk="0" hangingPunct="1">
              <a:lnSpc>
                <a:spcPct val="90000"/>
              </a:lnSpc>
              <a:spcBef>
                <a:spcPts val="1200"/>
              </a:spcBef>
              <a:spcAft>
                <a:spcPts val="0"/>
              </a:spcAft>
              <a:buClr>
                <a:schemeClr val="tx1"/>
              </a:buClr>
              <a:buSzPct val="90000"/>
              <a:tabLst/>
            </a:pPr>
            <a:r>
              <a:rPr lang="en-US"/>
              <a:t>Third level</a:t>
            </a:r>
          </a:p>
          <a:p>
            <a:pPr marL="504205" marR="0" lvl="3" indent="-504205" algn="l" defTabSz="914344" rtl="0" eaLnBrk="1" fontAlgn="auto" latinLnBrk="0" hangingPunct="1">
              <a:lnSpc>
                <a:spcPct val="90000"/>
              </a:lnSpc>
              <a:spcBef>
                <a:spcPts val="1200"/>
              </a:spcBef>
              <a:spcAft>
                <a:spcPts val="0"/>
              </a:spcAft>
              <a:buClr>
                <a:schemeClr val="tx1"/>
              </a:buClr>
              <a:buSzPct val="90000"/>
              <a:tabLst/>
            </a:pPr>
            <a:r>
              <a:rPr lang="en-US"/>
              <a:t>Fourth level</a:t>
            </a:r>
          </a:p>
          <a:p>
            <a:pPr marL="504205" marR="0" lvl="4" indent="-504205" algn="l" defTabSz="914344"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399966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076CB-34F1-4151-A528-24315219B6B3}"/>
              </a:ext>
            </a:extLst>
          </p:cNvPr>
          <p:cNvSpPr>
            <a:spLocks noGrp="1"/>
          </p:cNvSpPr>
          <p:nvPr>
            <p:ph type="title"/>
          </p:nvPr>
        </p:nvSpPr>
        <p:spPr>
          <a:xfrm>
            <a:off x="839788" y="365125"/>
            <a:ext cx="10515600" cy="1325563"/>
          </a:xfrm>
        </p:spPr>
        <p:txBody>
          <a:bodyPr/>
          <a:lstStyle/>
          <a:p>
            <a:r>
              <a:rPr lang="en-US"/>
              <a:t>Click to edit Master title style</a:t>
            </a:r>
            <a:endParaRPr lang="fr-CH"/>
          </a:p>
        </p:txBody>
      </p:sp>
      <p:sp>
        <p:nvSpPr>
          <p:cNvPr id="3" name="Text Placeholder 2">
            <a:extLst>
              <a:ext uri="{FF2B5EF4-FFF2-40B4-BE49-F238E27FC236}">
                <a16:creationId xmlns:a16="http://schemas.microsoft.com/office/drawing/2014/main" id="{9943C396-A969-4334-966C-D0EB743C371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F076BC9-C6ED-4C4A-BFC4-A48EE713261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5" name="Text Placeholder 4">
            <a:extLst>
              <a:ext uri="{FF2B5EF4-FFF2-40B4-BE49-F238E27FC236}">
                <a16:creationId xmlns:a16="http://schemas.microsoft.com/office/drawing/2014/main" id="{7668CBCA-7D64-4540-B483-E05D9F36A5A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0F879B-4F97-4D59-9460-DE306C593DC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7" name="Date Placeholder 6">
            <a:extLst>
              <a:ext uri="{FF2B5EF4-FFF2-40B4-BE49-F238E27FC236}">
                <a16:creationId xmlns:a16="http://schemas.microsoft.com/office/drawing/2014/main" id="{B4FB90F4-BF6F-4458-8644-F84CBF2BF575}"/>
              </a:ext>
            </a:extLst>
          </p:cNvPr>
          <p:cNvSpPr>
            <a:spLocks noGrp="1"/>
          </p:cNvSpPr>
          <p:nvPr>
            <p:ph type="dt" sz="half" idx="10"/>
          </p:nvPr>
        </p:nvSpPr>
        <p:spPr/>
        <p:txBody>
          <a:bodyPr/>
          <a:lstStyle/>
          <a:p>
            <a:fld id="{52C8F2F6-3AF4-4ED4-946F-64D74418434B}" type="datetimeFigureOut">
              <a:rPr lang="fr-CH" smtClean="0"/>
              <a:t>26.09.2019</a:t>
            </a:fld>
            <a:endParaRPr lang="fr-CH"/>
          </a:p>
        </p:txBody>
      </p:sp>
      <p:sp>
        <p:nvSpPr>
          <p:cNvPr id="8" name="Footer Placeholder 7">
            <a:extLst>
              <a:ext uri="{FF2B5EF4-FFF2-40B4-BE49-F238E27FC236}">
                <a16:creationId xmlns:a16="http://schemas.microsoft.com/office/drawing/2014/main" id="{557AC70A-F299-45A6-8103-C284845922E8}"/>
              </a:ext>
            </a:extLst>
          </p:cNvPr>
          <p:cNvSpPr>
            <a:spLocks noGrp="1"/>
          </p:cNvSpPr>
          <p:nvPr>
            <p:ph type="ftr" sz="quarter" idx="11"/>
          </p:nvPr>
        </p:nvSpPr>
        <p:spPr/>
        <p:txBody>
          <a:bodyPr/>
          <a:lstStyle/>
          <a:p>
            <a:endParaRPr lang="fr-CH"/>
          </a:p>
        </p:txBody>
      </p:sp>
      <p:sp>
        <p:nvSpPr>
          <p:cNvPr id="9" name="Slide Number Placeholder 8">
            <a:extLst>
              <a:ext uri="{FF2B5EF4-FFF2-40B4-BE49-F238E27FC236}">
                <a16:creationId xmlns:a16="http://schemas.microsoft.com/office/drawing/2014/main" id="{93465FA0-81C0-456D-8807-0C42CA80CF3E}"/>
              </a:ext>
            </a:extLst>
          </p:cNvPr>
          <p:cNvSpPr>
            <a:spLocks noGrp="1"/>
          </p:cNvSpPr>
          <p:nvPr>
            <p:ph type="sldNum" sz="quarter" idx="12"/>
          </p:nvPr>
        </p:nvSpPr>
        <p:spPr/>
        <p:txBody>
          <a:bodyPr/>
          <a:lstStyle/>
          <a:p>
            <a:fld id="{19AB34F1-9614-4146-AAB5-3D64232A8AA2}" type="slidenum">
              <a:rPr lang="fr-CH" smtClean="0"/>
              <a:t>‹#›</a:t>
            </a:fld>
            <a:endParaRPr lang="fr-CH"/>
          </a:p>
        </p:txBody>
      </p:sp>
    </p:spTree>
    <p:extLst>
      <p:ext uri="{BB962C8B-B14F-4D97-AF65-F5344CB8AC3E}">
        <p14:creationId xmlns:p14="http://schemas.microsoft.com/office/powerpoint/2010/main" val="358023878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802393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solidFill>
                  <a:schemeClr val="tx1"/>
                </a:solidFill>
              </a:defRPr>
            </a:lvl1pPr>
          </a:lstStyle>
          <a:p>
            <a:r>
              <a:rPr lang="en-US"/>
              <a:t>Click to edit Master title style</a:t>
            </a:r>
          </a:p>
        </p:txBody>
      </p:sp>
      <p:sp>
        <p:nvSpPr>
          <p:cNvPr id="5" name="Text Placeholder 4">
            <a:extLst>
              <a:ext uri="{FF2B5EF4-FFF2-40B4-BE49-F238E27FC236}">
                <a16:creationId xmlns:a16="http://schemas.microsoft.com/office/drawing/2014/main" id="{6F4BC869-BDC3-4FA7-95DB-ECF24CF16A40}"/>
              </a:ext>
            </a:extLst>
          </p:cNvPr>
          <p:cNvSpPr>
            <a:spLocks noGrp="1"/>
          </p:cNvSpPr>
          <p:nvPr>
            <p:ph type="body" sz="quarter" idx="10" hasCustomPrompt="1"/>
          </p:nvPr>
        </p:nvSpPr>
        <p:spPr>
          <a:xfrm>
            <a:off x="269877" y="1094908"/>
            <a:ext cx="11655425" cy="461665"/>
          </a:xfrm>
        </p:spPr>
        <p:txBody>
          <a:bodyPr/>
          <a:lstStyle>
            <a:lvl1pPr marL="0" indent="0">
              <a:buNone/>
              <a:defRPr sz="2000">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17924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tx1"/>
                </a:solidFill>
              </a:defRPr>
            </a:lvl1pPr>
          </a:lstStyle>
          <a:p>
            <a:r>
              <a:rPr lang="en-US"/>
              <a:t>Click to edit Master title style</a:t>
            </a:r>
          </a:p>
        </p:txBody>
      </p:sp>
      <p:grpSp>
        <p:nvGrpSpPr>
          <p:cNvPr id="3" name="Group 2">
            <a:extLst>
              <a:ext uri="{FF2B5EF4-FFF2-40B4-BE49-F238E27FC236}">
                <a16:creationId xmlns:a16="http://schemas.microsoft.com/office/drawing/2014/main" id="{29DB9C31-C2DE-4448-B166-25811365A1BA}"/>
              </a:ext>
            </a:extLst>
          </p:cNvPr>
          <p:cNvGrpSpPr/>
          <p:nvPr/>
        </p:nvGrpSpPr>
        <p:grpSpPr>
          <a:xfrm>
            <a:off x="7494800" y="5579707"/>
            <a:ext cx="5093651" cy="1750570"/>
            <a:chOff x="7494800" y="5579707"/>
            <a:chExt cx="5093650" cy="1750570"/>
          </a:xfrm>
        </p:grpSpPr>
        <p:sp>
          <p:nvSpPr>
            <p:cNvPr id="4" name="Hexagon 3">
              <a:extLst>
                <a:ext uri="{FF2B5EF4-FFF2-40B4-BE49-F238E27FC236}">
                  <a16:creationId xmlns:a16="http://schemas.microsoft.com/office/drawing/2014/main" id="{AFE0C88E-159E-4946-B1B9-FB5A7C832B87}"/>
                </a:ext>
              </a:extLst>
            </p:cNvPr>
            <p:cNvSpPr/>
            <p:nvPr/>
          </p:nvSpPr>
          <p:spPr bwMode="auto">
            <a:xfrm rot="5400000">
              <a:off x="11732117" y="5643139"/>
              <a:ext cx="919765" cy="79290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 name="Hexagon 4">
              <a:extLst>
                <a:ext uri="{FF2B5EF4-FFF2-40B4-BE49-F238E27FC236}">
                  <a16:creationId xmlns:a16="http://schemas.microsoft.com/office/drawing/2014/main" id="{4FABEB8C-9B7D-43F5-8766-0E32416269E1}"/>
                </a:ext>
              </a:extLst>
            </p:cNvPr>
            <p:cNvSpPr/>
            <p:nvPr/>
          </p:nvSpPr>
          <p:spPr bwMode="auto">
            <a:xfrm rot="5400000">
              <a:off x="11348416" y="5928370"/>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 name="Hexagon 5">
              <a:extLst>
                <a:ext uri="{FF2B5EF4-FFF2-40B4-BE49-F238E27FC236}">
                  <a16:creationId xmlns:a16="http://schemas.microsoft.com/office/drawing/2014/main" id="{7D502961-E09D-4BED-89B8-E6837ED1377C}"/>
                </a:ext>
              </a:extLst>
            </p:cNvPr>
            <p:cNvSpPr/>
            <p:nvPr/>
          </p:nvSpPr>
          <p:spPr bwMode="auto">
            <a:xfrm rot="5400000">
              <a:off x="10957434" y="6163577"/>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 name="Hexagon 6">
              <a:extLst>
                <a:ext uri="{FF2B5EF4-FFF2-40B4-BE49-F238E27FC236}">
                  <a16:creationId xmlns:a16="http://schemas.microsoft.com/office/drawing/2014/main" id="{477CFD32-51D7-4395-BA69-D3DEA969CE09}"/>
                </a:ext>
              </a:extLst>
            </p:cNvPr>
            <p:cNvSpPr/>
            <p:nvPr/>
          </p:nvSpPr>
          <p:spPr bwMode="auto">
            <a:xfrm rot="5400000">
              <a:off x="10536812" y="5928370"/>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Hexagon 7">
              <a:extLst>
                <a:ext uri="{FF2B5EF4-FFF2-40B4-BE49-F238E27FC236}">
                  <a16:creationId xmlns:a16="http://schemas.microsoft.com/office/drawing/2014/main" id="{A9793F40-3A56-4089-B382-1978EFA0A8D5}"/>
                </a:ext>
              </a:extLst>
            </p:cNvPr>
            <p:cNvSpPr/>
            <p:nvPr/>
          </p:nvSpPr>
          <p:spPr bwMode="auto">
            <a:xfrm rot="5400000">
              <a:off x="10145830" y="6163577"/>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 name="Hexagon 8">
              <a:extLst>
                <a:ext uri="{FF2B5EF4-FFF2-40B4-BE49-F238E27FC236}">
                  <a16:creationId xmlns:a16="http://schemas.microsoft.com/office/drawing/2014/main" id="{14C0C2EC-7F00-427D-805B-30B282449075}"/>
                </a:ext>
              </a:extLst>
            </p:cNvPr>
            <p:cNvSpPr/>
            <p:nvPr/>
          </p:nvSpPr>
          <p:spPr bwMode="auto">
            <a:xfrm rot="5400000">
              <a:off x="9479377" y="6237195"/>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 name="Hexagon 9">
              <a:extLst>
                <a:ext uri="{FF2B5EF4-FFF2-40B4-BE49-F238E27FC236}">
                  <a16:creationId xmlns:a16="http://schemas.microsoft.com/office/drawing/2014/main" id="{F70FDD8D-ED74-447E-BA3D-932BCEBA0D65}"/>
                </a:ext>
              </a:extLst>
            </p:cNvPr>
            <p:cNvSpPr/>
            <p:nvPr/>
          </p:nvSpPr>
          <p:spPr bwMode="auto">
            <a:xfrm rot="5400000">
              <a:off x="9148529" y="633547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1" name="Hexagon 10">
              <a:extLst>
                <a:ext uri="{FF2B5EF4-FFF2-40B4-BE49-F238E27FC236}">
                  <a16:creationId xmlns:a16="http://schemas.microsoft.com/office/drawing/2014/main" id="{1587E359-F461-4BFB-BA9C-DD48DC85F78F}"/>
                </a:ext>
              </a:extLst>
            </p:cNvPr>
            <p:cNvSpPr/>
            <p:nvPr/>
          </p:nvSpPr>
          <p:spPr bwMode="auto">
            <a:xfrm rot="5400000">
              <a:off x="7870795" y="6644487"/>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2" name="Hexagon 11">
              <a:extLst>
                <a:ext uri="{FF2B5EF4-FFF2-40B4-BE49-F238E27FC236}">
                  <a16:creationId xmlns:a16="http://schemas.microsoft.com/office/drawing/2014/main" id="{56C28ACA-C36A-4D68-B5F7-B9F291B31041}"/>
                </a:ext>
              </a:extLst>
            </p:cNvPr>
            <p:cNvSpPr/>
            <p:nvPr/>
          </p:nvSpPr>
          <p:spPr bwMode="auto">
            <a:xfrm rot="5400000">
              <a:off x="7456094" y="6781520"/>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3" name="Hexagon 12">
              <a:extLst>
                <a:ext uri="{FF2B5EF4-FFF2-40B4-BE49-F238E27FC236}">
                  <a16:creationId xmlns:a16="http://schemas.microsoft.com/office/drawing/2014/main" id="{1D23BDB0-34C5-48AA-9CD7-01FB700F3FAA}"/>
                </a:ext>
              </a:extLst>
            </p:cNvPr>
            <p:cNvSpPr/>
            <p:nvPr/>
          </p:nvSpPr>
          <p:spPr bwMode="auto">
            <a:xfrm rot="5400000">
              <a:off x="8387828" y="6529716"/>
              <a:ext cx="438538" cy="378050"/>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4" name="Hexagon 13">
              <a:extLst>
                <a:ext uri="{FF2B5EF4-FFF2-40B4-BE49-F238E27FC236}">
                  <a16:creationId xmlns:a16="http://schemas.microsoft.com/office/drawing/2014/main" id="{C098327F-938B-4B56-A4FA-B3338E8B4457}"/>
                </a:ext>
              </a:extLst>
            </p:cNvPr>
            <p:cNvSpPr/>
            <p:nvPr/>
          </p:nvSpPr>
          <p:spPr bwMode="auto">
            <a:xfrm rot="5400000">
              <a:off x="8697934" y="6474245"/>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5" name="Hexagon 14">
              <a:extLst>
                <a:ext uri="{FF2B5EF4-FFF2-40B4-BE49-F238E27FC236}">
                  <a16:creationId xmlns:a16="http://schemas.microsoft.com/office/drawing/2014/main" id="{99F2FEAA-ABD8-473E-8C2A-ACAB5FA8FDA6}"/>
                </a:ext>
              </a:extLst>
            </p:cNvPr>
            <p:cNvSpPr/>
            <p:nvPr/>
          </p:nvSpPr>
          <p:spPr bwMode="auto">
            <a:xfrm rot="5400000">
              <a:off x="10106668" y="6609723"/>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6" name="Hexagon 15">
              <a:extLst>
                <a:ext uri="{FF2B5EF4-FFF2-40B4-BE49-F238E27FC236}">
                  <a16:creationId xmlns:a16="http://schemas.microsoft.com/office/drawing/2014/main" id="{C521B346-85D0-4A1D-BA6D-E63D250289AD}"/>
                </a:ext>
              </a:extLst>
            </p:cNvPr>
            <p:cNvSpPr/>
            <p:nvPr/>
          </p:nvSpPr>
          <p:spPr bwMode="auto">
            <a:xfrm rot="5400000">
              <a:off x="10909866" y="6605661"/>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7" name="Hexagon 16">
              <a:extLst>
                <a:ext uri="{FF2B5EF4-FFF2-40B4-BE49-F238E27FC236}">
                  <a16:creationId xmlns:a16="http://schemas.microsoft.com/office/drawing/2014/main" id="{A1B586B2-0078-42A1-B236-00FE0221AD86}"/>
                </a:ext>
              </a:extLst>
            </p:cNvPr>
            <p:cNvSpPr/>
            <p:nvPr/>
          </p:nvSpPr>
          <p:spPr bwMode="auto">
            <a:xfrm rot="5400000">
              <a:off x="9193106" y="6696099"/>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8" name="Hexagon 17">
              <a:extLst>
                <a:ext uri="{FF2B5EF4-FFF2-40B4-BE49-F238E27FC236}">
                  <a16:creationId xmlns:a16="http://schemas.microsoft.com/office/drawing/2014/main" id="{B7D732CA-D8B5-40FC-AECF-C8C799052095}"/>
                </a:ext>
              </a:extLst>
            </p:cNvPr>
            <p:cNvSpPr/>
            <p:nvPr/>
          </p:nvSpPr>
          <p:spPr bwMode="auto">
            <a:xfrm rot="5400000">
              <a:off x="8853387" y="641548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9" name="Hexagon 18">
              <a:extLst>
                <a:ext uri="{FF2B5EF4-FFF2-40B4-BE49-F238E27FC236}">
                  <a16:creationId xmlns:a16="http://schemas.microsoft.com/office/drawing/2014/main" id="{77EBF3C5-1B80-456A-8B2C-C61AE2D01D06}"/>
                </a:ext>
              </a:extLst>
            </p:cNvPr>
            <p:cNvSpPr/>
            <p:nvPr/>
          </p:nvSpPr>
          <p:spPr bwMode="auto">
            <a:xfrm rot="5400000">
              <a:off x="8628004" y="660223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0" name="Hexagon 19">
              <a:extLst>
                <a:ext uri="{FF2B5EF4-FFF2-40B4-BE49-F238E27FC236}">
                  <a16:creationId xmlns:a16="http://schemas.microsoft.com/office/drawing/2014/main" id="{E12E662B-722E-491E-B6E9-B2760558301B}"/>
                </a:ext>
              </a:extLst>
            </p:cNvPr>
            <p:cNvSpPr/>
            <p:nvPr/>
          </p:nvSpPr>
          <p:spPr bwMode="auto">
            <a:xfrm rot="5400000">
              <a:off x="10352519" y="653014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1" name="Hexagon 20">
              <a:extLst>
                <a:ext uri="{FF2B5EF4-FFF2-40B4-BE49-F238E27FC236}">
                  <a16:creationId xmlns:a16="http://schemas.microsoft.com/office/drawing/2014/main" id="{2C169068-2FA7-4B28-81A1-EBDA517D64D6}"/>
                </a:ext>
              </a:extLst>
            </p:cNvPr>
            <p:cNvSpPr/>
            <p:nvPr/>
          </p:nvSpPr>
          <p:spPr bwMode="auto">
            <a:xfrm rot="5400000">
              <a:off x="10210619" y="6703444"/>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2" name="Hexagon 21">
              <a:extLst>
                <a:ext uri="{FF2B5EF4-FFF2-40B4-BE49-F238E27FC236}">
                  <a16:creationId xmlns:a16="http://schemas.microsoft.com/office/drawing/2014/main" id="{D58C3C0C-6F70-4B80-BF24-20F04A8E1403}"/>
                </a:ext>
              </a:extLst>
            </p:cNvPr>
            <p:cNvSpPr/>
            <p:nvPr/>
          </p:nvSpPr>
          <p:spPr bwMode="auto">
            <a:xfrm rot="5400000">
              <a:off x="9981502" y="6163958"/>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3" name="Hexagon 22">
              <a:extLst>
                <a:ext uri="{FF2B5EF4-FFF2-40B4-BE49-F238E27FC236}">
                  <a16:creationId xmlns:a16="http://schemas.microsoft.com/office/drawing/2014/main" id="{F218C57C-28FF-490A-828F-057C1955CD57}"/>
                </a:ext>
              </a:extLst>
            </p:cNvPr>
            <p:cNvSpPr/>
            <p:nvPr/>
          </p:nvSpPr>
          <p:spPr bwMode="auto">
            <a:xfrm rot="5400000">
              <a:off x="11075359" y="5870132"/>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4" name="Hexagon 23">
              <a:extLst>
                <a:ext uri="{FF2B5EF4-FFF2-40B4-BE49-F238E27FC236}">
                  <a16:creationId xmlns:a16="http://schemas.microsoft.com/office/drawing/2014/main" id="{B4A9C7B7-C814-4BC9-BBB7-910B6E3F1A43}"/>
                </a:ext>
              </a:extLst>
            </p:cNvPr>
            <p:cNvSpPr/>
            <p:nvPr/>
          </p:nvSpPr>
          <p:spPr bwMode="auto">
            <a:xfrm rot="5400000">
              <a:off x="11318432" y="5870133"/>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5" name="Hexagon 24">
              <a:extLst>
                <a:ext uri="{FF2B5EF4-FFF2-40B4-BE49-F238E27FC236}">
                  <a16:creationId xmlns:a16="http://schemas.microsoft.com/office/drawing/2014/main" id="{CE180EE0-F3B3-4F32-8EBD-8ED19AABCA49}"/>
                </a:ext>
              </a:extLst>
            </p:cNvPr>
            <p:cNvSpPr/>
            <p:nvPr/>
          </p:nvSpPr>
          <p:spPr bwMode="auto">
            <a:xfrm rot="5400000">
              <a:off x="11693867" y="5704966"/>
              <a:ext cx="172085" cy="148349"/>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6" name="Hexagon 25">
              <a:extLst>
                <a:ext uri="{FF2B5EF4-FFF2-40B4-BE49-F238E27FC236}">
                  <a16:creationId xmlns:a16="http://schemas.microsoft.com/office/drawing/2014/main" id="{3B8AC29E-2D96-451A-9A2C-15D54781B1BD}"/>
                </a:ext>
              </a:extLst>
            </p:cNvPr>
            <p:cNvSpPr/>
            <p:nvPr/>
          </p:nvSpPr>
          <p:spPr bwMode="auto">
            <a:xfrm rot="5400000">
              <a:off x="11529571" y="5777603"/>
              <a:ext cx="124926" cy="10769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7" name="Hexagon 26">
              <a:extLst>
                <a:ext uri="{FF2B5EF4-FFF2-40B4-BE49-F238E27FC236}">
                  <a16:creationId xmlns:a16="http://schemas.microsoft.com/office/drawing/2014/main" id="{ABC34F33-C95D-4599-B30E-46B9E0B6DBAD}"/>
                </a:ext>
              </a:extLst>
            </p:cNvPr>
            <p:cNvSpPr/>
            <p:nvPr/>
          </p:nvSpPr>
          <p:spPr bwMode="auto">
            <a:xfrm rot="5400000">
              <a:off x="11099777" y="653014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8" name="Hexagon 27">
              <a:extLst>
                <a:ext uri="{FF2B5EF4-FFF2-40B4-BE49-F238E27FC236}">
                  <a16:creationId xmlns:a16="http://schemas.microsoft.com/office/drawing/2014/main" id="{F241720E-FE5F-4329-891B-B6C2D8B716B8}"/>
                </a:ext>
              </a:extLst>
            </p:cNvPr>
            <p:cNvSpPr/>
            <p:nvPr/>
          </p:nvSpPr>
          <p:spPr bwMode="auto">
            <a:xfrm rot="5400000">
              <a:off x="11508326" y="644886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9" name="Hexagon 28">
              <a:extLst>
                <a:ext uri="{FF2B5EF4-FFF2-40B4-BE49-F238E27FC236}">
                  <a16:creationId xmlns:a16="http://schemas.microsoft.com/office/drawing/2014/main" id="{C682D322-293C-49D2-BE53-C33BC4122EC9}"/>
                </a:ext>
              </a:extLst>
            </p:cNvPr>
            <p:cNvSpPr/>
            <p:nvPr/>
          </p:nvSpPr>
          <p:spPr bwMode="auto">
            <a:xfrm rot="5400000">
              <a:off x="11848185" y="6389494"/>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30" name="Hexagon 29">
              <a:extLst>
                <a:ext uri="{FF2B5EF4-FFF2-40B4-BE49-F238E27FC236}">
                  <a16:creationId xmlns:a16="http://schemas.microsoft.com/office/drawing/2014/main" id="{252B569D-B0AB-4AE9-8BEB-FE8827C3D12E}"/>
                </a:ext>
              </a:extLst>
            </p:cNvPr>
            <p:cNvSpPr/>
            <p:nvPr/>
          </p:nvSpPr>
          <p:spPr bwMode="auto">
            <a:xfrm rot="5400000">
              <a:off x="10711419" y="6759509"/>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31" name="Hexagon 30">
              <a:extLst>
                <a:ext uri="{FF2B5EF4-FFF2-40B4-BE49-F238E27FC236}">
                  <a16:creationId xmlns:a16="http://schemas.microsoft.com/office/drawing/2014/main" id="{D41BB82F-EB5E-4EE8-A733-2571E59E3B88}"/>
                </a:ext>
              </a:extLst>
            </p:cNvPr>
            <p:cNvSpPr/>
            <p:nvPr/>
          </p:nvSpPr>
          <p:spPr bwMode="auto">
            <a:xfrm rot="5400000">
              <a:off x="9666481" y="675082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174433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5"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p:nvSpPr>
        <p:spPr bwMode="white">
          <a:xfrm>
            <a:off x="4361648" y="6566926"/>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46703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p:nvSpPr>
        <p:spPr bwMode="white">
          <a:xfrm>
            <a:off x="4361648" y="6566926"/>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07929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a:t>Section title</a:t>
            </a:r>
          </a:p>
        </p:txBody>
      </p:sp>
      <p:sp>
        <p:nvSpPr>
          <p:cNvPr id="3" name="TextBox 7"/>
          <p:cNvSpPr txBox="1"/>
          <p:nvPr/>
        </p:nvSpPr>
        <p:spPr bwMode="white">
          <a:xfrm>
            <a:off x="4361648" y="6566926"/>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42287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a:t>Section title</a:t>
            </a:r>
          </a:p>
        </p:txBody>
      </p:sp>
      <p:sp>
        <p:nvSpPr>
          <p:cNvPr id="3" name="TextBox 7"/>
          <p:cNvSpPr txBox="1"/>
          <p:nvPr/>
        </p:nvSpPr>
        <p:spPr bwMode="white">
          <a:xfrm>
            <a:off x="4361648" y="6566926"/>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5872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5"/>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49" y="0"/>
            <a:ext cx="6857651"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67806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F66DDE8B-6935-4171-BD1F-FCAE2B1ECC9D}"/>
              </a:ext>
            </a:extLst>
          </p:cNvPr>
          <p:cNvGraphicFramePr>
            <a:graphicFrameLocks noGrp="1"/>
          </p:cNvGraphicFramePr>
          <p:nvPr/>
        </p:nvGraphicFramePr>
        <p:xfrm>
          <a:off x="2" y="3"/>
          <a:ext cx="12191991" cy="6857999"/>
        </p:xfrm>
        <a:graphic>
          <a:graphicData uri="http://schemas.openxmlformats.org/drawingml/2006/table">
            <a:tbl>
              <a:tblPr firstRow="1" bandRow="1">
                <a:tableStyleId>{5C22544A-7EE6-4342-B048-85BDC9FD1C3A}</a:tableStyleId>
              </a:tblPr>
              <a:tblGrid>
                <a:gridCol w="580571">
                  <a:extLst>
                    <a:ext uri="{9D8B030D-6E8A-4147-A177-3AD203B41FA5}">
                      <a16:colId xmlns:a16="http://schemas.microsoft.com/office/drawing/2014/main" val="1236144541"/>
                    </a:ext>
                  </a:extLst>
                </a:gridCol>
                <a:gridCol w="580571">
                  <a:extLst>
                    <a:ext uri="{9D8B030D-6E8A-4147-A177-3AD203B41FA5}">
                      <a16:colId xmlns:a16="http://schemas.microsoft.com/office/drawing/2014/main" val="806076883"/>
                    </a:ext>
                  </a:extLst>
                </a:gridCol>
                <a:gridCol w="580571">
                  <a:extLst>
                    <a:ext uri="{9D8B030D-6E8A-4147-A177-3AD203B41FA5}">
                      <a16:colId xmlns:a16="http://schemas.microsoft.com/office/drawing/2014/main" val="2249519985"/>
                    </a:ext>
                  </a:extLst>
                </a:gridCol>
                <a:gridCol w="580571">
                  <a:extLst>
                    <a:ext uri="{9D8B030D-6E8A-4147-A177-3AD203B41FA5}">
                      <a16:colId xmlns:a16="http://schemas.microsoft.com/office/drawing/2014/main" val="512641429"/>
                    </a:ext>
                  </a:extLst>
                </a:gridCol>
                <a:gridCol w="580571">
                  <a:extLst>
                    <a:ext uri="{9D8B030D-6E8A-4147-A177-3AD203B41FA5}">
                      <a16:colId xmlns:a16="http://schemas.microsoft.com/office/drawing/2014/main" val="340142574"/>
                    </a:ext>
                  </a:extLst>
                </a:gridCol>
                <a:gridCol w="580571">
                  <a:extLst>
                    <a:ext uri="{9D8B030D-6E8A-4147-A177-3AD203B41FA5}">
                      <a16:colId xmlns:a16="http://schemas.microsoft.com/office/drawing/2014/main" val="104923024"/>
                    </a:ext>
                  </a:extLst>
                </a:gridCol>
                <a:gridCol w="580571">
                  <a:extLst>
                    <a:ext uri="{9D8B030D-6E8A-4147-A177-3AD203B41FA5}">
                      <a16:colId xmlns:a16="http://schemas.microsoft.com/office/drawing/2014/main" val="3610994332"/>
                    </a:ext>
                  </a:extLst>
                </a:gridCol>
                <a:gridCol w="580571">
                  <a:extLst>
                    <a:ext uri="{9D8B030D-6E8A-4147-A177-3AD203B41FA5}">
                      <a16:colId xmlns:a16="http://schemas.microsoft.com/office/drawing/2014/main" val="4158843949"/>
                    </a:ext>
                  </a:extLst>
                </a:gridCol>
                <a:gridCol w="580571">
                  <a:extLst>
                    <a:ext uri="{9D8B030D-6E8A-4147-A177-3AD203B41FA5}">
                      <a16:colId xmlns:a16="http://schemas.microsoft.com/office/drawing/2014/main" val="3428914845"/>
                    </a:ext>
                  </a:extLst>
                </a:gridCol>
                <a:gridCol w="580571">
                  <a:extLst>
                    <a:ext uri="{9D8B030D-6E8A-4147-A177-3AD203B41FA5}">
                      <a16:colId xmlns:a16="http://schemas.microsoft.com/office/drawing/2014/main" val="1063425128"/>
                    </a:ext>
                  </a:extLst>
                </a:gridCol>
                <a:gridCol w="580571">
                  <a:extLst>
                    <a:ext uri="{9D8B030D-6E8A-4147-A177-3AD203B41FA5}">
                      <a16:colId xmlns:a16="http://schemas.microsoft.com/office/drawing/2014/main" val="4061447445"/>
                    </a:ext>
                  </a:extLst>
                </a:gridCol>
                <a:gridCol w="580571">
                  <a:extLst>
                    <a:ext uri="{9D8B030D-6E8A-4147-A177-3AD203B41FA5}">
                      <a16:colId xmlns:a16="http://schemas.microsoft.com/office/drawing/2014/main" val="510557632"/>
                    </a:ext>
                  </a:extLst>
                </a:gridCol>
                <a:gridCol w="580571">
                  <a:extLst>
                    <a:ext uri="{9D8B030D-6E8A-4147-A177-3AD203B41FA5}">
                      <a16:colId xmlns:a16="http://schemas.microsoft.com/office/drawing/2014/main" val="1609289120"/>
                    </a:ext>
                  </a:extLst>
                </a:gridCol>
                <a:gridCol w="580571">
                  <a:extLst>
                    <a:ext uri="{9D8B030D-6E8A-4147-A177-3AD203B41FA5}">
                      <a16:colId xmlns:a16="http://schemas.microsoft.com/office/drawing/2014/main" val="4113734490"/>
                    </a:ext>
                  </a:extLst>
                </a:gridCol>
                <a:gridCol w="580571">
                  <a:extLst>
                    <a:ext uri="{9D8B030D-6E8A-4147-A177-3AD203B41FA5}">
                      <a16:colId xmlns:a16="http://schemas.microsoft.com/office/drawing/2014/main" val="4056123191"/>
                    </a:ext>
                  </a:extLst>
                </a:gridCol>
                <a:gridCol w="580571">
                  <a:extLst>
                    <a:ext uri="{9D8B030D-6E8A-4147-A177-3AD203B41FA5}">
                      <a16:colId xmlns:a16="http://schemas.microsoft.com/office/drawing/2014/main" val="1392887209"/>
                    </a:ext>
                  </a:extLst>
                </a:gridCol>
                <a:gridCol w="580571">
                  <a:extLst>
                    <a:ext uri="{9D8B030D-6E8A-4147-A177-3AD203B41FA5}">
                      <a16:colId xmlns:a16="http://schemas.microsoft.com/office/drawing/2014/main" val="1077589550"/>
                    </a:ext>
                  </a:extLst>
                </a:gridCol>
                <a:gridCol w="580571">
                  <a:extLst>
                    <a:ext uri="{9D8B030D-6E8A-4147-A177-3AD203B41FA5}">
                      <a16:colId xmlns:a16="http://schemas.microsoft.com/office/drawing/2014/main" val="3436817102"/>
                    </a:ext>
                  </a:extLst>
                </a:gridCol>
                <a:gridCol w="580571">
                  <a:extLst>
                    <a:ext uri="{9D8B030D-6E8A-4147-A177-3AD203B41FA5}">
                      <a16:colId xmlns:a16="http://schemas.microsoft.com/office/drawing/2014/main" val="867768679"/>
                    </a:ext>
                  </a:extLst>
                </a:gridCol>
                <a:gridCol w="580571">
                  <a:extLst>
                    <a:ext uri="{9D8B030D-6E8A-4147-A177-3AD203B41FA5}">
                      <a16:colId xmlns:a16="http://schemas.microsoft.com/office/drawing/2014/main" val="3822864651"/>
                    </a:ext>
                  </a:extLst>
                </a:gridCol>
                <a:gridCol w="580571">
                  <a:extLst>
                    <a:ext uri="{9D8B030D-6E8A-4147-A177-3AD203B41FA5}">
                      <a16:colId xmlns:a16="http://schemas.microsoft.com/office/drawing/2014/main" val="2899844883"/>
                    </a:ext>
                  </a:extLst>
                </a:gridCol>
              </a:tblGrid>
              <a:tr h="488560">
                <a:tc rowSpan="3">
                  <a:txBody>
                    <a:bodyPr/>
                    <a:lstStyle/>
                    <a:p>
                      <a:endParaRPr lang="en-US"/>
                    </a:p>
                  </a:txBody>
                  <a:tcPr>
                    <a:solidFill>
                      <a:schemeClr val="accent2"/>
                    </a:solidFill>
                  </a:tcPr>
                </a:tc>
                <a:tc gridSpan="20">
                  <a:txBody>
                    <a:bodyPr/>
                    <a:lstStyle/>
                    <a:p>
                      <a:r>
                        <a:rPr lang="en-US"/>
                        <a:t>Blockchain Sales Enablement</a:t>
                      </a: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03800336"/>
                  </a:ext>
                </a:extLst>
              </a:tr>
              <a:tr h="408900">
                <a:tc vMerge="1">
                  <a:txBody>
                    <a:bodyPr/>
                    <a:lstStyle/>
                    <a:p>
                      <a:endParaRPr lang="en-US"/>
                    </a:p>
                  </a:txBody>
                  <a:tcPr/>
                </a:tc>
                <a:tc gridSpan="5">
                  <a:txBody>
                    <a:bodyPr/>
                    <a:lstStyle/>
                    <a:p>
                      <a:r>
                        <a:rPr lang="en-US" sz="900">
                          <a:solidFill>
                            <a:schemeClr val="bg1"/>
                          </a:solidFill>
                        </a:rPr>
                        <a:t>November</a:t>
                      </a:r>
                    </a:p>
                  </a:txBody>
                  <a:tcPr>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15">
                  <a:txBody>
                    <a:bodyPr/>
                    <a:lstStyle/>
                    <a:p>
                      <a:r>
                        <a:rPr lang="en-US" sz="900">
                          <a:solidFill>
                            <a:schemeClr val="bg1"/>
                          </a:solidFill>
                        </a:rPr>
                        <a:t>December</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lnL w="38100"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endParaRPr lang="en-US">
                        <a:solidFill>
                          <a:schemeClr val="bg1"/>
                        </a:solidFill>
                      </a:endParaRP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566129611"/>
                  </a:ext>
                </a:extLst>
              </a:tr>
              <a:tr h="272911">
                <a:tc vMerge="1">
                  <a:txBody>
                    <a:bodyPr/>
                    <a:lstStyle/>
                    <a:p>
                      <a:endParaRPr lang="en-US"/>
                    </a:p>
                  </a:txBody>
                  <a:tcPr/>
                </a:tc>
                <a:tc>
                  <a:txBody>
                    <a:bodyPr/>
                    <a:lstStyle/>
                    <a:p>
                      <a:pPr algn="ctr"/>
                      <a:r>
                        <a:rPr lang="en-US" sz="1000">
                          <a:solidFill>
                            <a:schemeClr val="bg1"/>
                          </a:solidFill>
                        </a:rPr>
                        <a:t>27</a:t>
                      </a:r>
                    </a:p>
                  </a:txBody>
                  <a:tcPr marL="0" marR="0" marT="0" marB="0" anchor="ctr">
                    <a:solidFill>
                      <a:schemeClr val="accent3"/>
                    </a:solidFill>
                  </a:tcPr>
                </a:tc>
                <a:tc>
                  <a:txBody>
                    <a:bodyPr/>
                    <a:lstStyle/>
                    <a:p>
                      <a:pPr algn="ctr"/>
                      <a:r>
                        <a:rPr lang="en-US" sz="1000">
                          <a:solidFill>
                            <a:schemeClr val="bg1"/>
                          </a:solidFill>
                        </a:rPr>
                        <a:t>28</a:t>
                      </a:r>
                    </a:p>
                  </a:txBody>
                  <a:tcPr marL="0" marR="0" marT="0" marB="0" anchor="ctr">
                    <a:solidFill>
                      <a:schemeClr val="accent3"/>
                    </a:solidFill>
                  </a:tcPr>
                </a:tc>
                <a:tc>
                  <a:txBody>
                    <a:bodyPr/>
                    <a:lstStyle/>
                    <a:p>
                      <a:pPr algn="ctr"/>
                      <a:r>
                        <a:rPr lang="en-US" sz="1000">
                          <a:solidFill>
                            <a:schemeClr val="bg1"/>
                          </a:solidFill>
                        </a:rPr>
                        <a:t>29</a:t>
                      </a:r>
                    </a:p>
                  </a:txBody>
                  <a:tcPr marL="0" marR="0" marT="0" marB="0" anchor="ctr">
                    <a:solidFill>
                      <a:schemeClr val="accent3"/>
                    </a:solidFill>
                  </a:tcPr>
                </a:tc>
                <a:tc>
                  <a:txBody>
                    <a:bodyPr/>
                    <a:lstStyle/>
                    <a:p>
                      <a:pPr algn="ctr"/>
                      <a:r>
                        <a:rPr lang="en-US" sz="1000">
                          <a:solidFill>
                            <a:schemeClr val="bg1"/>
                          </a:solidFill>
                        </a:rPr>
                        <a:t>30</a:t>
                      </a:r>
                    </a:p>
                  </a:txBody>
                  <a:tcPr marL="0" marR="0" marT="0" marB="0" anchor="ctr">
                    <a:solidFill>
                      <a:schemeClr val="accent3"/>
                    </a:solidFill>
                  </a:tcPr>
                </a:tc>
                <a:tc>
                  <a:txBody>
                    <a:bodyPr/>
                    <a:lstStyle/>
                    <a:p>
                      <a:pPr algn="ctr"/>
                      <a:r>
                        <a:rPr lang="en-US" sz="1000">
                          <a:solidFill>
                            <a:schemeClr val="bg1"/>
                          </a:solidFill>
                        </a:rPr>
                        <a:t>1</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a:solidFill>
                            <a:schemeClr val="bg1"/>
                          </a:solidFill>
                        </a:rPr>
                        <a:t>4</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a:solidFill>
                            <a:schemeClr val="bg1"/>
                          </a:solidFill>
                        </a:rPr>
                        <a:t>5</a:t>
                      </a:r>
                    </a:p>
                  </a:txBody>
                  <a:tcPr marL="0" marR="0" marT="0" marB="0" anchor="ctr">
                    <a:solidFill>
                      <a:schemeClr val="accent3"/>
                    </a:solidFill>
                  </a:tcPr>
                </a:tc>
                <a:tc>
                  <a:txBody>
                    <a:bodyPr/>
                    <a:lstStyle/>
                    <a:p>
                      <a:pPr algn="ctr"/>
                      <a:r>
                        <a:rPr lang="en-US" sz="1000">
                          <a:solidFill>
                            <a:schemeClr val="bg1"/>
                          </a:solidFill>
                        </a:rPr>
                        <a:t>6</a:t>
                      </a:r>
                    </a:p>
                  </a:txBody>
                  <a:tcPr marL="0" marR="0" marT="0" marB="0" anchor="ctr">
                    <a:solidFill>
                      <a:schemeClr val="accent3"/>
                    </a:solidFill>
                  </a:tcPr>
                </a:tc>
                <a:tc>
                  <a:txBody>
                    <a:bodyPr/>
                    <a:lstStyle/>
                    <a:p>
                      <a:pPr algn="ctr"/>
                      <a:r>
                        <a:rPr lang="en-US" sz="1000">
                          <a:solidFill>
                            <a:schemeClr val="bg1"/>
                          </a:solidFill>
                        </a:rPr>
                        <a:t>7</a:t>
                      </a:r>
                    </a:p>
                  </a:txBody>
                  <a:tcPr marL="0" marR="0" marT="0" marB="0" anchor="ctr">
                    <a:solidFill>
                      <a:schemeClr val="accent3"/>
                    </a:solidFill>
                  </a:tcPr>
                </a:tc>
                <a:tc>
                  <a:txBody>
                    <a:bodyPr/>
                    <a:lstStyle/>
                    <a:p>
                      <a:pPr algn="ctr"/>
                      <a:r>
                        <a:rPr lang="en-US" sz="1000">
                          <a:solidFill>
                            <a:schemeClr val="bg1"/>
                          </a:solidFill>
                        </a:rPr>
                        <a:t>8</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a:solidFill>
                            <a:schemeClr val="bg1"/>
                          </a:solidFill>
                        </a:rPr>
                        <a:t>11</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a:solidFill>
                            <a:schemeClr val="bg1"/>
                          </a:solidFill>
                        </a:rPr>
                        <a:t>12</a:t>
                      </a:r>
                    </a:p>
                  </a:txBody>
                  <a:tcPr marL="0" marR="0" marT="0" marB="0" anchor="ctr">
                    <a:solidFill>
                      <a:schemeClr val="accent3"/>
                    </a:solidFill>
                  </a:tcPr>
                </a:tc>
                <a:tc>
                  <a:txBody>
                    <a:bodyPr/>
                    <a:lstStyle/>
                    <a:p>
                      <a:pPr algn="ctr"/>
                      <a:r>
                        <a:rPr lang="en-US" sz="1000">
                          <a:solidFill>
                            <a:schemeClr val="bg1"/>
                          </a:solidFill>
                        </a:rPr>
                        <a:t>13</a:t>
                      </a:r>
                    </a:p>
                  </a:txBody>
                  <a:tcPr marL="0" marR="0" marT="0" marB="0" anchor="ctr">
                    <a:solidFill>
                      <a:schemeClr val="accent3"/>
                    </a:solidFill>
                  </a:tcPr>
                </a:tc>
                <a:tc>
                  <a:txBody>
                    <a:bodyPr/>
                    <a:lstStyle/>
                    <a:p>
                      <a:pPr algn="ctr"/>
                      <a:r>
                        <a:rPr lang="en-US" sz="1000">
                          <a:solidFill>
                            <a:schemeClr val="bg1"/>
                          </a:solidFill>
                        </a:rPr>
                        <a:t>14</a:t>
                      </a:r>
                    </a:p>
                  </a:txBody>
                  <a:tcPr marL="0" marR="0" marT="0" marB="0" anchor="ctr">
                    <a:solidFill>
                      <a:schemeClr val="accent3"/>
                    </a:solidFill>
                  </a:tcPr>
                </a:tc>
                <a:tc>
                  <a:txBody>
                    <a:bodyPr/>
                    <a:lstStyle/>
                    <a:p>
                      <a:pPr algn="ctr"/>
                      <a:r>
                        <a:rPr lang="en-US" sz="1000">
                          <a:solidFill>
                            <a:schemeClr val="bg1"/>
                          </a:solidFill>
                        </a:rPr>
                        <a:t>15</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a:solidFill>
                            <a:schemeClr val="bg1"/>
                          </a:solidFill>
                        </a:rPr>
                        <a:t>18</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a:solidFill>
                            <a:schemeClr val="bg1"/>
                          </a:solidFill>
                        </a:rPr>
                        <a:t>19</a:t>
                      </a:r>
                    </a:p>
                  </a:txBody>
                  <a:tcPr marL="0" marR="0" marT="0" marB="0" anchor="ctr">
                    <a:solidFill>
                      <a:schemeClr val="accent3"/>
                    </a:solidFill>
                  </a:tcPr>
                </a:tc>
                <a:tc>
                  <a:txBody>
                    <a:bodyPr/>
                    <a:lstStyle/>
                    <a:p>
                      <a:pPr algn="ctr"/>
                      <a:r>
                        <a:rPr lang="en-US" sz="1000">
                          <a:solidFill>
                            <a:schemeClr val="bg1"/>
                          </a:solidFill>
                        </a:rPr>
                        <a:t>20</a:t>
                      </a:r>
                    </a:p>
                  </a:txBody>
                  <a:tcPr marL="0" marR="0" marT="0" marB="0" anchor="ctr">
                    <a:solidFill>
                      <a:schemeClr val="accent3"/>
                    </a:solidFill>
                  </a:tcPr>
                </a:tc>
                <a:tc>
                  <a:txBody>
                    <a:bodyPr/>
                    <a:lstStyle/>
                    <a:p>
                      <a:pPr algn="ctr"/>
                      <a:r>
                        <a:rPr lang="en-US" sz="1000">
                          <a:solidFill>
                            <a:schemeClr val="bg1"/>
                          </a:solidFill>
                        </a:rPr>
                        <a:t>21</a:t>
                      </a:r>
                    </a:p>
                  </a:txBody>
                  <a:tcPr marL="0" marR="0" marT="0" marB="0" anchor="ctr">
                    <a:solidFill>
                      <a:schemeClr val="accent3"/>
                    </a:solidFill>
                  </a:tcPr>
                </a:tc>
                <a:tc>
                  <a:txBody>
                    <a:bodyPr/>
                    <a:lstStyle/>
                    <a:p>
                      <a:pPr algn="ctr"/>
                      <a:r>
                        <a:rPr lang="en-US" sz="1000">
                          <a:solidFill>
                            <a:schemeClr val="bg1"/>
                          </a:solidFill>
                        </a:rPr>
                        <a:t>2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extLst>
                  <a:ext uri="{0D108BD9-81ED-4DB2-BD59-A6C34878D82A}">
                    <a16:rowId xmlns:a16="http://schemas.microsoft.com/office/drawing/2014/main" val="1256940629"/>
                  </a:ext>
                </a:extLst>
              </a:tr>
              <a:tr h="4052216">
                <a:tc>
                  <a:txBody>
                    <a:bodyPr/>
                    <a:lstStyle/>
                    <a:p>
                      <a:pPr algn="ctr"/>
                      <a:r>
                        <a:rPr lang="en-US">
                          <a:solidFill>
                            <a:schemeClr val="bg1"/>
                          </a:solidFill>
                        </a:rPr>
                        <a:t>Deliverables</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chemeClr val="bg2">
                        <a:lumMod val="90000"/>
                      </a:schemeClr>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extLst>
                  <a:ext uri="{0D108BD9-81ED-4DB2-BD59-A6C34878D82A}">
                    <a16:rowId xmlns:a16="http://schemas.microsoft.com/office/drawing/2014/main" val="703523522"/>
                  </a:ext>
                </a:extLst>
              </a:tr>
              <a:tr h="767778">
                <a:tc>
                  <a:txBody>
                    <a:bodyPr/>
                    <a:lstStyle/>
                    <a:p>
                      <a:pPr algn="ctr"/>
                      <a:r>
                        <a:rPr lang="en-US">
                          <a:solidFill>
                            <a:schemeClr val="bg1"/>
                          </a:solidFill>
                        </a:rPr>
                        <a:t>PMO</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chemeClr val="bg2">
                        <a:lumMod val="90000"/>
                      </a:schemeClr>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592029205"/>
                  </a:ext>
                </a:extLst>
              </a:tr>
              <a:tr h="867634">
                <a:tc>
                  <a:txBody>
                    <a:bodyPr/>
                    <a:lstStyle/>
                    <a:p>
                      <a:pPr algn="ctr"/>
                      <a:r>
                        <a:rPr lang="en-US" sz="900">
                          <a:solidFill>
                            <a:schemeClr val="bg1"/>
                          </a:solidFill>
                        </a:rPr>
                        <a:t>Key:</a:t>
                      </a:r>
                    </a:p>
                  </a:txBody>
                  <a:tcPr anchor="ctr">
                    <a:solidFill>
                      <a:schemeClr val="accent3"/>
                    </a:solidFill>
                  </a:tcPr>
                </a:tc>
                <a:tc gridSpan="20">
                  <a:txBody>
                    <a:bodyPr/>
                    <a:lstStyle/>
                    <a:p>
                      <a:pPr algn="ctr"/>
                      <a:endParaRPr lang="en-US" sz="1200"/>
                    </a:p>
                  </a:txBody>
                  <a:tcPr anchor="ctr">
                    <a:solidFill>
                      <a:srgbClr val="A3A3A3"/>
                    </a:solidFill>
                  </a:tcP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extLst>
                  <a:ext uri="{0D108BD9-81ED-4DB2-BD59-A6C34878D82A}">
                    <a16:rowId xmlns:a16="http://schemas.microsoft.com/office/drawing/2014/main" val="3541021785"/>
                  </a:ext>
                </a:extLst>
              </a:tr>
            </a:tbl>
          </a:graphicData>
        </a:graphic>
      </p:graphicFrame>
    </p:spTree>
    <p:extLst>
      <p:ext uri="{BB962C8B-B14F-4D97-AF65-F5344CB8AC3E}">
        <p14:creationId xmlns:p14="http://schemas.microsoft.com/office/powerpoint/2010/main" val="250798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B30BA17A-448C-4763-8149-9BFB20F4DC4F}"/>
              </a:ext>
            </a:extLst>
          </p:cNvPr>
          <p:cNvGraphicFramePr>
            <a:graphicFrameLocks noGrp="1"/>
          </p:cNvGraphicFramePr>
          <p:nvPr/>
        </p:nvGraphicFramePr>
        <p:xfrm>
          <a:off x="1" y="3"/>
          <a:ext cx="12191988" cy="6857999"/>
        </p:xfrm>
        <a:graphic>
          <a:graphicData uri="http://schemas.openxmlformats.org/drawingml/2006/table">
            <a:tbl>
              <a:tblPr firstRow="1" bandRow="1">
                <a:tableStyleId>{5C22544A-7EE6-4342-B048-85BDC9FD1C3A}</a:tableStyleId>
              </a:tblPr>
              <a:tblGrid>
                <a:gridCol w="256773">
                  <a:extLst>
                    <a:ext uri="{9D8B030D-6E8A-4147-A177-3AD203B41FA5}">
                      <a16:colId xmlns:a16="http://schemas.microsoft.com/office/drawing/2014/main" val="1236144541"/>
                    </a:ext>
                  </a:extLst>
                </a:gridCol>
                <a:gridCol w="265227">
                  <a:extLst>
                    <a:ext uri="{9D8B030D-6E8A-4147-A177-3AD203B41FA5}">
                      <a16:colId xmlns:a16="http://schemas.microsoft.com/office/drawing/2014/main" val="806076883"/>
                    </a:ext>
                  </a:extLst>
                </a:gridCol>
                <a:gridCol w="265227">
                  <a:extLst>
                    <a:ext uri="{9D8B030D-6E8A-4147-A177-3AD203B41FA5}">
                      <a16:colId xmlns:a16="http://schemas.microsoft.com/office/drawing/2014/main" val="2249519985"/>
                    </a:ext>
                  </a:extLst>
                </a:gridCol>
                <a:gridCol w="265227">
                  <a:extLst>
                    <a:ext uri="{9D8B030D-6E8A-4147-A177-3AD203B41FA5}">
                      <a16:colId xmlns:a16="http://schemas.microsoft.com/office/drawing/2014/main" val="512641429"/>
                    </a:ext>
                  </a:extLst>
                </a:gridCol>
                <a:gridCol w="265227">
                  <a:extLst>
                    <a:ext uri="{9D8B030D-6E8A-4147-A177-3AD203B41FA5}">
                      <a16:colId xmlns:a16="http://schemas.microsoft.com/office/drawing/2014/main" val="340142574"/>
                    </a:ext>
                  </a:extLst>
                </a:gridCol>
                <a:gridCol w="265227">
                  <a:extLst>
                    <a:ext uri="{9D8B030D-6E8A-4147-A177-3AD203B41FA5}">
                      <a16:colId xmlns:a16="http://schemas.microsoft.com/office/drawing/2014/main" val="104923024"/>
                    </a:ext>
                  </a:extLst>
                </a:gridCol>
                <a:gridCol w="265227">
                  <a:extLst>
                    <a:ext uri="{9D8B030D-6E8A-4147-A177-3AD203B41FA5}">
                      <a16:colId xmlns:a16="http://schemas.microsoft.com/office/drawing/2014/main" val="3610994332"/>
                    </a:ext>
                  </a:extLst>
                </a:gridCol>
                <a:gridCol w="265227">
                  <a:extLst>
                    <a:ext uri="{9D8B030D-6E8A-4147-A177-3AD203B41FA5}">
                      <a16:colId xmlns:a16="http://schemas.microsoft.com/office/drawing/2014/main" val="4158843949"/>
                    </a:ext>
                  </a:extLst>
                </a:gridCol>
                <a:gridCol w="265227">
                  <a:extLst>
                    <a:ext uri="{9D8B030D-6E8A-4147-A177-3AD203B41FA5}">
                      <a16:colId xmlns:a16="http://schemas.microsoft.com/office/drawing/2014/main" val="3428914845"/>
                    </a:ext>
                  </a:extLst>
                </a:gridCol>
                <a:gridCol w="265227">
                  <a:extLst>
                    <a:ext uri="{9D8B030D-6E8A-4147-A177-3AD203B41FA5}">
                      <a16:colId xmlns:a16="http://schemas.microsoft.com/office/drawing/2014/main" val="1063425128"/>
                    </a:ext>
                  </a:extLst>
                </a:gridCol>
                <a:gridCol w="265227">
                  <a:extLst>
                    <a:ext uri="{9D8B030D-6E8A-4147-A177-3AD203B41FA5}">
                      <a16:colId xmlns:a16="http://schemas.microsoft.com/office/drawing/2014/main" val="4061447445"/>
                    </a:ext>
                  </a:extLst>
                </a:gridCol>
                <a:gridCol w="265227">
                  <a:extLst>
                    <a:ext uri="{9D8B030D-6E8A-4147-A177-3AD203B41FA5}">
                      <a16:colId xmlns:a16="http://schemas.microsoft.com/office/drawing/2014/main" val="510557632"/>
                    </a:ext>
                  </a:extLst>
                </a:gridCol>
                <a:gridCol w="265227">
                  <a:extLst>
                    <a:ext uri="{9D8B030D-6E8A-4147-A177-3AD203B41FA5}">
                      <a16:colId xmlns:a16="http://schemas.microsoft.com/office/drawing/2014/main" val="1609289120"/>
                    </a:ext>
                  </a:extLst>
                </a:gridCol>
                <a:gridCol w="265227">
                  <a:extLst>
                    <a:ext uri="{9D8B030D-6E8A-4147-A177-3AD203B41FA5}">
                      <a16:colId xmlns:a16="http://schemas.microsoft.com/office/drawing/2014/main" val="4113734490"/>
                    </a:ext>
                  </a:extLst>
                </a:gridCol>
                <a:gridCol w="265227">
                  <a:extLst>
                    <a:ext uri="{9D8B030D-6E8A-4147-A177-3AD203B41FA5}">
                      <a16:colId xmlns:a16="http://schemas.microsoft.com/office/drawing/2014/main" val="4056123191"/>
                    </a:ext>
                  </a:extLst>
                </a:gridCol>
                <a:gridCol w="265227">
                  <a:extLst>
                    <a:ext uri="{9D8B030D-6E8A-4147-A177-3AD203B41FA5}">
                      <a16:colId xmlns:a16="http://schemas.microsoft.com/office/drawing/2014/main" val="1392887209"/>
                    </a:ext>
                  </a:extLst>
                </a:gridCol>
                <a:gridCol w="265227">
                  <a:extLst>
                    <a:ext uri="{9D8B030D-6E8A-4147-A177-3AD203B41FA5}">
                      <a16:colId xmlns:a16="http://schemas.microsoft.com/office/drawing/2014/main" val="1077589550"/>
                    </a:ext>
                  </a:extLst>
                </a:gridCol>
                <a:gridCol w="265227">
                  <a:extLst>
                    <a:ext uri="{9D8B030D-6E8A-4147-A177-3AD203B41FA5}">
                      <a16:colId xmlns:a16="http://schemas.microsoft.com/office/drawing/2014/main" val="3436817102"/>
                    </a:ext>
                  </a:extLst>
                </a:gridCol>
                <a:gridCol w="265227">
                  <a:extLst>
                    <a:ext uri="{9D8B030D-6E8A-4147-A177-3AD203B41FA5}">
                      <a16:colId xmlns:a16="http://schemas.microsoft.com/office/drawing/2014/main" val="867768679"/>
                    </a:ext>
                  </a:extLst>
                </a:gridCol>
                <a:gridCol w="265227">
                  <a:extLst>
                    <a:ext uri="{9D8B030D-6E8A-4147-A177-3AD203B41FA5}">
                      <a16:colId xmlns:a16="http://schemas.microsoft.com/office/drawing/2014/main" val="3822864651"/>
                    </a:ext>
                  </a:extLst>
                </a:gridCol>
                <a:gridCol w="265227">
                  <a:extLst>
                    <a:ext uri="{9D8B030D-6E8A-4147-A177-3AD203B41FA5}">
                      <a16:colId xmlns:a16="http://schemas.microsoft.com/office/drawing/2014/main" val="2899844883"/>
                    </a:ext>
                  </a:extLst>
                </a:gridCol>
                <a:gridCol w="265227">
                  <a:extLst>
                    <a:ext uri="{9D8B030D-6E8A-4147-A177-3AD203B41FA5}">
                      <a16:colId xmlns:a16="http://schemas.microsoft.com/office/drawing/2014/main" val="2542213994"/>
                    </a:ext>
                  </a:extLst>
                </a:gridCol>
                <a:gridCol w="265227">
                  <a:extLst>
                    <a:ext uri="{9D8B030D-6E8A-4147-A177-3AD203B41FA5}">
                      <a16:colId xmlns:a16="http://schemas.microsoft.com/office/drawing/2014/main" val="3782830922"/>
                    </a:ext>
                  </a:extLst>
                </a:gridCol>
                <a:gridCol w="265227">
                  <a:extLst>
                    <a:ext uri="{9D8B030D-6E8A-4147-A177-3AD203B41FA5}">
                      <a16:colId xmlns:a16="http://schemas.microsoft.com/office/drawing/2014/main" val="314078815"/>
                    </a:ext>
                  </a:extLst>
                </a:gridCol>
                <a:gridCol w="265227">
                  <a:extLst>
                    <a:ext uri="{9D8B030D-6E8A-4147-A177-3AD203B41FA5}">
                      <a16:colId xmlns:a16="http://schemas.microsoft.com/office/drawing/2014/main" val="2337385838"/>
                    </a:ext>
                  </a:extLst>
                </a:gridCol>
                <a:gridCol w="265227">
                  <a:extLst>
                    <a:ext uri="{9D8B030D-6E8A-4147-A177-3AD203B41FA5}">
                      <a16:colId xmlns:a16="http://schemas.microsoft.com/office/drawing/2014/main" val="3543071286"/>
                    </a:ext>
                  </a:extLst>
                </a:gridCol>
                <a:gridCol w="265227">
                  <a:extLst>
                    <a:ext uri="{9D8B030D-6E8A-4147-A177-3AD203B41FA5}">
                      <a16:colId xmlns:a16="http://schemas.microsoft.com/office/drawing/2014/main" val="2517695894"/>
                    </a:ext>
                  </a:extLst>
                </a:gridCol>
                <a:gridCol w="265227">
                  <a:extLst>
                    <a:ext uri="{9D8B030D-6E8A-4147-A177-3AD203B41FA5}">
                      <a16:colId xmlns:a16="http://schemas.microsoft.com/office/drawing/2014/main" val="328629989"/>
                    </a:ext>
                  </a:extLst>
                </a:gridCol>
                <a:gridCol w="265227">
                  <a:extLst>
                    <a:ext uri="{9D8B030D-6E8A-4147-A177-3AD203B41FA5}">
                      <a16:colId xmlns:a16="http://schemas.microsoft.com/office/drawing/2014/main" val="3477780055"/>
                    </a:ext>
                  </a:extLst>
                </a:gridCol>
                <a:gridCol w="265227">
                  <a:extLst>
                    <a:ext uri="{9D8B030D-6E8A-4147-A177-3AD203B41FA5}">
                      <a16:colId xmlns:a16="http://schemas.microsoft.com/office/drawing/2014/main" val="2370952889"/>
                    </a:ext>
                  </a:extLst>
                </a:gridCol>
                <a:gridCol w="265227">
                  <a:extLst>
                    <a:ext uri="{9D8B030D-6E8A-4147-A177-3AD203B41FA5}">
                      <a16:colId xmlns:a16="http://schemas.microsoft.com/office/drawing/2014/main" val="2000334196"/>
                    </a:ext>
                  </a:extLst>
                </a:gridCol>
                <a:gridCol w="265227">
                  <a:extLst>
                    <a:ext uri="{9D8B030D-6E8A-4147-A177-3AD203B41FA5}">
                      <a16:colId xmlns:a16="http://schemas.microsoft.com/office/drawing/2014/main" val="3702462793"/>
                    </a:ext>
                  </a:extLst>
                </a:gridCol>
                <a:gridCol w="265227">
                  <a:extLst>
                    <a:ext uri="{9D8B030D-6E8A-4147-A177-3AD203B41FA5}">
                      <a16:colId xmlns:a16="http://schemas.microsoft.com/office/drawing/2014/main" val="2501990896"/>
                    </a:ext>
                  </a:extLst>
                </a:gridCol>
                <a:gridCol w="265227">
                  <a:extLst>
                    <a:ext uri="{9D8B030D-6E8A-4147-A177-3AD203B41FA5}">
                      <a16:colId xmlns:a16="http://schemas.microsoft.com/office/drawing/2014/main" val="3138975045"/>
                    </a:ext>
                  </a:extLst>
                </a:gridCol>
                <a:gridCol w="265227">
                  <a:extLst>
                    <a:ext uri="{9D8B030D-6E8A-4147-A177-3AD203B41FA5}">
                      <a16:colId xmlns:a16="http://schemas.microsoft.com/office/drawing/2014/main" val="210895154"/>
                    </a:ext>
                  </a:extLst>
                </a:gridCol>
                <a:gridCol w="265227">
                  <a:extLst>
                    <a:ext uri="{9D8B030D-6E8A-4147-A177-3AD203B41FA5}">
                      <a16:colId xmlns:a16="http://schemas.microsoft.com/office/drawing/2014/main" val="1594128255"/>
                    </a:ext>
                  </a:extLst>
                </a:gridCol>
                <a:gridCol w="265227">
                  <a:extLst>
                    <a:ext uri="{9D8B030D-6E8A-4147-A177-3AD203B41FA5}">
                      <a16:colId xmlns:a16="http://schemas.microsoft.com/office/drawing/2014/main" val="3844578761"/>
                    </a:ext>
                  </a:extLst>
                </a:gridCol>
                <a:gridCol w="265227">
                  <a:extLst>
                    <a:ext uri="{9D8B030D-6E8A-4147-A177-3AD203B41FA5}">
                      <a16:colId xmlns:a16="http://schemas.microsoft.com/office/drawing/2014/main" val="2503873430"/>
                    </a:ext>
                  </a:extLst>
                </a:gridCol>
                <a:gridCol w="265227">
                  <a:extLst>
                    <a:ext uri="{9D8B030D-6E8A-4147-A177-3AD203B41FA5}">
                      <a16:colId xmlns:a16="http://schemas.microsoft.com/office/drawing/2014/main" val="865111495"/>
                    </a:ext>
                  </a:extLst>
                </a:gridCol>
                <a:gridCol w="265227">
                  <a:extLst>
                    <a:ext uri="{9D8B030D-6E8A-4147-A177-3AD203B41FA5}">
                      <a16:colId xmlns:a16="http://schemas.microsoft.com/office/drawing/2014/main" val="835151177"/>
                    </a:ext>
                  </a:extLst>
                </a:gridCol>
                <a:gridCol w="265227">
                  <a:extLst>
                    <a:ext uri="{9D8B030D-6E8A-4147-A177-3AD203B41FA5}">
                      <a16:colId xmlns:a16="http://schemas.microsoft.com/office/drawing/2014/main" val="4022109570"/>
                    </a:ext>
                  </a:extLst>
                </a:gridCol>
                <a:gridCol w="265227">
                  <a:extLst>
                    <a:ext uri="{9D8B030D-6E8A-4147-A177-3AD203B41FA5}">
                      <a16:colId xmlns:a16="http://schemas.microsoft.com/office/drawing/2014/main" val="1036503426"/>
                    </a:ext>
                  </a:extLst>
                </a:gridCol>
                <a:gridCol w="265227">
                  <a:extLst>
                    <a:ext uri="{9D8B030D-6E8A-4147-A177-3AD203B41FA5}">
                      <a16:colId xmlns:a16="http://schemas.microsoft.com/office/drawing/2014/main" val="2800970426"/>
                    </a:ext>
                  </a:extLst>
                </a:gridCol>
                <a:gridCol w="265227">
                  <a:extLst>
                    <a:ext uri="{9D8B030D-6E8A-4147-A177-3AD203B41FA5}">
                      <a16:colId xmlns:a16="http://schemas.microsoft.com/office/drawing/2014/main" val="951351357"/>
                    </a:ext>
                  </a:extLst>
                </a:gridCol>
                <a:gridCol w="265227">
                  <a:extLst>
                    <a:ext uri="{9D8B030D-6E8A-4147-A177-3AD203B41FA5}">
                      <a16:colId xmlns:a16="http://schemas.microsoft.com/office/drawing/2014/main" val="1468666739"/>
                    </a:ext>
                  </a:extLst>
                </a:gridCol>
                <a:gridCol w="265227">
                  <a:extLst>
                    <a:ext uri="{9D8B030D-6E8A-4147-A177-3AD203B41FA5}">
                      <a16:colId xmlns:a16="http://schemas.microsoft.com/office/drawing/2014/main" val="2539365951"/>
                    </a:ext>
                  </a:extLst>
                </a:gridCol>
              </a:tblGrid>
              <a:tr h="488560">
                <a:tc rowSpan="3">
                  <a:txBody>
                    <a:bodyPr/>
                    <a:lstStyle/>
                    <a:p>
                      <a:endParaRPr lang="en-US"/>
                    </a:p>
                  </a:txBody>
                  <a:tcPr>
                    <a:solidFill>
                      <a:schemeClr val="accent2"/>
                    </a:solidFill>
                  </a:tcPr>
                </a:tc>
                <a:tc gridSpan="45">
                  <a:txBody>
                    <a:bodyPr/>
                    <a:lstStyle/>
                    <a:p>
                      <a:r>
                        <a:rPr lang="en-US"/>
                        <a:t>Blockchain Sales Enablement</a:t>
                      </a: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extLst>
                  <a:ext uri="{0D108BD9-81ED-4DB2-BD59-A6C34878D82A}">
                    <a16:rowId xmlns:a16="http://schemas.microsoft.com/office/drawing/2014/main" val="3803800336"/>
                  </a:ext>
                </a:extLst>
              </a:tr>
              <a:tr h="408900">
                <a:tc vMerge="1">
                  <a:txBody>
                    <a:bodyPr/>
                    <a:lstStyle/>
                    <a:p>
                      <a:endParaRPr lang="en-US"/>
                    </a:p>
                  </a:txBody>
                  <a:tcPr/>
                </a:tc>
                <a:tc gridSpan="23">
                  <a:txBody>
                    <a:bodyPr/>
                    <a:lstStyle/>
                    <a:p>
                      <a:pPr algn="l"/>
                      <a:r>
                        <a:rPr lang="en-US" sz="1800">
                          <a:solidFill>
                            <a:schemeClr val="bg1"/>
                          </a:solidFill>
                        </a:rPr>
                        <a:t>January</a:t>
                      </a:r>
                    </a:p>
                  </a:txBody>
                  <a:tcPr>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lnL w="38100"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endParaRPr lang="en-US">
                        <a:solidFill>
                          <a:schemeClr val="bg1"/>
                        </a:solidFill>
                      </a:endParaRP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gridSpan="22">
                  <a:txBody>
                    <a:bodyPr/>
                    <a:lstStyle/>
                    <a:p>
                      <a:pPr algn="l"/>
                      <a:r>
                        <a:rPr lang="en-US" sz="1800">
                          <a:solidFill>
                            <a:schemeClr val="bg1"/>
                          </a:solidFill>
                        </a:rPr>
                        <a:t>February/March</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10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extLst>
                  <a:ext uri="{0D108BD9-81ED-4DB2-BD59-A6C34878D82A}">
                    <a16:rowId xmlns:a16="http://schemas.microsoft.com/office/drawing/2014/main" val="2566129611"/>
                  </a:ext>
                </a:extLst>
              </a:tr>
              <a:tr h="272911">
                <a:tc vMerge="1">
                  <a:txBody>
                    <a:bodyPr/>
                    <a:lstStyle/>
                    <a:p>
                      <a:endParaRPr lang="en-US"/>
                    </a:p>
                  </a:txBody>
                  <a:tcPr/>
                </a:tc>
                <a:tc>
                  <a:txBody>
                    <a:bodyPr/>
                    <a:lstStyle/>
                    <a:p>
                      <a:pPr algn="ctr"/>
                      <a:r>
                        <a:rPr lang="en-US" sz="1000">
                          <a:solidFill>
                            <a:schemeClr val="bg1"/>
                          </a:solidFill>
                        </a:rPr>
                        <a:t>1</a:t>
                      </a:r>
                    </a:p>
                  </a:txBody>
                  <a:tcPr marL="0" marR="0" marT="0" marB="0" anchor="ctr">
                    <a:solidFill>
                      <a:schemeClr val="accent3"/>
                    </a:solidFill>
                  </a:tcPr>
                </a:tc>
                <a:tc>
                  <a:txBody>
                    <a:bodyPr/>
                    <a:lstStyle/>
                    <a:p>
                      <a:pPr algn="ctr"/>
                      <a:r>
                        <a:rPr lang="en-US" sz="1000">
                          <a:solidFill>
                            <a:schemeClr val="bg1"/>
                          </a:solidFill>
                        </a:rPr>
                        <a:t>2</a:t>
                      </a:r>
                    </a:p>
                  </a:txBody>
                  <a:tcPr marL="0" marR="0" marT="0" marB="0" anchor="ctr">
                    <a:solidFill>
                      <a:schemeClr val="accent3"/>
                    </a:solidFill>
                  </a:tcPr>
                </a:tc>
                <a:tc>
                  <a:txBody>
                    <a:bodyPr/>
                    <a:lstStyle/>
                    <a:p>
                      <a:pPr algn="ctr"/>
                      <a:r>
                        <a:rPr lang="en-US" sz="1000">
                          <a:solidFill>
                            <a:schemeClr val="bg1"/>
                          </a:solidFill>
                        </a:rPr>
                        <a:t>3</a:t>
                      </a:r>
                    </a:p>
                  </a:txBody>
                  <a:tcPr marL="0" marR="0" marT="0" marB="0" anchor="ctr">
                    <a:solidFill>
                      <a:schemeClr val="accent3"/>
                    </a:solidFill>
                  </a:tcPr>
                </a:tc>
                <a:tc>
                  <a:txBody>
                    <a:bodyPr/>
                    <a:lstStyle/>
                    <a:p>
                      <a:pPr algn="ctr"/>
                      <a:r>
                        <a:rPr lang="en-US" sz="1000">
                          <a:solidFill>
                            <a:schemeClr val="bg1"/>
                          </a:solidFill>
                        </a:rPr>
                        <a:t>4</a:t>
                      </a:r>
                    </a:p>
                  </a:txBody>
                  <a:tcPr marL="0" marR="0" marT="0" marB="0" anchor="ctr">
                    <a:solidFill>
                      <a:schemeClr val="accent3"/>
                    </a:solidFill>
                  </a:tcPr>
                </a:tc>
                <a:tc>
                  <a:txBody>
                    <a:bodyPr/>
                    <a:lstStyle/>
                    <a:p>
                      <a:pPr algn="ctr"/>
                      <a:r>
                        <a:rPr lang="en-US" sz="1000">
                          <a:solidFill>
                            <a:schemeClr val="bg1"/>
                          </a:solidFill>
                        </a:rPr>
                        <a:t>5</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a:solidFill>
                            <a:schemeClr val="bg1"/>
                          </a:solidFill>
                        </a:rPr>
                        <a:t>8</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a:solidFill>
                            <a:schemeClr val="bg1"/>
                          </a:solidFill>
                        </a:rPr>
                        <a:t>9</a:t>
                      </a:r>
                    </a:p>
                  </a:txBody>
                  <a:tcPr marL="0" marR="0" marT="0" marB="0" anchor="ctr">
                    <a:solidFill>
                      <a:schemeClr val="accent3"/>
                    </a:solidFill>
                  </a:tcPr>
                </a:tc>
                <a:tc>
                  <a:txBody>
                    <a:bodyPr/>
                    <a:lstStyle/>
                    <a:p>
                      <a:pPr algn="ctr"/>
                      <a:r>
                        <a:rPr lang="en-US" sz="1000">
                          <a:solidFill>
                            <a:schemeClr val="bg1"/>
                          </a:solidFill>
                        </a:rPr>
                        <a:t>10</a:t>
                      </a:r>
                    </a:p>
                  </a:txBody>
                  <a:tcPr marL="0" marR="0" marT="0" marB="0" anchor="ctr">
                    <a:solidFill>
                      <a:schemeClr val="accent3"/>
                    </a:solidFill>
                  </a:tcPr>
                </a:tc>
                <a:tc>
                  <a:txBody>
                    <a:bodyPr/>
                    <a:lstStyle/>
                    <a:p>
                      <a:pPr algn="ctr"/>
                      <a:r>
                        <a:rPr lang="en-US" sz="1000">
                          <a:solidFill>
                            <a:schemeClr val="bg1"/>
                          </a:solidFill>
                        </a:rPr>
                        <a:t>11</a:t>
                      </a:r>
                    </a:p>
                  </a:txBody>
                  <a:tcPr marL="0" marR="0" marT="0" marB="0" anchor="ctr">
                    <a:solidFill>
                      <a:schemeClr val="accent3"/>
                    </a:solidFill>
                  </a:tcPr>
                </a:tc>
                <a:tc>
                  <a:txBody>
                    <a:bodyPr/>
                    <a:lstStyle/>
                    <a:p>
                      <a:pPr algn="ctr"/>
                      <a:r>
                        <a:rPr lang="en-US" sz="1000">
                          <a:solidFill>
                            <a:schemeClr val="bg1"/>
                          </a:solidFill>
                        </a:rPr>
                        <a:t>1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a:solidFill>
                            <a:schemeClr val="bg1"/>
                          </a:solidFill>
                        </a:rPr>
                        <a:t>15</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a:solidFill>
                            <a:schemeClr val="bg1"/>
                          </a:solidFill>
                        </a:rPr>
                        <a:t>16</a:t>
                      </a:r>
                    </a:p>
                  </a:txBody>
                  <a:tcPr marL="0" marR="0" marT="0" marB="0" anchor="ctr">
                    <a:solidFill>
                      <a:schemeClr val="accent3"/>
                    </a:solidFill>
                  </a:tcPr>
                </a:tc>
                <a:tc>
                  <a:txBody>
                    <a:bodyPr/>
                    <a:lstStyle/>
                    <a:p>
                      <a:pPr algn="ctr"/>
                      <a:r>
                        <a:rPr lang="en-US" sz="1000">
                          <a:solidFill>
                            <a:schemeClr val="bg1"/>
                          </a:solidFill>
                        </a:rPr>
                        <a:t>17</a:t>
                      </a:r>
                    </a:p>
                  </a:txBody>
                  <a:tcPr marL="0" marR="0" marT="0" marB="0" anchor="ctr">
                    <a:solidFill>
                      <a:schemeClr val="accent3"/>
                    </a:solidFill>
                  </a:tcPr>
                </a:tc>
                <a:tc>
                  <a:txBody>
                    <a:bodyPr/>
                    <a:lstStyle/>
                    <a:p>
                      <a:pPr algn="ctr"/>
                      <a:r>
                        <a:rPr lang="en-US" sz="1000">
                          <a:solidFill>
                            <a:schemeClr val="bg1"/>
                          </a:solidFill>
                        </a:rPr>
                        <a:t>18</a:t>
                      </a:r>
                    </a:p>
                  </a:txBody>
                  <a:tcPr marL="0" marR="0" marT="0" marB="0" anchor="ctr">
                    <a:solidFill>
                      <a:schemeClr val="accent3"/>
                    </a:solidFill>
                  </a:tcPr>
                </a:tc>
                <a:tc>
                  <a:txBody>
                    <a:bodyPr/>
                    <a:lstStyle/>
                    <a:p>
                      <a:pPr algn="ctr"/>
                      <a:r>
                        <a:rPr lang="en-US" sz="1000">
                          <a:solidFill>
                            <a:schemeClr val="bg1"/>
                          </a:solidFill>
                        </a:rPr>
                        <a:t>19</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a:solidFill>
                            <a:schemeClr val="bg1"/>
                          </a:solidFill>
                        </a:rPr>
                        <a:t>22</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a:solidFill>
                            <a:schemeClr val="bg1"/>
                          </a:solidFill>
                        </a:rPr>
                        <a:t>23</a:t>
                      </a:r>
                    </a:p>
                  </a:txBody>
                  <a:tcPr marL="0" marR="0" marT="0" marB="0" anchor="ctr">
                    <a:solidFill>
                      <a:schemeClr val="accent3"/>
                    </a:solidFill>
                  </a:tcPr>
                </a:tc>
                <a:tc>
                  <a:txBody>
                    <a:bodyPr/>
                    <a:lstStyle/>
                    <a:p>
                      <a:pPr algn="ctr"/>
                      <a:r>
                        <a:rPr lang="en-US" sz="1000">
                          <a:solidFill>
                            <a:schemeClr val="bg1"/>
                          </a:solidFill>
                        </a:rPr>
                        <a:t>24</a:t>
                      </a:r>
                    </a:p>
                  </a:txBody>
                  <a:tcPr marL="0" marR="0" marT="0" marB="0" anchor="ctr">
                    <a:solidFill>
                      <a:schemeClr val="accent3"/>
                    </a:solidFill>
                  </a:tcPr>
                </a:tc>
                <a:tc>
                  <a:txBody>
                    <a:bodyPr/>
                    <a:lstStyle/>
                    <a:p>
                      <a:pPr algn="ctr"/>
                      <a:r>
                        <a:rPr lang="en-US" sz="1000">
                          <a:solidFill>
                            <a:schemeClr val="bg1"/>
                          </a:solidFill>
                        </a:rPr>
                        <a:t>25</a:t>
                      </a:r>
                    </a:p>
                  </a:txBody>
                  <a:tcPr marL="0" marR="0" marT="0" marB="0" anchor="ctr">
                    <a:solidFill>
                      <a:schemeClr val="accent3"/>
                    </a:solidFill>
                  </a:tcPr>
                </a:tc>
                <a:tc>
                  <a:txBody>
                    <a:bodyPr/>
                    <a:lstStyle/>
                    <a:p>
                      <a:pPr algn="ctr"/>
                      <a:r>
                        <a:rPr lang="en-US" sz="1000">
                          <a:solidFill>
                            <a:schemeClr val="bg1"/>
                          </a:solidFill>
                        </a:rPr>
                        <a:t>26</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a:solidFill>
                            <a:schemeClr val="bg1"/>
                          </a:solidFill>
                        </a:rPr>
                        <a:t>29</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a:solidFill>
                            <a:schemeClr val="bg1"/>
                          </a:solidFill>
                        </a:rPr>
                        <a:t>30</a:t>
                      </a:r>
                    </a:p>
                  </a:txBody>
                  <a:tcPr marL="0" marR="0" marT="0" marB="0" anchor="ctr">
                    <a:solidFill>
                      <a:schemeClr val="accent3"/>
                    </a:solidFill>
                  </a:tcPr>
                </a:tc>
                <a:tc>
                  <a:txBody>
                    <a:bodyPr/>
                    <a:lstStyle/>
                    <a:p>
                      <a:pPr algn="ctr"/>
                      <a:r>
                        <a:rPr lang="en-US" sz="1000">
                          <a:solidFill>
                            <a:schemeClr val="bg1"/>
                          </a:solidFill>
                        </a:rPr>
                        <a:t>31</a:t>
                      </a:r>
                    </a:p>
                  </a:txBody>
                  <a:tcPr marL="0" marR="0" marT="0" marB="0" anchor="ctr">
                    <a:solidFill>
                      <a:schemeClr val="accent3"/>
                    </a:solidFill>
                  </a:tcPr>
                </a:tc>
                <a:tc>
                  <a:txBody>
                    <a:bodyPr/>
                    <a:lstStyle/>
                    <a:p>
                      <a:pPr algn="ctr"/>
                      <a:r>
                        <a:rPr lang="en-US" sz="1000">
                          <a:solidFill>
                            <a:schemeClr val="bg1"/>
                          </a:solidFill>
                        </a:rPr>
                        <a:t>1</a:t>
                      </a:r>
                    </a:p>
                  </a:txBody>
                  <a:tcPr marL="0" marR="0" marT="0" marB="0" anchor="ctr">
                    <a:solidFill>
                      <a:schemeClr val="accent3"/>
                    </a:solidFill>
                  </a:tcPr>
                </a:tc>
                <a:tc>
                  <a:txBody>
                    <a:bodyPr/>
                    <a:lstStyle/>
                    <a:p>
                      <a:pPr algn="ctr"/>
                      <a:r>
                        <a:rPr lang="en-US" sz="1000">
                          <a:solidFill>
                            <a:schemeClr val="bg1"/>
                          </a:solidFill>
                        </a:rPr>
                        <a:t>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a:solidFill>
                            <a:schemeClr val="bg1"/>
                          </a:solidFill>
                        </a:rPr>
                        <a:t>5</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a:solidFill>
                            <a:schemeClr val="bg1"/>
                          </a:solidFill>
                        </a:rPr>
                        <a:t>6</a:t>
                      </a:r>
                    </a:p>
                  </a:txBody>
                  <a:tcPr marL="0" marR="0" marT="0" marB="0" anchor="ctr">
                    <a:solidFill>
                      <a:schemeClr val="accent3"/>
                    </a:solidFill>
                  </a:tcPr>
                </a:tc>
                <a:tc>
                  <a:txBody>
                    <a:bodyPr/>
                    <a:lstStyle/>
                    <a:p>
                      <a:pPr algn="ctr"/>
                      <a:r>
                        <a:rPr lang="en-US" sz="1000">
                          <a:solidFill>
                            <a:schemeClr val="bg1"/>
                          </a:solidFill>
                        </a:rPr>
                        <a:t>7</a:t>
                      </a:r>
                    </a:p>
                  </a:txBody>
                  <a:tcPr marL="0" marR="0" marT="0" marB="0" anchor="ctr">
                    <a:solidFill>
                      <a:schemeClr val="accent3"/>
                    </a:solidFill>
                  </a:tcPr>
                </a:tc>
                <a:tc>
                  <a:txBody>
                    <a:bodyPr/>
                    <a:lstStyle/>
                    <a:p>
                      <a:pPr algn="ctr"/>
                      <a:r>
                        <a:rPr lang="en-US" sz="1000">
                          <a:solidFill>
                            <a:schemeClr val="bg1"/>
                          </a:solidFill>
                        </a:rPr>
                        <a:t>8</a:t>
                      </a:r>
                    </a:p>
                  </a:txBody>
                  <a:tcPr marL="0" marR="0" marT="0" marB="0" anchor="ctr">
                    <a:solidFill>
                      <a:schemeClr val="accent3"/>
                    </a:solidFill>
                  </a:tcPr>
                </a:tc>
                <a:tc>
                  <a:txBody>
                    <a:bodyPr/>
                    <a:lstStyle/>
                    <a:p>
                      <a:pPr algn="ctr"/>
                      <a:r>
                        <a:rPr lang="en-US" sz="1000">
                          <a:solidFill>
                            <a:schemeClr val="bg1"/>
                          </a:solidFill>
                        </a:rPr>
                        <a:t>9</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a:solidFill>
                            <a:schemeClr val="bg1"/>
                          </a:solidFill>
                        </a:rPr>
                        <a:t>12</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a:solidFill>
                            <a:schemeClr val="bg1"/>
                          </a:solidFill>
                        </a:rPr>
                        <a:t>13</a:t>
                      </a:r>
                    </a:p>
                  </a:txBody>
                  <a:tcPr marL="0" marR="0" marT="0" marB="0" anchor="ctr">
                    <a:solidFill>
                      <a:schemeClr val="accent3"/>
                    </a:solidFill>
                  </a:tcPr>
                </a:tc>
                <a:tc>
                  <a:txBody>
                    <a:bodyPr/>
                    <a:lstStyle/>
                    <a:p>
                      <a:pPr algn="ctr"/>
                      <a:r>
                        <a:rPr lang="en-US" sz="1000">
                          <a:solidFill>
                            <a:schemeClr val="bg1"/>
                          </a:solidFill>
                        </a:rPr>
                        <a:t>14</a:t>
                      </a:r>
                    </a:p>
                  </a:txBody>
                  <a:tcPr marL="0" marR="0" marT="0" marB="0" anchor="ctr">
                    <a:solidFill>
                      <a:schemeClr val="accent3"/>
                    </a:solidFill>
                  </a:tcPr>
                </a:tc>
                <a:tc>
                  <a:txBody>
                    <a:bodyPr/>
                    <a:lstStyle/>
                    <a:p>
                      <a:pPr algn="ctr"/>
                      <a:r>
                        <a:rPr lang="en-US" sz="1000">
                          <a:solidFill>
                            <a:schemeClr val="bg1"/>
                          </a:solidFill>
                        </a:rPr>
                        <a:t>15</a:t>
                      </a:r>
                    </a:p>
                  </a:txBody>
                  <a:tcPr marL="0" marR="0" marT="0" marB="0" anchor="ctr">
                    <a:solidFill>
                      <a:schemeClr val="accent3"/>
                    </a:solidFill>
                  </a:tcPr>
                </a:tc>
                <a:tc>
                  <a:txBody>
                    <a:bodyPr/>
                    <a:lstStyle/>
                    <a:p>
                      <a:pPr algn="ctr"/>
                      <a:r>
                        <a:rPr lang="en-US" sz="1000">
                          <a:solidFill>
                            <a:schemeClr val="bg1"/>
                          </a:solidFill>
                        </a:rPr>
                        <a:t>16</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a:solidFill>
                            <a:schemeClr val="bg1"/>
                          </a:solidFill>
                        </a:rPr>
                        <a:t>19</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a:solidFill>
                            <a:schemeClr val="bg1"/>
                          </a:solidFill>
                        </a:rPr>
                        <a:t>20</a:t>
                      </a:r>
                    </a:p>
                  </a:txBody>
                  <a:tcPr marL="0" marR="0" marT="0" marB="0" anchor="ctr">
                    <a:solidFill>
                      <a:schemeClr val="accent3"/>
                    </a:solidFill>
                  </a:tcPr>
                </a:tc>
                <a:tc>
                  <a:txBody>
                    <a:bodyPr/>
                    <a:lstStyle/>
                    <a:p>
                      <a:pPr algn="ctr"/>
                      <a:r>
                        <a:rPr lang="en-US" sz="1000">
                          <a:solidFill>
                            <a:schemeClr val="bg1"/>
                          </a:solidFill>
                        </a:rPr>
                        <a:t>21</a:t>
                      </a:r>
                    </a:p>
                  </a:txBody>
                  <a:tcPr marL="0" marR="0" marT="0" marB="0" anchor="ctr">
                    <a:solidFill>
                      <a:schemeClr val="accent3"/>
                    </a:solidFill>
                  </a:tcPr>
                </a:tc>
                <a:tc>
                  <a:txBody>
                    <a:bodyPr/>
                    <a:lstStyle/>
                    <a:p>
                      <a:pPr algn="ctr"/>
                      <a:r>
                        <a:rPr lang="en-US" sz="1000">
                          <a:solidFill>
                            <a:schemeClr val="bg1"/>
                          </a:solidFill>
                        </a:rPr>
                        <a:t>22</a:t>
                      </a:r>
                    </a:p>
                  </a:txBody>
                  <a:tcPr marL="0" marR="0" marT="0" marB="0" anchor="ctr">
                    <a:solidFill>
                      <a:schemeClr val="accent3"/>
                    </a:solidFill>
                  </a:tcPr>
                </a:tc>
                <a:tc>
                  <a:txBody>
                    <a:bodyPr/>
                    <a:lstStyle/>
                    <a:p>
                      <a:pPr algn="ctr"/>
                      <a:r>
                        <a:rPr lang="en-US" sz="1000">
                          <a:solidFill>
                            <a:schemeClr val="bg1"/>
                          </a:solidFill>
                        </a:rPr>
                        <a:t>23</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a:solidFill>
                            <a:schemeClr val="bg1"/>
                          </a:solidFill>
                        </a:rPr>
                        <a:t>26</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a:solidFill>
                            <a:schemeClr val="bg1"/>
                          </a:solidFill>
                        </a:rPr>
                        <a:t>27</a:t>
                      </a:r>
                    </a:p>
                  </a:txBody>
                  <a:tcPr marL="0" marR="0" marT="0" marB="0" anchor="ctr">
                    <a:solidFill>
                      <a:schemeClr val="accent3"/>
                    </a:solidFill>
                  </a:tcPr>
                </a:tc>
                <a:tc>
                  <a:txBody>
                    <a:bodyPr/>
                    <a:lstStyle/>
                    <a:p>
                      <a:pPr algn="ctr"/>
                      <a:r>
                        <a:rPr lang="en-US" sz="1000">
                          <a:solidFill>
                            <a:schemeClr val="bg1"/>
                          </a:solidFill>
                        </a:rPr>
                        <a:t>28</a:t>
                      </a:r>
                    </a:p>
                  </a:txBody>
                  <a:tcPr marL="0" marR="0" marT="0" marB="0" anchor="ctr">
                    <a:solidFill>
                      <a:schemeClr val="accent3"/>
                    </a:solidFill>
                  </a:tcPr>
                </a:tc>
                <a:tc>
                  <a:txBody>
                    <a:bodyPr/>
                    <a:lstStyle/>
                    <a:p>
                      <a:pPr algn="ctr"/>
                      <a:r>
                        <a:rPr lang="en-US" sz="1000">
                          <a:solidFill>
                            <a:schemeClr val="bg1"/>
                          </a:solidFill>
                        </a:rPr>
                        <a:t>1</a:t>
                      </a:r>
                    </a:p>
                  </a:txBody>
                  <a:tcPr marL="0" marR="0" marT="0" marB="0" anchor="ctr">
                    <a:solidFill>
                      <a:schemeClr val="accent3"/>
                    </a:solidFill>
                  </a:tcPr>
                </a:tc>
                <a:tc>
                  <a:txBody>
                    <a:bodyPr/>
                    <a:lstStyle/>
                    <a:p>
                      <a:pPr algn="ctr"/>
                      <a:r>
                        <a:rPr lang="en-US" sz="1000">
                          <a:solidFill>
                            <a:schemeClr val="bg1"/>
                          </a:solidFill>
                        </a:rPr>
                        <a:t>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extLst>
                  <a:ext uri="{0D108BD9-81ED-4DB2-BD59-A6C34878D82A}">
                    <a16:rowId xmlns:a16="http://schemas.microsoft.com/office/drawing/2014/main" val="1256940629"/>
                  </a:ext>
                </a:extLst>
              </a:tr>
              <a:tr h="4052216">
                <a:tc>
                  <a:txBody>
                    <a:bodyPr/>
                    <a:lstStyle/>
                    <a:p>
                      <a:pPr algn="ctr"/>
                      <a:r>
                        <a:rPr lang="en-US">
                          <a:solidFill>
                            <a:schemeClr val="bg1"/>
                          </a:solidFill>
                        </a:rPr>
                        <a:t>Deliverables</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extLst>
                  <a:ext uri="{0D108BD9-81ED-4DB2-BD59-A6C34878D82A}">
                    <a16:rowId xmlns:a16="http://schemas.microsoft.com/office/drawing/2014/main" val="703523522"/>
                  </a:ext>
                </a:extLst>
              </a:tr>
              <a:tr h="767778">
                <a:tc>
                  <a:txBody>
                    <a:bodyPr/>
                    <a:lstStyle/>
                    <a:p>
                      <a:pPr algn="ctr"/>
                      <a:r>
                        <a:rPr lang="en-US">
                          <a:solidFill>
                            <a:schemeClr val="bg1"/>
                          </a:solidFill>
                        </a:rPr>
                        <a:t>PMO</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592029205"/>
                  </a:ext>
                </a:extLst>
              </a:tr>
              <a:tr h="867634">
                <a:tc>
                  <a:txBody>
                    <a:bodyPr/>
                    <a:lstStyle/>
                    <a:p>
                      <a:pPr algn="ctr"/>
                      <a:r>
                        <a:rPr lang="en-US" sz="900">
                          <a:solidFill>
                            <a:schemeClr val="bg1"/>
                          </a:solidFill>
                        </a:rPr>
                        <a:t>Key:</a:t>
                      </a:r>
                    </a:p>
                  </a:txBody>
                  <a:tcPr anchor="ctr">
                    <a:solidFill>
                      <a:schemeClr val="accent3"/>
                    </a:solidFill>
                  </a:tcPr>
                </a:tc>
                <a:tc gridSpan="45">
                  <a:txBody>
                    <a:bodyPr/>
                    <a:lstStyle/>
                    <a:p>
                      <a:pPr algn="ctr"/>
                      <a:endParaRPr lang="en-US" sz="1200"/>
                    </a:p>
                  </a:txBody>
                  <a:tcPr anchor="ctr">
                    <a:solidFill>
                      <a:srgbClr val="A3A3A3"/>
                    </a:solidFill>
                  </a:tcP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extLst>
                  <a:ext uri="{0D108BD9-81ED-4DB2-BD59-A6C34878D82A}">
                    <a16:rowId xmlns:a16="http://schemas.microsoft.com/office/drawing/2014/main" val="3541021785"/>
                  </a:ext>
                </a:extLst>
              </a:tr>
            </a:tbl>
          </a:graphicData>
        </a:graphic>
      </p:graphicFrame>
    </p:spTree>
    <p:extLst>
      <p:ext uri="{BB962C8B-B14F-4D97-AF65-F5344CB8AC3E}">
        <p14:creationId xmlns:p14="http://schemas.microsoft.com/office/powerpoint/2010/main" val="89292599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4960B-1C07-4BB5-B2C4-D2724F12C564}"/>
              </a:ext>
            </a:extLst>
          </p:cNvPr>
          <p:cNvSpPr>
            <a:spLocks noGrp="1"/>
          </p:cNvSpPr>
          <p:nvPr>
            <p:ph type="title"/>
          </p:nvPr>
        </p:nvSpPr>
        <p:spPr/>
        <p:txBody>
          <a:bodyPr/>
          <a:lstStyle/>
          <a:p>
            <a:r>
              <a:rPr lang="en-US"/>
              <a:t>Click to edit Master title style</a:t>
            </a:r>
            <a:endParaRPr lang="fr-CH"/>
          </a:p>
        </p:txBody>
      </p:sp>
      <p:sp>
        <p:nvSpPr>
          <p:cNvPr id="3" name="Date Placeholder 2">
            <a:extLst>
              <a:ext uri="{FF2B5EF4-FFF2-40B4-BE49-F238E27FC236}">
                <a16:creationId xmlns:a16="http://schemas.microsoft.com/office/drawing/2014/main" id="{0C4D5399-FD58-4EA8-8D95-CBA108AB6566}"/>
              </a:ext>
            </a:extLst>
          </p:cNvPr>
          <p:cNvSpPr>
            <a:spLocks noGrp="1"/>
          </p:cNvSpPr>
          <p:nvPr>
            <p:ph type="dt" sz="half" idx="10"/>
          </p:nvPr>
        </p:nvSpPr>
        <p:spPr/>
        <p:txBody>
          <a:bodyPr/>
          <a:lstStyle/>
          <a:p>
            <a:fld id="{52C8F2F6-3AF4-4ED4-946F-64D74418434B}" type="datetimeFigureOut">
              <a:rPr lang="fr-CH" smtClean="0"/>
              <a:t>26.09.2019</a:t>
            </a:fld>
            <a:endParaRPr lang="fr-CH"/>
          </a:p>
        </p:txBody>
      </p:sp>
      <p:sp>
        <p:nvSpPr>
          <p:cNvPr id="4" name="Footer Placeholder 3">
            <a:extLst>
              <a:ext uri="{FF2B5EF4-FFF2-40B4-BE49-F238E27FC236}">
                <a16:creationId xmlns:a16="http://schemas.microsoft.com/office/drawing/2014/main" id="{12567849-87E9-48E5-8F46-3F48E662C3A5}"/>
              </a:ext>
            </a:extLst>
          </p:cNvPr>
          <p:cNvSpPr>
            <a:spLocks noGrp="1"/>
          </p:cNvSpPr>
          <p:nvPr>
            <p:ph type="ftr" sz="quarter" idx="11"/>
          </p:nvPr>
        </p:nvSpPr>
        <p:spPr/>
        <p:txBody>
          <a:bodyPr/>
          <a:lstStyle/>
          <a:p>
            <a:endParaRPr lang="fr-CH"/>
          </a:p>
        </p:txBody>
      </p:sp>
      <p:sp>
        <p:nvSpPr>
          <p:cNvPr id="5" name="Slide Number Placeholder 4">
            <a:extLst>
              <a:ext uri="{FF2B5EF4-FFF2-40B4-BE49-F238E27FC236}">
                <a16:creationId xmlns:a16="http://schemas.microsoft.com/office/drawing/2014/main" id="{D24B28E4-F7F1-4851-8AD1-55FE326699AE}"/>
              </a:ext>
            </a:extLst>
          </p:cNvPr>
          <p:cNvSpPr>
            <a:spLocks noGrp="1"/>
          </p:cNvSpPr>
          <p:nvPr>
            <p:ph type="sldNum" sz="quarter" idx="12"/>
          </p:nvPr>
        </p:nvSpPr>
        <p:spPr/>
        <p:txBody>
          <a:bodyPr/>
          <a:lstStyle/>
          <a:p>
            <a:fld id="{19AB34F1-9614-4146-AAB5-3D64232A8AA2}" type="slidenum">
              <a:rPr lang="fr-CH" smtClean="0"/>
              <a:t>‹#›</a:t>
            </a:fld>
            <a:endParaRPr lang="fr-CH"/>
          </a:p>
        </p:txBody>
      </p:sp>
    </p:spTree>
    <p:extLst>
      <p:ext uri="{BB962C8B-B14F-4D97-AF65-F5344CB8AC3E}">
        <p14:creationId xmlns:p14="http://schemas.microsoft.com/office/powerpoint/2010/main" val="206465451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61648" y="6566926"/>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60218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01" eaLnBrk="0" hangingPunct="0"/>
            <a:r>
              <a:rPr lang="en-US" sz="687">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40307389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6"/>
            <a:ext cx="11653523" cy="1161472"/>
          </a:xfrm>
          <a:noFill/>
        </p:spPr>
        <p:txBody>
          <a:bodyPr tIns="91440" bIns="91440" anchor="t" anchorCtr="0">
            <a:spAutoFit/>
          </a:bodyPr>
          <a:lstStyle>
            <a:lvl1pPr>
              <a:defRPr sz="7053" spc="-99"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915740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6526126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D232E-21BD-4AF2-8235-532B9F98897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67F09AB-26F4-4613-9E87-C653C4DB07C3}"/>
              </a:ext>
            </a:extLst>
          </p:cNvPr>
          <p:cNvSpPr>
            <a:spLocks noGrp="1"/>
          </p:cNvSpPr>
          <p:nvPr>
            <p:ph type="subTitle" idx="1"/>
          </p:nvPr>
        </p:nvSpPr>
        <p:spPr>
          <a:xfrm>
            <a:off x="1524000" y="3602039"/>
            <a:ext cx="9144000" cy="517065"/>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479E2FE-1F3B-4653-B3E6-9F67EE3D919B}"/>
              </a:ext>
            </a:extLst>
          </p:cNvPr>
          <p:cNvSpPr>
            <a:spLocks noGrp="1"/>
          </p:cNvSpPr>
          <p:nvPr>
            <p:ph type="dt" sz="half" idx="10"/>
          </p:nvPr>
        </p:nvSpPr>
        <p:spPr/>
        <p:txBody>
          <a:bodyPr/>
          <a:lstStyle/>
          <a:p>
            <a:fld id="{41BD1DD2-31B4-4634-8A7D-3670EFBCA763}" type="datetimeFigureOut">
              <a:rPr lang="en-US" smtClean="0"/>
              <a:t>9/26/2019</a:t>
            </a:fld>
            <a:endParaRPr lang="en-US"/>
          </a:p>
        </p:txBody>
      </p:sp>
      <p:sp>
        <p:nvSpPr>
          <p:cNvPr id="5" name="Footer Placeholder 4">
            <a:extLst>
              <a:ext uri="{FF2B5EF4-FFF2-40B4-BE49-F238E27FC236}">
                <a16:creationId xmlns:a16="http://schemas.microsoft.com/office/drawing/2014/main" id="{437DB591-E23E-408A-A540-13F37F8B24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7DFB08-956E-43F2-8A7F-809D47EDA0A4}"/>
              </a:ext>
            </a:extLst>
          </p:cNvPr>
          <p:cNvSpPr>
            <a:spLocks noGrp="1"/>
          </p:cNvSpPr>
          <p:nvPr>
            <p:ph type="sldNum" sz="quarter" idx="12"/>
          </p:nvPr>
        </p:nvSpPr>
        <p:spPr/>
        <p:txBody>
          <a:bodyPr/>
          <a:lstStyle/>
          <a:p>
            <a:fld id="{9472E6DA-7508-4721-9BE8-5926FD7EEFB1}" type="slidenum">
              <a:rPr lang="en-US" smtClean="0"/>
              <a:t>‹#›</a:t>
            </a:fld>
            <a:endParaRPr lang="en-US"/>
          </a:p>
        </p:txBody>
      </p:sp>
    </p:spTree>
    <p:extLst>
      <p:ext uri="{BB962C8B-B14F-4D97-AF65-F5344CB8AC3E}">
        <p14:creationId xmlns:p14="http://schemas.microsoft.com/office/powerpoint/2010/main" val="22716897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A2C1AA5-B202-4844-A730-D439BDF8A0FB}"/>
              </a:ext>
            </a:extLst>
          </p:cNvPr>
          <p:cNvSpPr>
            <a:spLocks noGrp="1"/>
          </p:cNvSpPr>
          <p:nvPr>
            <p:ph type="dt" sz="half" idx="10"/>
          </p:nvPr>
        </p:nvSpPr>
        <p:spPr/>
        <p:txBody>
          <a:bodyPr/>
          <a:lstStyle/>
          <a:p>
            <a:fld id="{52C8F2F6-3AF4-4ED4-946F-64D74418434B}" type="datetimeFigureOut">
              <a:rPr lang="fr-CH" smtClean="0"/>
              <a:t>26.09.2019</a:t>
            </a:fld>
            <a:endParaRPr lang="fr-CH"/>
          </a:p>
        </p:txBody>
      </p:sp>
      <p:sp>
        <p:nvSpPr>
          <p:cNvPr id="3" name="Footer Placeholder 2">
            <a:extLst>
              <a:ext uri="{FF2B5EF4-FFF2-40B4-BE49-F238E27FC236}">
                <a16:creationId xmlns:a16="http://schemas.microsoft.com/office/drawing/2014/main" id="{57157EBC-F096-4AFF-A4A6-DDFA369A4DF0}"/>
              </a:ext>
            </a:extLst>
          </p:cNvPr>
          <p:cNvSpPr>
            <a:spLocks noGrp="1"/>
          </p:cNvSpPr>
          <p:nvPr>
            <p:ph type="ftr" sz="quarter" idx="11"/>
          </p:nvPr>
        </p:nvSpPr>
        <p:spPr/>
        <p:txBody>
          <a:bodyPr/>
          <a:lstStyle/>
          <a:p>
            <a:endParaRPr lang="fr-CH"/>
          </a:p>
        </p:txBody>
      </p:sp>
      <p:sp>
        <p:nvSpPr>
          <p:cNvPr id="4" name="Slide Number Placeholder 3">
            <a:extLst>
              <a:ext uri="{FF2B5EF4-FFF2-40B4-BE49-F238E27FC236}">
                <a16:creationId xmlns:a16="http://schemas.microsoft.com/office/drawing/2014/main" id="{DDAAF6CC-F0DE-4E12-BBE5-0D2ED145726A}"/>
              </a:ext>
            </a:extLst>
          </p:cNvPr>
          <p:cNvSpPr>
            <a:spLocks noGrp="1"/>
          </p:cNvSpPr>
          <p:nvPr>
            <p:ph type="sldNum" sz="quarter" idx="12"/>
          </p:nvPr>
        </p:nvSpPr>
        <p:spPr/>
        <p:txBody>
          <a:bodyPr/>
          <a:lstStyle/>
          <a:p>
            <a:fld id="{19AB34F1-9614-4146-AAB5-3D64232A8AA2}" type="slidenum">
              <a:rPr lang="fr-CH" smtClean="0"/>
              <a:t>‹#›</a:t>
            </a:fld>
            <a:endParaRPr lang="fr-CH"/>
          </a:p>
        </p:txBody>
      </p:sp>
    </p:spTree>
    <p:extLst>
      <p:ext uri="{BB962C8B-B14F-4D97-AF65-F5344CB8AC3E}">
        <p14:creationId xmlns:p14="http://schemas.microsoft.com/office/powerpoint/2010/main" val="376001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AB255-BDFE-4A45-835D-03C61A5455D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CH"/>
          </a:p>
        </p:txBody>
      </p:sp>
      <p:sp>
        <p:nvSpPr>
          <p:cNvPr id="3" name="Content Placeholder 2">
            <a:extLst>
              <a:ext uri="{FF2B5EF4-FFF2-40B4-BE49-F238E27FC236}">
                <a16:creationId xmlns:a16="http://schemas.microsoft.com/office/drawing/2014/main" id="{47300713-9330-4C7E-8C50-595D18D12E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Text Placeholder 3">
            <a:extLst>
              <a:ext uri="{FF2B5EF4-FFF2-40B4-BE49-F238E27FC236}">
                <a16:creationId xmlns:a16="http://schemas.microsoft.com/office/drawing/2014/main" id="{56AAE305-5617-459E-B834-C61F1E8542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D507801-06ED-4744-8E85-195A2808A4C8}"/>
              </a:ext>
            </a:extLst>
          </p:cNvPr>
          <p:cNvSpPr>
            <a:spLocks noGrp="1"/>
          </p:cNvSpPr>
          <p:nvPr>
            <p:ph type="dt" sz="half" idx="10"/>
          </p:nvPr>
        </p:nvSpPr>
        <p:spPr/>
        <p:txBody>
          <a:bodyPr/>
          <a:lstStyle/>
          <a:p>
            <a:fld id="{52C8F2F6-3AF4-4ED4-946F-64D74418434B}" type="datetimeFigureOut">
              <a:rPr lang="fr-CH" smtClean="0"/>
              <a:t>26.09.2019</a:t>
            </a:fld>
            <a:endParaRPr lang="fr-CH"/>
          </a:p>
        </p:txBody>
      </p:sp>
      <p:sp>
        <p:nvSpPr>
          <p:cNvPr id="6" name="Footer Placeholder 5">
            <a:extLst>
              <a:ext uri="{FF2B5EF4-FFF2-40B4-BE49-F238E27FC236}">
                <a16:creationId xmlns:a16="http://schemas.microsoft.com/office/drawing/2014/main" id="{970C5674-2472-4E57-B291-C76BE0D3525F}"/>
              </a:ext>
            </a:extLst>
          </p:cNvPr>
          <p:cNvSpPr>
            <a:spLocks noGrp="1"/>
          </p:cNvSpPr>
          <p:nvPr>
            <p:ph type="ftr" sz="quarter" idx="11"/>
          </p:nvPr>
        </p:nvSpPr>
        <p:spPr/>
        <p:txBody>
          <a:bodyPr/>
          <a:lstStyle/>
          <a:p>
            <a:endParaRPr lang="fr-CH"/>
          </a:p>
        </p:txBody>
      </p:sp>
      <p:sp>
        <p:nvSpPr>
          <p:cNvPr id="7" name="Slide Number Placeholder 6">
            <a:extLst>
              <a:ext uri="{FF2B5EF4-FFF2-40B4-BE49-F238E27FC236}">
                <a16:creationId xmlns:a16="http://schemas.microsoft.com/office/drawing/2014/main" id="{85D061EF-A38B-4A6D-8622-6F4E828B3526}"/>
              </a:ext>
            </a:extLst>
          </p:cNvPr>
          <p:cNvSpPr>
            <a:spLocks noGrp="1"/>
          </p:cNvSpPr>
          <p:nvPr>
            <p:ph type="sldNum" sz="quarter" idx="12"/>
          </p:nvPr>
        </p:nvSpPr>
        <p:spPr/>
        <p:txBody>
          <a:bodyPr/>
          <a:lstStyle/>
          <a:p>
            <a:fld id="{19AB34F1-9614-4146-AAB5-3D64232A8AA2}" type="slidenum">
              <a:rPr lang="fr-CH" smtClean="0"/>
              <a:t>‹#›</a:t>
            </a:fld>
            <a:endParaRPr lang="fr-CH"/>
          </a:p>
        </p:txBody>
      </p:sp>
    </p:spTree>
    <p:extLst>
      <p:ext uri="{BB962C8B-B14F-4D97-AF65-F5344CB8AC3E}">
        <p14:creationId xmlns:p14="http://schemas.microsoft.com/office/powerpoint/2010/main" val="26389666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891F2-787F-4F87-9502-6B01B0A7718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CH"/>
          </a:p>
        </p:txBody>
      </p:sp>
      <p:sp>
        <p:nvSpPr>
          <p:cNvPr id="3" name="Picture Placeholder 2">
            <a:extLst>
              <a:ext uri="{FF2B5EF4-FFF2-40B4-BE49-F238E27FC236}">
                <a16:creationId xmlns:a16="http://schemas.microsoft.com/office/drawing/2014/main" id="{BA9E7946-729D-406A-8D35-C5163D416E6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H"/>
          </a:p>
        </p:txBody>
      </p:sp>
      <p:sp>
        <p:nvSpPr>
          <p:cNvPr id="4" name="Text Placeholder 3">
            <a:extLst>
              <a:ext uri="{FF2B5EF4-FFF2-40B4-BE49-F238E27FC236}">
                <a16:creationId xmlns:a16="http://schemas.microsoft.com/office/drawing/2014/main" id="{2E2008FE-B2E4-44AA-99A1-655815954AE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9FDF0F9-E347-4463-B4A6-C196061055A1}"/>
              </a:ext>
            </a:extLst>
          </p:cNvPr>
          <p:cNvSpPr>
            <a:spLocks noGrp="1"/>
          </p:cNvSpPr>
          <p:nvPr>
            <p:ph type="dt" sz="half" idx="10"/>
          </p:nvPr>
        </p:nvSpPr>
        <p:spPr/>
        <p:txBody>
          <a:bodyPr/>
          <a:lstStyle/>
          <a:p>
            <a:fld id="{52C8F2F6-3AF4-4ED4-946F-64D74418434B}" type="datetimeFigureOut">
              <a:rPr lang="fr-CH" smtClean="0"/>
              <a:t>26.09.2019</a:t>
            </a:fld>
            <a:endParaRPr lang="fr-CH"/>
          </a:p>
        </p:txBody>
      </p:sp>
      <p:sp>
        <p:nvSpPr>
          <p:cNvPr id="6" name="Footer Placeholder 5">
            <a:extLst>
              <a:ext uri="{FF2B5EF4-FFF2-40B4-BE49-F238E27FC236}">
                <a16:creationId xmlns:a16="http://schemas.microsoft.com/office/drawing/2014/main" id="{704F440A-3A68-44CB-8AF6-4831D7A3C4F2}"/>
              </a:ext>
            </a:extLst>
          </p:cNvPr>
          <p:cNvSpPr>
            <a:spLocks noGrp="1"/>
          </p:cNvSpPr>
          <p:nvPr>
            <p:ph type="ftr" sz="quarter" idx="11"/>
          </p:nvPr>
        </p:nvSpPr>
        <p:spPr/>
        <p:txBody>
          <a:bodyPr/>
          <a:lstStyle/>
          <a:p>
            <a:endParaRPr lang="fr-CH"/>
          </a:p>
        </p:txBody>
      </p:sp>
      <p:sp>
        <p:nvSpPr>
          <p:cNvPr id="7" name="Slide Number Placeholder 6">
            <a:extLst>
              <a:ext uri="{FF2B5EF4-FFF2-40B4-BE49-F238E27FC236}">
                <a16:creationId xmlns:a16="http://schemas.microsoft.com/office/drawing/2014/main" id="{26929659-B9FC-4899-A27E-6626A48348C5}"/>
              </a:ext>
            </a:extLst>
          </p:cNvPr>
          <p:cNvSpPr>
            <a:spLocks noGrp="1"/>
          </p:cNvSpPr>
          <p:nvPr>
            <p:ph type="sldNum" sz="quarter" idx="12"/>
          </p:nvPr>
        </p:nvSpPr>
        <p:spPr/>
        <p:txBody>
          <a:bodyPr/>
          <a:lstStyle/>
          <a:p>
            <a:fld id="{19AB34F1-9614-4146-AAB5-3D64232A8AA2}" type="slidenum">
              <a:rPr lang="fr-CH" smtClean="0"/>
              <a:t>‹#›</a:t>
            </a:fld>
            <a:endParaRPr lang="fr-CH"/>
          </a:p>
        </p:txBody>
      </p:sp>
    </p:spTree>
    <p:extLst>
      <p:ext uri="{BB962C8B-B14F-4D97-AF65-F5344CB8AC3E}">
        <p14:creationId xmlns:p14="http://schemas.microsoft.com/office/powerpoint/2010/main" val="7508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image" Target="../media/image3.emf"/><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heme" Target="../theme/theme2.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image" Target="../media/image3.emf"/><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theme" Target="../theme/theme3.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BF6312E-C110-4DF0-829D-F7896995F08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fr-CH"/>
          </a:p>
        </p:txBody>
      </p:sp>
      <p:sp>
        <p:nvSpPr>
          <p:cNvPr id="3" name="Text Placeholder 2">
            <a:extLst>
              <a:ext uri="{FF2B5EF4-FFF2-40B4-BE49-F238E27FC236}">
                <a16:creationId xmlns:a16="http://schemas.microsoft.com/office/drawing/2014/main" id="{D5AB7D69-1720-4C79-9ACD-8DD4DA62770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Date Placeholder 3">
            <a:extLst>
              <a:ext uri="{FF2B5EF4-FFF2-40B4-BE49-F238E27FC236}">
                <a16:creationId xmlns:a16="http://schemas.microsoft.com/office/drawing/2014/main" id="{F2A5676A-6255-49F2-AEAF-C738D50A93B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C8F2F6-3AF4-4ED4-946F-64D74418434B}" type="datetimeFigureOut">
              <a:rPr lang="fr-CH" smtClean="0"/>
              <a:t>26.09.2019</a:t>
            </a:fld>
            <a:endParaRPr lang="fr-CH"/>
          </a:p>
        </p:txBody>
      </p:sp>
      <p:sp>
        <p:nvSpPr>
          <p:cNvPr id="5" name="Footer Placeholder 4">
            <a:extLst>
              <a:ext uri="{FF2B5EF4-FFF2-40B4-BE49-F238E27FC236}">
                <a16:creationId xmlns:a16="http://schemas.microsoft.com/office/drawing/2014/main" id="{B161061F-6BD8-4D08-BE3B-269D2AC8D05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CH"/>
          </a:p>
        </p:txBody>
      </p:sp>
      <p:sp>
        <p:nvSpPr>
          <p:cNvPr id="6" name="Slide Number Placeholder 5">
            <a:extLst>
              <a:ext uri="{FF2B5EF4-FFF2-40B4-BE49-F238E27FC236}">
                <a16:creationId xmlns:a16="http://schemas.microsoft.com/office/drawing/2014/main" id="{081DD2BE-47B3-4BAA-93B9-8A595B9CC52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AB34F1-9614-4146-AAB5-3D64232A8AA2}" type="slidenum">
              <a:rPr lang="fr-CH" smtClean="0"/>
              <a:t>‹#›</a:t>
            </a:fld>
            <a:endParaRPr lang="fr-CH"/>
          </a:p>
        </p:txBody>
      </p:sp>
    </p:spTree>
    <p:extLst>
      <p:ext uri="{BB962C8B-B14F-4D97-AF65-F5344CB8AC3E}">
        <p14:creationId xmlns:p14="http://schemas.microsoft.com/office/powerpoint/2010/main" val="34629169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85" r:id="rId13"/>
    <p:sldLayoutId id="2147483686" r:id="rId14"/>
    <p:sldLayoutId id="2147483687" r:id="rId15"/>
    <p:sldLayoutId id="2147483688" r:id="rId16"/>
    <p:sldLayoutId id="2147483696"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oolsToo_Slide" descr="ToolsToo_Slide">
            <a:extLst>
              <a:ext uri="{FF2B5EF4-FFF2-40B4-BE49-F238E27FC236}">
                <a16:creationId xmlns:a16="http://schemas.microsoft.com/office/drawing/2014/main" id="{A7CEC684-F70C-44C9-B239-8F821A82C79C}"/>
              </a:ext>
            </a:extLst>
          </p:cNvPr>
          <p:cNvSpPr/>
          <p:nvPr userDrawn="1"/>
        </p:nvSpPr>
        <p:spPr bwMode="auto">
          <a:xfrm>
            <a:off x="0" y="0"/>
            <a:ext cx="12192000" cy="6858000"/>
          </a:xfrm>
          <a:prstGeom prst="rect">
            <a:avLst/>
          </a:prstGeom>
          <a:noFill/>
          <a:ln>
            <a:noFill/>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82047124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Lst>
  <p:transition>
    <p:fade/>
  </p:transition>
  <p:txStyles>
    <p:titleStyle>
      <a:lvl1pPr algn="l" defTabSz="914367" rtl="0" eaLnBrk="1" latinLnBrk="0" hangingPunct="1">
        <a:lnSpc>
          <a:spcPct val="90000"/>
        </a:lnSpc>
        <a:spcBef>
          <a:spcPct val="0"/>
        </a:spcBef>
        <a:buNone/>
        <a:defRPr lang="en-US" sz="4000" b="0" strike="noStrike"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658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6"/>
          <a:stretch>
            <a:fillRect/>
          </a:stretch>
        </p:blipFill>
        <p:spPr>
          <a:xfrm rot="5400000">
            <a:off x="9187081" y="3012391"/>
            <a:ext cx="6858623" cy="833219"/>
          </a:xfrm>
          <a:prstGeom prst="rect">
            <a:avLst/>
          </a:prstGeom>
        </p:spPr>
      </p:pic>
    </p:spTree>
    <p:extLst>
      <p:ext uri="{BB962C8B-B14F-4D97-AF65-F5344CB8AC3E}">
        <p14:creationId xmlns:p14="http://schemas.microsoft.com/office/powerpoint/2010/main" val="1099219762"/>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Lst>
  <p:transition>
    <p:fade/>
  </p:transition>
  <p:txStyles>
    <p:titleStyle>
      <a:lvl1pPr algn="l" defTabSz="914344" rtl="0" eaLnBrk="1" latinLnBrk="0" hangingPunct="1">
        <a:lnSpc>
          <a:spcPct val="90000"/>
        </a:lnSpc>
        <a:spcBef>
          <a:spcPct val="0"/>
        </a:spcBef>
        <a:buNone/>
        <a:defRPr lang="en-US" sz="4400" b="0" strike="noStrike" kern="1200" cap="none" spc="-100" baseline="0" dirty="0" smtClean="0">
          <a:ln w="3175">
            <a:noFill/>
          </a:ln>
          <a:solidFill>
            <a:schemeClr val="tx1"/>
          </a:solidFill>
          <a:effectLst/>
          <a:latin typeface="+mj-lt"/>
          <a:ea typeface="+mn-ea"/>
          <a:cs typeface="Segoe UI" pitchFamily="34" charset="0"/>
        </a:defRPr>
      </a:lvl1pPr>
    </p:titleStyle>
    <p:bodyStyle>
      <a:lvl1pPr marL="224092" marR="0" indent="-224092" algn="l" defTabSz="91434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82" marR="0" indent="-224092" algn="l" defTabSz="91434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74" marR="0" indent="-224092" algn="l" defTabSz="91434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64" marR="0" indent="-224092" algn="l" defTabSz="91434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55" marR="0" indent="-224092" algn="l" defTabSz="91434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3" Type="http://schemas.openxmlformats.org/officeDocument/2006/relationships/image" Target="../media/image38.png"/><Relationship Id="rId18" Type="http://schemas.openxmlformats.org/officeDocument/2006/relationships/image" Target="../media/image43.svg"/><Relationship Id="rId26" Type="http://schemas.openxmlformats.org/officeDocument/2006/relationships/image" Target="../media/image51.svg"/><Relationship Id="rId3" Type="http://schemas.openxmlformats.org/officeDocument/2006/relationships/image" Target="../media/image28.png"/><Relationship Id="rId21" Type="http://schemas.openxmlformats.org/officeDocument/2006/relationships/image" Target="../media/image46.png"/><Relationship Id="rId34" Type="http://schemas.openxmlformats.org/officeDocument/2006/relationships/image" Target="../media/image59.svg"/><Relationship Id="rId7" Type="http://schemas.openxmlformats.org/officeDocument/2006/relationships/image" Target="../media/image32.png"/><Relationship Id="rId12" Type="http://schemas.openxmlformats.org/officeDocument/2006/relationships/image" Target="../media/image37.svg"/><Relationship Id="rId17" Type="http://schemas.openxmlformats.org/officeDocument/2006/relationships/image" Target="../media/image42.png"/><Relationship Id="rId25" Type="http://schemas.openxmlformats.org/officeDocument/2006/relationships/image" Target="../media/image50.png"/><Relationship Id="rId33" Type="http://schemas.openxmlformats.org/officeDocument/2006/relationships/image" Target="../media/image58.png"/><Relationship Id="rId2" Type="http://schemas.openxmlformats.org/officeDocument/2006/relationships/notesSlide" Target="../notesSlides/notesSlide15.xml"/><Relationship Id="rId16" Type="http://schemas.openxmlformats.org/officeDocument/2006/relationships/image" Target="../media/image41.svg"/><Relationship Id="rId20" Type="http://schemas.openxmlformats.org/officeDocument/2006/relationships/image" Target="../media/image45.svg"/><Relationship Id="rId29" Type="http://schemas.openxmlformats.org/officeDocument/2006/relationships/image" Target="../media/image54.png"/><Relationship Id="rId1" Type="http://schemas.openxmlformats.org/officeDocument/2006/relationships/slideLayout" Target="../slideLayouts/slideLayout2.xml"/><Relationship Id="rId6" Type="http://schemas.openxmlformats.org/officeDocument/2006/relationships/image" Target="../media/image31.svg"/><Relationship Id="rId11" Type="http://schemas.openxmlformats.org/officeDocument/2006/relationships/image" Target="../media/image36.png"/><Relationship Id="rId24" Type="http://schemas.openxmlformats.org/officeDocument/2006/relationships/image" Target="../media/image49.svg"/><Relationship Id="rId32" Type="http://schemas.openxmlformats.org/officeDocument/2006/relationships/image" Target="../media/image57.svg"/><Relationship Id="rId5" Type="http://schemas.openxmlformats.org/officeDocument/2006/relationships/image" Target="../media/image30.png"/><Relationship Id="rId15" Type="http://schemas.openxmlformats.org/officeDocument/2006/relationships/image" Target="../media/image40.png"/><Relationship Id="rId23" Type="http://schemas.openxmlformats.org/officeDocument/2006/relationships/image" Target="../media/image48.png"/><Relationship Id="rId28" Type="http://schemas.openxmlformats.org/officeDocument/2006/relationships/image" Target="../media/image53.svg"/><Relationship Id="rId36" Type="http://schemas.openxmlformats.org/officeDocument/2006/relationships/image" Target="../media/image61.svg"/><Relationship Id="rId10" Type="http://schemas.openxmlformats.org/officeDocument/2006/relationships/image" Target="../media/image35.svg"/><Relationship Id="rId19" Type="http://schemas.openxmlformats.org/officeDocument/2006/relationships/image" Target="../media/image44.png"/><Relationship Id="rId31" Type="http://schemas.openxmlformats.org/officeDocument/2006/relationships/image" Target="../media/image56.png"/><Relationship Id="rId4" Type="http://schemas.openxmlformats.org/officeDocument/2006/relationships/image" Target="../media/image29.svg"/><Relationship Id="rId9" Type="http://schemas.openxmlformats.org/officeDocument/2006/relationships/image" Target="../media/image34.png"/><Relationship Id="rId14" Type="http://schemas.openxmlformats.org/officeDocument/2006/relationships/image" Target="../media/image39.svg"/><Relationship Id="rId22" Type="http://schemas.openxmlformats.org/officeDocument/2006/relationships/image" Target="../media/image47.svg"/><Relationship Id="rId27" Type="http://schemas.openxmlformats.org/officeDocument/2006/relationships/image" Target="../media/image52.png"/><Relationship Id="rId30" Type="http://schemas.openxmlformats.org/officeDocument/2006/relationships/image" Target="../media/image55.svg"/><Relationship Id="rId35" Type="http://schemas.openxmlformats.org/officeDocument/2006/relationships/image" Target="../media/image60.png"/><Relationship Id="rId8" Type="http://schemas.openxmlformats.org/officeDocument/2006/relationships/image" Target="../media/image33.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png"/><Relationship Id="rId18" Type="http://schemas.openxmlformats.org/officeDocument/2006/relationships/image" Target="../media/image77.png"/><Relationship Id="rId3" Type="http://schemas.openxmlformats.org/officeDocument/2006/relationships/image" Target="../media/image62.jpg"/><Relationship Id="rId7" Type="http://schemas.openxmlformats.org/officeDocument/2006/relationships/image" Target="../media/image66.png"/><Relationship Id="rId12" Type="http://schemas.openxmlformats.org/officeDocument/2006/relationships/image" Target="../media/image71.png"/><Relationship Id="rId17" Type="http://schemas.openxmlformats.org/officeDocument/2006/relationships/image" Target="../media/image76.png"/><Relationship Id="rId2" Type="http://schemas.openxmlformats.org/officeDocument/2006/relationships/notesSlide" Target="../notesSlides/notesSlide19.xml"/><Relationship Id="rId16" Type="http://schemas.openxmlformats.org/officeDocument/2006/relationships/image" Target="../media/image75.png"/><Relationship Id="rId20" Type="http://schemas.openxmlformats.org/officeDocument/2006/relationships/image" Target="../media/image79.png"/><Relationship Id="rId1" Type="http://schemas.openxmlformats.org/officeDocument/2006/relationships/slideLayout" Target="../slideLayouts/slideLayout1.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64.png"/><Relationship Id="rId15" Type="http://schemas.openxmlformats.org/officeDocument/2006/relationships/image" Target="../media/image74.png"/><Relationship Id="rId10" Type="http://schemas.openxmlformats.org/officeDocument/2006/relationships/image" Target="../media/image69.png"/><Relationship Id="rId19" Type="http://schemas.openxmlformats.org/officeDocument/2006/relationships/image" Target="../media/image78.png"/><Relationship Id="rId4" Type="http://schemas.openxmlformats.org/officeDocument/2006/relationships/image" Target="../media/image63.png"/><Relationship Id="rId9" Type="http://schemas.openxmlformats.org/officeDocument/2006/relationships/image" Target="../media/image68.png"/><Relationship Id="rId14" Type="http://schemas.openxmlformats.org/officeDocument/2006/relationships/image" Target="../media/image73.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84.png"/></Relationships>
</file>

<file path=ppt/slides/_rels/slide26.xml.rels><?xml version="1.0" encoding="UTF-8" standalone="yes"?>
<Relationships xmlns="http://schemas.openxmlformats.org/package/2006/relationships"><Relationship Id="rId3" Type="http://schemas.openxmlformats.org/officeDocument/2006/relationships/hyperlink" Target="https://github.com/anaig" TargetMode="External"/><Relationship Id="rId2" Type="http://schemas.openxmlformats.org/officeDocument/2006/relationships/hyperlink" Target="https://azure.microsoft.com/en-us/free/students/" TargetMode="Externa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6.xml"/><Relationship Id="rId1" Type="http://schemas.openxmlformats.org/officeDocument/2006/relationships/slideLayout" Target="../slideLayouts/slideLayout64.xml"/><Relationship Id="rId5" Type="http://schemas.openxmlformats.org/officeDocument/2006/relationships/image" Target="../media/image86.png"/><Relationship Id="rId4" Type="http://schemas.microsoft.com/office/2007/relationships/hdphoto" Target="../media/hdphoto1.wdp"/></Relationships>
</file>

<file path=ppt/slides/_rels/slide28.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slideLayout" Target="../slideLayouts/slideLayout50.xml"/><Relationship Id="rId7" Type="http://schemas.openxmlformats.org/officeDocument/2006/relationships/image" Target="../media/image8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7.emf"/><Relationship Id="rId5" Type="http://schemas.openxmlformats.org/officeDocument/2006/relationships/oleObject" Target="../embeddings/oleObject1.bin"/><Relationship Id="rId4"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28.xml"/><Relationship Id="rId1" Type="http://schemas.openxmlformats.org/officeDocument/2006/relationships/slideLayout" Target="../slideLayouts/slideLayout64.xml"/><Relationship Id="rId4" Type="http://schemas.openxmlformats.org/officeDocument/2006/relationships/image" Target="../media/image9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8" Type="http://schemas.openxmlformats.org/officeDocument/2006/relationships/image" Target="../media/image95.svg"/><Relationship Id="rId13" Type="http://schemas.openxmlformats.org/officeDocument/2006/relationships/image" Target="../media/image99.svg"/><Relationship Id="rId3" Type="http://schemas.openxmlformats.org/officeDocument/2006/relationships/image" Target="../media/image88.png"/><Relationship Id="rId7" Type="http://schemas.openxmlformats.org/officeDocument/2006/relationships/image" Target="../media/image94.png"/><Relationship Id="rId12" Type="http://schemas.openxmlformats.org/officeDocument/2006/relationships/image" Target="../media/image98.png"/><Relationship Id="rId17" Type="http://schemas.openxmlformats.org/officeDocument/2006/relationships/image" Target="../media/image103.svg"/><Relationship Id="rId2" Type="http://schemas.openxmlformats.org/officeDocument/2006/relationships/notesSlide" Target="../notesSlides/notesSlide29.xml"/><Relationship Id="rId16" Type="http://schemas.openxmlformats.org/officeDocument/2006/relationships/image" Target="../media/image102.png"/><Relationship Id="rId1" Type="http://schemas.openxmlformats.org/officeDocument/2006/relationships/slideLayout" Target="../slideLayouts/slideLayout51.xml"/><Relationship Id="rId6" Type="http://schemas.openxmlformats.org/officeDocument/2006/relationships/image" Target="../media/image93.svg"/><Relationship Id="rId11" Type="http://schemas.openxmlformats.org/officeDocument/2006/relationships/image" Target="../media/image91.png"/><Relationship Id="rId5" Type="http://schemas.openxmlformats.org/officeDocument/2006/relationships/image" Target="../media/image92.png"/><Relationship Id="rId15" Type="http://schemas.openxmlformats.org/officeDocument/2006/relationships/image" Target="../media/image101.svg"/><Relationship Id="rId10" Type="http://schemas.openxmlformats.org/officeDocument/2006/relationships/image" Target="../media/image97.svg"/><Relationship Id="rId4" Type="http://schemas.openxmlformats.org/officeDocument/2006/relationships/image" Target="../media/image89.svg"/><Relationship Id="rId9" Type="http://schemas.openxmlformats.org/officeDocument/2006/relationships/image" Target="../media/image96.png"/><Relationship Id="rId14" Type="http://schemas.openxmlformats.org/officeDocument/2006/relationships/image" Target="../media/image100.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24.emf"/><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image" Target="../media/image25.wmf"/><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2B30FD5-C824-4E3A-BC5F-F484F68E19F1}"/>
              </a:ext>
            </a:extLst>
          </p:cNvPr>
          <p:cNvSpPr>
            <a:spLocks noGrp="1"/>
          </p:cNvSpPr>
          <p:nvPr>
            <p:ph type="title"/>
          </p:nvPr>
        </p:nvSpPr>
        <p:spPr>
          <a:xfrm>
            <a:off x="269302" y="2084187"/>
            <a:ext cx="8964185" cy="1793090"/>
          </a:xfrm>
        </p:spPr>
        <p:txBody>
          <a:bodyPr/>
          <a:lstStyle/>
          <a:p>
            <a:r>
              <a:rPr lang="en-US">
                <a:solidFill>
                  <a:schemeClr val="tx1"/>
                </a:solidFill>
              </a:rPr>
              <a:t>Building </a:t>
            </a:r>
            <a:br>
              <a:rPr lang="en-US">
                <a:solidFill>
                  <a:schemeClr val="tx1"/>
                </a:solidFill>
              </a:rPr>
            </a:br>
            <a:r>
              <a:rPr lang="en-US">
                <a:solidFill>
                  <a:schemeClr val="tx1"/>
                </a:solidFill>
              </a:rPr>
              <a:t>on blockchain</a:t>
            </a:r>
          </a:p>
        </p:txBody>
      </p:sp>
      <p:sp>
        <p:nvSpPr>
          <p:cNvPr id="31" name="Rectangle 30">
            <a:extLst>
              <a:ext uri="{FF2B5EF4-FFF2-40B4-BE49-F238E27FC236}">
                <a16:creationId xmlns:a16="http://schemas.microsoft.com/office/drawing/2014/main" id="{2557538E-C5FE-462C-B597-7AD77D85996A}"/>
              </a:ext>
            </a:extLst>
          </p:cNvPr>
          <p:cNvSpPr/>
          <p:nvPr/>
        </p:nvSpPr>
        <p:spPr bwMode="auto">
          <a:xfrm>
            <a:off x="446122" y="5503757"/>
            <a:ext cx="6009442" cy="4668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IN" sz="2400" b="0" i="0" u="none" strike="noStrike" kern="1200" cap="none" spc="0" normalizeH="0" baseline="0" noProof="0" dirty="0">
                <a:ln>
                  <a:noFill/>
                </a:ln>
                <a:solidFill>
                  <a:srgbClr val="353535">
                    <a:lumMod val="20000"/>
                    <a:lumOff val="80000"/>
                  </a:srgbClr>
                </a:solidFill>
                <a:effectLst/>
                <a:uLnTx/>
                <a:uFillTx/>
                <a:latin typeface="Segoe UI Semilight"/>
                <a:ea typeface="Segoe UI" pitchFamily="34" charset="0"/>
                <a:cs typeface="Segoe UI" pitchFamily="34" charset="0"/>
              </a:rPr>
              <a:t>Anaig Marechal, Software Engineer 	</a:t>
            </a:r>
            <a:endParaRPr kumimoji="0" lang="en-US" sz="2400" b="0" i="0" u="none" strike="noStrike" kern="1200" cap="none" spc="0" normalizeH="0" baseline="0" noProof="0" dirty="0">
              <a:ln>
                <a:noFill/>
              </a:ln>
              <a:solidFill>
                <a:srgbClr val="353535">
                  <a:lumMod val="20000"/>
                  <a:lumOff val="80000"/>
                </a:srgbClr>
              </a:solidFill>
              <a:effectLst/>
              <a:uLnTx/>
              <a:uFillTx/>
              <a:latin typeface="Segoe UI Semi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3E370F67-108A-4758-9FCB-7C01367ACD6D}"/>
              </a:ext>
            </a:extLst>
          </p:cNvPr>
          <p:cNvSpPr/>
          <p:nvPr/>
        </p:nvSpPr>
        <p:spPr bwMode="auto">
          <a:xfrm>
            <a:off x="446122" y="6099405"/>
            <a:ext cx="6009442" cy="451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IN" sz="2400" b="0" i="0" u="none" strike="noStrike" kern="1200" cap="none" spc="0" normalizeH="0" baseline="0" noProof="0" dirty="0">
                <a:ln>
                  <a:noFill/>
                </a:ln>
                <a:solidFill>
                  <a:srgbClr val="353535">
                    <a:lumMod val="20000"/>
                    <a:lumOff val="80000"/>
                  </a:srgbClr>
                </a:solidFill>
                <a:effectLst/>
                <a:uLnTx/>
                <a:uFillTx/>
                <a:latin typeface="Segoe UI Semilight"/>
                <a:ea typeface="Segoe UI" pitchFamily="34" charset="0"/>
                <a:cs typeface="Segoe UI" pitchFamily="34" charset="0"/>
              </a:rPr>
              <a:t>26.09.2019</a:t>
            </a:r>
            <a:endParaRPr kumimoji="0" lang="en-US" sz="2400" b="0" i="0" u="none" strike="noStrike" kern="1200" cap="none" spc="0" normalizeH="0" baseline="0" noProof="0" dirty="0">
              <a:ln>
                <a:noFill/>
              </a:ln>
              <a:solidFill>
                <a:srgbClr val="353535">
                  <a:lumMod val="20000"/>
                  <a:lumOff val="80000"/>
                </a:srgbClr>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71707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39AC117A-AF3A-4C00-8297-5FA4B4E88723}"/>
              </a:ext>
            </a:extLst>
          </p:cNvPr>
          <p:cNvCxnSpPr/>
          <p:nvPr/>
        </p:nvCxnSpPr>
        <p:spPr>
          <a:xfrm>
            <a:off x="2273198" y="2435147"/>
            <a:ext cx="0" cy="3398265"/>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EDB6D91-9F26-48AE-ABC7-8E6C32E733A1}"/>
              </a:ext>
            </a:extLst>
          </p:cNvPr>
          <p:cNvCxnSpPr/>
          <p:nvPr/>
        </p:nvCxnSpPr>
        <p:spPr>
          <a:xfrm>
            <a:off x="4184600" y="2435147"/>
            <a:ext cx="0" cy="3398265"/>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A3567C4-BC3B-4C95-BBFD-F06922C41A2D}"/>
              </a:ext>
            </a:extLst>
          </p:cNvPr>
          <p:cNvCxnSpPr/>
          <p:nvPr/>
        </p:nvCxnSpPr>
        <p:spPr>
          <a:xfrm>
            <a:off x="6096002" y="2435147"/>
            <a:ext cx="0" cy="3398265"/>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C096C61-E005-4E3D-8902-21A5AA09E30F}"/>
              </a:ext>
            </a:extLst>
          </p:cNvPr>
          <p:cNvCxnSpPr/>
          <p:nvPr/>
        </p:nvCxnSpPr>
        <p:spPr>
          <a:xfrm>
            <a:off x="8007404" y="2435147"/>
            <a:ext cx="0" cy="3398265"/>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7ED0BE1-0077-4611-9C86-F1D733C359A9}"/>
              </a:ext>
            </a:extLst>
          </p:cNvPr>
          <p:cNvCxnSpPr/>
          <p:nvPr/>
        </p:nvCxnSpPr>
        <p:spPr>
          <a:xfrm>
            <a:off x="9918806" y="2435147"/>
            <a:ext cx="0" cy="3398265"/>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681">
            <a:extLst>
              <a:ext uri="{FF2B5EF4-FFF2-40B4-BE49-F238E27FC236}">
                <a16:creationId xmlns:a16="http://schemas.microsoft.com/office/drawing/2014/main" id="{1F33433C-E558-4E08-B65D-F97CAC97F716}"/>
              </a:ext>
            </a:extLst>
          </p:cNvPr>
          <p:cNvSpPr/>
          <p:nvPr/>
        </p:nvSpPr>
        <p:spPr bwMode="auto">
          <a:xfrm>
            <a:off x="2368601" y="3189065"/>
            <a:ext cx="1720594" cy="261935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lvl="0" algn="ctr" defTabSz="951028" fontAlgn="base">
              <a:spcBef>
                <a:spcPct val="0"/>
              </a:spcBef>
              <a:spcAft>
                <a:spcPts val="1000"/>
              </a:spcAft>
              <a:defRPr/>
            </a:pPr>
            <a:r>
              <a:rPr lang="en-US" sz="1100" kern="0">
                <a:cs typeface="Segoe UI" pitchFamily="34" charset="0"/>
              </a:rPr>
              <a:t>Loyalty tracking</a:t>
            </a:r>
          </a:p>
          <a:p>
            <a:pPr lvl="0" algn="ctr" defTabSz="951028" fontAlgn="base">
              <a:spcBef>
                <a:spcPct val="0"/>
              </a:spcBef>
              <a:spcAft>
                <a:spcPts val="1000"/>
              </a:spcAft>
              <a:defRPr/>
            </a:pPr>
            <a:r>
              <a:rPr lang="en-US" sz="1100" kern="0">
                <a:cs typeface="Segoe UI" pitchFamily="34" charset="0"/>
              </a:rPr>
              <a:t>Product provenance</a:t>
            </a:r>
          </a:p>
          <a:p>
            <a:pPr lvl="0" algn="ctr" defTabSz="951028" fontAlgn="base">
              <a:spcBef>
                <a:spcPct val="0"/>
              </a:spcBef>
              <a:spcAft>
                <a:spcPts val="1000"/>
              </a:spcAft>
              <a:defRPr/>
            </a:pPr>
            <a:r>
              <a:rPr lang="en-US" sz="1100" kern="0">
                <a:cs typeface="Segoe UI" pitchFamily="34" charset="0"/>
              </a:rPr>
              <a:t>Logistics management</a:t>
            </a:r>
          </a:p>
          <a:p>
            <a:pPr lvl="0" algn="ctr" defTabSz="951028" fontAlgn="base">
              <a:spcBef>
                <a:spcPct val="0"/>
              </a:spcBef>
              <a:spcAft>
                <a:spcPts val="1000"/>
              </a:spcAft>
              <a:defRPr/>
            </a:pPr>
            <a:r>
              <a:rPr lang="en-US" sz="1100" kern="0">
                <a:cs typeface="Segoe UI" pitchFamily="34" charset="0"/>
              </a:rPr>
              <a:t>Digital rewards</a:t>
            </a:r>
          </a:p>
          <a:p>
            <a:pPr lvl="0" algn="ctr" defTabSz="951028" fontAlgn="base">
              <a:spcBef>
                <a:spcPct val="0"/>
              </a:spcBef>
              <a:spcAft>
                <a:spcPts val="1000"/>
              </a:spcAft>
              <a:defRPr/>
            </a:pPr>
            <a:r>
              <a:rPr lang="en-US" sz="1100" kern="0">
                <a:cs typeface="Segoe UI" pitchFamily="34" charset="0"/>
              </a:rPr>
              <a:t>P2P selling</a:t>
            </a:r>
          </a:p>
          <a:p>
            <a:pPr lvl="0" algn="ctr" defTabSz="951028" fontAlgn="base">
              <a:spcBef>
                <a:spcPct val="0"/>
              </a:spcBef>
              <a:spcAft>
                <a:spcPts val="1000"/>
              </a:spcAft>
              <a:defRPr/>
            </a:pPr>
            <a:r>
              <a:rPr lang="en-US" sz="1100" kern="0">
                <a:cs typeface="Segoe UI" pitchFamily="34" charset="0"/>
              </a:rPr>
              <a:t>Ticket purchases</a:t>
            </a:r>
          </a:p>
        </p:txBody>
      </p:sp>
      <p:sp>
        <p:nvSpPr>
          <p:cNvPr id="26" name="Rectangle 712">
            <a:extLst>
              <a:ext uri="{FF2B5EF4-FFF2-40B4-BE49-F238E27FC236}">
                <a16:creationId xmlns:a16="http://schemas.microsoft.com/office/drawing/2014/main" id="{F8FEB6C3-137E-4505-80AC-28E9A3976F57}"/>
              </a:ext>
            </a:extLst>
          </p:cNvPr>
          <p:cNvSpPr/>
          <p:nvPr/>
        </p:nvSpPr>
        <p:spPr bwMode="auto">
          <a:xfrm>
            <a:off x="457200" y="3189065"/>
            <a:ext cx="1720594" cy="261935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lvl="0" algn="ctr" defTabSz="951028" fontAlgn="base">
              <a:spcBef>
                <a:spcPct val="0"/>
              </a:spcBef>
              <a:spcAft>
                <a:spcPts val="1000"/>
              </a:spcAft>
              <a:defRPr/>
            </a:pPr>
            <a:r>
              <a:rPr lang="en-US" sz="1100" kern="0">
                <a:cs typeface="Segoe UI" pitchFamily="34" charset="0"/>
              </a:rPr>
              <a:t>Asset tracking</a:t>
            </a:r>
          </a:p>
          <a:p>
            <a:pPr lvl="0" algn="ctr" defTabSz="951028" fontAlgn="base">
              <a:spcBef>
                <a:spcPct val="0"/>
              </a:spcBef>
              <a:spcAft>
                <a:spcPts val="1000"/>
              </a:spcAft>
              <a:defRPr/>
            </a:pPr>
            <a:r>
              <a:rPr lang="en-US" sz="1100" kern="0">
                <a:cs typeface="Segoe UI" pitchFamily="34" charset="0"/>
              </a:rPr>
              <a:t>Real-time auction for supplier contracts</a:t>
            </a:r>
          </a:p>
          <a:p>
            <a:pPr lvl="0" algn="ctr" defTabSz="951028" fontAlgn="base">
              <a:spcBef>
                <a:spcPct val="0"/>
              </a:spcBef>
              <a:spcAft>
                <a:spcPts val="1000"/>
              </a:spcAft>
              <a:defRPr/>
            </a:pPr>
            <a:r>
              <a:rPr lang="en-US" sz="1100" kern="0">
                <a:cs typeface="Segoe UI" pitchFamily="34" charset="0"/>
              </a:rPr>
              <a:t>Supply chain transparency</a:t>
            </a:r>
          </a:p>
          <a:p>
            <a:pPr lvl="0" algn="ctr" defTabSz="951028" fontAlgn="base">
              <a:spcBef>
                <a:spcPct val="0"/>
              </a:spcBef>
              <a:spcAft>
                <a:spcPts val="1000"/>
              </a:spcAft>
              <a:defRPr/>
            </a:pPr>
            <a:r>
              <a:rPr lang="en-US" sz="1100" kern="0">
                <a:cs typeface="Segoe UI" pitchFamily="34" charset="0"/>
              </a:rPr>
              <a:t>Dynamic commodities pricing</a:t>
            </a:r>
          </a:p>
        </p:txBody>
      </p:sp>
      <p:sp>
        <p:nvSpPr>
          <p:cNvPr id="27" name="Rectangle 713">
            <a:extLst>
              <a:ext uri="{FF2B5EF4-FFF2-40B4-BE49-F238E27FC236}">
                <a16:creationId xmlns:a16="http://schemas.microsoft.com/office/drawing/2014/main" id="{2E95AF42-0AEC-45CA-8D8B-AEBAB32183EC}"/>
              </a:ext>
            </a:extLst>
          </p:cNvPr>
          <p:cNvSpPr/>
          <p:nvPr/>
        </p:nvSpPr>
        <p:spPr bwMode="auto">
          <a:xfrm>
            <a:off x="4280002" y="3189065"/>
            <a:ext cx="1720594" cy="261935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lvl="0" algn="ctr" defTabSz="951028" fontAlgn="base">
              <a:spcBef>
                <a:spcPct val="0"/>
              </a:spcBef>
              <a:spcAft>
                <a:spcPts val="1000"/>
              </a:spcAft>
              <a:defRPr/>
            </a:pPr>
            <a:r>
              <a:rPr lang="en-US" sz="1100" kern="0">
                <a:cs typeface="Segoe UI" pitchFamily="34" charset="0"/>
              </a:rPr>
              <a:t>Claims management</a:t>
            </a:r>
          </a:p>
          <a:p>
            <a:pPr lvl="0" algn="ctr" defTabSz="951028" fontAlgn="base">
              <a:spcBef>
                <a:spcPct val="0"/>
              </a:spcBef>
              <a:spcAft>
                <a:spcPts val="1000"/>
              </a:spcAft>
              <a:defRPr/>
            </a:pPr>
            <a:r>
              <a:rPr lang="en-US" sz="1100" kern="0">
                <a:cs typeface="Segoe UI" pitchFamily="34" charset="0"/>
              </a:rPr>
              <a:t>MBS/Property payments</a:t>
            </a:r>
          </a:p>
          <a:p>
            <a:pPr lvl="0" algn="ctr" defTabSz="951028" fontAlgn="base">
              <a:spcBef>
                <a:spcPct val="0"/>
              </a:spcBef>
              <a:spcAft>
                <a:spcPts val="1000"/>
              </a:spcAft>
              <a:defRPr/>
            </a:pPr>
            <a:r>
              <a:rPr lang="en-US" sz="1100" kern="0">
                <a:cs typeface="Segoe UI" pitchFamily="34" charset="0"/>
              </a:rPr>
              <a:t>Fraud detection</a:t>
            </a:r>
          </a:p>
          <a:p>
            <a:pPr lvl="0" algn="ctr" defTabSz="951028" fontAlgn="base">
              <a:spcBef>
                <a:spcPct val="0"/>
              </a:spcBef>
              <a:spcAft>
                <a:spcPts val="1000"/>
              </a:spcAft>
              <a:defRPr/>
            </a:pPr>
            <a:r>
              <a:rPr lang="en-US" sz="1100" kern="0">
                <a:cs typeface="Segoe UI" pitchFamily="34" charset="0"/>
              </a:rPr>
              <a:t>Automated underwriting</a:t>
            </a:r>
          </a:p>
          <a:p>
            <a:pPr lvl="0" algn="ctr" defTabSz="951028" fontAlgn="base">
              <a:spcBef>
                <a:spcPct val="0"/>
              </a:spcBef>
              <a:spcAft>
                <a:spcPts val="1000"/>
              </a:spcAft>
              <a:defRPr/>
            </a:pPr>
            <a:r>
              <a:rPr lang="en-US" sz="1100" kern="0">
                <a:cs typeface="Segoe UI" pitchFamily="34" charset="0"/>
              </a:rPr>
              <a:t>Risk visualizations</a:t>
            </a:r>
          </a:p>
        </p:txBody>
      </p:sp>
      <p:sp>
        <p:nvSpPr>
          <p:cNvPr id="28" name="Rectangle 714">
            <a:extLst>
              <a:ext uri="{FF2B5EF4-FFF2-40B4-BE49-F238E27FC236}">
                <a16:creationId xmlns:a16="http://schemas.microsoft.com/office/drawing/2014/main" id="{DB043585-BA10-4AFA-9BA8-8AE4995EA391}"/>
              </a:ext>
            </a:extLst>
          </p:cNvPr>
          <p:cNvSpPr/>
          <p:nvPr/>
        </p:nvSpPr>
        <p:spPr bwMode="auto">
          <a:xfrm>
            <a:off x="8102804" y="3189065"/>
            <a:ext cx="1720594" cy="261935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lvl="0" algn="ctr" defTabSz="951028" fontAlgn="base">
              <a:spcBef>
                <a:spcPct val="0"/>
              </a:spcBef>
              <a:spcAft>
                <a:spcPts val="1000"/>
              </a:spcAft>
              <a:defRPr/>
            </a:pPr>
            <a:r>
              <a:rPr lang="en-US" sz="1100" kern="0">
                <a:cs typeface="Segoe UI" pitchFamily="34" charset="0"/>
              </a:rPr>
              <a:t>Licensing and ID</a:t>
            </a:r>
          </a:p>
          <a:p>
            <a:pPr lvl="0" algn="ctr" defTabSz="951028" fontAlgn="base">
              <a:spcBef>
                <a:spcPct val="0"/>
              </a:spcBef>
              <a:spcAft>
                <a:spcPts val="1000"/>
              </a:spcAft>
              <a:defRPr/>
            </a:pPr>
            <a:r>
              <a:rPr lang="en-US" sz="1100" kern="0">
                <a:cs typeface="Segoe UI" pitchFamily="34" charset="0"/>
              </a:rPr>
              <a:t>Benefits distribution</a:t>
            </a:r>
          </a:p>
          <a:p>
            <a:pPr lvl="0" algn="ctr" defTabSz="951028" fontAlgn="base">
              <a:spcBef>
                <a:spcPct val="0"/>
              </a:spcBef>
              <a:spcAft>
                <a:spcPts val="1000"/>
              </a:spcAft>
              <a:defRPr/>
            </a:pPr>
            <a:r>
              <a:rPr lang="en-US" sz="1100" kern="0">
                <a:cs typeface="Segoe UI" pitchFamily="34" charset="0"/>
              </a:rPr>
              <a:t>Aid tracking</a:t>
            </a:r>
          </a:p>
          <a:p>
            <a:pPr lvl="0" algn="ctr" defTabSz="951028" fontAlgn="base">
              <a:spcBef>
                <a:spcPct val="0"/>
              </a:spcBef>
              <a:spcAft>
                <a:spcPts val="1000"/>
              </a:spcAft>
              <a:defRPr/>
            </a:pPr>
            <a:r>
              <a:rPr lang="en-US" sz="1100" kern="0">
                <a:cs typeface="Segoe UI" pitchFamily="34" charset="0"/>
              </a:rPr>
              <a:t>Military security</a:t>
            </a:r>
          </a:p>
          <a:p>
            <a:pPr lvl="0" algn="ctr" defTabSz="951028" fontAlgn="base">
              <a:spcBef>
                <a:spcPct val="0"/>
              </a:spcBef>
              <a:spcAft>
                <a:spcPts val="1000"/>
              </a:spcAft>
              <a:defRPr/>
            </a:pPr>
            <a:r>
              <a:rPr lang="en-US" sz="1100" kern="0">
                <a:cs typeface="Segoe UI" pitchFamily="34" charset="0"/>
              </a:rPr>
              <a:t>Copyrights</a:t>
            </a:r>
          </a:p>
        </p:txBody>
      </p:sp>
      <p:sp>
        <p:nvSpPr>
          <p:cNvPr id="29" name="Rectangle 715">
            <a:extLst>
              <a:ext uri="{FF2B5EF4-FFF2-40B4-BE49-F238E27FC236}">
                <a16:creationId xmlns:a16="http://schemas.microsoft.com/office/drawing/2014/main" id="{7412462D-4306-410F-9CAC-18843471F751}"/>
              </a:ext>
            </a:extLst>
          </p:cNvPr>
          <p:cNvSpPr/>
          <p:nvPr/>
        </p:nvSpPr>
        <p:spPr bwMode="auto">
          <a:xfrm>
            <a:off x="6191403" y="3189065"/>
            <a:ext cx="1720594" cy="261935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lvl="0" algn="ctr" defTabSz="951028" fontAlgn="base">
              <a:spcBef>
                <a:spcPct val="0"/>
              </a:spcBef>
              <a:spcAft>
                <a:spcPts val="1000"/>
              </a:spcAft>
              <a:defRPr/>
            </a:pPr>
            <a:r>
              <a:rPr lang="en-US" sz="1100" kern="0">
                <a:cs typeface="Segoe UI" pitchFamily="34" charset="0"/>
              </a:rPr>
              <a:t>Audit compliance</a:t>
            </a:r>
          </a:p>
          <a:p>
            <a:pPr lvl="0" algn="ctr" defTabSz="951028" fontAlgn="base">
              <a:spcBef>
                <a:spcPct val="0"/>
              </a:spcBef>
              <a:spcAft>
                <a:spcPts val="1000"/>
              </a:spcAft>
              <a:defRPr/>
            </a:pPr>
            <a:r>
              <a:rPr lang="en-US" sz="1100" kern="0">
                <a:cs typeface="Segoe UI" pitchFamily="34" charset="0"/>
              </a:rPr>
              <a:t>Bond issuance</a:t>
            </a:r>
          </a:p>
          <a:p>
            <a:pPr lvl="0" algn="ctr" defTabSz="951028" fontAlgn="base">
              <a:spcBef>
                <a:spcPct val="0"/>
              </a:spcBef>
              <a:spcAft>
                <a:spcPts val="1000"/>
              </a:spcAft>
              <a:defRPr/>
            </a:pPr>
            <a:r>
              <a:rPr lang="en-US" sz="1100" kern="0">
                <a:cs typeface="Segoe UI" pitchFamily="34" charset="0"/>
              </a:rPr>
              <a:t>Trade finance</a:t>
            </a:r>
          </a:p>
          <a:p>
            <a:pPr lvl="0" algn="ctr" defTabSz="951028" fontAlgn="base">
              <a:spcBef>
                <a:spcPct val="0"/>
              </a:spcBef>
              <a:spcAft>
                <a:spcPts val="1000"/>
              </a:spcAft>
              <a:defRPr/>
            </a:pPr>
            <a:r>
              <a:rPr lang="en-US" sz="1100" kern="0">
                <a:cs typeface="Segoe UI" pitchFamily="34" charset="0"/>
              </a:rPr>
              <a:t>Loan syndication</a:t>
            </a:r>
          </a:p>
          <a:p>
            <a:pPr lvl="0" algn="ctr" defTabSz="951028" fontAlgn="base">
              <a:spcBef>
                <a:spcPct val="0"/>
              </a:spcBef>
              <a:spcAft>
                <a:spcPts val="1000"/>
              </a:spcAft>
              <a:defRPr/>
            </a:pPr>
            <a:r>
              <a:rPr lang="en-US" sz="1100" kern="0">
                <a:cs typeface="Segoe UI" pitchFamily="34" charset="0"/>
              </a:rPr>
              <a:t>Post trade settlement</a:t>
            </a:r>
          </a:p>
          <a:p>
            <a:pPr lvl="0" algn="ctr" defTabSz="951028" fontAlgn="base">
              <a:spcBef>
                <a:spcPct val="0"/>
              </a:spcBef>
              <a:spcAft>
                <a:spcPts val="1000"/>
              </a:spcAft>
              <a:defRPr/>
            </a:pPr>
            <a:r>
              <a:rPr lang="en-US" sz="1100" kern="0">
                <a:cs typeface="Segoe UI" pitchFamily="34" charset="0"/>
              </a:rPr>
              <a:t>Global payments</a:t>
            </a:r>
          </a:p>
          <a:p>
            <a:pPr lvl="0" algn="ctr" defTabSz="951028" fontAlgn="base">
              <a:spcBef>
                <a:spcPct val="0"/>
              </a:spcBef>
              <a:spcAft>
                <a:spcPts val="1000"/>
              </a:spcAft>
              <a:defRPr/>
            </a:pPr>
            <a:r>
              <a:rPr lang="en-US" sz="1100" kern="0">
                <a:cs typeface="Segoe UI" pitchFamily="34" charset="0"/>
              </a:rPr>
              <a:t>Derivatives trading</a:t>
            </a:r>
          </a:p>
          <a:p>
            <a:pPr lvl="0" algn="ctr" defTabSz="951028" fontAlgn="base">
              <a:spcBef>
                <a:spcPct val="0"/>
              </a:spcBef>
              <a:spcAft>
                <a:spcPts val="1000"/>
              </a:spcAft>
              <a:defRPr/>
            </a:pPr>
            <a:r>
              <a:rPr lang="en-US" sz="1100" kern="0">
                <a:cs typeface="Segoe UI" pitchFamily="34" charset="0"/>
              </a:rPr>
              <a:t>KYC/AML</a:t>
            </a:r>
          </a:p>
        </p:txBody>
      </p:sp>
      <p:sp>
        <p:nvSpPr>
          <p:cNvPr id="79" name="Rectangle 733">
            <a:extLst>
              <a:ext uri="{FF2B5EF4-FFF2-40B4-BE49-F238E27FC236}">
                <a16:creationId xmlns:a16="http://schemas.microsoft.com/office/drawing/2014/main" id="{DE8EBC4E-EF47-4722-A5A0-CA15626279DA}"/>
              </a:ext>
            </a:extLst>
          </p:cNvPr>
          <p:cNvSpPr/>
          <p:nvPr/>
        </p:nvSpPr>
        <p:spPr bwMode="auto">
          <a:xfrm>
            <a:off x="457200" y="2593976"/>
            <a:ext cx="1720594" cy="476807"/>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BCF2"/>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Manufacturing</a:t>
            </a:r>
          </a:p>
        </p:txBody>
      </p:sp>
      <p:sp>
        <p:nvSpPr>
          <p:cNvPr id="80" name="Rectangle 734">
            <a:extLst>
              <a:ext uri="{FF2B5EF4-FFF2-40B4-BE49-F238E27FC236}">
                <a16:creationId xmlns:a16="http://schemas.microsoft.com/office/drawing/2014/main" id="{099D49BF-2BE0-4F9B-B6F9-A42715F03DE2}"/>
              </a:ext>
            </a:extLst>
          </p:cNvPr>
          <p:cNvSpPr/>
          <p:nvPr/>
        </p:nvSpPr>
        <p:spPr bwMode="auto">
          <a:xfrm>
            <a:off x="2368601" y="2593976"/>
            <a:ext cx="1720594" cy="476807"/>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BCF2"/>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Retail</a:t>
            </a:r>
          </a:p>
        </p:txBody>
      </p:sp>
      <p:sp>
        <p:nvSpPr>
          <p:cNvPr id="82" name="Rectangle 735">
            <a:extLst>
              <a:ext uri="{FF2B5EF4-FFF2-40B4-BE49-F238E27FC236}">
                <a16:creationId xmlns:a16="http://schemas.microsoft.com/office/drawing/2014/main" id="{77284B53-2B71-4504-9BE3-C39315B86FD8}"/>
              </a:ext>
            </a:extLst>
          </p:cNvPr>
          <p:cNvSpPr/>
          <p:nvPr/>
        </p:nvSpPr>
        <p:spPr bwMode="auto">
          <a:xfrm>
            <a:off x="4280002" y="2593976"/>
            <a:ext cx="1720594" cy="476807"/>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BCF2"/>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Insurance</a:t>
            </a:r>
          </a:p>
        </p:txBody>
      </p:sp>
      <p:sp>
        <p:nvSpPr>
          <p:cNvPr id="84" name="Rectangle 738">
            <a:extLst>
              <a:ext uri="{FF2B5EF4-FFF2-40B4-BE49-F238E27FC236}">
                <a16:creationId xmlns:a16="http://schemas.microsoft.com/office/drawing/2014/main" id="{B471F8A7-ED97-454A-9BAB-12CB36EE63D7}"/>
              </a:ext>
            </a:extLst>
          </p:cNvPr>
          <p:cNvSpPr/>
          <p:nvPr/>
        </p:nvSpPr>
        <p:spPr bwMode="auto">
          <a:xfrm>
            <a:off x="8102804" y="2593976"/>
            <a:ext cx="1720594" cy="476807"/>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BCF2"/>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Government</a:t>
            </a:r>
          </a:p>
        </p:txBody>
      </p:sp>
      <p:sp>
        <p:nvSpPr>
          <p:cNvPr id="85" name="Rectangle 740">
            <a:extLst>
              <a:ext uri="{FF2B5EF4-FFF2-40B4-BE49-F238E27FC236}">
                <a16:creationId xmlns:a16="http://schemas.microsoft.com/office/drawing/2014/main" id="{4A2A3151-F0A8-4B19-8CF0-BE1101C55EEB}"/>
              </a:ext>
            </a:extLst>
          </p:cNvPr>
          <p:cNvSpPr/>
          <p:nvPr/>
        </p:nvSpPr>
        <p:spPr bwMode="auto">
          <a:xfrm>
            <a:off x="6191403" y="2593976"/>
            <a:ext cx="1720594" cy="476807"/>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BCF2"/>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Banking and </a:t>
            </a:r>
            <a:br>
              <a:rPr kumimoji="0" lang="en-US" sz="1400" b="0" i="0" u="none" strike="noStrike" kern="0" cap="none" spc="0" normalizeH="0" baseline="0" noProof="0">
                <a:ln>
                  <a:noFill/>
                </a:ln>
                <a:solidFill>
                  <a:srgbClr val="00BCF2"/>
                </a:solidFill>
                <a:effectLst/>
                <a:uLnTx/>
                <a:uFillTx/>
                <a:latin typeface="Segoe UI Semibold" panose="020B0702040204020203" pitchFamily="34" charset="0"/>
                <a:ea typeface="Segoe UI" panose="020B0502040204020203" pitchFamily="34" charset="0"/>
                <a:cs typeface="Segoe UI Semibold" panose="020B0702040204020203" pitchFamily="34" charset="0"/>
              </a:rPr>
            </a:br>
            <a:r>
              <a:rPr kumimoji="0" lang="en-US" sz="1400" b="0" i="0" u="none" strike="noStrike" kern="0" cap="none" spc="0" normalizeH="0" baseline="0" noProof="0">
                <a:ln>
                  <a:noFill/>
                </a:ln>
                <a:solidFill>
                  <a:srgbClr val="00BCF2"/>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Capital Markets</a:t>
            </a:r>
          </a:p>
        </p:txBody>
      </p:sp>
      <p:sp>
        <p:nvSpPr>
          <p:cNvPr id="86" name="Rectangle 741">
            <a:extLst>
              <a:ext uri="{FF2B5EF4-FFF2-40B4-BE49-F238E27FC236}">
                <a16:creationId xmlns:a16="http://schemas.microsoft.com/office/drawing/2014/main" id="{2224E561-00C9-447E-8F5B-8AD27512C213}"/>
              </a:ext>
            </a:extLst>
          </p:cNvPr>
          <p:cNvSpPr/>
          <p:nvPr/>
        </p:nvSpPr>
        <p:spPr bwMode="auto">
          <a:xfrm>
            <a:off x="10014206" y="2593976"/>
            <a:ext cx="1720594" cy="476807"/>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BCF2"/>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Health</a:t>
            </a:r>
          </a:p>
        </p:txBody>
      </p:sp>
      <p:cxnSp>
        <p:nvCxnSpPr>
          <p:cNvPr id="91" name="Straight Connector 90">
            <a:extLst>
              <a:ext uri="{FF2B5EF4-FFF2-40B4-BE49-F238E27FC236}">
                <a16:creationId xmlns:a16="http://schemas.microsoft.com/office/drawing/2014/main" id="{90F50EAE-8B3C-427F-85FA-FE37C1F7E654}"/>
              </a:ext>
            </a:extLst>
          </p:cNvPr>
          <p:cNvCxnSpPr>
            <a:cxnSpLocks/>
          </p:cNvCxnSpPr>
          <p:nvPr/>
        </p:nvCxnSpPr>
        <p:spPr>
          <a:xfrm>
            <a:off x="4184600" y="6439913"/>
            <a:ext cx="0" cy="250048"/>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CF74248-C1B8-4FA6-94AC-9EAC291E4E2A}"/>
              </a:ext>
            </a:extLst>
          </p:cNvPr>
          <p:cNvCxnSpPr>
            <a:cxnSpLocks/>
          </p:cNvCxnSpPr>
          <p:nvPr/>
        </p:nvCxnSpPr>
        <p:spPr>
          <a:xfrm>
            <a:off x="8007404" y="6439913"/>
            <a:ext cx="0" cy="250048"/>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0" name="Group 149">
            <a:extLst>
              <a:ext uri="{FF2B5EF4-FFF2-40B4-BE49-F238E27FC236}">
                <a16:creationId xmlns:a16="http://schemas.microsoft.com/office/drawing/2014/main" id="{E92D1161-74DF-4E75-9C59-C3656983E6B3}"/>
              </a:ext>
            </a:extLst>
          </p:cNvPr>
          <p:cNvGrpSpPr/>
          <p:nvPr/>
        </p:nvGrpSpPr>
        <p:grpSpPr>
          <a:xfrm>
            <a:off x="1043682" y="1799929"/>
            <a:ext cx="547631" cy="547631"/>
            <a:chOff x="-1046539" y="2044257"/>
            <a:chExt cx="707213" cy="707213"/>
          </a:xfrm>
        </p:grpSpPr>
        <p:sp>
          <p:nvSpPr>
            <p:cNvPr id="151" name="Freeform: Shape 150">
              <a:extLst>
                <a:ext uri="{FF2B5EF4-FFF2-40B4-BE49-F238E27FC236}">
                  <a16:creationId xmlns:a16="http://schemas.microsoft.com/office/drawing/2014/main" id="{1D3A1E52-2004-44D0-8AC6-77A4BFC97DE9}"/>
                </a:ext>
              </a:extLst>
            </p:cNvPr>
            <p:cNvSpPr/>
            <p:nvPr/>
          </p:nvSpPr>
          <p:spPr>
            <a:xfrm>
              <a:off x="-1046539" y="2044257"/>
              <a:ext cx="110502" cy="66301"/>
            </a:xfrm>
            <a:custGeom>
              <a:avLst/>
              <a:gdLst>
                <a:gd name="connsiteX0" fmla="*/ 0 w 190500"/>
                <a:gd name="connsiteY0" fmla="*/ 0 h 114300"/>
                <a:gd name="connsiteX1" fmla="*/ 190500 w 190500"/>
                <a:gd name="connsiteY1" fmla="*/ 0 h 114300"/>
                <a:gd name="connsiteX2" fmla="*/ 190500 w 190500"/>
                <a:gd name="connsiteY2" fmla="*/ 114300 h 114300"/>
                <a:gd name="connsiteX3" fmla="*/ 0 w 1905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90500" h="114300">
                  <a:moveTo>
                    <a:pt x="0" y="0"/>
                  </a:moveTo>
                  <a:lnTo>
                    <a:pt x="190500" y="0"/>
                  </a:lnTo>
                  <a:lnTo>
                    <a:pt x="1905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2" name="Freeform: Shape 151">
              <a:extLst>
                <a:ext uri="{FF2B5EF4-FFF2-40B4-BE49-F238E27FC236}">
                  <a16:creationId xmlns:a16="http://schemas.microsoft.com/office/drawing/2014/main" id="{6470E9F5-7E7D-4B18-8F5D-422F5FB3C247}"/>
                </a:ext>
              </a:extLst>
            </p:cNvPr>
            <p:cNvSpPr/>
            <p:nvPr/>
          </p:nvSpPr>
          <p:spPr>
            <a:xfrm>
              <a:off x="-1024439" y="2099508"/>
              <a:ext cx="66301" cy="651962"/>
            </a:xfrm>
            <a:custGeom>
              <a:avLst/>
              <a:gdLst>
                <a:gd name="connsiteX0" fmla="*/ 0 w 114300"/>
                <a:gd name="connsiteY0" fmla="*/ 0 h 1123950"/>
                <a:gd name="connsiteX1" fmla="*/ 114300 w 114300"/>
                <a:gd name="connsiteY1" fmla="*/ 0 h 1123950"/>
                <a:gd name="connsiteX2" fmla="*/ 114300 w 114300"/>
                <a:gd name="connsiteY2" fmla="*/ 1123950 h 1123950"/>
                <a:gd name="connsiteX3" fmla="*/ 0 w 114300"/>
                <a:gd name="connsiteY3" fmla="*/ 1123950 h 1123950"/>
              </a:gdLst>
              <a:ahLst/>
              <a:cxnLst>
                <a:cxn ang="0">
                  <a:pos x="connsiteX0" y="connsiteY0"/>
                </a:cxn>
                <a:cxn ang="0">
                  <a:pos x="connsiteX1" y="connsiteY1"/>
                </a:cxn>
                <a:cxn ang="0">
                  <a:pos x="connsiteX2" y="connsiteY2"/>
                </a:cxn>
                <a:cxn ang="0">
                  <a:pos x="connsiteX3" y="connsiteY3"/>
                </a:cxn>
              </a:cxnLst>
              <a:rect l="l" t="t" r="r" b="b"/>
              <a:pathLst>
                <a:path w="114300" h="1123950">
                  <a:moveTo>
                    <a:pt x="0" y="0"/>
                  </a:moveTo>
                  <a:lnTo>
                    <a:pt x="114300" y="0"/>
                  </a:lnTo>
                  <a:lnTo>
                    <a:pt x="114300" y="1123950"/>
                  </a:lnTo>
                  <a:lnTo>
                    <a:pt x="0" y="112395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3" name="Freeform: Shape 152">
              <a:extLst>
                <a:ext uri="{FF2B5EF4-FFF2-40B4-BE49-F238E27FC236}">
                  <a16:creationId xmlns:a16="http://schemas.microsoft.com/office/drawing/2014/main" id="{81344F9E-8731-4183-91E1-0085E6A2F139}"/>
                </a:ext>
              </a:extLst>
            </p:cNvPr>
            <p:cNvSpPr/>
            <p:nvPr/>
          </p:nvSpPr>
          <p:spPr>
            <a:xfrm>
              <a:off x="-958137" y="2221060"/>
              <a:ext cx="309406" cy="530410"/>
            </a:xfrm>
            <a:custGeom>
              <a:avLst/>
              <a:gdLst>
                <a:gd name="connsiteX0" fmla="*/ 0 w 533400"/>
                <a:gd name="connsiteY0" fmla="*/ 0 h 914400"/>
                <a:gd name="connsiteX1" fmla="*/ 533400 w 533400"/>
                <a:gd name="connsiteY1" fmla="*/ 0 h 914400"/>
                <a:gd name="connsiteX2" fmla="*/ 533400 w 533400"/>
                <a:gd name="connsiteY2" fmla="*/ 914400 h 914400"/>
                <a:gd name="connsiteX3" fmla="*/ 0 w 533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533400" h="914400">
                  <a:moveTo>
                    <a:pt x="0" y="0"/>
                  </a:moveTo>
                  <a:lnTo>
                    <a:pt x="533400" y="0"/>
                  </a:lnTo>
                  <a:lnTo>
                    <a:pt x="533400" y="914400"/>
                  </a:lnTo>
                  <a:lnTo>
                    <a:pt x="0" y="914400"/>
                  </a:lnTo>
                  <a:close/>
                </a:path>
              </a:pathLst>
            </a:custGeom>
            <a:solidFill>
              <a:srgbClr val="0067B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4" name="Freeform: Shape 153">
              <a:extLst>
                <a:ext uri="{FF2B5EF4-FFF2-40B4-BE49-F238E27FC236}">
                  <a16:creationId xmlns:a16="http://schemas.microsoft.com/office/drawing/2014/main" id="{1644BFC2-400C-4BAB-8A91-FEB7E26ECA11}"/>
                </a:ext>
              </a:extLst>
            </p:cNvPr>
            <p:cNvSpPr/>
            <p:nvPr/>
          </p:nvSpPr>
          <p:spPr>
            <a:xfrm>
              <a:off x="-648732" y="2331562"/>
              <a:ext cx="309406" cy="419908"/>
            </a:xfrm>
            <a:custGeom>
              <a:avLst/>
              <a:gdLst>
                <a:gd name="connsiteX0" fmla="*/ 0 w 533400"/>
                <a:gd name="connsiteY0" fmla="*/ 0 h 723900"/>
                <a:gd name="connsiteX1" fmla="*/ 533400 w 533400"/>
                <a:gd name="connsiteY1" fmla="*/ 0 h 723900"/>
                <a:gd name="connsiteX2" fmla="*/ 533400 w 533400"/>
                <a:gd name="connsiteY2" fmla="*/ 723900 h 723900"/>
                <a:gd name="connsiteX3" fmla="*/ 0 w 533400"/>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533400" h="723900">
                  <a:moveTo>
                    <a:pt x="0" y="0"/>
                  </a:moveTo>
                  <a:lnTo>
                    <a:pt x="533400" y="0"/>
                  </a:lnTo>
                  <a:lnTo>
                    <a:pt x="533400" y="723900"/>
                  </a:lnTo>
                  <a:lnTo>
                    <a:pt x="0" y="723900"/>
                  </a:lnTo>
                  <a:close/>
                </a:path>
              </a:pathLst>
            </a:custGeom>
            <a:solidFill>
              <a:srgbClr val="0067B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5" name="Freeform: Shape 154">
              <a:extLst>
                <a:ext uri="{FF2B5EF4-FFF2-40B4-BE49-F238E27FC236}">
                  <a16:creationId xmlns:a16="http://schemas.microsoft.com/office/drawing/2014/main" id="{085C986A-A6D4-4FA5-84F5-FA14BA2963A9}"/>
                </a:ext>
              </a:extLst>
            </p:cNvPr>
            <p:cNvSpPr/>
            <p:nvPr/>
          </p:nvSpPr>
          <p:spPr>
            <a:xfrm>
              <a:off x="-847635" y="2663068"/>
              <a:ext cx="88402" cy="88402"/>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152400" h="152400">
                  <a:moveTo>
                    <a:pt x="0" y="0"/>
                  </a:moveTo>
                  <a:lnTo>
                    <a:pt x="152400" y="0"/>
                  </a:lnTo>
                  <a:lnTo>
                    <a:pt x="152400" y="152400"/>
                  </a:lnTo>
                  <a:lnTo>
                    <a:pt x="0" y="152400"/>
                  </a:lnTo>
                  <a:close/>
                </a:path>
              </a:pathLst>
            </a:custGeom>
            <a:solidFill>
              <a:srgbClr val="30303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6" name="Freeform: Shape 155">
              <a:extLst>
                <a:ext uri="{FF2B5EF4-FFF2-40B4-BE49-F238E27FC236}">
                  <a16:creationId xmlns:a16="http://schemas.microsoft.com/office/drawing/2014/main" id="{9633196E-92C4-49F0-AEB0-1AD2BC3CB664}"/>
                </a:ext>
              </a:extLst>
            </p:cNvPr>
            <p:cNvSpPr/>
            <p:nvPr/>
          </p:nvSpPr>
          <p:spPr>
            <a:xfrm>
              <a:off x="-560330" y="2663068"/>
              <a:ext cx="88402" cy="88402"/>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152400" h="152400">
                  <a:moveTo>
                    <a:pt x="0" y="0"/>
                  </a:moveTo>
                  <a:lnTo>
                    <a:pt x="152400" y="0"/>
                  </a:lnTo>
                  <a:lnTo>
                    <a:pt x="152400" y="152400"/>
                  </a:lnTo>
                  <a:lnTo>
                    <a:pt x="0" y="152400"/>
                  </a:lnTo>
                  <a:close/>
                </a:path>
              </a:pathLst>
            </a:custGeom>
            <a:solidFill>
              <a:srgbClr val="30303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Freeform: Shape 156">
              <a:extLst>
                <a:ext uri="{FF2B5EF4-FFF2-40B4-BE49-F238E27FC236}">
                  <a16:creationId xmlns:a16="http://schemas.microsoft.com/office/drawing/2014/main" id="{AFBF6A43-688A-4CD8-9933-C8ECA221FA25}"/>
                </a:ext>
              </a:extLst>
            </p:cNvPr>
            <p:cNvSpPr/>
            <p:nvPr/>
          </p:nvSpPr>
          <p:spPr>
            <a:xfrm>
              <a:off x="-891836" y="2309462"/>
              <a:ext cx="66301" cy="66301"/>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8" name="Freeform: Shape 157">
              <a:extLst>
                <a:ext uri="{FF2B5EF4-FFF2-40B4-BE49-F238E27FC236}">
                  <a16:creationId xmlns:a16="http://schemas.microsoft.com/office/drawing/2014/main" id="{2849461B-3F17-49F7-9569-3CE797E8553A}"/>
                </a:ext>
              </a:extLst>
            </p:cNvPr>
            <p:cNvSpPr/>
            <p:nvPr/>
          </p:nvSpPr>
          <p:spPr>
            <a:xfrm>
              <a:off x="-781334" y="2309462"/>
              <a:ext cx="66301" cy="66301"/>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9" name="Freeform: Shape 158">
              <a:extLst>
                <a:ext uri="{FF2B5EF4-FFF2-40B4-BE49-F238E27FC236}">
                  <a16:creationId xmlns:a16="http://schemas.microsoft.com/office/drawing/2014/main" id="{F1D87DA0-F6E6-46A5-99B5-6211FA2C9474}"/>
                </a:ext>
              </a:extLst>
            </p:cNvPr>
            <p:cNvSpPr/>
            <p:nvPr/>
          </p:nvSpPr>
          <p:spPr>
            <a:xfrm>
              <a:off x="-891836" y="2419964"/>
              <a:ext cx="66301" cy="66301"/>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91604BD4-221C-4031-B4E1-ABAB5B29AFD7}"/>
                </a:ext>
              </a:extLst>
            </p:cNvPr>
            <p:cNvSpPr/>
            <p:nvPr/>
          </p:nvSpPr>
          <p:spPr>
            <a:xfrm>
              <a:off x="-781334" y="2419964"/>
              <a:ext cx="66301" cy="66301"/>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DA4C8CF6-2108-49E3-861C-67B0A8DF660A}"/>
                </a:ext>
              </a:extLst>
            </p:cNvPr>
            <p:cNvSpPr/>
            <p:nvPr/>
          </p:nvSpPr>
          <p:spPr>
            <a:xfrm>
              <a:off x="-891836" y="2530466"/>
              <a:ext cx="66301" cy="66301"/>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CEC8A00F-EE71-4CD9-9AFB-5DEA906AE8C2}"/>
                </a:ext>
              </a:extLst>
            </p:cNvPr>
            <p:cNvSpPr/>
            <p:nvPr/>
          </p:nvSpPr>
          <p:spPr>
            <a:xfrm>
              <a:off x="-781334" y="2530466"/>
              <a:ext cx="66301" cy="66301"/>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3" name="Freeform: Shape 162">
              <a:extLst>
                <a:ext uri="{FF2B5EF4-FFF2-40B4-BE49-F238E27FC236}">
                  <a16:creationId xmlns:a16="http://schemas.microsoft.com/office/drawing/2014/main" id="{0193C34F-F0B0-4BCC-B46A-1A064034EC75}"/>
                </a:ext>
              </a:extLst>
            </p:cNvPr>
            <p:cNvSpPr/>
            <p:nvPr/>
          </p:nvSpPr>
          <p:spPr>
            <a:xfrm>
              <a:off x="-604531" y="2419964"/>
              <a:ext cx="66301" cy="66301"/>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4" name="Freeform: Shape 163">
              <a:extLst>
                <a:ext uri="{FF2B5EF4-FFF2-40B4-BE49-F238E27FC236}">
                  <a16:creationId xmlns:a16="http://schemas.microsoft.com/office/drawing/2014/main" id="{1D8CF574-2AA4-4F3D-A2CB-039D7B72D277}"/>
                </a:ext>
              </a:extLst>
            </p:cNvPr>
            <p:cNvSpPr/>
            <p:nvPr/>
          </p:nvSpPr>
          <p:spPr>
            <a:xfrm>
              <a:off x="-494029" y="2419964"/>
              <a:ext cx="66301" cy="66301"/>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5" name="Freeform: Shape 164">
              <a:extLst>
                <a:ext uri="{FF2B5EF4-FFF2-40B4-BE49-F238E27FC236}">
                  <a16:creationId xmlns:a16="http://schemas.microsoft.com/office/drawing/2014/main" id="{A5B9D126-2F0F-4963-B62D-DEDC2CBC2DDE}"/>
                </a:ext>
              </a:extLst>
            </p:cNvPr>
            <p:cNvSpPr/>
            <p:nvPr/>
          </p:nvSpPr>
          <p:spPr>
            <a:xfrm>
              <a:off x="-604531" y="2530466"/>
              <a:ext cx="66301" cy="66301"/>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6" name="Freeform: Shape 165">
              <a:extLst>
                <a:ext uri="{FF2B5EF4-FFF2-40B4-BE49-F238E27FC236}">
                  <a16:creationId xmlns:a16="http://schemas.microsoft.com/office/drawing/2014/main" id="{EF0E5295-1F9E-4ECA-BABA-24210FE162C4}"/>
                </a:ext>
              </a:extLst>
            </p:cNvPr>
            <p:cNvSpPr/>
            <p:nvPr/>
          </p:nvSpPr>
          <p:spPr>
            <a:xfrm>
              <a:off x="-494029" y="2530466"/>
              <a:ext cx="66301" cy="66301"/>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67" name="Graphic 7">
            <a:extLst>
              <a:ext uri="{FF2B5EF4-FFF2-40B4-BE49-F238E27FC236}">
                <a16:creationId xmlns:a16="http://schemas.microsoft.com/office/drawing/2014/main" id="{4F2814AF-127D-4408-9E32-781A3F205609}"/>
              </a:ext>
            </a:extLst>
          </p:cNvPr>
          <p:cNvGrpSpPr/>
          <p:nvPr/>
        </p:nvGrpSpPr>
        <p:grpSpPr>
          <a:xfrm>
            <a:off x="4803284" y="1736729"/>
            <a:ext cx="674031" cy="674031"/>
            <a:chOff x="5172075" y="6213475"/>
            <a:chExt cx="628650" cy="628650"/>
          </a:xfrm>
        </p:grpSpPr>
        <p:sp>
          <p:nvSpPr>
            <p:cNvPr id="168" name="Freeform: Shape 167">
              <a:extLst>
                <a:ext uri="{FF2B5EF4-FFF2-40B4-BE49-F238E27FC236}">
                  <a16:creationId xmlns:a16="http://schemas.microsoft.com/office/drawing/2014/main" id="{E0971390-685C-4099-9BF5-A995EC98B68E}"/>
                </a:ext>
              </a:extLst>
            </p:cNvPr>
            <p:cNvSpPr/>
            <p:nvPr/>
          </p:nvSpPr>
          <p:spPr>
            <a:xfrm>
              <a:off x="5278755" y="6420168"/>
              <a:ext cx="371475" cy="304800"/>
            </a:xfrm>
            <a:custGeom>
              <a:avLst/>
              <a:gdLst>
                <a:gd name="connsiteX0" fmla="*/ 368618 w 371475"/>
                <a:gd name="connsiteY0" fmla="*/ 212408 h 304800"/>
                <a:gd name="connsiteX1" fmla="*/ 372428 w 371475"/>
                <a:gd name="connsiteY1" fmla="*/ 240983 h 304800"/>
                <a:gd name="connsiteX2" fmla="*/ 366713 w 371475"/>
                <a:gd name="connsiteY2" fmla="*/ 246697 h 304800"/>
                <a:gd name="connsiteX3" fmla="*/ 330518 w 371475"/>
                <a:gd name="connsiteY3" fmla="*/ 234315 h 304800"/>
                <a:gd name="connsiteX4" fmla="*/ 305753 w 371475"/>
                <a:gd name="connsiteY4" fmla="*/ 198120 h 304800"/>
                <a:gd name="connsiteX5" fmla="*/ 292418 w 371475"/>
                <a:gd name="connsiteY5" fmla="*/ 195263 h 304800"/>
                <a:gd name="connsiteX6" fmla="*/ 289560 w 371475"/>
                <a:gd name="connsiteY6" fmla="*/ 208597 h 304800"/>
                <a:gd name="connsiteX7" fmla="*/ 311468 w 371475"/>
                <a:gd name="connsiteY7" fmla="*/ 240030 h 304800"/>
                <a:gd name="connsiteX8" fmla="*/ 315278 w 371475"/>
                <a:gd name="connsiteY8" fmla="*/ 266700 h 304800"/>
                <a:gd name="connsiteX9" fmla="*/ 308610 w 371475"/>
                <a:gd name="connsiteY9" fmla="*/ 274320 h 304800"/>
                <a:gd name="connsiteX10" fmla="*/ 274320 w 371475"/>
                <a:gd name="connsiteY10" fmla="*/ 260985 h 304800"/>
                <a:gd name="connsiteX11" fmla="*/ 273368 w 371475"/>
                <a:gd name="connsiteY11" fmla="*/ 260985 h 304800"/>
                <a:gd name="connsiteX12" fmla="*/ 244793 w 371475"/>
                <a:gd name="connsiteY12" fmla="*/ 219075 h 304800"/>
                <a:gd name="connsiteX13" fmla="*/ 231458 w 371475"/>
                <a:gd name="connsiteY13" fmla="*/ 216218 h 304800"/>
                <a:gd name="connsiteX14" fmla="*/ 228600 w 371475"/>
                <a:gd name="connsiteY14" fmla="*/ 229552 h 304800"/>
                <a:gd name="connsiteX15" fmla="*/ 252413 w 371475"/>
                <a:gd name="connsiteY15" fmla="*/ 263843 h 304800"/>
                <a:gd name="connsiteX16" fmla="*/ 252413 w 371475"/>
                <a:gd name="connsiteY16" fmla="*/ 285750 h 304800"/>
                <a:gd name="connsiteX17" fmla="*/ 213360 w 371475"/>
                <a:gd name="connsiteY17" fmla="*/ 276225 h 304800"/>
                <a:gd name="connsiteX18" fmla="*/ 186690 w 371475"/>
                <a:gd name="connsiteY18" fmla="*/ 237172 h 304800"/>
                <a:gd name="connsiteX19" fmla="*/ 173355 w 371475"/>
                <a:gd name="connsiteY19" fmla="*/ 234315 h 304800"/>
                <a:gd name="connsiteX20" fmla="*/ 170498 w 371475"/>
                <a:gd name="connsiteY20" fmla="*/ 247650 h 304800"/>
                <a:gd name="connsiteX21" fmla="*/ 199072 w 371475"/>
                <a:gd name="connsiteY21" fmla="*/ 288608 h 304800"/>
                <a:gd name="connsiteX22" fmla="*/ 193358 w 371475"/>
                <a:gd name="connsiteY22" fmla="*/ 303847 h 304800"/>
                <a:gd name="connsiteX23" fmla="*/ 172403 w 371475"/>
                <a:gd name="connsiteY23" fmla="*/ 300990 h 304800"/>
                <a:gd name="connsiteX24" fmla="*/ 171450 w 371475"/>
                <a:gd name="connsiteY24" fmla="*/ 300990 h 304800"/>
                <a:gd name="connsiteX25" fmla="*/ 41910 w 371475"/>
                <a:gd name="connsiteY25" fmla="*/ 206693 h 304800"/>
                <a:gd name="connsiteX26" fmla="*/ 0 w 371475"/>
                <a:gd name="connsiteY26" fmla="*/ 184785 h 304800"/>
                <a:gd name="connsiteX27" fmla="*/ 0 w 371475"/>
                <a:gd name="connsiteY27" fmla="*/ 0 h 304800"/>
                <a:gd name="connsiteX28" fmla="*/ 14288 w 371475"/>
                <a:gd name="connsiteY28" fmla="*/ 4763 h 304800"/>
                <a:gd name="connsiteX29" fmla="*/ 8573 w 371475"/>
                <a:gd name="connsiteY29" fmla="*/ 20955 h 304800"/>
                <a:gd name="connsiteX30" fmla="*/ 36195 w 371475"/>
                <a:gd name="connsiteY30" fmla="*/ 66675 h 304800"/>
                <a:gd name="connsiteX31" fmla="*/ 192405 w 371475"/>
                <a:gd name="connsiteY31" fmla="*/ 30480 h 304800"/>
                <a:gd name="connsiteX32" fmla="*/ 205740 w 371475"/>
                <a:gd name="connsiteY32" fmla="*/ 24765 h 304800"/>
                <a:gd name="connsiteX33" fmla="*/ 368618 w 371475"/>
                <a:gd name="connsiteY33" fmla="*/ 212408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71475" h="304800">
                  <a:moveTo>
                    <a:pt x="368618" y="212408"/>
                  </a:moveTo>
                  <a:cubicBezTo>
                    <a:pt x="375285" y="220027"/>
                    <a:pt x="377190" y="231458"/>
                    <a:pt x="372428" y="240983"/>
                  </a:cubicBezTo>
                  <a:cubicBezTo>
                    <a:pt x="370523" y="243840"/>
                    <a:pt x="369570" y="245745"/>
                    <a:pt x="366713" y="246697"/>
                  </a:cubicBezTo>
                  <a:cubicBezTo>
                    <a:pt x="358140" y="251460"/>
                    <a:pt x="338138" y="244793"/>
                    <a:pt x="330518" y="234315"/>
                  </a:cubicBezTo>
                  <a:lnTo>
                    <a:pt x="305753" y="198120"/>
                  </a:lnTo>
                  <a:cubicBezTo>
                    <a:pt x="302895" y="194310"/>
                    <a:pt x="297180" y="192405"/>
                    <a:pt x="292418" y="195263"/>
                  </a:cubicBezTo>
                  <a:cubicBezTo>
                    <a:pt x="287655" y="198120"/>
                    <a:pt x="286703" y="203835"/>
                    <a:pt x="289560" y="208597"/>
                  </a:cubicBezTo>
                  <a:lnTo>
                    <a:pt x="311468" y="240030"/>
                  </a:lnTo>
                  <a:cubicBezTo>
                    <a:pt x="317183" y="247650"/>
                    <a:pt x="319088" y="257175"/>
                    <a:pt x="315278" y="266700"/>
                  </a:cubicBezTo>
                  <a:cubicBezTo>
                    <a:pt x="313373" y="270510"/>
                    <a:pt x="311468" y="273368"/>
                    <a:pt x="308610" y="274320"/>
                  </a:cubicBezTo>
                  <a:cubicBezTo>
                    <a:pt x="299085" y="278130"/>
                    <a:pt x="280988" y="266700"/>
                    <a:pt x="274320" y="260985"/>
                  </a:cubicBezTo>
                  <a:cubicBezTo>
                    <a:pt x="274320" y="260985"/>
                    <a:pt x="274320" y="260985"/>
                    <a:pt x="273368" y="260985"/>
                  </a:cubicBezTo>
                  <a:lnTo>
                    <a:pt x="244793" y="219075"/>
                  </a:lnTo>
                  <a:cubicBezTo>
                    <a:pt x="241935" y="214313"/>
                    <a:pt x="236220" y="213360"/>
                    <a:pt x="231458" y="216218"/>
                  </a:cubicBezTo>
                  <a:cubicBezTo>
                    <a:pt x="227647" y="219075"/>
                    <a:pt x="225743" y="224790"/>
                    <a:pt x="228600" y="229552"/>
                  </a:cubicBezTo>
                  <a:lnTo>
                    <a:pt x="252413" y="263843"/>
                  </a:lnTo>
                  <a:cubicBezTo>
                    <a:pt x="257175" y="270510"/>
                    <a:pt x="257175" y="280035"/>
                    <a:pt x="252413" y="285750"/>
                  </a:cubicBezTo>
                  <a:cubicBezTo>
                    <a:pt x="244793" y="296228"/>
                    <a:pt x="220028" y="284797"/>
                    <a:pt x="213360" y="276225"/>
                  </a:cubicBezTo>
                  <a:lnTo>
                    <a:pt x="186690" y="237172"/>
                  </a:lnTo>
                  <a:cubicBezTo>
                    <a:pt x="183833" y="232410"/>
                    <a:pt x="178118" y="231458"/>
                    <a:pt x="173355" y="234315"/>
                  </a:cubicBezTo>
                  <a:cubicBezTo>
                    <a:pt x="168593" y="237172"/>
                    <a:pt x="167640" y="242888"/>
                    <a:pt x="170498" y="247650"/>
                  </a:cubicBezTo>
                  <a:lnTo>
                    <a:pt x="199072" y="288608"/>
                  </a:lnTo>
                  <a:cubicBezTo>
                    <a:pt x="199072" y="294322"/>
                    <a:pt x="198120" y="300990"/>
                    <a:pt x="193358" y="303847"/>
                  </a:cubicBezTo>
                  <a:cubicBezTo>
                    <a:pt x="187643" y="306705"/>
                    <a:pt x="177165" y="303847"/>
                    <a:pt x="172403" y="300990"/>
                  </a:cubicBezTo>
                  <a:cubicBezTo>
                    <a:pt x="172403" y="300990"/>
                    <a:pt x="171450" y="300990"/>
                    <a:pt x="171450" y="300990"/>
                  </a:cubicBezTo>
                  <a:cubicBezTo>
                    <a:pt x="154305" y="294322"/>
                    <a:pt x="84773" y="240983"/>
                    <a:pt x="41910" y="206693"/>
                  </a:cubicBezTo>
                  <a:cubicBezTo>
                    <a:pt x="30480" y="194310"/>
                    <a:pt x="11430" y="187643"/>
                    <a:pt x="0" y="184785"/>
                  </a:cubicBezTo>
                  <a:lnTo>
                    <a:pt x="0" y="0"/>
                  </a:lnTo>
                  <a:lnTo>
                    <a:pt x="14288" y="4763"/>
                  </a:lnTo>
                  <a:cubicBezTo>
                    <a:pt x="10478" y="10477"/>
                    <a:pt x="8573" y="16192"/>
                    <a:pt x="8573" y="20955"/>
                  </a:cubicBezTo>
                  <a:cubicBezTo>
                    <a:pt x="7620" y="43815"/>
                    <a:pt x="33338" y="63817"/>
                    <a:pt x="36195" y="66675"/>
                  </a:cubicBezTo>
                  <a:cubicBezTo>
                    <a:pt x="107633" y="110490"/>
                    <a:pt x="187643" y="34290"/>
                    <a:pt x="192405" y="30480"/>
                  </a:cubicBezTo>
                  <a:cubicBezTo>
                    <a:pt x="198120" y="24765"/>
                    <a:pt x="202883" y="24765"/>
                    <a:pt x="205740" y="24765"/>
                  </a:cubicBezTo>
                  <a:lnTo>
                    <a:pt x="368618" y="212408"/>
                  </a:lnTo>
                  <a:close/>
                </a:path>
              </a:pathLst>
            </a:custGeom>
            <a:solidFill>
              <a:srgbClr val="0067B6"/>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9" name="Freeform: Shape 168">
              <a:extLst>
                <a:ext uri="{FF2B5EF4-FFF2-40B4-BE49-F238E27FC236}">
                  <a16:creationId xmlns:a16="http://schemas.microsoft.com/office/drawing/2014/main" id="{E8D0AC1F-E840-4BB4-83EF-8CBDCBBCFCD7}"/>
                </a:ext>
              </a:extLst>
            </p:cNvPr>
            <p:cNvSpPr/>
            <p:nvPr/>
          </p:nvSpPr>
          <p:spPr>
            <a:xfrm>
              <a:off x="5711190" y="6370638"/>
              <a:ext cx="57150" cy="295275"/>
            </a:xfrm>
            <a:custGeom>
              <a:avLst/>
              <a:gdLst>
                <a:gd name="connsiteX0" fmla="*/ 65723 w 57150"/>
                <a:gd name="connsiteY0" fmla="*/ 12382 h 295275"/>
                <a:gd name="connsiteX1" fmla="*/ 65723 w 57150"/>
                <a:gd name="connsiteY1" fmla="*/ 284798 h 295275"/>
                <a:gd name="connsiteX2" fmla="*/ 54293 w 57150"/>
                <a:gd name="connsiteY2" fmla="*/ 296228 h 295275"/>
                <a:gd name="connsiteX3" fmla="*/ 0 w 57150"/>
                <a:gd name="connsiteY3" fmla="*/ 296228 h 295275"/>
                <a:gd name="connsiteX4" fmla="*/ 0 w 57150"/>
                <a:gd name="connsiteY4" fmla="*/ 0 h 295275"/>
                <a:gd name="connsiteX5" fmla="*/ 54293 w 57150"/>
                <a:gd name="connsiteY5" fmla="*/ 0 h 295275"/>
                <a:gd name="connsiteX6" fmla="*/ 65723 w 57150"/>
                <a:gd name="connsiteY6" fmla="*/ 12382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295275">
                  <a:moveTo>
                    <a:pt x="65723" y="12382"/>
                  </a:moveTo>
                  <a:lnTo>
                    <a:pt x="65723" y="284798"/>
                  </a:lnTo>
                  <a:cubicBezTo>
                    <a:pt x="65723" y="291465"/>
                    <a:pt x="60960" y="296228"/>
                    <a:pt x="54293" y="296228"/>
                  </a:cubicBezTo>
                  <a:lnTo>
                    <a:pt x="0" y="296228"/>
                  </a:lnTo>
                  <a:lnTo>
                    <a:pt x="0" y="0"/>
                  </a:lnTo>
                  <a:lnTo>
                    <a:pt x="54293" y="0"/>
                  </a:lnTo>
                  <a:cubicBezTo>
                    <a:pt x="60960" y="0"/>
                    <a:pt x="65723" y="5715"/>
                    <a:pt x="65723" y="12382"/>
                  </a:cubicBezTo>
                  <a:close/>
                </a:path>
              </a:pathLst>
            </a:cu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0" name="Freeform: Shape 169">
              <a:extLst>
                <a:ext uri="{FF2B5EF4-FFF2-40B4-BE49-F238E27FC236}">
                  <a16:creationId xmlns:a16="http://schemas.microsoft.com/office/drawing/2014/main" id="{642A7C5D-583F-40E2-93BD-8B1A07575E47}"/>
                </a:ext>
              </a:extLst>
            </p:cNvPr>
            <p:cNvSpPr/>
            <p:nvPr/>
          </p:nvSpPr>
          <p:spPr>
            <a:xfrm>
              <a:off x="5195888" y="6370638"/>
              <a:ext cx="57150" cy="295275"/>
            </a:xfrm>
            <a:custGeom>
              <a:avLst/>
              <a:gdLst>
                <a:gd name="connsiteX0" fmla="*/ 11430 w 57150"/>
                <a:gd name="connsiteY0" fmla="*/ 0 h 295275"/>
                <a:gd name="connsiteX1" fmla="*/ 65723 w 57150"/>
                <a:gd name="connsiteY1" fmla="*/ 0 h 295275"/>
                <a:gd name="connsiteX2" fmla="*/ 65723 w 57150"/>
                <a:gd name="connsiteY2" fmla="*/ 296228 h 295275"/>
                <a:gd name="connsiteX3" fmla="*/ 11430 w 57150"/>
                <a:gd name="connsiteY3" fmla="*/ 296228 h 295275"/>
                <a:gd name="connsiteX4" fmla="*/ 0 w 57150"/>
                <a:gd name="connsiteY4" fmla="*/ 284798 h 295275"/>
                <a:gd name="connsiteX5" fmla="*/ 0 w 57150"/>
                <a:gd name="connsiteY5" fmla="*/ 12382 h 295275"/>
                <a:gd name="connsiteX6" fmla="*/ 11430 w 57150"/>
                <a:gd name="connsiteY6"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295275">
                  <a:moveTo>
                    <a:pt x="11430" y="0"/>
                  </a:moveTo>
                  <a:lnTo>
                    <a:pt x="65723" y="0"/>
                  </a:lnTo>
                  <a:lnTo>
                    <a:pt x="65723" y="296228"/>
                  </a:lnTo>
                  <a:lnTo>
                    <a:pt x="11430" y="296228"/>
                  </a:lnTo>
                  <a:cubicBezTo>
                    <a:pt x="4763" y="296228"/>
                    <a:pt x="0" y="291465"/>
                    <a:pt x="0" y="284798"/>
                  </a:cubicBezTo>
                  <a:lnTo>
                    <a:pt x="0" y="12382"/>
                  </a:lnTo>
                  <a:cubicBezTo>
                    <a:pt x="0" y="5715"/>
                    <a:pt x="4763" y="0"/>
                    <a:pt x="11430" y="0"/>
                  </a:cubicBezTo>
                  <a:close/>
                </a:path>
              </a:pathLst>
            </a:cu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1" name="Freeform: Shape 170">
              <a:extLst>
                <a:ext uri="{FF2B5EF4-FFF2-40B4-BE49-F238E27FC236}">
                  <a16:creationId xmlns:a16="http://schemas.microsoft.com/office/drawing/2014/main" id="{43D17C00-9FBE-4539-875D-2433792A5667}"/>
                </a:ext>
              </a:extLst>
            </p:cNvPr>
            <p:cNvSpPr/>
            <p:nvPr/>
          </p:nvSpPr>
          <p:spPr>
            <a:xfrm>
              <a:off x="5307330" y="6329473"/>
              <a:ext cx="381000" cy="276225"/>
            </a:xfrm>
            <a:custGeom>
              <a:avLst/>
              <a:gdLst>
                <a:gd name="connsiteX0" fmla="*/ 250508 w 381000"/>
                <a:gd name="connsiteY0" fmla="*/ 24972 h 276225"/>
                <a:gd name="connsiteX1" fmla="*/ 384810 w 381000"/>
                <a:gd name="connsiteY1" fmla="*/ 72597 h 276225"/>
                <a:gd name="connsiteX2" fmla="*/ 384810 w 381000"/>
                <a:gd name="connsiteY2" fmla="*/ 271670 h 276225"/>
                <a:gd name="connsiteX3" fmla="*/ 350520 w 381000"/>
                <a:gd name="connsiteY3" fmla="*/ 277385 h 276225"/>
                <a:gd name="connsiteX4" fmla="*/ 346710 w 381000"/>
                <a:gd name="connsiteY4" fmla="*/ 281195 h 276225"/>
                <a:gd name="connsiteX5" fmla="*/ 192405 w 381000"/>
                <a:gd name="connsiteY5" fmla="*/ 101172 h 276225"/>
                <a:gd name="connsiteX6" fmla="*/ 188595 w 381000"/>
                <a:gd name="connsiteY6" fmla="*/ 98315 h 276225"/>
                <a:gd name="connsiteX7" fmla="*/ 151448 w 381000"/>
                <a:gd name="connsiteY7" fmla="*/ 107840 h 276225"/>
                <a:gd name="connsiteX8" fmla="*/ 20002 w 381000"/>
                <a:gd name="connsiteY8" fmla="*/ 141177 h 276225"/>
                <a:gd name="connsiteX9" fmla="*/ 0 w 381000"/>
                <a:gd name="connsiteY9" fmla="*/ 111650 h 276225"/>
                <a:gd name="connsiteX10" fmla="*/ 9525 w 381000"/>
                <a:gd name="connsiteY10" fmla="*/ 99267 h 276225"/>
                <a:gd name="connsiteX11" fmla="*/ 10478 w 381000"/>
                <a:gd name="connsiteY11" fmla="*/ 98315 h 276225"/>
                <a:gd name="connsiteX12" fmla="*/ 11430 w 381000"/>
                <a:gd name="connsiteY12" fmla="*/ 98315 h 276225"/>
                <a:gd name="connsiteX13" fmla="*/ 120015 w 381000"/>
                <a:gd name="connsiteY13" fmla="*/ 9732 h 276225"/>
                <a:gd name="connsiteX14" fmla="*/ 250508 w 381000"/>
                <a:gd name="connsiteY14" fmla="*/ 24972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0" h="276225">
                  <a:moveTo>
                    <a:pt x="250508" y="24972"/>
                  </a:moveTo>
                  <a:cubicBezTo>
                    <a:pt x="275273" y="44975"/>
                    <a:pt x="358140" y="66882"/>
                    <a:pt x="384810" y="72597"/>
                  </a:cubicBezTo>
                  <a:lnTo>
                    <a:pt x="384810" y="271670"/>
                  </a:lnTo>
                  <a:cubicBezTo>
                    <a:pt x="374333" y="270717"/>
                    <a:pt x="360045" y="270717"/>
                    <a:pt x="350520" y="277385"/>
                  </a:cubicBezTo>
                  <a:cubicBezTo>
                    <a:pt x="349568" y="278338"/>
                    <a:pt x="347663" y="279290"/>
                    <a:pt x="346710" y="281195"/>
                  </a:cubicBezTo>
                  <a:lnTo>
                    <a:pt x="192405" y="101172"/>
                  </a:lnTo>
                  <a:cubicBezTo>
                    <a:pt x="191453" y="100220"/>
                    <a:pt x="190500" y="99267"/>
                    <a:pt x="188595" y="98315"/>
                  </a:cubicBezTo>
                  <a:cubicBezTo>
                    <a:pt x="181928" y="95457"/>
                    <a:pt x="164783" y="92600"/>
                    <a:pt x="151448" y="107840"/>
                  </a:cubicBezTo>
                  <a:cubicBezTo>
                    <a:pt x="150495" y="108792"/>
                    <a:pt x="78105" y="177372"/>
                    <a:pt x="20002" y="141177"/>
                  </a:cubicBezTo>
                  <a:cubicBezTo>
                    <a:pt x="15240" y="137367"/>
                    <a:pt x="0" y="123080"/>
                    <a:pt x="0" y="111650"/>
                  </a:cubicBezTo>
                  <a:cubicBezTo>
                    <a:pt x="0" y="109745"/>
                    <a:pt x="0" y="104982"/>
                    <a:pt x="9525" y="99267"/>
                  </a:cubicBezTo>
                  <a:lnTo>
                    <a:pt x="10478" y="98315"/>
                  </a:lnTo>
                  <a:cubicBezTo>
                    <a:pt x="10478" y="98315"/>
                    <a:pt x="10478" y="98315"/>
                    <a:pt x="11430" y="98315"/>
                  </a:cubicBezTo>
                  <a:lnTo>
                    <a:pt x="120015" y="9732"/>
                  </a:lnTo>
                  <a:cubicBezTo>
                    <a:pt x="153353" y="-14080"/>
                    <a:pt x="224790" y="11637"/>
                    <a:pt x="250508" y="24972"/>
                  </a:cubicBezTo>
                  <a:close/>
                </a:path>
              </a:pathLst>
            </a:custGeom>
            <a:solidFill>
              <a:srgbClr val="50E6FF"/>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72" name="Group 171">
            <a:extLst>
              <a:ext uri="{FF2B5EF4-FFF2-40B4-BE49-F238E27FC236}">
                <a16:creationId xmlns:a16="http://schemas.microsoft.com/office/drawing/2014/main" id="{65BA6451-28A4-4B97-9BFD-7EBBE7E9F83E}"/>
              </a:ext>
            </a:extLst>
          </p:cNvPr>
          <p:cNvGrpSpPr/>
          <p:nvPr/>
        </p:nvGrpSpPr>
        <p:grpSpPr>
          <a:xfrm>
            <a:off x="6774862" y="1804115"/>
            <a:ext cx="553676" cy="539258"/>
            <a:chOff x="10026651" y="3378200"/>
            <a:chExt cx="609599" cy="593726"/>
          </a:xfrm>
          <a:solidFill>
            <a:srgbClr val="0067B6"/>
          </a:solidFill>
        </p:grpSpPr>
        <p:sp>
          <p:nvSpPr>
            <p:cNvPr id="173" name="Freeform 5">
              <a:extLst>
                <a:ext uri="{FF2B5EF4-FFF2-40B4-BE49-F238E27FC236}">
                  <a16:creationId xmlns:a16="http://schemas.microsoft.com/office/drawing/2014/main" id="{BF17EE32-D8FD-42ED-87CD-F0C046546045}"/>
                </a:ext>
              </a:extLst>
            </p:cNvPr>
            <p:cNvSpPr>
              <a:spLocks/>
            </p:cNvSpPr>
            <p:nvPr/>
          </p:nvSpPr>
          <p:spPr bwMode="auto">
            <a:xfrm>
              <a:off x="10082213" y="3378200"/>
              <a:ext cx="257175" cy="176213"/>
            </a:xfrm>
            <a:custGeom>
              <a:avLst/>
              <a:gdLst>
                <a:gd name="T0" fmla="*/ 588 w 590"/>
                <a:gd name="T1" fmla="*/ 128 h 404"/>
                <a:gd name="T2" fmla="*/ 590 w 590"/>
                <a:gd name="T3" fmla="*/ 128 h 404"/>
                <a:gd name="T4" fmla="*/ 590 w 590"/>
                <a:gd name="T5" fmla="*/ 0 h 404"/>
                <a:gd name="T6" fmla="*/ 0 w 590"/>
                <a:gd name="T7" fmla="*/ 341 h 404"/>
                <a:gd name="T8" fmla="*/ 109 w 590"/>
                <a:gd name="T9" fmla="*/ 404 h 404"/>
                <a:gd name="T10" fmla="*/ 588 w 590"/>
                <a:gd name="T11" fmla="*/ 128 h 404"/>
              </a:gdLst>
              <a:ahLst/>
              <a:cxnLst>
                <a:cxn ang="0">
                  <a:pos x="T0" y="T1"/>
                </a:cxn>
                <a:cxn ang="0">
                  <a:pos x="T2" y="T3"/>
                </a:cxn>
                <a:cxn ang="0">
                  <a:pos x="T4" y="T5"/>
                </a:cxn>
                <a:cxn ang="0">
                  <a:pos x="T6" y="T7"/>
                </a:cxn>
                <a:cxn ang="0">
                  <a:pos x="T8" y="T9"/>
                </a:cxn>
                <a:cxn ang="0">
                  <a:pos x="T10" y="T11"/>
                </a:cxn>
              </a:cxnLst>
              <a:rect l="0" t="0" r="r" b="b"/>
              <a:pathLst>
                <a:path w="590" h="404">
                  <a:moveTo>
                    <a:pt x="588" y="128"/>
                  </a:moveTo>
                  <a:cubicBezTo>
                    <a:pt x="589" y="128"/>
                    <a:pt x="589" y="128"/>
                    <a:pt x="590" y="128"/>
                  </a:cubicBezTo>
                  <a:cubicBezTo>
                    <a:pt x="590" y="0"/>
                    <a:pt x="590" y="0"/>
                    <a:pt x="590" y="0"/>
                  </a:cubicBezTo>
                  <a:cubicBezTo>
                    <a:pt x="339" y="0"/>
                    <a:pt x="125" y="124"/>
                    <a:pt x="0" y="341"/>
                  </a:cubicBezTo>
                  <a:cubicBezTo>
                    <a:pt x="109" y="404"/>
                    <a:pt x="109" y="404"/>
                    <a:pt x="109" y="404"/>
                  </a:cubicBezTo>
                  <a:cubicBezTo>
                    <a:pt x="205" y="239"/>
                    <a:pt x="384" y="128"/>
                    <a:pt x="588" y="12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4" name="Freeform 6">
              <a:extLst>
                <a:ext uri="{FF2B5EF4-FFF2-40B4-BE49-F238E27FC236}">
                  <a16:creationId xmlns:a16="http://schemas.microsoft.com/office/drawing/2014/main" id="{8B02286F-2474-467E-AF82-AFC699349C2E}"/>
                </a:ext>
              </a:extLst>
            </p:cNvPr>
            <p:cNvSpPr>
              <a:spLocks/>
            </p:cNvSpPr>
            <p:nvPr/>
          </p:nvSpPr>
          <p:spPr bwMode="auto">
            <a:xfrm>
              <a:off x="10026651" y="3525838"/>
              <a:ext cx="103187" cy="298450"/>
            </a:xfrm>
            <a:custGeom>
              <a:avLst/>
              <a:gdLst>
                <a:gd name="T0" fmla="*/ 160 w 235"/>
                <a:gd name="T1" fmla="*/ 342 h 683"/>
                <a:gd name="T2" fmla="*/ 235 w 235"/>
                <a:gd name="T3" fmla="*/ 63 h 683"/>
                <a:gd name="T4" fmla="*/ 126 w 235"/>
                <a:gd name="T5" fmla="*/ 0 h 683"/>
                <a:gd name="T6" fmla="*/ 126 w 235"/>
                <a:gd name="T7" fmla="*/ 683 h 683"/>
                <a:gd name="T8" fmla="*/ 235 w 235"/>
                <a:gd name="T9" fmla="*/ 620 h 683"/>
                <a:gd name="T10" fmla="*/ 160 w 235"/>
                <a:gd name="T11" fmla="*/ 342 h 683"/>
              </a:gdLst>
              <a:ahLst/>
              <a:cxnLst>
                <a:cxn ang="0">
                  <a:pos x="T0" y="T1"/>
                </a:cxn>
                <a:cxn ang="0">
                  <a:pos x="T2" y="T3"/>
                </a:cxn>
                <a:cxn ang="0">
                  <a:pos x="T4" y="T5"/>
                </a:cxn>
                <a:cxn ang="0">
                  <a:pos x="T6" y="T7"/>
                </a:cxn>
                <a:cxn ang="0">
                  <a:pos x="T8" y="T9"/>
                </a:cxn>
                <a:cxn ang="0">
                  <a:pos x="T10" y="T11"/>
                </a:cxn>
              </a:cxnLst>
              <a:rect l="0" t="0" r="r" b="b"/>
              <a:pathLst>
                <a:path w="235" h="683">
                  <a:moveTo>
                    <a:pt x="160" y="342"/>
                  </a:moveTo>
                  <a:cubicBezTo>
                    <a:pt x="160" y="240"/>
                    <a:pt x="187" y="145"/>
                    <a:pt x="235" y="63"/>
                  </a:cubicBezTo>
                  <a:cubicBezTo>
                    <a:pt x="126" y="0"/>
                    <a:pt x="126" y="0"/>
                    <a:pt x="126" y="0"/>
                  </a:cubicBezTo>
                  <a:cubicBezTo>
                    <a:pt x="0" y="218"/>
                    <a:pt x="0" y="465"/>
                    <a:pt x="126" y="683"/>
                  </a:cubicBezTo>
                  <a:cubicBezTo>
                    <a:pt x="235" y="620"/>
                    <a:pt x="235" y="620"/>
                    <a:pt x="235" y="620"/>
                  </a:cubicBezTo>
                  <a:cubicBezTo>
                    <a:pt x="187" y="538"/>
                    <a:pt x="160" y="443"/>
                    <a:pt x="160" y="34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5" name="Freeform 7">
              <a:extLst>
                <a:ext uri="{FF2B5EF4-FFF2-40B4-BE49-F238E27FC236}">
                  <a16:creationId xmlns:a16="http://schemas.microsoft.com/office/drawing/2014/main" id="{A36BEE48-AEF2-4716-9B5B-242B58946D34}"/>
                </a:ext>
              </a:extLst>
            </p:cNvPr>
            <p:cNvSpPr>
              <a:spLocks/>
            </p:cNvSpPr>
            <p:nvPr/>
          </p:nvSpPr>
          <p:spPr bwMode="auto">
            <a:xfrm>
              <a:off x="10082213" y="3795713"/>
              <a:ext cx="257175" cy="176213"/>
            </a:xfrm>
            <a:custGeom>
              <a:avLst/>
              <a:gdLst>
                <a:gd name="T0" fmla="*/ 588 w 590"/>
                <a:gd name="T1" fmla="*/ 276 h 404"/>
                <a:gd name="T2" fmla="*/ 109 w 590"/>
                <a:gd name="T3" fmla="*/ 0 h 404"/>
                <a:gd name="T4" fmla="*/ 0 w 590"/>
                <a:gd name="T5" fmla="*/ 63 h 404"/>
                <a:gd name="T6" fmla="*/ 590 w 590"/>
                <a:gd name="T7" fmla="*/ 404 h 404"/>
                <a:gd name="T8" fmla="*/ 590 w 590"/>
                <a:gd name="T9" fmla="*/ 276 h 404"/>
                <a:gd name="T10" fmla="*/ 588 w 590"/>
                <a:gd name="T11" fmla="*/ 276 h 404"/>
              </a:gdLst>
              <a:ahLst/>
              <a:cxnLst>
                <a:cxn ang="0">
                  <a:pos x="T0" y="T1"/>
                </a:cxn>
                <a:cxn ang="0">
                  <a:pos x="T2" y="T3"/>
                </a:cxn>
                <a:cxn ang="0">
                  <a:pos x="T4" y="T5"/>
                </a:cxn>
                <a:cxn ang="0">
                  <a:pos x="T6" y="T7"/>
                </a:cxn>
                <a:cxn ang="0">
                  <a:pos x="T8" y="T9"/>
                </a:cxn>
                <a:cxn ang="0">
                  <a:pos x="T10" y="T11"/>
                </a:cxn>
              </a:cxnLst>
              <a:rect l="0" t="0" r="r" b="b"/>
              <a:pathLst>
                <a:path w="590" h="404">
                  <a:moveTo>
                    <a:pt x="588" y="276"/>
                  </a:moveTo>
                  <a:cubicBezTo>
                    <a:pt x="383" y="276"/>
                    <a:pt x="205" y="165"/>
                    <a:pt x="109" y="0"/>
                  </a:cubicBezTo>
                  <a:cubicBezTo>
                    <a:pt x="0" y="63"/>
                    <a:pt x="0" y="63"/>
                    <a:pt x="0" y="63"/>
                  </a:cubicBezTo>
                  <a:cubicBezTo>
                    <a:pt x="125" y="280"/>
                    <a:pt x="339" y="404"/>
                    <a:pt x="590" y="404"/>
                  </a:cubicBezTo>
                  <a:cubicBezTo>
                    <a:pt x="590" y="276"/>
                    <a:pt x="590" y="276"/>
                    <a:pt x="590" y="276"/>
                  </a:cubicBezTo>
                  <a:cubicBezTo>
                    <a:pt x="589" y="276"/>
                    <a:pt x="589" y="276"/>
                    <a:pt x="588" y="2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6" name="Freeform 8">
              <a:extLst>
                <a:ext uri="{FF2B5EF4-FFF2-40B4-BE49-F238E27FC236}">
                  <a16:creationId xmlns:a16="http://schemas.microsoft.com/office/drawing/2014/main" id="{CAEE80B3-F8BD-4D9E-B91B-D887B6B9912B}"/>
                </a:ext>
              </a:extLst>
            </p:cNvPr>
            <p:cNvSpPr>
              <a:spLocks/>
            </p:cNvSpPr>
            <p:nvPr/>
          </p:nvSpPr>
          <p:spPr bwMode="auto">
            <a:xfrm>
              <a:off x="10339388" y="3378200"/>
              <a:ext cx="296862" cy="593725"/>
            </a:xfrm>
            <a:custGeom>
              <a:avLst/>
              <a:gdLst>
                <a:gd name="T0" fmla="*/ 0 w 681"/>
                <a:gd name="T1" fmla="*/ 0 h 1365"/>
                <a:gd name="T2" fmla="*/ 0 w 681"/>
                <a:gd name="T3" fmla="*/ 128 h 1365"/>
                <a:gd name="T4" fmla="*/ 553 w 681"/>
                <a:gd name="T5" fmla="*/ 683 h 1365"/>
                <a:gd name="T6" fmla="*/ 0 w 681"/>
                <a:gd name="T7" fmla="*/ 1237 h 1365"/>
                <a:gd name="T8" fmla="*/ 0 w 681"/>
                <a:gd name="T9" fmla="*/ 1365 h 1365"/>
                <a:gd name="T10" fmla="*/ 681 w 681"/>
                <a:gd name="T11" fmla="*/ 682 h 1365"/>
                <a:gd name="T12" fmla="*/ 0 w 681"/>
                <a:gd name="T13" fmla="*/ 0 h 1365"/>
              </a:gdLst>
              <a:ahLst/>
              <a:cxnLst>
                <a:cxn ang="0">
                  <a:pos x="T0" y="T1"/>
                </a:cxn>
                <a:cxn ang="0">
                  <a:pos x="T2" y="T3"/>
                </a:cxn>
                <a:cxn ang="0">
                  <a:pos x="T4" y="T5"/>
                </a:cxn>
                <a:cxn ang="0">
                  <a:pos x="T6" y="T7"/>
                </a:cxn>
                <a:cxn ang="0">
                  <a:pos x="T8" y="T9"/>
                </a:cxn>
                <a:cxn ang="0">
                  <a:pos x="T10" y="T11"/>
                </a:cxn>
                <a:cxn ang="0">
                  <a:pos x="T12" y="T13"/>
                </a:cxn>
              </a:cxnLst>
              <a:rect l="0" t="0" r="r" b="b"/>
              <a:pathLst>
                <a:path w="681" h="1365">
                  <a:moveTo>
                    <a:pt x="0" y="0"/>
                  </a:moveTo>
                  <a:cubicBezTo>
                    <a:pt x="0" y="128"/>
                    <a:pt x="0" y="128"/>
                    <a:pt x="0" y="128"/>
                  </a:cubicBezTo>
                  <a:cubicBezTo>
                    <a:pt x="305" y="129"/>
                    <a:pt x="553" y="377"/>
                    <a:pt x="553" y="683"/>
                  </a:cubicBezTo>
                  <a:cubicBezTo>
                    <a:pt x="553" y="989"/>
                    <a:pt x="305" y="1237"/>
                    <a:pt x="0" y="1237"/>
                  </a:cubicBezTo>
                  <a:cubicBezTo>
                    <a:pt x="0" y="1365"/>
                    <a:pt x="0" y="1365"/>
                    <a:pt x="0" y="1365"/>
                  </a:cubicBezTo>
                  <a:cubicBezTo>
                    <a:pt x="376" y="1365"/>
                    <a:pt x="681" y="1059"/>
                    <a:pt x="681" y="682"/>
                  </a:cubicBezTo>
                  <a:cubicBezTo>
                    <a:pt x="681" y="305"/>
                    <a:pt x="37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7" name="Freeform 9">
              <a:extLst>
                <a:ext uri="{FF2B5EF4-FFF2-40B4-BE49-F238E27FC236}">
                  <a16:creationId xmlns:a16="http://schemas.microsoft.com/office/drawing/2014/main" id="{DBBA3BF5-97E1-4EFC-A711-C4BE72BF2349}"/>
                </a:ext>
              </a:extLst>
            </p:cNvPr>
            <p:cNvSpPr>
              <a:spLocks noEditPoints="1"/>
            </p:cNvSpPr>
            <p:nvPr/>
          </p:nvSpPr>
          <p:spPr bwMode="auto">
            <a:xfrm>
              <a:off x="10264775" y="3533775"/>
              <a:ext cx="147637" cy="282575"/>
            </a:xfrm>
            <a:custGeom>
              <a:avLst/>
              <a:gdLst>
                <a:gd name="T0" fmla="*/ 341 w 341"/>
                <a:gd name="T1" fmla="*/ 434 h 651"/>
                <a:gd name="T2" fmla="*/ 304 w 341"/>
                <a:gd name="T3" fmla="*/ 529 h 651"/>
                <a:gd name="T4" fmla="*/ 196 w 341"/>
                <a:gd name="T5" fmla="*/ 573 h 651"/>
                <a:gd name="T6" fmla="*/ 196 w 341"/>
                <a:gd name="T7" fmla="*/ 651 h 651"/>
                <a:gd name="T8" fmla="*/ 144 w 341"/>
                <a:gd name="T9" fmla="*/ 651 h 651"/>
                <a:gd name="T10" fmla="*/ 144 w 341"/>
                <a:gd name="T11" fmla="*/ 576 h 651"/>
                <a:gd name="T12" fmla="*/ 9 w 341"/>
                <a:gd name="T13" fmla="*/ 543 h 651"/>
                <a:gd name="T14" fmla="*/ 9 w 341"/>
                <a:gd name="T15" fmla="*/ 444 h 651"/>
                <a:gd name="T16" fmla="*/ 71 w 341"/>
                <a:gd name="T17" fmla="*/ 475 h 651"/>
                <a:gd name="T18" fmla="*/ 144 w 341"/>
                <a:gd name="T19" fmla="*/ 492 h 651"/>
                <a:gd name="T20" fmla="*/ 144 w 341"/>
                <a:gd name="T21" fmla="*/ 362 h 651"/>
                <a:gd name="T22" fmla="*/ 32 w 341"/>
                <a:gd name="T23" fmla="*/ 298 h 651"/>
                <a:gd name="T24" fmla="*/ 0 w 341"/>
                <a:gd name="T25" fmla="*/ 207 h 651"/>
                <a:gd name="T26" fmla="*/ 40 w 341"/>
                <a:gd name="T27" fmla="*/ 112 h 651"/>
                <a:gd name="T28" fmla="*/ 144 w 341"/>
                <a:gd name="T29" fmla="*/ 66 h 651"/>
                <a:gd name="T30" fmla="*/ 144 w 341"/>
                <a:gd name="T31" fmla="*/ 0 h 651"/>
                <a:gd name="T32" fmla="*/ 196 w 341"/>
                <a:gd name="T33" fmla="*/ 0 h 651"/>
                <a:gd name="T34" fmla="*/ 196 w 341"/>
                <a:gd name="T35" fmla="*/ 65 h 651"/>
                <a:gd name="T36" fmla="*/ 308 w 341"/>
                <a:gd name="T37" fmla="*/ 89 h 651"/>
                <a:gd name="T38" fmla="*/ 308 w 341"/>
                <a:gd name="T39" fmla="*/ 185 h 651"/>
                <a:gd name="T40" fmla="*/ 196 w 341"/>
                <a:gd name="T41" fmla="*/ 148 h 651"/>
                <a:gd name="T42" fmla="*/ 196 w 341"/>
                <a:gd name="T43" fmla="*/ 283 h 651"/>
                <a:gd name="T44" fmla="*/ 308 w 341"/>
                <a:gd name="T45" fmla="*/ 347 h 651"/>
                <a:gd name="T46" fmla="*/ 341 w 341"/>
                <a:gd name="T47" fmla="*/ 434 h 651"/>
                <a:gd name="T48" fmla="*/ 144 w 341"/>
                <a:gd name="T49" fmla="*/ 262 h 651"/>
                <a:gd name="T50" fmla="*/ 144 w 341"/>
                <a:gd name="T51" fmla="*/ 150 h 651"/>
                <a:gd name="T52" fmla="*/ 94 w 341"/>
                <a:gd name="T53" fmla="*/ 201 h 651"/>
                <a:gd name="T54" fmla="*/ 144 w 341"/>
                <a:gd name="T55" fmla="*/ 262 h 651"/>
                <a:gd name="T56" fmla="*/ 246 w 341"/>
                <a:gd name="T57" fmla="*/ 439 h 651"/>
                <a:gd name="T58" fmla="*/ 196 w 341"/>
                <a:gd name="T59" fmla="*/ 382 h 651"/>
                <a:gd name="T60" fmla="*/ 196 w 341"/>
                <a:gd name="T61" fmla="*/ 490 h 651"/>
                <a:gd name="T62" fmla="*/ 246 w 341"/>
                <a:gd name="T63" fmla="*/ 439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1">
                  <a:moveTo>
                    <a:pt x="341" y="434"/>
                  </a:moveTo>
                  <a:cubicBezTo>
                    <a:pt x="341" y="474"/>
                    <a:pt x="329" y="505"/>
                    <a:pt x="304" y="529"/>
                  </a:cubicBezTo>
                  <a:cubicBezTo>
                    <a:pt x="279" y="553"/>
                    <a:pt x="243" y="568"/>
                    <a:pt x="196" y="573"/>
                  </a:cubicBezTo>
                  <a:cubicBezTo>
                    <a:pt x="196" y="651"/>
                    <a:pt x="196" y="651"/>
                    <a:pt x="196" y="651"/>
                  </a:cubicBezTo>
                  <a:cubicBezTo>
                    <a:pt x="144" y="651"/>
                    <a:pt x="144" y="651"/>
                    <a:pt x="144" y="651"/>
                  </a:cubicBezTo>
                  <a:cubicBezTo>
                    <a:pt x="144" y="576"/>
                    <a:pt x="144" y="576"/>
                    <a:pt x="144" y="576"/>
                  </a:cubicBezTo>
                  <a:cubicBezTo>
                    <a:pt x="95" y="575"/>
                    <a:pt x="50" y="564"/>
                    <a:pt x="9" y="543"/>
                  </a:cubicBezTo>
                  <a:cubicBezTo>
                    <a:pt x="9" y="444"/>
                    <a:pt x="9" y="444"/>
                    <a:pt x="9" y="444"/>
                  </a:cubicBezTo>
                  <a:cubicBezTo>
                    <a:pt x="22" y="455"/>
                    <a:pt x="43" y="465"/>
                    <a:pt x="71" y="475"/>
                  </a:cubicBezTo>
                  <a:cubicBezTo>
                    <a:pt x="99" y="485"/>
                    <a:pt x="123" y="490"/>
                    <a:pt x="144" y="492"/>
                  </a:cubicBezTo>
                  <a:cubicBezTo>
                    <a:pt x="144" y="362"/>
                    <a:pt x="144" y="362"/>
                    <a:pt x="144" y="362"/>
                  </a:cubicBezTo>
                  <a:cubicBezTo>
                    <a:pt x="91" y="343"/>
                    <a:pt x="54" y="322"/>
                    <a:pt x="32" y="298"/>
                  </a:cubicBezTo>
                  <a:cubicBezTo>
                    <a:pt x="11" y="275"/>
                    <a:pt x="0" y="245"/>
                    <a:pt x="0" y="207"/>
                  </a:cubicBezTo>
                  <a:cubicBezTo>
                    <a:pt x="0" y="169"/>
                    <a:pt x="13" y="138"/>
                    <a:pt x="40" y="112"/>
                  </a:cubicBezTo>
                  <a:cubicBezTo>
                    <a:pt x="67" y="86"/>
                    <a:pt x="101" y="71"/>
                    <a:pt x="144" y="66"/>
                  </a:cubicBezTo>
                  <a:cubicBezTo>
                    <a:pt x="144" y="0"/>
                    <a:pt x="144" y="0"/>
                    <a:pt x="144" y="0"/>
                  </a:cubicBezTo>
                  <a:cubicBezTo>
                    <a:pt x="196" y="0"/>
                    <a:pt x="196" y="0"/>
                    <a:pt x="196" y="0"/>
                  </a:cubicBezTo>
                  <a:cubicBezTo>
                    <a:pt x="196" y="65"/>
                    <a:pt x="196" y="65"/>
                    <a:pt x="196" y="65"/>
                  </a:cubicBezTo>
                  <a:cubicBezTo>
                    <a:pt x="246" y="67"/>
                    <a:pt x="283" y="75"/>
                    <a:pt x="308" y="89"/>
                  </a:cubicBezTo>
                  <a:cubicBezTo>
                    <a:pt x="308" y="185"/>
                    <a:pt x="308" y="185"/>
                    <a:pt x="308" y="185"/>
                  </a:cubicBezTo>
                  <a:cubicBezTo>
                    <a:pt x="275" y="165"/>
                    <a:pt x="237" y="153"/>
                    <a:pt x="196" y="148"/>
                  </a:cubicBezTo>
                  <a:cubicBezTo>
                    <a:pt x="196" y="283"/>
                    <a:pt x="196" y="283"/>
                    <a:pt x="196" y="283"/>
                  </a:cubicBezTo>
                  <a:cubicBezTo>
                    <a:pt x="248" y="302"/>
                    <a:pt x="285" y="323"/>
                    <a:pt x="308" y="347"/>
                  </a:cubicBezTo>
                  <a:cubicBezTo>
                    <a:pt x="330" y="371"/>
                    <a:pt x="341" y="400"/>
                    <a:pt x="341" y="434"/>
                  </a:cubicBezTo>
                  <a:close/>
                  <a:moveTo>
                    <a:pt x="144" y="262"/>
                  </a:moveTo>
                  <a:cubicBezTo>
                    <a:pt x="144" y="150"/>
                    <a:pt x="144" y="150"/>
                    <a:pt x="144" y="150"/>
                  </a:cubicBezTo>
                  <a:cubicBezTo>
                    <a:pt x="111" y="156"/>
                    <a:pt x="94" y="173"/>
                    <a:pt x="94" y="201"/>
                  </a:cubicBezTo>
                  <a:cubicBezTo>
                    <a:pt x="94" y="226"/>
                    <a:pt x="111" y="246"/>
                    <a:pt x="144" y="262"/>
                  </a:cubicBezTo>
                  <a:close/>
                  <a:moveTo>
                    <a:pt x="246" y="439"/>
                  </a:moveTo>
                  <a:cubicBezTo>
                    <a:pt x="246" y="416"/>
                    <a:pt x="230" y="397"/>
                    <a:pt x="196" y="382"/>
                  </a:cubicBezTo>
                  <a:cubicBezTo>
                    <a:pt x="196" y="490"/>
                    <a:pt x="196" y="490"/>
                    <a:pt x="196" y="490"/>
                  </a:cubicBezTo>
                  <a:cubicBezTo>
                    <a:pt x="230" y="485"/>
                    <a:pt x="246" y="468"/>
                    <a:pt x="246" y="43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78" name="Group 177">
            <a:extLst>
              <a:ext uri="{FF2B5EF4-FFF2-40B4-BE49-F238E27FC236}">
                <a16:creationId xmlns:a16="http://schemas.microsoft.com/office/drawing/2014/main" id="{0FAC0582-52D6-4DCB-BBF1-C11ADF5B29E0}"/>
              </a:ext>
            </a:extLst>
          </p:cNvPr>
          <p:cNvGrpSpPr/>
          <p:nvPr/>
        </p:nvGrpSpPr>
        <p:grpSpPr>
          <a:xfrm>
            <a:off x="10592464" y="1823203"/>
            <a:ext cx="564078" cy="501082"/>
            <a:chOff x="8624916" y="3626282"/>
            <a:chExt cx="625476" cy="555625"/>
          </a:xfrm>
        </p:grpSpPr>
        <p:sp>
          <p:nvSpPr>
            <p:cNvPr id="179" name="Freeform 13">
              <a:extLst>
                <a:ext uri="{FF2B5EF4-FFF2-40B4-BE49-F238E27FC236}">
                  <a16:creationId xmlns:a16="http://schemas.microsoft.com/office/drawing/2014/main" id="{CE0E6538-632F-4C8E-9C6E-4CF853EA3730}"/>
                </a:ext>
              </a:extLst>
            </p:cNvPr>
            <p:cNvSpPr>
              <a:spLocks/>
            </p:cNvSpPr>
            <p:nvPr/>
          </p:nvSpPr>
          <p:spPr bwMode="auto">
            <a:xfrm>
              <a:off x="8624916" y="3626282"/>
              <a:ext cx="554038" cy="555625"/>
            </a:xfrm>
            <a:custGeom>
              <a:avLst/>
              <a:gdLst>
                <a:gd name="T0" fmla="*/ 1276 w 1276"/>
                <a:gd name="T1" fmla="*/ 720 h 1276"/>
                <a:gd name="T2" fmla="*/ 720 w 1276"/>
                <a:gd name="T3" fmla="*/ 1276 h 1276"/>
                <a:gd name="T4" fmla="*/ 150 w 1276"/>
                <a:gd name="T5" fmla="*/ 706 h 1276"/>
                <a:gd name="T6" fmla="*/ 150 w 1276"/>
                <a:gd name="T7" fmla="*/ 163 h 1276"/>
                <a:gd name="T8" fmla="*/ 163 w 1276"/>
                <a:gd name="T9" fmla="*/ 150 h 1276"/>
                <a:gd name="T10" fmla="*/ 706 w 1276"/>
                <a:gd name="T11" fmla="*/ 150 h 1276"/>
                <a:gd name="T12" fmla="*/ 1276 w 1276"/>
                <a:gd name="T13" fmla="*/ 720 h 1276"/>
              </a:gdLst>
              <a:ahLst/>
              <a:cxnLst>
                <a:cxn ang="0">
                  <a:pos x="T0" y="T1"/>
                </a:cxn>
                <a:cxn ang="0">
                  <a:pos x="T2" y="T3"/>
                </a:cxn>
                <a:cxn ang="0">
                  <a:pos x="T4" y="T5"/>
                </a:cxn>
                <a:cxn ang="0">
                  <a:pos x="T6" y="T7"/>
                </a:cxn>
                <a:cxn ang="0">
                  <a:pos x="T8" y="T9"/>
                </a:cxn>
                <a:cxn ang="0">
                  <a:pos x="T10" y="T11"/>
                </a:cxn>
                <a:cxn ang="0">
                  <a:pos x="T12" y="T13"/>
                </a:cxn>
              </a:cxnLst>
              <a:rect l="0" t="0" r="r" b="b"/>
              <a:pathLst>
                <a:path w="1276" h="1276">
                  <a:moveTo>
                    <a:pt x="1276" y="720"/>
                  </a:moveTo>
                  <a:cubicBezTo>
                    <a:pt x="720" y="1276"/>
                    <a:pt x="720" y="1276"/>
                    <a:pt x="720" y="1276"/>
                  </a:cubicBezTo>
                  <a:cubicBezTo>
                    <a:pt x="150" y="706"/>
                    <a:pt x="150" y="706"/>
                    <a:pt x="150" y="706"/>
                  </a:cubicBezTo>
                  <a:cubicBezTo>
                    <a:pt x="0" y="556"/>
                    <a:pt x="0" y="313"/>
                    <a:pt x="150" y="163"/>
                  </a:cubicBezTo>
                  <a:cubicBezTo>
                    <a:pt x="163" y="150"/>
                    <a:pt x="163" y="150"/>
                    <a:pt x="163" y="150"/>
                  </a:cubicBezTo>
                  <a:cubicBezTo>
                    <a:pt x="313" y="0"/>
                    <a:pt x="556" y="0"/>
                    <a:pt x="706" y="150"/>
                  </a:cubicBezTo>
                  <a:lnTo>
                    <a:pt x="1276" y="720"/>
                  </a:ln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0" name="Freeform 14">
              <a:extLst>
                <a:ext uri="{FF2B5EF4-FFF2-40B4-BE49-F238E27FC236}">
                  <a16:creationId xmlns:a16="http://schemas.microsoft.com/office/drawing/2014/main" id="{D274A485-4EFF-4F85-A30E-CA48177D8EA7}"/>
                </a:ext>
              </a:extLst>
            </p:cNvPr>
            <p:cNvSpPr>
              <a:spLocks/>
            </p:cNvSpPr>
            <p:nvPr/>
          </p:nvSpPr>
          <p:spPr bwMode="auto">
            <a:xfrm>
              <a:off x="8696354" y="3626282"/>
              <a:ext cx="554038" cy="555625"/>
            </a:xfrm>
            <a:custGeom>
              <a:avLst/>
              <a:gdLst>
                <a:gd name="T0" fmla="*/ 556 w 1276"/>
                <a:gd name="T1" fmla="*/ 1276 h 1276"/>
                <a:gd name="T2" fmla="*/ 0 w 1276"/>
                <a:gd name="T3" fmla="*/ 720 h 1276"/>
                <a:gd name="T4" fmla="*/ 570 w 1276"/>
                <a:gd name="T5" fmla="*/ 150 h 1276"/>
                <a:gd name="T6" fmla="*/ 1113 w 1276"/>
                <a:gd name="T7" fmla="*/ 150 h 1276"/>
                <a:gd name="T8" fmla="*/ 1126 w 1276"/>
                <a:gd name="T9" fmla="*/ 163 h 1276"/>
                <a:gd name="T10" fmla="*/ 1126 w 1276"/>
                <a:gd name="T11" fmla="*/ 706 h 1276"/>
                <a:gd name="T12" fmla="*/ 556 w 1276"/>
                <a:gd name="T13" fmla="*/ 1276 h 1276"/>
              </a:gdLst>
              <a:ahLst/>
              <a:cxnLst>
                <a:cxn ang="0">
                  <a:pos x="T0" y="T1"/>
                </a:cxn>
                <a:cxn ang="0">
                  <a:pos x="T2" y="T3"/>
                </a:cxn>
                <a:cxn ang="0">
                  <a:pos x="T4" y="T5"/>
                </a:cxn>
                <a:cxn ang="0">
                  <a:pos x="T6" y="T7"/>
                </a:cxn>
                <a:cxn ang="0">
                  <a:pos x="T8" y="T9"/>
                </a:cxn>
                <a:cxn ang="0">
                  <a:pos x="T10" y="T11"/>
                </a:cxn>
                <a:cxn ang="0">
                  <a:pos x="T12" y="T13"/>
                </a:cxn>
              </a:cxnLst>
              <a:rect l="0" t="0" r="r" b="b"/>
              <a:pathLst>
                <a:path w="1276" h="1276">
                  <a:moveTo>
                    <a:pt x="556" y="1276"/>
                  </a:moveTo>
                  <a:cubicBezTo>
                    <a:pt x="0" y="720"/>
                    <a:pt x="0" y="720"/>
                    <a:pt x="0" y="720"/>
                  </a:cubicBezTo>
                  <a:cubicBezTo>
                    <a:pt x="570" y="150"/>
                    <a:pt x="570" y="150"/>
                    <a:pt x="570" y="150"/>
                  </a:cubicBezTo>
                  <a:cubicBezTo>
                    <a:pt x="720" y="0"/>
                    <a:pt x="963" y="0"/>
                    <a:pt x="1113" y="150"/>
                  </a:cubicBezTo>
                  <a:cubicBezTo>
                    <a:pt x="1126" y="163"/>
                    <a:pt x="1126" y="163"/>
                    <a:pt x="1126" y="163"/>
                  </a:cubicBezTo>
                  <a:cubicBezTo>
                    <a:pt x="1276" y="313"/>
                    <a:pt x="1276" y="556"/>
                    <a:pt x="1126" y="706"/>
                  </a:cubicBezTo>
                  <a:lnTo>
                    <a:pt x="556" y="1276"/>
                  </a:lnTo>
                  <a:close/>
                </a:path>
              </a:pathLst>
            </a:custGeom>
            <a:solidFill>
              <a:srgbClr val="0067B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81" name="Group 180">
            <a:extLst>
              <a:ext uri="{FF2B5EF4-FFF2-40B4-BE49-F238E27FC236}">
                <a16:creationId xmlns:a16="http://schemas.microsoft.com/office/drawing/2014/main" id="{E286D849-9D69-4209-8D50-2CD6F379AE3F}"/>
              </a:ext>
            </a:extLst>
          </p:cNvPr>
          <p:cNvGrpSpPr/>
          <p:nvPr/>
        </p:nvGrpSpPr>
        <p:grpSpPr>
          <a:xfrm>
            <a:off x="8677710" y="1788353"/>
            <a:ext cx="570782" cy="570782"/>
            <a:chOff x="8429685" y="5123617"/>
            <a:chExt cx="627194" cy="627194"/>
          </a:xfrm>
        </p:grpSpPr>
        <p:sp>
          <p:nvSpPr>
            <p:cNvPr id="182" name="Freeform: Shape 181">
              <a:extLst>
                <a:ext uri="{FF2B5EF4-FFF2-40B4-BE49-F238E27FC236}">
                  <a16:creationId xmlns:a16="http://schemas.microsoft.com/office/drawing/2014/main" id="{D304023C-3F32-481C-9F8A-D857FCC25223}"/>
                </a:ext>
              </a:extLst>
            </p:cNvPr>
            <p:cNvSpPr/>
            <p:nvPr/>
          </p:nvSpPr>
          <p:spPr>
            <a:xfrm>
              <a:off x="8733482" y="5123617"/>
              <a:ext cx="19600" cy="146999"/>
            </a:xfrm>
            <a:custGeom>
              <a:avLst/>
              <a:gdLst>
                <a:gd name="connsiteX0" fmla="*/ 0 w 19599"/>
                <a:gd name="connsiteY0" fmla="*/ 0 h 146998"/>
                <a:gd name="connsiteX1" fmla="*/ 19600 w 19599"/>
                <a:gd name="connsiteY1" fmla="*/ 0 h 146998"/>
                <a:gd name="connsiteX2" fmla="*/ 19600 w 19599"/>
                <a:gd name="connsiteY2" fmla="*/ 146999 h 146998"/>
                <a:gd name="connsiteX3" fmla="*/ 0 w 19599"/>
                <a:gd name="connsiteY3" fmla="*/ 146999 h 146998"/>
              </a:gdLst>
              <a:ahLst/>
              <a:cxnLst>
                <a:cxn ang="0">
                  <a:pos x="connsiteX0" y="connsiteY0"/>
                </a:cxn>
                <a:cxn ang="0">
                  <a:pos x="connsiteX1" y="connsiteY1"/>
                </a:cxn>
                <a:cxn ang="0">
                  <a:pos x="connsiteX2" y="connsiteY2"/>
                </a:cxn>
                <a:cxn ang="0">
                  <a:pos x="connsiteX3" y="connsiteY3"/>
                </a:cxn>
              </a:cxnLst>
              <a:rect l="l" t="t" r="r" b="b"/>
              <a:pathLst>
                <a:path w="19599" h="146998">
                  <a:moveTo>
                    <a:pt x="0" y="0"/>
                  </a:moveTo>
                  <a:lnTo>
                    <a:pt x="19600" y="0"/>
                  </a:lnTo>
                  <a:lnTo>
                    <a:pt x="19600" y="146999"/>
                  </a:lnTo>
                  <a:lnTo>
                    <a:pt x="0" y="146999"/>
                  </a:lnTo>
                  <a:close/>
                </a:path>
              </a:pathLst>
            </a:custGeom>
            <a:solidFill>
              <a:srgbClr val="0067B6"/>
            </a:solidFill>
            <a:ln w="4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3" name="Freeform: Shape 182">
              <a:extLst>
                <a:ext uri="{FF2B5EF4-FFF2-40B4-BE49-F238E27FC236}">
                  <a16:creationId xmlns:a16="http://schemas.microsoft.com/office/drawing/2014/main" id="{DB22D5BD-E964-4A7C-B9BD-DCF8EF44F7E1}"/>
                </a:ext>
              </a:extLst>
            </p:cNvPr>
            <p:cNvSpPr/>
            <p:nvPr/>
          </p:nvSpPr>
          <p:spPr>
            <a:xfrm>
              <a:off x="8733482" y="5123617"/>
              <a:ext cx="107799" cy="58799"/>
            </a:xfrm>
            <a:custGeom>
              <a:avLst/>
              <a:gdLst>
                <a:gd name="connsiteX0" fmla="*/ 0 w 107798"/>
                <a:gd name="connsiteY0" fmla="*/ 0 h 58799"/>
                <a:gd name="connsiteX1" fmla="*/ 107799 w 107798"/>
                <a:gd name="connsiteY1" fmla="*/ 0 h 58799"/>
                <a:gd name="connsiteX2" fmla="*/ 107799 w 107798"/>
                <a:gd name="connsiteY2" fmla="*/ 58799 h 58799"/>
                <a:gd name="connsiteX3" fmla="*/ 0 w 107798"/>
                <a:gd name="connsiteY3" fmla="*/ 58799 h 58799"/>
              </a:gdLst>
              <a:ahLst/>
              <a:cxnLst>
                <a:cxn ang="0">
                  <a:pos x="connsiteX0" y="connsiteY0"/>
                </a:cxn>
                <a:cxn ang="0">
                  <a:pos x="connsiteX1" y="connsiteY1"/>
                </a:cxn>
                <a:cxn ang="0">
                  <a:pos x="connsiteX2" y="connsiteY2"/>
                </a:cxn>
                <a:cxn ang="0">
                  <a:pos x="connsiteX3" y="connsiteY3"/>
                </a:cxn>
              </a:cxnLst>
              <a:rect l="l" t="t" r="r" b="b"/>
              <a:pathLst>
                <a:path w="107798" h="58799">
                  <a:moveTo>
                    <a:pt x="0" y="0"/>
                  </a:moveTo>
                  <a:lnTo>
                    <a:pt x="107799" y="0"/>
                  </a:lnTo>
                  <a:lnTo>
                    <a:pt x="107799" y="58799"/>
                  </a:lnTo>
                  <a:lnTo>
                    <a:pt x="0" y="58799"/>
                  </a:lnTo>
                  <a:close/>
                </a:path>
              </a:pathLst>
            </a:custGeom>
            <a:solidFill>
              <a:srgbClr val="0067B6"/>
            </a:solidFill>
            <a:ln w="4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4" name="Freeform: Shape 183">
              <a:extLst>
                <a:ext uri="{FF2B5EF4-FFF2-40B4-BE49-F238E27FC236}">
                  <a16:creationId xmlns:a16="http://schemas.microsoft.com/office/drawing/2014/main" id="{05B249D8-61D1-4646-9964-817C0A7F6F23}"/>
                </a:ext>
              </a:extLst>
            </p:cNvPr>
            <p:cNvSpPr/>
            <p:nvPr/>
          </p:nvSpPr>
          <p:spPr>
            <a:xfrm>
              <a:off x="8508084" y="5260816"/>
              <a:ext cx="470396" cy="235198"/>
            </a:xfrm>
            <a:custGeom>
              <a:avLst/>
              <a:gdLst>
                <a:gd name="connsiteX0" fmla="*/ 0 w 470395"/>
                <a:gd name="connsiteY0" fmla="*/ 235198 h 235197"/>
                <a:gd name="connsiteX1" fmla="*/ 235198 w 470395"/>
                <a:gd name="connsiteY1" fmla="*/ 0 h 235197"/>
                <a:gd name="connsiteX2" fmla="*/ 470396 w 470395"/>
                <a:gd name="connsiteY2" fmla="*/ 235198 h 235197"/>
                <a:gd name="connsiteX3" fmla="*/ 0 w 470395"/>
                <a:gd name="connsiteY3" fmla="*/ 235198 h 235197"/>
              </a:gdLst>
              <a:ahLst/>
              <a:cxnLst>
                <a:cxn ang="0">
                  <a:pos x="connsiteX0" y="connsiteY0"/>
                </a:cxn>
                <a:cxn ang="0">
                  <a:pos x="connsiteX1" y="connsiteY1"/>
                </a:cxn>
                <a:cxn ang="0">
                  <a:pos x="connsiteX2" y="connsiteY2"/>
                </a:cxn>
                <a:cxn ang="0">
                  <a:pos x="connsiteX3" y="connsiteY3"/>
                </a:cxn>
              </a:cxnLst>
              <a:rect l="l" t="t" r="r" b="b"/>
              <a:pathLst>
                <a:path w="470395" h="235197">
                  <a:moveTo>
                    <a:pt x="0" y="235198"/>
                  </a:moveTo>
                  <a:cubicBezTo>
                    <a:pt x="0" y="105300"/>
                    <a:pt x="105300" y="0"/>
                    <a:pt x="235198" y="0"/>
                  </a:cubicBezTo>
                  <a:cubicBezTo>
                    <a:pt x="365096" y="0"/>
                    <a:pt x="470396" y="105300"/>
                    <a:pt x="470396" y="235198"/>
                  </a:cubicBezTo>
                  <a:lnTo>
                    <a:pt x="0" y="235198"/>
                  </a:lnTo>
                  <a:close/>
                </a:path>
              </a:pathLst>
            </a:custGeom>
            <a:solidFill>
              <a:srgbClr val="0067B6"/>
            </a:solidFill>
            <a:ln w="4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5" name="Freeform: Shape 184">
              <a:extLst>
                <a:ext uri="{FF2B5EF4-FFF2-40B4-BE49-F238E27FC236}">
                  <a16:creationId xmlns:a16="http://schemas.microsoft.com/office/drawing/2014/main" id="{A169F8B1-66F7-4CDA-BD6F-C378A4588C9E}"/>
                </a:ext>
              </a:extLst>
            </p:cNvPr>
            <p:cNvSpPr/>
            <p:nvPr/>
          </p:nvSpPr>
          <p:spPr>
            <a:xfrm>
              <a:off x="8429685" y="5496013"/>
              <a:ext cx="627194" cy="254798"/>
            </a:xfrm>
            <a:custGeom>
              <a:avLst/>
              <a:gdLst>
                <a:gd name="connsiteX0" fmla="*/ 0 w 627194"/>
                <a:gd name="connsiteY0" fmla="*/ 0 h 254797"/>
                <a:gd name="connsiteX1" fmla="*/ 627194 w 627194"/>
                <a:gd name="connsiteY1" fmla="*/ 0 h 254797"/>
                <a:gd name="connsiteX2" fmla="*/ 627194 w 627194"/>
                <a:gd name="connsiteY2" fmla="*/ 254798 h 254797"/>
                <a:gd name="connsiteX3" fmla="*/ 0 w 627194"/>
                <a:gd name="connsiteY3" fmla="*/ 254798 h 254797"/>
              </a:gdLst>
              <a:ahLst/>
              <a:cxnLst>
                <a:cxn ang="0">
                  <a:pos x="connsiteX0" y="connsiteY0"/>
                </a:cxn>
                <a:cxn ang="0">
                  <a:pos x="connsiteX1" y="connsiteY1"/>
                </a:cxn>
                <a:cxn ang="0">
                  <a:pos x="connsiteX2" y="connsiteY2"/>
                </a:cxn>
                <a:cxn ang="0">
                  <a:pos x="connsiteX3" y="connsiteY3"/>
                </a:cxn>
              </a:cxnLst>
              <a:rect l="l" t="t" r="r" b="b"/>
              <a:pathLst>
                <a:path w="627194" h="254797">
                  <a:moveTo>
                    <a:pt x="0" y="0"/>
                  </a:moveTo>
                  <a:lnTo>
                    <a:pt x="627194" y="0"/>
                  </a:lnTo>
                  <a:lnTo>
                    <a:pt x="627194" y="254798"/>
                  </a:lnTo>
                  <a:lnTo>
                    <a:pt x="0" y="254798"/>
                  </a:lnTo>
                  <a:close/>
                </a:path>
              </a:pathLst>
            </a:custGeom>
            <a:solidFill>
              <a:srgbClr val="0067B6"/>
            </a:solidFill>
            <a:ln w="4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6" name="Freeform: Shape 185">
              <a:extLst>
                <a:ext uri="{FF2B5EF4-FFF2-40B4-BE49-F238E27FC236}">
                  <a16:creationId xmlns:a16="http://schemas.microsoft.com/office/drawing/2014/main" id="{6B9763A2-EC9C-462A-A366-D5CF7BCD6B85}"/>
                </a:ext>
              </a:extLst>
            </p:cNvPr>
            <p:cNvSpPr/>
            <p:nvPr/>
          </p:nvSpPr>
          <p:spPr>
            <a:xfrm>
              <a:off x="8468885" y="5535213"/>
              <a:ext cx="58799" cy="176398"/>
            </a:xfrm>
            <a:custGeom>
              <a:avLst/>
              <a:gdLst>
                <a:gd name="connsiteX0" fmla="*/ 0 w 58799"/>
                <a:gd name="connsiteY0" fmla="*/ 0 h 176398"/>
                <a:gd name="connsiteX1" fmla="*/ 58799 w 58799"/>
                <a:gd name="connsiteY1" fmla="*/ 0 h 176398"/>
                <a:gd name="connsiteX2" fmla="*/ 58799 w 58799"/>
                <a:gd name="connsiteY2" fmla="*/ 176398 h 176398"/>
                <a:gd name="connsiteX3" fmla="*/ 0 w 58799"/>
                <a:gd name="connsiteY3" fmla="*/ 176398 h 176398"/>
              </a:gdLst>
              <a:ahLst/>
              <a:cxnLst>
                <a:cxn ang="0">
                  <a:pos x="connsiteX0" y="connsiteY0"/>
                </a:cxn>
                <a:cxn ang="0">
                  <a:pos x="connsiteX1" y="connsiteY1"/>
                </a:cxn>
                <a:cxn ang="0">
                  <a:pos x="connsiteX2" y="connsiteY2"/>
                </a:cxn>
                <a:cxn ang="0">
                  <a:pos x="connsiteX3" y="connsiteY3"/>
                </a:cxn>
              </a:cxnLst>
              <a:rect l="l" t="t" r="r" b="b"/>
              <a:pathLst>
                <a:path w="58799" h="176398">
                  <a:moveTo>
                    <a:pt x="0" y="0"/>
                  </a:moveTo>
                  <a:lnTo>
                    <a:pt x="58799" y="0"/>
                  </a:lnTo>
                  <a:lnTo>
                    <a:pt x="58799" y="176398"/>
                  </a:lnTo>
                  <a:lnTo>
                    <a:pt x="0" y="176398"/>
                  </a:lnTo>
                  <a:close/>
                </a:path>
              </a:pathLst>
            </a:custGeom>
            <a:solidFill>
              <a:srgbClr val="50E6FF"/>
            </a:solidFill>
            <a:ln w="4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7" name="Freeform: Shape 186">
              <a:extLst>
                <a:ext uri="{FF2B5EF4-FFF2-40B4-BE49-F238E27FC236}">
                  <a16:creationId xmlns:a16="http://schemas.microsoft.com/office/drawing/2014/main" id="{1AC58734-6813-46BC-8CE3-47F1CF408F92}"/>
                </a:ext>
              </a:extLst>
            </p:cNvPr>
            <p:cNvSpPr/>
            <p:nvPr/>
          </p:nvSpPr>
          <p:spPr>
            <a:xfrm>
              <a:off x="8566884" y="5535213"/>
              <a:ext cx="58799" cy="176398"/>
            </a:xfrm>
            <a:custGeom>
              <a:avLst/>
              <a:gdLst>
                <a:gd name="connsiteX0" fmla="*/ 0 w 58799"/>
                <a:gd name="connsiteY0" fmla="*/ 0 h 176398"/>
                <a:gd name="connsiteX1" fmla="*/ 58799 w 58799"/>
                <a:gd name="connsiteY1" fmla="*/ 0 h 176398"/>
                <a:gd name="connsiteX2" fmla="*/ 58799 w 58799"/>
                <a:gd name="connsiteY2" fmla="*/ 176398 h 176398"/>
                <a:gd name="connsiteX3" fmla="*/ 0 w 58799"/>
                <a:gd name="connsiteY3" fmla="*/ 176398 h 176398"/>
              </a:gdLst>
              <a:ahLst/>
              <a:cxnLst>
                <a:cxn ang="0">
                  <a:pos x="connsiteX0" y="connsiteY0"/>
                </a:cxn>
                <a:cxn ang="0">
                  <a:pos x="connsiteX1" y="connsiteY1"/>
                </a:cxn>
                <a:cxn ang="0">
                  <a:pos x="connsiteX2" y="connsiteY2"/>
                </a:cxn>
                <a:cxn ang="0">
                  <a:pos x="connsiteX3" y="connsiteY3"/>
                </a:cxn>
              </a:cxnLst>
              <a:rect l="l" t="t" r="r" b="b"/>
              <a:pathLst>
                <a:path w="58799" h="176398">
                  <a:moveTo>
                    <a:pt x="0" y="0"/>
                  </a:moveTo>
                  <a:lnTo>
                    <a:pt x="58799" y="0"/>
                  </a:lnTo>
                  <a:lnTo>
                    <a:pt x="58799" y="176398"/>
                  </a:lnTo>
                  <a:lnTo>
                    <a:pt x="0" y="176398"/>
                  </a:lnTo>
                  <a:close/>
                </a:path>
              </a:pathLst>
            </a:custGeom>
            <a:solidFill>
              <a:srgbClr val="50E6FF"/>
            </a:solidFill>
            <a:ln w="4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8" name="Freeform: Shape 187">
              <a:extLst>
                <a:ext uri="{FF2B5EF4-FFF2-40B4-BE49-F238E27FC236}">
                  <a16:creationId xmlns:a16="http://schemas.microsoft.com/office/drawing/2014/main" id="{19E88110-A86D-4A50-93D4-FD808BDB6BAE}"/>
                </a:ext>
              </a:extLst>
            </p:cNvPr>
            <p:cNvSpPr/>
            <p:nvPr/>
          </p:nvSpPr>
          <p:spPr>
            <a:xfrm>
              <a:off x="8664883" y="5535213"/>
              <a:ext cx="58799" cy="176398"/>
            </a:xfrm>
            <a:custGeom>
              <a:avLst/>
              <a:gdLst>
                <a:gd name="connsiteX0" fmla="*/ 0 w 58799"/>
                <a:gd name="connsiteY0" fmla="*/ 0 h 176398"/>
                <a:gd name="connsiteX1" fmla="*/ 58799 w 58799"/>
                <a:gd name="connsiteY1" fmla="*/ 0 h 176398"/>
                <a:gd name="connsiteX2" fmla="*/ 58799 w 58799"/>
                <a:gd name="connsiteY2" fmla="*/ 176398 h 176398"/>
                <a:gd name="connsiteX3" fmla="*/ 0 w 58799"/>
                <a:gd name="connsiteY3" fmla="*/ 176398 h 176398"/>
              </a:gdLst>
              <a:ahLst/>
              <a:cxnLst>
                <a:cxn ang="0">
                  <a:pos x="connsiteX0" y="connsiteY0"/>
                </a:cxn>
                <a:cxn ang="0">
                  <a:pos x="connsiteX1" y="connsiteY1"/>
                </a:cxn>
                <a:cxn ang="0">
                  <a:pos x="connsiteX2" y="connsiteY2"/>
                </a:cxn>
                <a:cxn ang="0">
                  <a:pos x="connsiteX3" y="connsiteY3"/>
                </a:cxn>
              </a:cxnLst>
              <a:rect l="l" t="t" r="r" b="b"/>
              <a:pathLst>
                <a:path w="58799" h="176398">
                  <a:moveTo>
                    <a:pt x="0" y="0"/>
                  </a:moveTo>
                  <a:lnTo>
                    <a:pt x="58799" y="0"/>
                  </a:lnTo>
                  <a:lnTo>
                    <a:pt x="58799" y="176398"/>
                  </a:lnTo>
                  <a:lnTo>
                    <a:pt x="0" y="176398"/>
                  </a:lnTo>
                  <a:close/>
                </a:path>
              </a:pathLst>
            </a:custGeom>
            <a:solidFill>
              <a:srgbClr val="50E6FF"/>
            </a:solidFill>
            <a:ln w="4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9" name="Freeform: Shape 188">
              <a:extLst>
                <a:ext uri="{FF2B5EF4-FFF2-40B4-BE49-F238E27FC236}">
                  <a16:creationId xmlns:a16="http://schemas.microsoft.com/office/drawing/2014/main" id="{96360C01-7700-4209-A683-41057175E79B}"/>
                </a:ext>
              </a:extLst>
            </p:cNvPr>
            <p:cNvSpPr/>
            <p:nvPr/>
          </p:nvSpPr>
          <p:spPr>
            <a:xfrm>
              <a:off x="8762882" y="5535213"/>
              <a:ext cx="58799" cy="176398"/>
            </a:xfrm>
            <a:custGeom>
              <a:avLst/>
              <a:gdLst>
                <a:gd name="connsiteX0" fmla="*/ 0 w 58799"/>
                <a:gd name="connsiteY0" fmla="*/ 0 h 176398"/>
                <a:gd name="connsiteX1" fmla="*/ 58799 w 58799"/>
                <a:gd name="connsiteY1" fmla="*/ 0 h 176398"/>
                <a:gd name="connsiteX2" fmla="*/ 58799 w 58799"/>
                <a:gd name="connsiteY2" fmla="*/ 176398 h 176398"/>
                <a:gd name="connsiteX3" fmla="*/ 0 w 58799"/>
                <a:gd name="connsiteY3" fmla="*/ 176398 h 176398"/>
              </a:gdLst>
              <a:ahLst/>
              <a:cxnLst>
                <a:cxn ang="0">
                  <a:pos x="connsiteX0" y="connsiteY0"/>
                </a:cxn>
                <a:cxn ang="0">
                  <a:pos x="connsiteX1" y="connsiteY1"/>
                </a:cxn>
                <a:cxn ang="0">
                  <a:pos x="connsiteX2" y="connsiteY2"/>
                </a:cxn>
                <a:cxn ang="0">
                  <a:pos x="connsiteX3" y="connsiteY3"/>
                </a:cxn>
              </a:cxnLst>
              <a:rect l="l" t="t" r="r" b="b"/>
              <a:pathLst>
                <a:path w="58799" h="176398">
                  <a:moveTo>
                    <a:pt x="0" y="0"/>
                  </a:moveTo>
                  <a:lnTo>
                    <a:pt x="58799" y="0"/>
                  </a:lnTo>
                  <a:lnTo>
                    <a:pt x="58799" y="176398"/>
                  </a:lnTo>
                  <a:lnTo>
                    <a:pt x="0" y="176398"/>
                  </a:lnTo>
                  <a:close/>
                </a:path>
              </a:pathLst>
            </a:custGeom>
            <a:solidFill>
              <a:srgbClr val="50E6FF"/>
            </a:solidFill>
            <a:ln w="4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0" name="Freeform: Shape 189">
              <a:extLst>
                <a:ext uri="{FF2B5EF4-FFF2-40B4-BE49-F238E27FC236}">
                  <a16:creationId xmlns:a16="http://schemas.microsoft.com/office/drawing/2014/main" id="{EB1CA576-EAE1-4196-A881-7D1221F8A748}"/>
                </a:ext>
              </a:extLst>
            </p:cNvPr>
            <p:cNvSpPr/>
            <p:nvPr/>
          </p:nvSpPr>
          <p:spPr>
            <a:xfrm>
              <a:off x="8860881" y="5535213"/>
              <a:ext cx="58799" cy="176398"/>
            </a:xfrm>
            <a:custGeom>
              <a:avLst/>
              <a:gdLst>
                <a:gd name="connsiteX0" fmla="*/ 0 w 58799"/>
                <a:gd name="connsiteY0" fmla="*/ 0 h 176398"/>
                <a:gd name="connsiteX1" fmla="*/ 58799 w 58799"/>
                <a:gd name="connsiteY1" fmla="*/ 0 h 176398"/>
                <a:gd name="connsiteX2" fmla="*/ 58799 w 58799"/>
                <a:gd name="connsiteY2" fmla="*/ 176398 h 176398"/>
                <a:gd name="connsiteX3" fmla="*/ 0 w 58799"/>
                <a:gd name="connsiteY3" fmla="*/ 176398 h 176398"/>
              </a:gdLst>
              <a:ahLst/>
              <a:cxnLst>
                <a:cxn ang="0">
                  <a:pos x="connsiteX0" y="connsiteY0"/>
                </a:cxn>
                <a:cxn ang="0">
                  <a:pos x="connsiteX1" y="connsiteY1"/>
                </a:cxn>
                <a:cxn ang="0">
                  <a:pos x="connsiteX2" y="connsiteY2"/>
                </a:cxn>
                <a:cxn ang="0">
                  <a:pos x="connsiteX3" y="connsiteY3"/>
                </a:cxn>
              </a:cxnLst>
              <a:rect l="l" t="t" r="r" b="b"/>
              <a:pathLst>
                <a:path w="58799" h="176398">
                  <a:moveTo>
                    <a:pt x="0" y="0"/>
                  </a:moveTo>
                  <a:lnTo>
                    <a:pt x="58799" y="0"/>
                  </a:lnTo>
                  <a:lnTo>
                    <a:pt x="58799" y="176398"/>
                  </a:lnTo>
                  <a:lnTo>
                    <a:pt x="0" y="176398"/>
                  </a:lnTo>
                  <a:close/>
                </a:path>
              </a:pathLst>
            </a:custGeom>
            <a:solidFill>
              <a:srgbClr val="50E6FF"/>
            </a:solidFill>
            <a:ln w="4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1" name="Freeform: Shape 190">
              <a:extLst>
                <a:ext uri="{FF2B5EF4-FFF2-40B4-BE49-F238E27FC236}">
                  <a16:creationId xmlns:a16="http://schemas.microsoft.com/office/drawing/2014/main" id="{F4251668-452D-4737-A547-F9AE780B30D9}"/>
                </a:ext>
              </a:extLst>
            </p:cNvPr>
            <p:cNvSpPr/>
            <p:nvPr/>
          </p:nvSpPr>
          <p:spPr>
            <a:xfrm>
              <a:off x="8958880" y="5535213"/>
              <a:ext cx="58799" cy="176398"/>
            </a:xfrm>
            <a:custGeom>
              <a:avLst/>
              <a:gdLst>
                <a:gd name="connsiteX0" fmla="*/ 0 w 58799"/>
                <a:gd name="connsiteY0" fmla="*/ 0 h 176398"/>
                <a:gd name="connsiteX1" fmla="*/ 58799 w 58799"/>
                <a:gd name="connsiteY1" fmla="*/ 0 h 176398"/>
                <a:gd name="connsiteX2" fmla="*/ 58799 w 58799"/>
                <a:gd name="connsiteY2" fmla="*/ 176398 h 176398"/>
                <a:gd name="connsiteX3" fmla="*/ 0 w 58799"/>
                <a:gd name="connsiteY3" fmla="*/ 176398 h 176398"/>
              </a:gdLst>
              <a:ahLst/>
              <a:cxnLst>
                <a:cxn ang="0">
                  <a:pos x="connsiteX0" y="connsiteY0"/>
                </a:cxn>
                <a:cxn ang="0">
                  <a:pos x="connsiteX1" y="connsiteY1"/>
                </a:cxn>
                <a:cxn ang="0">
                  <a:pos x="connsiteX2" y="connsiteY2"/>
                </a:cxn>
                <a:cxn ang="0">
                  <a:pos x="connsiteX3" y="connsiteY3"/>
                </a:cxn>
              </a:cxnLst>
              <a:rect l="l" t="t" r="r" b="b"/>
              <a:pathLst>
                <a:path w="58799" h="176398">
                  <a:moveTo>
                    <a:pt x="0" y="0"/>
                  </a:moveTo>
                  <a:lnTo>
                    <a:pt x="58799" y="0"/>
                  </a:lnTo>
                  <a:lnTo>
                    <a:pt x="58799" y="176398"/>
                  </a:lnTo>
                  <a:lnTo>
                    <a:pt x="0" y="176398"/>
                  </a:lnTo>
                  <a:close/>
                </a:path>
              </a:pathLst>
            </a:custGeom>
            <a:solidFill>
              <a:srgbClr val="50E6FF"/>
            </a:solidFill>
            <a:ln w="4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92" name="Group 191">
            <a:extLst>
              <a:ext uri="{FF2B5EF4-FFF2-40B4-BE49-F238E27FC236}">
                <a16:creationId xmlns:a16="http://schemas.microsoft.com/office/drawing/2014/main" id="{0BD9D6B4-AA6A-4A9B-BB62-CD1953CC8918}"/>
              </a:ext>
            </a:extLst>
          </p:cNvPr>
          <p:cNvGrpSpPr/>
          <p:nvPr/>
        </p:nvGrpSpPr>
        <p:grpSpPr>
          <a:xfrm>
            <a:off x="3006963" y="1851810"/>
            <a:ext cx="443870" cy="443868"/>
            <a:chOff x="10022248" y="5138681"/>
            <a:chExt cx="600647" cy="600647"/>
          </a:xfrm>
        </p:grpSpPr>
        <p:sp>
          <p:nvSpPr>
            <p:cNvPr id="193" name="Freeform: Shape 192">
              <a:extLst>
                <a:ext uri="{FF2B5EF4-FFF2-40B4-BE49-F238E27FC236}">
                  <a16:creationId xmlns:a16="http://schemas.microsoft.com/office/drawing/2014/main" id="{F60B3671-FDE7-42E5-B661-CFF49FFE189A}"/>
                </a:ext>
              </a:extLst>
            </p:cNvPr>
            <p:cNvSpPr/>
            <p:nvPr/>
          </p:nvSpPr>
          <p:spPr>
            <a:xfrm>
              <a:off x="10022248" y="5138681"/>
              <a:ext cx="37540" cy="131392"/>
            </a:xfrm>
            <a:custGeom>
              <a:avLst/>
              <a:gdLst>
                <a:gd name="connsiteX0" fmla="*/ 0 w 37540"/>
                <a:gd name="connsiteY0" fmla="*/ 0 h 131391"/>
                <a:gd name="connsiteX1" fmla="*/ 37540 w 37540"/>
                <a:gd name="connsiteY1" fmla="*/ 0 h 131391"/>
                <a:gd name="connsiteX2" fmla="*/ 37540 w 37540"/>
                <a:gd name="connsiteY2" fmla="*/ 131392 h 131391"/>
                <a:gd name="connsiteX3" fmla="*/ 0 w 37540"/>
                <a:gd name="connsiteY3" fmla="*/ 131392 h 131391"/>
              </a:gdLst>
              <a:ahLst/>
              <a:cxnLst>
                <a:cxn ang="0">
                  <a:pos x="connsiteX0" y="connsiteY0"/>
                </a:cxn>
                <a:cxn ang="0">
                  <a:pos x="connsiteX1" y="connsiteY1"/>
                </a:cxn>
                <a:cxn ang="0">
                  <a:pos x="connsiteX2" y="connsiteY2"/>
                </a:cxn>
                <a:cxn ang="0">
                  <a:pos x="connsiteX3" y="connsiteY3"/>
                </a:cxn>
              </a:cxnLst>
              <a:rect l="l" t="t" r="r" b="b"/>
              <a:pathLst>
                <a:path w="37540" h="131391">
                  <a:moveTo>
                    <a:pt x="0" y="0"/>
                  </a:moveTo>
                  <a:lnTo>
                    <a:pt x="37540" y="0"/>
                  </a:lnTo>
                  <a:lnTo>
                    <a:pt x="37540" y="131392"/>
                  </a:lnTo>
                  <a:lnTo>
                    <a:pt x="0" y="131392"/>
                  </a:lnTo>
                  <a:close/>
                </a:path>
              </a:pathLst>
            </a:custGeom>
            <a:solidFill>
              <a:srgbClr val="0067B6"/>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4" name="Freeform: Shape 193">
              <a:extLst>
                <a:ext uri="{FF2B5EF4-FFF2-40B4-BE49-F238E27FC236}">
                  <a16:creationId xmlns:a16="http://schemas.microsoft.com/office/drawing/2014/main" id="{ED8AB859-7987-434D-81DC-DE7F07EE6B08}"/>
                </a:ext>
              </a:extLst>
            </p:cNvPr>
            <p:cNvSpPr/>
            <p:nvPr/>
          </p:nvSpPr>
          <p:spPr>
            <a:xfrm>
              <a:off x="10022248" y="5138681"/>
              <a:ext cx="131392" cy="37540"/>
            </a:xfrm>
            <a:custGeom>
              <a:avLst/>
              <a:gdLst>
                <a:gd name="connsiteX0" fmla="*/ 0 w 131391"/>
                <a:gd name="connsiteY0" fmla="*/ 37540 h 37540"/>
                <a:gd name="connsiteX1" fmla="*/ 0 w 131391"/>
                <a:gd name="connsiteY1" fmla="*/ 0 h 37540"/>
                <a:gd name="connsiteX2" fmla="*/ 131392 w 131391"/>
                <a:gd name="connsiteY2" fmla="*/ 0 h 37540"/>
                <a:gd name="connsiteX3" fmla="*/ 131392 w 131391"/>
                <a:gd name="connsiteY3" fmla="*/ 37540 h 37540"/>
              </a:gdLst>
              <a:ahLst/>
              <a:cxnLst>
                <a:cxn ang="0">
                  <a:pos x="connsiteX0" y="connsiteY0"/>
                </a:cxn>
                <a:cxn ang="0">
                  <a:pos x="connsiteX1" y="connsiteY1"/>
                </a:cxn>
                <a:cxn ang="0">
                  <a:pos x="connsiteX2" y="connsiteY2"/>
                </a:cxn>
                <a:cxn ang="0">
                  <a:pos x="connsiteX3" y="connsiteY3"/>
                </a:cxn>
              </a:cxnLst>
              <a:rect l="l" t="t" r="r" b="b"/>
              <a:pathLst>
                <a:path w="131391" h="37540">
                  <a:moveTo>
                    <a:pt x="0" y="37540"/>
                  </a:moveTo>
                  <a:lnTo>
                    <a:pt x="0" y="0"/>
                  </a:lnTo>
                  <a:lnTo>
                    <a:pt x="131392" y="0"/>
                  </a:lnTo>
                  <a:lnTo>
                    <a:pt x="131392" y="37540"/>
                  </a:lnTo>
                  <a:close/>
                </a:path>
              </a:pathLst>
            </a:custGeom>
            <a:solidFill>
              <a:srgbClr val="0067B6"/>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5" name="Freeform: Shape 194">
              <a:extLst>
                <a:ext uri="{FF2B5EF4-FFF2-40B4-BE49-F238E27FC236}">
                  <a16:creationId xmlns:a16="http://schemas.microsoft.com/office/drawing/2014/main" id="{39549662-6220-4BDC-B660-FAD1AC9C57C0}"/>
                </a:ext>
              </a:extLst>
            </p:cNvPr>
            <p:cNvSpPr/>
            <p:nvPr/>
          </p:nvSpPr>
          <p:spPr>
            <a:xfrm>
              <a:off x="10022248" y="5701788"/>
              <a:ext cx="131392" cy="37540"/>
            </a:xfrm>
            <a:custGeom>
              <a:avLst/>
              <a:gdLst>
                <a:gd name="connsiteX0" fmla="*/ 0 w 131391"/>
                <a:gd name="connsiteY0" fmla="*/ 37540 h 37540"/>
                <a:gd name="connsiteX1" fmla="*/ 0 w 131391"/>
                <a:gd name="connsiteY1" fmla="*/ 0 h 37540"/>
                <a:gd name="connsiteX2" fmla="*/ 131392 w 131391"/>
                <a:gd name="connsiteY2" fmla="*/ 0 h 37540"/>
                <a:gd name="connsiteX3" fmla="*/ 131392 w 131391"/>
                <a:gd name="connsiteY3" fmla="*/ 37540 h 37540"/>
              </a:gdLst>
              <a:ahLst/>
              <a:cxnLst>
                <a:cxn ang="0">
                  <a:pos x="connsiteX0" y="connsiteY0"/>
                </a:cxn>
                <a:cxn ang="0">
                  <a:pos x="connsiteX1" y="connsiteY1"/>
                </a:cxn>
                <a:cxn ang="0">
                  <a:pos x="connsiteX2" y="connsiteY2"/>
                </a:cxn>
                <a:cxn ang="0">
                  <a:pos x="connsiteX3" y="connsiteY3"/>
                </a:cxn>
              </a:cxnLst>
              <a:rect l="l" t="t" r="r" b="b"/>
              <a:pathLst>
                <a:path w="131391" h="37540">
                  <a:moveTo>
                    <a:pt x="0" y="37540"/>
                  </a:moveTo>
                  <a:lnTo>
                    <a:pt x="0" y="0"/>
                  </a:lnTo>
                  <a:lnTo>
                    <a:pt x="131392" y="0"/>
                  </a:lnTo>
                  <a:lnTo>
                    <a:pt x="131392" y="37540"/>
                  </a:lnTo>
                  <a:close/>
                </a:path>
              </a:pathLst>
            </a:custGeom>
            <a:solidFill>
              <a:srgbClr val="0067B6"/>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6" name="Freeform: Shape 195">
              <a:extLst>
                <a:ext uri="{FF2B5EF4-FFF2-40B4-BE49-F238E27FC236}">
                  <a16:creationId xmlns:a16="http://schemas.microsoft.com/office/drawing/2014/main" id="{F089F99C-BD31-4F8E-8935-C47025B00F83}"/>
                </a:ext>
              </a:extLst>
            </p:cNvPr>
            <p:cNvSpPr/>
            <p:nvPr/>
          </p:nvSpPr>
          <p:spPr>
            <a:xfrm>
              <a:off x="10022248" y="5607936"/>
              <a:ext cx="37540" cy="131392"/>
            </a:xfrm>
            <a:custGeom>
              <a:avLst/>
              <a:gdLst>
                <a:gd name="connsiteX0" fmla="*/ 37540 w 37540"/>
                <a:gd name="connsiteY0" fmla="*/ 131392 h 131391"/>
                <a:gd name="connsiteX1" fmla="*/ 0 w 37540"/>
                <a:gd name="connsiteY1" fmla="*/ 131392 h 131391"/>
                <a:gd name="connsiteX2" fmla="*/ 0 w 37540"/>
                <a:gd name="connsiteY2" fmla="*/ 0 h 131391"/>
                <a:gd name="connsiteX3" fmla="*/ 37540 w 37540"/>
                <a:gd name="connsiteY3" fmla="*/ 0 h 131391"/>
              </a:gdLst>
              <a:ahLst/>
              <a:cxnLst>
                <a:cxn ang="0">
                  <a:pos x="connsiteX0" y="connsiteY0"/>
                </a:cxn>
                <a:cxn ang="0">
                  <a:pos x="connsiteX1" y="connsiteY1"/>
                </a:cxn>
                <a:cxn ang="0">
                  <a:pos x="connsiteX2" y="connsiteY2"/>
                </a:cxn>
                <a:cxn ang="0">
                  <a:pos x="connsiteX3" y="connsiteY3"/>
                </a:cxn>
              </a:cxnLst>
              <a:rect l="l" t="t" r="r" b="b"/>
              <a:pathLst>
                <a:path w="37540" h="131391">
                  <a:moveTo>
                    <a:pt x="37540" y="131392"/>
                  </a:moveTo>
                  <a:lnTo>
                    <a:pt x="0" y="131392"/>
                  </a:lnTo>
                  <a:lnTo>
                    <a:pt x="0" y="0"/>
                  </a:lnTo>
                  <a:lnTo>
                    <a:pt x="37540" y="0"/>
                  </a:lnTo>
                  <a:close/>
                </a:path>
              </a:pathLst>
            </a:custGeom>
            <a:solidFill>
              <a:srgbClr val="0067B6"/>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7" name="Freeform: Shape 196">
              <a:extLst>
                <a:ext uri="{FF2B5EF4-FFF2-40B4-BE49-F238E27FC236}">
                  <a16:creationId xmlns:a16="http://schemas.microsoft.com/office/drawing/2014/main" id="{F08FA558-B19F-4B8C-A85B-F4E8B18AE4E5}"/>
                </a:ext>
              </a:extLst>
            </p:cNvPr>
            <p:cNvSpPr/>
            <p:nvPr/>
          </p:nvSpPr>
          <p:spPr>
            <a:xfrm>
              <a:off x="10585355" y="5138681"/>
              <a:ext cx="37540" cy="131392"/>
            </a:xfrm>
            <a:custGeom>
              <a:avLst/>
              <a:gdLst>
                <a:gd name="connsiteX0" fmla="*/ 37540 w 37540"/>
                <a:gd name="connsiteY0" fmla="*/ 131392 h 131391"/>
                <a:gd name="connsiteX1" fmla="*/ 0 w 37540"/>
                <a:gd name="connsiteY1" fmla="*/ 131392 h 131391"/>
                <a:gd name="connsiteX2" fmla="*/ 0 w 37540"/>
                <a:gd name="connsiteY2" fmla="*/ 0 h 131391"/>
                <a:gd name="connsiteX3" fmla="*/ 37540 w 37540"/>
                <a:gd name="connsiteY3" fmla="*/ 0 h 131391"/>
              </a:gdLst>
              <a:ahLst/>
              <a:cxnLst>
                <a:cxn ang="0">
                  <a:pos x="connsiteX0" y="connsiteY0"/>
                </a:cxn>
                <a:cxn ang="0">
                  <a:pos x="connsiteX1" y="connsiteY1"/>
                </a:cxn>
                <a:cxn ang="0">
                  <a:pos x="connsiteX2" y="connsiteY2"/>
                </a:cxn>
                <a:cxn ang="0">
                  <a:pos x="connsiteX3" y="connsiteY3"/>
                </a:cxn>
              </a:cxnLst>
              <a:rect l="l" t="t" r="r" b="b"/>
              <a:pathLst>
                <a:path w="37540" h="131391">
                  <a:moveTo>
                    <a:pt x="37540" y="131392"/>
                  </a:moveTo>
                  <a:lnTo>
                    <a:pt x="0" y="131392"/>
                  </a:lnTo>
                  <a:lnTo>
                    <a:pt x="0" y="0"/>
                  </a:lnTo>
                  <a:lnTo>
                    <a:pt x="37540" y="0"/>
                  </a:lnTo>
                  <a:close/>
                </a:path>
              </a:pathLst>
            </a:custGeom>
            <a:solidFill>
              <a:srgbClr val="0067B6"/>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8" name="Freeform: Shape 197">
              <a:extLst>
                <a:ext uri="{FF2B5EF4-FFF2-40B4-BE49-F238E27FC236}">
                  <a16:creationId xmlns:a16="http://schemas.microsoft.com/office/drawing/2014/main" id="{AEEEF08E-17B2-47D0-9BE8-7013CABC3481}"/>
                </a:ext>
              </a:extLst>
            </p:cNvPr>
            <p:cNvSpPr/>
            <p:nvPr/>
          </p:nvSpPr>
          <p:spPr>
            <a:xfrm>
              <a:off x="10491503" y="5138681"/>
              <a:ext cx="131392" cy="37540"/>
            </a:xfrm>
            <a:custGeom>
              <a:avLst/>
              <a:gdLst>
                <a:gd name="connsiteX0" fmla="*/ 0 w 131391"/>
                <a:gd name="connsiteY0" fmla="*/ 37540 h 37540"/>
                <a:gd name="connsiteX1" fmla="*/ 0 w 131391"/>
                <a:gd name="connsiteY1" fmla="*/ 0 h 37540"/>
                <a:gd name="connsiteX2" fmla="*/ 131392 w 131391"/>
                <a:gd name="connsiteY2" fmla="*/ 0 h 37540"/>
                <a:gd name="connsiteX3" fmla="*/ 131392 w 131391"/>
                <a:gd name="connsiteY3" fmla="*/ 37540 h 37540"/>
              </a:gdLst>
              <a:ahLst/>
              <a:cxnLst>
                <a:cxn ang="0">
                  <a:pos x="connsiteX0" y="connsiteY0"/>
                </a:cxn>
                <a:cxn ang="0">
                  <a:pos x="connsiteX1" y="connsiteY1"/>
                </a:cxn>
                <a:cxn ang="0">
                  <a:pos x="connsiteX2" y="connsiteY2"/>
                </a:cxn>
                <a:cxn ang="0">
                  <a:pos x="connsiteX3" y="connsiteY3"/>
                </a:cxn>
              </a:cxnLst>
              <a:rect l="l" t="t" r="r" b="b"/>
              <a:pathLst>
                <a:path w="131391" h="37540">
                  <a:moveTo>
                    <a:pt x="0" y="37540"/>
                  </a:moveTo>
                  <a:lnTo>
                    <a:pt x="0" y="0"/>
                  </a:lnTo>
                  <a:lnTo>
                    <a:pt x="131392" y="0"/>
                  </a:lnTo>
                  <a:lnTo>
                    <a:pt x="131392" y="37540"/>
                  </a:lnTo>
                  <a:close/>
                </a:path>
              </a:pathLst>
            </a:custGeom>
            <a:solidFill>
              <a:srgbClr val="0067B6"/>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9" name="Freeform: Shape 198">
              <a:extLst>
                <a:ext uri="{FF2B5EF4-FFF2-40B4-BE49-F238E27FC236}">
                  <a16:creationId xmlns:a16="http://schemas.microsoft.com/office/drawing/2014/main" id="{3EA4A158-1600-4D24-9069-FBEB5C9C86EE}"/>
                </a:ext>
              </a:extLst>
            </p:cNvPr>
            <p:cNvSpPr/>
            <p:nvPr/>
          </p:nvSpPr>
          <p:spPr>
            <a:xfrm>
              <a:off x="10491503" y="5701788"/>
              <a:ext cx="131392" cy="37540"/>
            </a:xfrm>
            <a:custGeom>
              <a:avLst/>
              <a:gdLst>
                <a:gd name="connsiteX0" fmla="*/ 0 w 131391"/>
                <a:gd name="connsiteY0" fmla="*/ 37540 h 37540"/>
                <a:gd name="connsiteX1" fmla="*/ 0 w 131391"/>
                <a:gd name="connsiteY1" fmla="*/ 0 h 37540"/>
                <a:gd name="connsiteX2" fmla="*/ 131392 w 131391"/>
                <a:gd name="connsiteY2" fmla="*/ 0 h 37540"/>
                <a:gd name="connsiteX3" fmla="*/ 131392 w 131391"/>
                <a:gd name="connsiteY3" fmla="*/ 37540 h 37540"/>
              </a:gdLst>
              <a:ahLst/>
              <a:cxnLst>
                <a:cxn ang="0">
                  <a:pos x="connsiteX0" y="connsiteY0"/>
                </a:cxn>
                <a:cxn ang="0">
                  <a:pos x="connsiteX1" y="connsiteY1"/>
                </a:cxn>
                <a:cxn ang="0">
                  <a:pos x="connsiteX2" y="connsiteY2"/>
                </a:cxn>
                <a:cxn ang="0">
                  <a:pos x="connsiteX3" y="connsiteY3"/>
                </a:cxn>
              </a:cxnLst>
              <a:rect l="l" t="t" r="r" b="b"/>
              <a:pathLst>
                <a:path w="131391" h="37540">
                  <a:moveTo>
                    <a:pt x="0" y="37540"/>
                  </a:moveTo>
                  <a:lnTo>
                    <a:pt x="0" y="0"/>
                  </a:lnTo>
                  <a:lnTo>
                    <a:pt x="131392" y="0"/>
                  </a:lnTo>
                  <a:lnTo>
                    <a:pt x="131392" y="37540"/>
                  </a:lnTo>
                  <a:close/>
                </a:path>
              </a:pathLst>
            </a:custGeom>
            <a:solidFill>
              <a:srgbClr val="0067B6"/>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0" name="Freeform: Shape 199">
              <a:extLst>
                <a:ext uri="{FF2B5EF4-FFF2-40B4-BE49-F238E27FC236}">
                  <a16:creationId xmlns:a16="http://schemas.microsoft.com/office/drawing/2014/main" id="{DB02213D-1636-4937-A2F4-FBADEFD44218}"/>
                </a:ext>
              </a:extLst>
            </p:cNvPr>
            <p:cNvSpPr/>
            <p:nvPr/>
          </p:nvSpPr>
          <p:spPr>
            <a:xfrm>
              <a:off x="10585355" y="5607936"/>
              <a:ext cx="37540" cy="131392"/>
            </a:xfrm>
            <a:custGeom>
              <a:avLst/>
              <a:gdLst>
                <a:gd name="connsiteX0" fmla="*/ 0 w 37540"/>
                <a:gd name="connsiteY0" fmla="*/ 0 h 131391"/>
                <a:gd name="connsiteX1" fmla="*/ 37540 w 37540"/>
                <a:gd name="connsiteY1" fmla="*/ 0 h 131391"/>
                <a:gd name="connsiteX2" fmla="*/ 37540 w 37540"/>
                <a:gd name="connsiteY2" fmla="*/ 131392 h 131391"/>
                <a:gd name="connsiteX3" fmla="*/ 0 w 37540"/>
                <a:gd name="connsiteY3" fmla="*/ 131392 h 131391"/>
              </a:gdLst>
              <a:ahLst/>
              <a:cxnLst>
                <a:cxn ang="0">
                  <a:pos x="connsiteX0" y="connsiteY0"/>
                </a:cxn>
                <a:cxn ang="0">
                  <a:pos x="connsiteX1" y="connsiteY1"/>
                </a:cxn>
                <a:cxn ang="0">
                  <a:pos x="connsiteX2" y="connsiteY2"/>
                </a:cxn>
                <a:cxn ang="0">
                  <a:pos x="connsiteX3" y="connsiteY3"/>
                </a:cxn>
              </a:cxnLst>
              <a:rect l="l" t="t" r="r" b="b"/>
              <a:pathLst>
                <a:path w="37540" h="131391">
                  <a:moveTo>
                    <a:pt x="0" y="0"/>
                  </a:moveTo>
                  <a:lnTo>
                    <a:pt x="37540" y="0"/>
                  </a:lnTo>
                  <a:lnTo>
                    <a:pt x="37540" y="131392"/>
                  </a:lnTo>
                  <a:lnTo>
                    <a:pt x="0" y="131392"/>
                  </a:lnTo>
                  <a:close/>
                </a:path>
              </a:pathLst>
            </a:custGeom>
            <a:solidFill>
              <a:srgbClr val="0067B6"/>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1" name="Freeform: Shape 200">
              <a:extLst>
                <a:ext uri="{FF2B5EF4-FFF2-40B4-BE49-F238E27FC236}">
                  <a16:creationId xmlns:a16="http://schemas.microsoft.com/office/drawing/2014/main" id="{C83ED003-98CF-45E8-B56C-E511B8B10D6B}"/>
                </a:ext>
              </a:extLst>
            </p:cNvPr>
            <p:cNvSpPr/>
            <p:nvPr/>
          </p:nvSpPr>
          <p:spPr>
            <a:xfrm>
              <a:off x="10116099" y="5326383"/>
              <a:ext cx="93851" cy="244013"/>
            </a:xfrm>
            <a:custGeom>
              <a:avLst/>
              <a:gdLst>
                <a:gd name="connsiteX0" fmla="*/ 0 w 93851"/>
                <a:gd name="connsiteY0" fmla="*/ 0 h 244012"/>
                <a:gd name="connsiteX1" fmla="*/ 93851 w 93851"/>
                <a:gd name="connsiteY1" fmla="*/ 0 h 244012"/>
                <a:gd name="connsiteX2" fmla="*/ 93851 w 93851"/>
                <a:gd name="connsiteY2" fmla="*/ 244013 h 244012"/>
                <a:gd name="connsiteX3" fmla="*/ 0 w 93851"/>
                <a:gd name="connsiteY3" fmla="*/ 244013 h 244012"/>
              </a:gdLst>
              <a:ahLst/>
              <a:cxnLst>
                <a:cxn ang="0">
                  <a:pos x="connsiteX0" y="connsiteY0"/>
                </a:cxn>
                <a:cxn ang="0">
                  <a:pos x="connsiteX1" y="connsiteY1"/>
                </a:cxn>
                <a:cxn ang="0">
                  <a:pos x="connsiteX2" y="connsiteY2"/>
                </a:cxn>
                <a:cxn ang="0">
                  <a:pos x="connsiteX3" y="connsiteY3"/>
                </a:cxn>
              </a:cxnLst>
              <a:rect l="l" t="t" r="r" b="b"/>
              <a:pathLst>
                <a:path w="93851" h="244012">
                  <a:moveTo>
                    <a:pt x="0" y="0"/>
                  </a:moveTo>
                  <a:lnTo>
                    <a:pt x="93851" y="0"/>
                  </a:lnTo>
                  <a:lnTo>
                    <a:pt x="93851" y="244013"/>
                  </a:lnTo>
                  <a:lnTo>
                    <a:pt x="0" y="244013"/>
                  </a:lnTo>
                  <a:close/>
                </a:path>
              </a:pathLst>
            </a:custGeom>
            <a:solidFill>
              <a:srgbClr val="50E6FF"/>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2" name="Freeform: Shape 201">
              <a:extLst>
                <a:ext uri="{FF2B5EF4-FFF2-40B4-BE49-F238E27FC236}">
                  <a16:creationId xmlns:a16="http://schemas.microsoft.com/office/drawing/2014/main" id="{A89AFDD3-E32E-4978-93C2-953D07731837}"/>
                </a:ext>
              </a:extLst>
            </p:cNvPr>
            <p:cNvSpPr/>
            <p:nvPr/>
          </p:nvSpPr>
          <p:spPr>
            <a:xfrm>
              <a:off x="10228720" y="5326383"/>
              <a:ext cx="37540" cy="244013"/>
            </a:xfrm>
            <a:custGeom>
              <a:avLst/>
              <a:gdLst>
                <a:gd name="connsiteX0" fmla="*/ 0 w 37540"/>
                <a:gd name="connsiteY0" fmla="*/ 0 h 244012"/>
                <a:gd name="connsiteX1" fmla="*/ 37540 w 37540"/>
                <a:gd name="connsiteY1" fmla="*/ 0 h 244012"/>
                <a:gd name="connsiteX2" fmla="*/ 37540 w 37540"/>
                <a:gd name="connsiteY2" fmla="*/ 244013 h 244012"/>
                <a:gd name="connsiteX3" fmla="*/ 0 w 37540"/>
                <a:gd name="connsiteY3" fmla="*/ 244013 h 244012"/>
              </a:gdLst>
              <a:ahLst/>
              <a:cxnLst>
                <a:cxn ang="0">
                  <a:pos x="connsiteX0" y="connsiteY0"/>
                </a:cxn>
                <a:cxn ang="0">
                  <a:pos x="connsiteX1" y="connsiteY1"/>
                </a:cxn>
                <a:cxn ang="0">
                  <a:pos x="connsiteX2" y="connsiteY2"/>
                </a:cxn>
                <a:cxn ang="0">
                  <a:pos x="connsiteX3" y="connsiteY3"/>
                </a:cxn>
              </a:cxnLst>
              <a:rect l="l" t="t" r="r" b="b"/>
              <a:pathLst>
                <a:path w="37540" h="244012">
                  <a:moveTo>
                    <a:pt x="0" y="0"/>
                  </a:moveTo>
                  <a:lnTo>
                    <a:pt x="37540" y="0"/>
                  </a:lnTo>
                  <a:lnTo>
                    <a:pt x="37540" y="244013"/>
                  </a:lnTo>
                  <a:lnTo>
                    <a:pt x="0" y="244013"/>
                  </a:lnTo>
                  <a:close/>
                </a:path>
              </a:pathLst>
            </a:custGeom>
            <a:solidFill>
              <a:srgbClr val="50E6FF"/>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3" name="Freeform: Shape 202">
              <a:extLst>
                <a:ext uri="{FF2B5EF4-FFF2-40B4-BE49-F238E27FC236}">
                  <a16:creationId xmlns:a16="http://schemas.microsoft.com/office/drawing/2014/main" id="{67478AED-A96C-4EC6-92EC-3D25E6FC8C85}"/>
                </a:ext>
              </a:extLst>
            </p:cNvPr>
            <p:cNvSpPr/>
            <p:nvPr/>
          </p:nvSpPr>
          <p:spPr>
            <a:xfrm>
              <a:off x="10285031" y="5326383"/>
              <a:ext cx="18770" cy="244013"/>
            </a:xfrm>
            <a:custGeom>
              <a:avLst/>
              <a:gdLst>
                <a:gd name="connsiteX0" fmla="*/ 0 w 18770"/>
                <a:gd name="connsiteY0" fmla="*/ 0 h 244012"/>
                <a:gd name="connsiteX1" fmla="*/ 18770 w 18770"/>
                <a:gd name="connsiteY1" fmla="*/ 0 h 244012"/>
                <a:gd name="connsiteX2" fmla="*/ 18770 w 18770"/>
                <a:gd name="connsiteY2" fmla="*/ 244013 h 244012"/>
                <a:gd name="connsiteX3" fmla="*/ 0 w 18770"/>
                <a:gd name="connsiteY3" fmla="*/ 244013 h 244012"/>
              </a:gdLst>
              <a:ahLst/>
              <a:cxnLst>
                <a:cxn ang="0">
                  <a:pos x="connsiteX0" y="connsiteY0"/>
                </a:cxn>
                <a:cxn ang="0">
                  <a:pos x="connsiteX1" y="connsiteY1"/>
                </a:cxn>
                <a:cxn ang="0">
                  <a:pos x="connsiteX2" y="connsiteY2"/>
                </a:cxn>
                <a:cxn ang="0">
                  <a:pos x="connsiteX3" y="connsiteY3"/>
                </a:cxn>
              </a:cxnLst>
              <a:rect l="l" t="t" r="r" b="b"/>
              <a:pathLst>
                <a:path w="18770" h="244012">
                  <a:moveTo>
                    <a:pt x="0" y="0"/>
                  </a:moveTo>
                  <a:lnTo>
                    <a:pt x="18770" y="0"/>
                  </a:lnTo>
                  <a:lnTo>
                    <a:pt x="18770" y="244013"/>
                  </a:lnTo>
                  <a:lnTo>
                    <a:pt x="0" y="244013"/>
                  </a:lnTo>
                  <a:close/>
                </a:path>
              </a:pathLst>
            </a:custGeom>
            <a:solidFill>
              <a:srgbClr val="50E6FF"/>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4" name="Freeform: Shape 203">
              <a:extLst>
                <a:ext uri="{FF2B5EF4-FFF2-40B4-BE49-F238E27FC236}">
                  <a16:creationId xmlns:a16="http://schemas.microsoft.com/office/drawing/2014/main" id="{BA30E62C-CA52-468B-B376-FA24941A6837}"/>
                </a:ext>
              </a:extLst>
            </p:cNvPr>
            <p:cNvSpPr/>
            <p:nvPr/>
          </p:nvSpPr>
          <p:spPr>
            <a:xfrm>
              <a:off x="10322572" y="5326383"/>
              <a:ext cx="18770" cy="244013"/>
            </a:xfrm>
            <a:custGeom>
              <a:avLst/>
              <a:gdLst>
                <a:gd name="connsiteX0" fmla="*/ 0 w 18770"/>
                <a:gd name="connsiteY0" fmla="*/ 0 h 244012"/>
                <a:gd name="connsiteX1" fmla="*/ 18770 w 18770"/>
                <a:gd name="connsiteY1" fmla="*/ 0 h 244012"/>
                <a:gd name="connsiteX2" fmla="*/ 18770 w 18770"/>
                <a:gd name="connsiteY2" fmla="*/ 244013 h 244012"/>
                <a:gd name="connsiteX3" fmla="*/ 0 w 18770"/>
                <a:gd name="connsiteY3" fmla="*/ 244013 h 244012"/>
              </a:gdLst>
              <a:ahLst/>
              <a:cxnLst>
                <a:cxn ang="0">
                  <a:pos x="connsiteX0" y="connsiteY0"/>
                </a:cxn>
                <a:cxn ang="0">
                  <a:pos x="connsiteX1" y="connsiteY1"/>
                </a:cxn>
                <a:cxn ang="0">
                  <a:pos x="connsiteX2" y="connsiteY2"/>
                </a:cxn>
                <a:cxn ang="0">
                  <a:pos x="connsiteX3" y="connsiteY3"/>
                </a:cxn>
              </a:cxnLst>
              <a:rect l="l" t="t" r="r" b="b"/>
              <a:pathLst>
                <a:path w="18770" h="244012">
                  <a:moveTo>
                    <a:pt x="0" y="0"/>
                  </a:moveTo>
                  <a:lnTo>
                    <a:pt x="18770" y="0"/>
                  </a:lnTo>
                  <a:lnTo>
                    <a:pt x="18770" y="244013"/>
                  </a:lnTo>
                  <a:lnTo>
                    <a:pt x="0" y="244013"/>
                  </a:lnTo>
                  <a:close/>
                </a:path>
              </a:pathLst>
            </a:custGeom>
            <a:solidFill>
              <a:srgbClr val="50E6FF"/>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5" name="Freeform: Shape 204">
              <a:extLst>
                <a:ext uri="{FF2B5EF4-FFF2-40B4-BE49-F238E27FC236}">
                  <a16:creationId xmlns:a16="http://schemas.microsoft.com/office/drawing/2014/main" id="{6113E015-E296-498B-AFEC-E0B8275A3F4E}"/>
                </a:ext>
              </a:extLst>
            </p:cNvPr>
            <p:cNvSpPr/>
            <p:nvPr/>
          </p:nvSpPr>
          <p:spPr>
            <a:xfrm>
              <a:off x="10360112" y="5326383"/>
              <a:ext cx="56311" cy="244013"/>
            </a:xfrm>
            <a:custGeom>
              <a:avLst/>
              <a:gdLst>
                <a:gd name="connsiteX0" fmla="*/ 0 w 56310"/>
                <a:gd name="connsiteY0" fmla="*/ 0 h 244012"/>
                <a:gd name="connsiteX1" fmla="*/ 56311 w 56310"/>
                <a:gd name="connsiteY1" fmla="*/ 0 h 244012"/>
                <a:gd name="connsiteX2" fmla="*/ 56311 w 56310"/>
                <a:gd name="connsiteY2" fmla="*/ 244013 h 244012"/>
                <a:gd name="connsiteX3" fmla="*/ 0 w 56310"/>
                <a:gd name="connsiteY3" fmla="*/ 244013 h 244012"/>
              </a:gdLst>
              <a:ahLst/>
              <a:cxnLst>
                <a:cxn ang="0">
                  <a:pos x="connsiteX0" y="connsiteY0"/>
                </a:cxn>
                <a:cxn ang="0">
                  <a:pos x="connsiteX1" y="connsiteY1"/>
                </a:cxn>
                <a:cxn ang="0">
                  <a:pos x="connsiteX2" y="connsiteY2"/>
                </a:cxn>
                <a:cxn ang="0">
                  <a:pos x="connsiteX3" y="connsiteY3"/>
                </a:cxn>
              </a:cxnLst>
              <a:rect l="l" t="t" r="r" b="b"/>
              <a:pathLst>
                <a:path w="56310" h="244012">
                  <a:moveTo>
                    <a:pt x="0" y="0"/>
                  </a:moveTo>
                  <a:lnTo>
                    <a:pt x="56311" y="0"/>
                  </a:lnTo>
                  <a:lnTo>
                    <a:pt x="56311" y="244013"/>
                  </a:lnTo>
                  <a:lnTo>
                    <a:pt x="0" y="244013"/>
                  </a:lnTo>
                  <a:close/>
                </a:path>
              </a:pathLst>
            </a:custGeom>
            <a:solidFill>
              <a:srgbClr val="50E6FF"/>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6" name="Freeform: Shape 205">
              <a:extLst>
                <a:ext uri="{FF2B5EF4-FFF2-40B4-BE49-F238E27FC236}">
                  <a16:creationId xmlns:a16="http://schemas.microsoft.com/office/drawing/2014/main" id="{B1E87D12-19F8-4DEB-96BF-D65EB94B7D08}"/>
                </a:ext>
              </a:extLst>
            </p:cNvPr>
            <p:cNvSpPr/>
            <p:nvPr/>
          </p:nvSpPr>
          <p:spPr>
            <a:xfrm>
              <a:off x="10435193" y="5326383"/>
              <a:ext cx="18770" cy="244013"/>
            </a:xfrm>
            <a:custGeom>
              <a:avLst/>
              <a:gdLst>
                <a:gd name="connsiteX0" fmla="*/ 0 w 18770"/>
                <a:gd name="connsiteY0" fmla="*/ 0 h 244012"/>
                <a:gd name="connsiteX1" fmla="*/ 18770 w 18770"/>
                <a:gd name="connsiteY1" fmla="*/ 0 h 244012"/>
                <a:gd name="connsiteX2" fmla="*/ 18770 w 18770"/>
                <a:gd name="connsiteY2" fmla="*/ 244013 h 244012"/>
                <a:gd name="connsiteX3" fmla="*/ 0 w 18770"/>
                <a:gd name="connsiteY3" fmla="*/ 244013 h 244012"/>
              </a:gdLst>
              <a:ahLst/>
              <a:cxnLst>
                <a:cxn ang="0">
                  <a:pos x="connsiteX0" y="connsiteY0"/>
                </a:cxn>
                <a:cxn ang="0">
                  <a:pos x="connsiteX1" y="connsiteY1"/>
                </a:cxn>
                <a:cxn ang="0">
                  <a:pos x="connsiteX2" y="connsiteY2"/>
                </a:cxn>
                <a:cxn ang="0">
                  <a:pos x="connsiteX3" y="connsiteY3"/>
                </a:cxn>
              </a:cxnLst>
              <a:rect l="l" t="t" r="r" b="b"/>
              <a:pathLst>
                <a:path w="18770" h="244012">
                  <a:moveTo>
                    <a:pt x="0" y="0"/>
                  </a:moveTo>
                  <a:lnTo>
                    <a:pt x="18770" y="0"/>
                  </a:lnTo>
                  <a:lnTo>
                    <a:pt x="18770" y="244013"/>
                  </a:lnTo>
                  <a:lnTo>
                    <a:pt x="0" y="244013"/>
                  </a:lnTo>
                  <a:close/>
                </a:path>
              </a:pathLst>
            </a:custGeom>
            <a:solidFill>
              <a:srgbClr val="50E6FF"/>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7" name="Freeform: Shape 206">
              <a:extLst>
                <a:ext uri="{FF2B5EF4-FFF2-40B4-BE49-F238E27FC236}">
                  <a16:creationId xmlns:a16="http://schemas.microsoft.com/office/drawing/2014/main" id="{C645F256-FFD3-40A1-8D5B-EAE2E06D83D7}"/>
                </a:ext>
              </a:extLst>
            </p:cNvPr>
            <p:cNvSpPr/>
            <p:nvPr/>
          </p:nvSpPr>
          <p:spPr>
            <a:xfrm>
              <a:off x="10472733" y="5326383"/>
              <a:ext cx="56311" cy="244013"/>
            </a:xfrm>
            <a:custGeom>
              <a:avLst/>
              <a:gdLst>
                <a:gd name="connsiteX0" fmla="*/ 0 w 56310"/>
                <a:gd name="connsiteY0" fmla="*/ 0 h 244012"/>
                <a:gd name="connsiteX1" fmla="*/ 56311 w 56310"/>
                <a:gd name="connsiteY1" fmla="*/ 0 h 244012"/>
                <a:gd name="connsiteX2" fmla="*/ 56311 w 56310"/>
                <a:gd name="connsiteY2" fmla="*/ 244013 h 244012"/>
                <a:gd name="connsiteX3" fmla="*/ 0 w 56310"/>
                <a:gd name="connsiteY3" fmla="*/ 244013 h 244012"/>
              </a:gdLst>
              <a:ahLst/>
              <a:cxnLst>
                <a:cxn ang="0">
                  <a:pos x="connsiteX0" y="connsiteY0"/>
                </a:cxn>
                <a:cxn ang="0">
                  <a:pos x="connsiteX1" y="connsiteY1"/>
                </a:cxn>
                <a:cxn ang="0">
                  <a:pos x="connsiteX2" y="connsiteY2"/>
                </a:cxn>
                <a:cxn ang="0">
                  <a:pos x="connsiteX3" y="connsiteY3"/>
                </a:cxn>
              </a:cxnLst>
              <a:rect l="l" t="t" r="r" b="b"/>
              <a:pathLst>
                <a:path w="56310" h="244012">
                  <a:moveTo>
                    <a:pt x="0" y="0"/>
                  </a:moveTo>
                  <a:lnTo>
                    <a:pt x="56311" y="0"/>
                  </a:lnTo>
                  <a:lnTo>
                    <a:pt x="56311" y="244013"/>
                  </a:lnTo>
                  <a:lnTo>
                    <a:pt x="0" y="244013"/>
                  </a:lnTo>
                  <a:close/>
                </a:path>
              </a:pathLst>
            </a:custGeom>
            <a:solidFill>
              <a:srgbClr val="50E6FF"/>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D3917B86-D5AE-4CEF-B950-A5EBA7E975EB}"/>
              </a:ext>
            </a:extLst>
          </p:cNvPr>
          <p:cNvGrpSpPr/>
          <p:nvPr/>
        </p:nvGrpSpPr>
        <p:grpSpPr>
          <a:xfrm>
            <a:off x="451366" y="5771890"/>
            <a:ext cx="11280534" cy="927925"/>
            <a:chOff x="451366" y="5771890"/>
            <a:chExt cx="11280534" cy="927925"/>
          </a:xfrm>
        </p:grpSpPr>
        <p:sp>
          <p:nvSpPr>
            <p:cNvPr id="87" name="Rectangle 86">
              <a:extLst>
                <a:ext uri="{FF2B5EF4-FFF2-40B4-BE49-F238E27FC236}">
                  <a16:creationId xmlns:a16="http://schemas.microsoft.com/office/drawing/2014/main" id="{638BC406-AD3C-4ECA-B57F-3639180332A9}"/>
                </a:ext>
              </a:extLst>
            </p:cNvPr>
            <p:cNvSpPr/>
            <p:nvPr/>
          </p:nvSpPr>
          <p:spPr bwMode="auto">
            <a:xfrm>
              <a:off x="451366" y="6430055"/>
              <a:ext cx="3437732" cy="26976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0C0"/>
                  </a:solidFill>
                  <a:effectLst/>
                  <a:uLnTx/>
                  <a:uFillTx/>
                  <a:latin typeface="Segoe UI Semibold" panose="020B0702040204020203" pitchFamily="34" charset="0"/>
                  <a:ea typeface="Segoe UI" pitchFamily="34" charset="0"/>
                  <a:cs typeface="Segoe UI Semibold" panose="020B0702040204020203" pitchFamily="34" charset="0"/>
                </a:rPr>
                <a:t>Asset Transfer Provenance </a:t>
              </a:r>
            </a:p>
          </p:txBody>
        </p:sp>
        <p:sp>
          <p:nvSpPr>
            <p:cNvPr id="88" name="Rectangle 87">
              <a:extLst>
                <a:ext uri="{FF2B5EF4-FFF2-40B4-BE49-F238E27FC236}">
                  <a16:creationId xmlns:a16="http://schemas.microsoft.com/office/drawing/2014/main" id="{6FE293AF-8257-4B07-A731-15F67D57D9F9}"/>
                </a:ext>
              </a:extLst>
            </p:cNvPr>
            <p:cNvSpPr/>
            <p:nvPr/>
          </p:nvSpPr>
          <p:spPr bwMode="auto">
            <a:xfrm>
              <a:off x="4372767" y="6430055"/>
              <a:ext cx="3437732" cy="26976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0C0"/>
                  </a:solidFill>
                  <a:effectLst/>
                  <a:uLnTx/>
                  <a:uFillTx/>
                  <a:latin typeface="Segoe UI Semibold" panose="020B0702040204020203" pitchFamily="34" charset="0"/>
                  <a:ea typeface="Segoe UI" pitchFamily="34" charset="0"/>
                  <a:cs typeface="Segoe UI Semibold" panose="020B0702040204020203" pitchFamily="34" charset="0"/>
                </a:rPr>
                <a:t>Cross-Organizational Workflow</a:t>
              </a:r>
            </a:p>
          </p:txBody>
        </p:sp>
        <p:sp>
          <p:nvSpPr>
            <p:cNvPr id="89" name="Rectangle 88">
              <a:extLst>
                <a:ext uri="{FF2B5EF4-FFF2-40B4-BE49-F238E27FC236}">
                  <a16:creationId xmlns:a16="http://schemas.microsoft.com/office/drawing/2014/main" id="{2A3145D7-619D-46AB-9108-D62782092102}"/>
                </a:ext>
              </a:extLst>
            </p:cNvPr>
            <p:cNvSpPr/>
            <p:nvPr/>
          </p:nvSpPr>
          <p:spPr bwMode="auto">
            <a:xfrm>
              <a:off x="8294168" y="6430055"/>
              <a:ext cx="3437732" cy="26976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0C0"/>
                  </a:solidFill>
                  <a:effectLst/>
                  <a:uLnTx/>
                  <a:uFillTx/>
                  <a:latin typeface="Segoe UI Semibold" panose="020B0702040204020203" pitchFamily="34" charset="0"/>
                  <a:ea typeface="Segoe UI" pitchFamily="34" charset="0"/>
                  <a:cs typeface="Segoe UI Semibold" panose="020B0702040204020203" pitchFamily="34" charset="0"/>
                </a:rPr>
                <a:t>High Assurance Audit</a:t>
              </a:r>
            </a:p>
          </p:txBody>
        </p:sp>
        <p:grpSp>
          <p:nvGrpSpPr>
            <p:cNvPr id="234" name="Group 233">
              <a:extLst>
                <a:ext uri="{FF2B5EF4-FFF2-40B4-BE49-F238E27FC236}">
                  <a16:creationId xmlns:a16="http://schemas.microsoft.com/office/drawing/2014/main" id="{2B8A628D-2FD1-4704-8499-D472314EAB71}"/>
                </a:ext>
              </a:extLst>
            </p:cNvPr>
            <p:cNvGrpSpPr/>
            <p:nvPr/>
          </p:nvGrpSpPr>
          <p:grpSpPr>
            <a:xfrm>
              <a:off x="5818485" y="5795837"/>
              <a:ext cx="546296" cy="546296"/>
              <a:chOff x="-763127" y="712530"/>
              <a:chExt cx="1219200" cy="1219200"/>
            </a:xfrm>
          </p:grpSpPr>
          <p:grpSp>
            <p:nvGrpSpPr>
              <p:cNvPr id="235" name="Group 234">
                <a:extLst>
                  <a:ext uri="{FF2B5EF4-FFF2-40B4-BE49-F238E27FC236}">
                    <a16:creationId xmlns:a16="http://schemas.microsoft.com/office/drawing/2014/main" id="{02D35F64-7649-4590-AF7F-D3AEBF880CEC}"/>
                  </a:ext>
                </a:extLst>
              </p:cNvPr>
              <p:cNvGrpSpPr/>
              <p:nvPr/>
            </p:nvGrpSpPr>
            <p:grpSpPr>
              <a:xfrm>
                <a:off x="-763127" y="1169730"/>
                <a:ext cx="609600" cy="762000"/>
                <a:chOff x="-763127" y="1169730"/>
                <a:chExt cx="609600" cy="762000"/>
              </a:xfrm>
            </p:grpSpPr>
            <p:sp>
              <p:nvSpPr>
                <p:cNvPr id="239" name="Freeform: Shape 238">
                  <a:extLst>
                    <a:ext uri="{FF2B5EF4-FFF2-40B4-BE49-F238E27FC236}">
                      <a16:creationId xmlns:a16="http://schemas.microsoft.com/office/drawing/2014/main" id="{FCF35174-4738-49E2-A0E8-EA9267C34808}"/>
                    </a:ext>
                  </a:extLst>
                </p:cNvPr>
                <p:cNvSpPr/>
                <p:nvPr/>
              </p:nvSpPr>
              <p:spPr>
                <a:xfrm>
                  <a:off x="-629777" y="1169730"/>
                  <a:ext cx="342900" cy="342900"/>
                </a:xfrm>
                <a:custGeom>
                  <a:avLst/>
                  <a:gdLst>
                    <a:gd name="connsiteX0" fmla="*/ 342900 w 342900"/>
                    <a:gd name="connsiteY0" fmla="*/ 171450 h 342900"/>
                    <a:gd name="connsiteX1" fmla="*/ 171450 w 342900"/>
                    <a:gd name="connsiteY1" fmla="*/ 342900 h 342900"/>
                    <a:gd name="connsiteX2" fmla="*/ 0 w 342900"/>
                    <a:gd name="connsiteY2" fmla="*/ 171450 h 342900"/>
                    <a:gd name="connsiteX3" fmla="*/ 171450 w 342900"/>
                    <a:gd name="connsiteY3" fmla="*/ 0 h 342900"/>
                    <a:gd name="connsiteX4" fmla="*/ 34290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solidFill>
                  <a:srgbClr val="0067B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0" name="Freeform: Shape 239">
                  <a:extLst>
                    <a:ext uri="{FF2B5EF4-FFF2-40B4-BE49-F238E27FC236}">
                      <a16:creationId xmlns:a16="http://schemas.microsoft.com/office/drawing/2014/main" id="{5BD6EC21-1F50-4FDA-82F9-484D43AA2BEB}"/>
                    </a:ext>
                  </a:extLst>
                </p:cNvPr>
                <p:cNvSpPr/>
                <p:nvPr/>
              </p:nvSpPr>
              <p:spPr>
                <a:xfrm>
                  <a:off x="-763127" y="1588830"/>
                  <a:ext cx="609600" cy="342900"/>
                </a:xfrm>
                <a:custGeom>
                  <a:avLst/>
                  <a:gdLst>
                    <a:gd name="connsiteX0" fmla="*/ 304800 w 609600"/>
                    <a:gd name="connsiteY0" fmla="*/ 0 h 342900"/>
                    <a:gd name="connsiteX1" fmla="*/ 304800 w 609600"/>
                    <a:gd name="connsiteY1" fmla="*/ 0 h 342900"/>
                    <a:gd name="connsiteX2" fmla="*/ 609600 w 609600"/>
                    <a:gd name="connsiteY2" fmla="*/ 304800 h 342900"/>
                    <a:gd name="connsiteX3" fmla="*/ 609600 w 609600"/>
                    <a:gd name="connsiteY3" fmla="*/ 342900 h 342900"/>
                    <a:gd name="connsiteX4" fmla="*/ 0 w 609600"/>
                    <a:gd name="connsiteY4" fmla="*/ 342900 h 342900"/>
                    <a:gd name="connsiteX5" fmla="*/ 0 w 609600"/>
                    <a:gd name="connsiteY5" fmla="*/ 304800 h 342900"/>
                    <a:gd name="connsiteX6" fmla="*/ 304800 w 60960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342900">
                      <a:moveTo>
                        <a:pt x="304800" y="0"/>
                      </a:moveTo>
                      <a:lnTo>
                        <a:pt x="304800" y="0"/>
                      </a:lnTo>
                      <a:cubicBezTo>
                        <a:pt x="473107" y="0"/>
                        <a:pt x="609600" y="136493"/>
                        <a:pt x="609600" y="304800"/>
                      </a:cubicBezTo>
                      <a:lnTo>
                        <a:pt x="609600" y="342900"/>
                      </a:lnTo>
                      <a:lnTo>
                        <a:pt x="0" y="342900"/>
                      </a:lnTo>
                      <a:lnTo>
                        <a:pt x="0" y="304800"/>
                      </a:lnTo>
                      <a:cubicBezTo>
                        <a:pt x="0" y="136493"/>
                        <a:pt x="136493" y="0"/>
                        <a:pt x="304800" y="0"/>
                      </a:cubicBezTo>
                      <a:close/>
                    </a:path>
                  </a:pathLst>
                </a:custGeom>
                <a:solidFill>
                  <a:srgbClr val="0067B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36" name="Group 235">
                <a:extLst>
                  <a:ext uri="{FF2B5EF4-FFF2-40B4-BE49-F238E27FC236}">
                    <a16:creationId xmlns:a16="http://schemas.microsoft.com/office/drawing/2014/main" id="{98329022-765B-4BD1-8FA5-9706D8BE7020}"/>
                  </a:ext>
                </a:extLst>
              </p:cNvPr>
              <p:cNvGrpSpPr/>
              <p:nvPr/>
            </p:nvGrpSpPr>
            <p:grpSpPr>
              <a:xfrm>
                <a:off x="-153527" y="712530"/>
                <a:ext cx="609600" cy="762000"/>
                <a:chOff x="-153527" y="712530"/>
                <a:chExt cx="609600" cy="762000"/>
              </a:xfrm>
            </p:grpSpPr>
            <p:sp>
              <p:nvSpPr>
                <p:cNvPr id="237" name="Freeform: Shape 236">
                  <a:extLst>
                    <a:ext uri="{FF2B5EF4-FFF2-40B4-BE49-F238E27FC236}">
                      <a16:creationId xmlns:a16="http://schemas.microsoft.com/office/drawing/2014/main" id="{62D4664D-35BA-4E65-A0D3-24D9CCC84768}"/>
                    </a:ext>
                  </a:extLst>
                </p:cNvPr>
                <p:cNvSpPr/>
                <p:nvPr/>
              </p:nvSpPr>
              <p:spPr>
                <a:xfrm>
                  <a:off x="-20177" y="712530"/>
                  <a:ext cx="342900" cy="342900"/>
                </a:xfrm>
                <a:custGeom>
                  <a:avLst/>
                  <a:gdLst>
                    <a:gd name="connsiteX0" fmla="*/ 342900 w 342900"/>
                    <a:gd name="connsiteY0" fmla="*/ 171450 h 342900"/>
                    <a:gd name="connsiteX1" fmla="*/ 171450 w 342900"/>
                    <a:gd name="connsiteY1" fmla="*/ 342900 h 342900"/>
                    <a:gd name="connsiteX2" fmla="*/ 0 w 342900"/>
                    <a:gd name="connsiteY2" fmla="*/ 171450 h 342900"/>
                    <a:gd name="connsiteX3" fmla="*/ 171450 w 342900"/>
                    <a:gd name="connsiteY3" fmla="*/ 0 h 342900"/>
                    <a:gd name="connsiteX4" fmla="*/ 34290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8" name="Freeform: Shape 237">
                  <a:extLst>
                    <a:ext uri="{FF2B5EF4-FFF2-40B4-BE49-F238E27FC236}">
                      <a16:creationId xmlns:a16="http://schemas.microsoft.com/office/drawing/2014/main" id="{1D52892C-E2CB-49D8-9FB1-E00C76BFFDF7}"/>
                    </a:ext>
                  </a:extLst>
                </p:cNvPr>
                <p:cNvSpPr/>
                <p:nvPr/>
              </p:nvSpPr>
              <p:spPr>
                <a:xfrm>
                  <a:off x="-153527" y="1131630"/>
                  <a:ext cx="609600" cy="342900"/>
                </a:xfrm>
                <a:custGeom>
                  <a:avLst/>
                  <a:gdLst>
                    <a:gd name="connsiteX0" fmla="*/ 304800 w 609600"/>
                    <a:gd name="connsiteY0" fmla="*/ 0 h 342900"/>
                    <a:gd name="connsiteX1" fmla="*/ 304800 w 609600"/>
                    <a:gd name="connsiteY1" fmla="*/ 0 h 342900"/>
                    <a:gd name="connsiteX2" fmla="*/ 609600 w 609600"/>
                    <a:gd name="connsiteY2" fmla="*/ 304800 h 342900"/>
                    <a:gd name="connsiteX3" fmla="*/ 609600 w 609600"/>
                    <a:gd name="connsiteY3" fmla="*/ 342900 h 342900"/>
                    <a:gd name="connsiteX4" fmla="*/ 0 w 609600"/>
                    <a:gd name="connsiteY4" fmla="*/ 342900 h 342900"/>
                    <a:gd name="connsiteX5" fmla="*/ 0 w 609600"/>
                    <a:gd name="connsiteY5" fmla="*/ 304800 h 342900"/>
                    <a:gd name="connsiteX6" fmla="*/ 304800 w 60960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342900">
                      <a:moveTo>
                        <a:pt x="304800" y="0"/>
                      </a:moveTo>
                      <a:lnTo>
                        <a:pt x="304800" y="0"/>
                      </a:lnTo>
                      <a:cubicBezTo>
                        <a:pt x="473107" y="0"/>
                        <a:pt x="609600" y="136493"/>
                        <a:pt x="609600" y="304800"/>
                      </a:cubicBezTo>
                      <a:lnTo>
                        <a:pt x="609600" y="342900"/>
                      </a:lnTo>
                      <a:lnTo>
                        <a:pt x="0" y="342900"/>
                      </a:lnTo>
                      <a:lnTo>
                        <a:pt x="0" y="304800"/>
                      </a:lnTo>
                      <a:cubicBezTo>
                        <a:pt x="0" y="136493"/>
                        <a:pt x="136493" y="0"/>
                        <a:pt x="304800" y="0"/>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241" name="Graphic 232">
              <a:extLst>
                <a:ext uri="{FF2B5EF4-FFF2-40B4-BE49-F238E27FC236}">
                  <a16:creationId xmlns:a16="http://schemas.microsoft.com/office/drawing/2014/main" id="{4E38A7DE-B59D-4B43-8D0A-48F2453D85B2}"/>
                </a:ext>
              </a:extLst>
            </p:cNvPr>
            <p:cNvGrpSpPr/>
            <p:nvPr/>
          </p:nvGrpSpPr>
          <p:grpSpPr>
            <a:xfrm>
              <a:off x="9761253" y="5817331"/>
              <a:ext cx="503562" cy="503308"/>
              <a:chOff x="-1671309" y="2022841"/>
              <a:chExt cx="1029220" cy="1028700"/>
            </a:xfrm>
            <a:solidFill>
              <a:srgbClr val="0067B6"/>
            </a:solidFill>
          </p:grpSpPr>
          <p:sp>
            <p:nvSpPr>
              <p:cNvPr id="242" name="Freeform: Shape 241">
                <a:extLst>
                  <a:ext uri="{FF2B5EF4-FFF2-40B4-BE49-F238E27FC236}">
                    <a16:creationId xmlns:a16="http://schemas.microsoft.com/office/drawing/2014/main" id="{C8D02758-2C1A-44DF-AE0B-7AC5CF77C805}"/>
                  </a:ext>
                </a:extLst>
              </p:cNvPr>
              <p:cNvSpPr/>
              <p:nvPr/>
            </p:nvSpPr>
            <p:spPr>
              <a:xfrm>
                <a:off x="-1671309" y="2746741"/>
                <a:ext cx="457200" cy="114300"/>
              </a:xfrm>
              <a:custGeom>
                <a:avLst/>
                <a:gdLst>
                  <a:gd name="connsiteX0" fmla="*/ 0 w 457200"/>
                  <a:gd name="connsiteY0" fmla="*/ 0 h 114300"/>
                  <a:gd name="connsiteX1" fmla="*/ 457200 w 457200"/>
                  <a:gd name="connsiteY1" fmla="*/ 0 h 114300"/>
                  <a:gd name="connsiteX2" fmla="*/ 457200 w 457200"/>
                  <a:gd name="connsiteY2" fmla="*/ 114300 h 114300"/>
                  <a:gd name="connsiteX3" fmla="*/ 0 w 4572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457200" h="114300">
                    <a:moveTo>
                      <a:pt x="0" y="0"/>
                    </a:moveTo>
                    <a:lnTo>
                      <a:pt x="457200" y="0"/>
                    </a:lnTo>
                    <a:lnTo>
                      <a:pt x="4572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3" name="Freeform: Shape 242">
                <a:extLst>
                  <a:ext uri="{FF2B5EF4-FFF2-40B4-BE49-F238E27FC236}">
                    <a16:creationId xmlns:a16="http://schemas.microsoft.com/office/drawing/2014/main" id="{6C47189B-B365-4673-96B0-BB302EFF3F0B}"/>
                  </a:ext>
                </a:extLst>
              </p:cNvPr>
              <p:cNvSpPr/>
              <p:nvPr/>
            </p:nvSpPr>
            <p:spPr>
              <a:xfrm>
                <a:off x="-1671309" y="2937241"/>
                <a:ext cx="228600" cy="114300"/>
              </a:xfrm>
              <a:custGeom>
                <a:avLst/>
                <a:gdLst>
                  <a:gd name="connsiteX0" fmla="*/ 0 w 228600"/>
                  <a:gd name="connsiteY0" fmla="*/ 0 h 114300"/>
                  <a:gd name="connsiteX1" fmla="*/ 228600 w 228600"/>
                  <a:gd name="connsiteY1" fmla="*/ 0 h 114300"/>
                  <a:gd name="connsiteX2" fmla="*/ 228600 w 228600"/>
                  <a:gd name="connsiteY2" fmla="*/ 114300 h 114300"/>
                  <a:gd name="connsiteX3" fmla="*/ 0 w 2286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228600" h="114300">
                    <a:moveTo>
                      <a:pt x="0" y="0"/>
                    </a:moveTo>
                    <a:lnTo>
                      <a:pt x="228600" y="0"/>
                    </a:lnTo>
                    <a:lnTo>
                      <a:pt x="228600" y="114300"/>
                    </a:lnTo>
                    <a:lnTo>
                      <a:pt x="0" y="114300"/>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4" name="Freeform: Shape 243">
                <a:extLst>
                  <a:ext uri="{FF2B5EF4-FFF2-40B4-BE49-F238E27FC236}">
                    <a16:creationId xmlns:a16="http://schemas.microsoft.com/office/drawing/2014/main" id="{016D2D21-F949-451E-8998-D19A107D1FB9}"/>
                  </a:ext>
                </a:extLst>
              </p:cNvPr>
              <p:cNvSpPr/>
              <p:nvPr/>
            </p:nvSpPr>
            <p:spPr>
              <a:xfrm>
                <a:off x="-1480809" y="2022841"/>
                <a:ext cx="609600" cy="609600"/>
              </a:xfrm>
              <a:custGeom>
                <a:avLst/>
                <a:gdLst>
                  <a:gd name="connsiteX0" fmla="*/ 304800 w 609600"/>
                  <a:gd name="connsiteY0" fmla="*/ 114300 h 609600"/>
                  <a:gd name="connsiteX1" fmla="*/ 495300 w 609600"/>
                  <a:gd name="connsiteY1" fmla="*/ 304800 h 609600"/>
                  <a:gd name="connsiteX2" fmla="*/ 304800 w 609600"/>
                  <a:gd name="connsiteY2" fmla="*/ 495300 h 609600"/>
                  <a:gd name="connsiteX3" fmla="*/ 114300 w 609600"/>
                  <a:gd name="connsiteY3" fmla="*/ 304800 h 609600"/>
                  <a:gd name="connsiteX4" fmla="*/ 304800 w 609600"/>
                  <a:gd name="connsiteY4" fmla="*/ 114300 h 609600"/>
                  <a:gd name="connsiteX5" fmla="*/ 304800 w 609600"/>
                  <a:gd name="connsiteY5" fmla="*/ 0 h 609600"/>
                  <a:gd name="connsiteX6" fmla="*/ 0 w 609600"/>
                  <a:gd name="connsiteY6" fmla="*/ 304800 h 609600"/>
                  <a:gd name="connsiteX7" fmla="*/ 304800 w 609600"/>
                  <a:gd name="connsiteY7" fmla="*/ 609600 h 609600"/>
                  <a:gd name="connsiteX8" fmla="*/ 609600 w 609600"/>
                  <a:gd name="connsiteY8" fmla="*/ 304800 h 609600"/>
                  <a:gd name="connsiteX9" fmla="*/ 304800 w 609600"/>
                  <a:gd name="connsiteY9" fmla="*/ 0 h 609600"/>
                  <a:gd name="connsiteX10" fmla="*/ 304800 w 609600"/>
                  <a:gd name="connsiteY10"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 h="609600">
                    <a:moveTo>
                      <a:pt x="304800" y="114300"/>
                    </a:moveTo>
                    <a:cubicBezTo>
                      <a:pt x="409861" y="114300"/>
                      <a:pt x="495300" y="199739"/>
                      <a:pt x="495300" y="304800"/>
                    </a:cubicBezTo>
                    <a:cubicBezTo>
                      <a:pt x="495300" y="409861"/>
                      <a:pt x="409861" y="495300"/>
                      <a:pt x="304800" y="495300"/>
                    </a:cubicBezTo>
                    <a:cubicBezTo>
                      <a:pt x="199739" y="495300"/>
                      <a:pt x="114300" y="409861"/>
                      <a:pt x="114300" y="304800"/>
                    </a:cubicBezTo>
                    <a:cubicBezTo>
                      <a:pt x="114300" y="199739"/>
                      <a:pt x="199739" y="114300"/>
                      <a:pt x="304800" y="114300"/>
                    </a:cubicBezTo>
                    <a:moveTo>
                      <a:pt x="304800" y="0"/>
                    </a:moveTo>
                    <a:cubicBezTo>
                      <a:pt x="136493" y="0"/>
                      <a:pt x="0" y="136493"/>
                      <a:pt x="0" y="304800"/>
                    </a:cubicBezTo>
                    <a:cubicBezTo>
                      <a:pt x="0" y="473107"/>
                      <a:pt x="136493" y="609600"/>
                      <a:pt x="304800" y="609600"/>
                    </a:cubicBezTo>
                    <a:cubicBezTo>
                      <a:pt x="473107" y="609600"/>
                      <a:pt x="609600" y="473107"/>
                      <a:pt x="609600" y="304800"/>
                    </a:cubicBezTo>
                    <a:cubicBezTo>
                      <a:pt x="609600" y="136493"/>
                      <a:pt x="473107" y="0"/>
                      <a:pt x="304800" y="0"/>
                    </a:cubicBezTo>
                    <a:lnTo>
                      <a:pt x="304800"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5" name="Freeform: Shape 244">
                <a:extLst>
                  <a:ext uri="{FF2B5EF4-FFF2-40B4-BE49-F238E27FC236}">
                    <a16:creationId xmlns:a16="http://schemas.microsoft.com/office/drawing/2014/main" id="{FE8166B2-93B7-44E0-AFB0-369E3946E3D0}"/>
                  </a:ext>
                </a:extLst>
              </p:cNvPr>
              <p:cNvSpPr/>
              <p:nvPr/>
            </p:nvSpPr>
            <p:spPr>
              <a:xfrm>
                <a:off x="-1042139" y="2456866"/>
                <a:ext cx="400050" cy="400050"/>
              </a:xfrm>
              <a:custGeom>
                <a:avLst/>
                <a:gdLst>
                  <a:gd name="connsiteX0" fmla="*/ 0 w 400050"/>
                  <a:gd name="connsiteY0" fmla="*/ 80822 h 400050"/>
                  <a:gd name="connsiteX1" fmla="*/ 80822 w 400050"/>
                  <a:gd name="connsiteY1" fmla="*/ 0 h 400050"/>
                  <a:gd name="connsiteX2" fmla="*/ 404108 w 400050"/>
                  <a:gd name="connsiteY2" fmla="*/ 323286 h 400050"/>
                  <a:gd name="connsiteX3" fmla="*/ 323286 w 400050"/>
                  <a:gd name="connsiteY3" fmla="*/ 404108 h 400050"/>
                </a:gdLst>
                <a:ahLst/>
                <a:cxnLst>
                  <a:cxn ang="0">
                    <a:pos x="connsiteX0" y="connsiteY0"/>
                  </a:cxn>
                  <a:cxn ang="0">
                    <a:pos x="connsiteX1" y="connsiteY1"/>
                  </a:cxn>
                  <a:cxn ang="0">
                    <a:pos x="connsiteX2" y="connsiteY2"/>
                  </a:cxn>
                  <a:cxn ang="0">
                    <a:pos x="connsiteX3" y="connsiteY3"/>
                  </a:cxn>
                </a:cxnLst>
                <a:rect l="l" t="t" r="r" b="b"/>
                <a:pathLst>
                  <a:path w="400050" h="400050">
                    <a:moveTo>
                      <a:pt x="0" y="80822"/>
                    </a:moveTo>
                    <a:lnTo>
                      <a:pt x="80822" y="0"/>
                    </a:lnTo>
                    <a:lnTo>
                      <a:pt x="404108" y="323286"/>
                    </a:lnTo>
                    <a:lnTo>
                      <a:pt x="323286" y="40410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46" name="Group 245">
              <a:extLst>
                <a:ext uri="{FF2B5EF4-FFF2-40B4-BE49-F238E27FC236}">
                  <a16:creationId xmlns:a16="http://schemas.microsoft.com/office/drawing/2014/main" id="{0703779B-5276-47B4-824F-F7C716662F81}"/>
                </a:ext>
              </a:extLst>
            </p:cNvPr>
            <p:cNvGrpSpPr/>
            <p:nvPr/>
          </p:nvGrpSpPr>
          <p:grpSpPr>
            <a:xfrm>
              <a:off x="1873137" y="5771890"/>
              <a:ext cx="594190" cy="594190"/>
              <a:chOff x="5031266" y="1632171"/>
              <a:chExt cx="669220" cy="669220"/>
            </a:xfrm>
            <a:solidFill>
              <a:srgbClr val="0067B6"/>
            </a:solidFill>
          </p:grpSpPr>
          <p:sp>
            <p:nvSpPr>
              <p:cNvPr id="247" name="Freeform: Shape 246">
                <a:extLst>
                  <a:ext uri="{FF2B5EF4-FFF2-40B4-BE49-F238E27FC236}">
                    <a16:creationId xmlns:a16="http://schemas.microsoft.com/office/drawing/2014/main" id="{6DB00641-B30C-49CF-9321-83CA0CCACF11}"/>
                  </a:ext>
                </a:extLst>
              </p:cNvPr>
              <p:cNvSpPr/>
              <p:nvPr/>
            </p:nvSpPr>
            <p:spPr>
              <a:xfrm>
                <a:off x="5031266" y="2175912"/>
                <a:ext cx="125479" cy="125479"/>
              </a:xfrm>
              <a:custGeom>
                <a:avLst/>
                <a:gdLst>
                  <a:gd name="connsiteX0" fmla="*/ 125479 w 125478"/>
                  <a:gd name="connsiteY0" fmla="*/ 62739 h 125478"/>
                  <a:gd name="connsiteX1" fmla="*/ 62739 w 125478"/>
                  <a:gd name="connsiteY1" fmla="*/ 125479 h 125478"/>
                  <a:gd name="connsiteX2" fmla="*/ 0 w 125478"/>
                  <a:gd name="connsiteY2" fmla="*/ 62739 h 125478"/>
                  <a:gd name="connsiteX3" fmla="*/ 62739 w 125478"/>
                  <a:gd name="connsiteY3" fmla="*/ 0 h 125478"/>
                  <a:gd name="connsiteX4" fmla="*/ 125479 w 125478"/>
                  <a:gd name="connsiteY4" fmla="*/ 62739 h 125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478" h="125478">
                    <a:moveTo>
                      <a:pt x="125479" y="62739"/>
                    </a:moveTo>
                    <a:cubicBezTo>
                      <a:pt x="125479" y="97389"/>
                      <a:pt x="97389" y="125479"/>
                      <a:pt x="62739" y="125479"/>
                    </a:cubicBezTo>
                    <a:cubicBezTo>
                      <a:pt x="28089" y="125479"/>
                      <a:pt x="0" y="97389"/>
                      <a:pt x="0" y="62739"/>
                    </a:cubicBezTo>
                    <a:cubicBezTo>
                      <a:pt x="0" y="28089"/>
                      <a:pt x="28089" y="0"/>
                      <a:pt x="62739" y="0"/>
                    </a:cubicBezTo>
                    <a:cubicBezTo>
                      <a:pt x="97389" y="0"/>
                      <a:pt x="125479" y="28089"/>
                      <a:pt x="125479" y="62739"/>
                    </a:cubicBezTo>
                    <a:close/>
                  </a:path>
                </a:pathLst>
              </a:custGeom>
              <a:grpFill/>
              <a:ln w="52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8" name="Freeform: Shape 247">
                <a:extLst>
                  <a:ext uri="{FF2B5EF4-FFF2-40B4-BE49-F238E27FC236}">
                    <a16:creationId xmlns:a16="http://schemas.microsoft.com/office/drawing/2014/main" id="{4FAEC738-49E5-44A4-A819-F9E29616159F}"/>
                  </a:ext>
                </a:extLst>
              </p:cNvPr>
              <p:cNvSpPr/>
              <p:nvPr/>
            </p:nvSpPr>
            <p:spPr>
              <a:xfrm>
                <a:off x="5575007" y="1632171"/>
                <a:ext cx="125479" cy="125479"/>
              </a:xfrm>
              <a:custGeom>
                <a:avLst/>
                <a:gdLst>
                  <a:gd name="connsiteX0" fmla="*/ 0 w 125478"/>
                  <a:gd name="connsiteY0" fmla="*/ 0 h 125478"/>
                  <a:gd name="connsiteX1" fmla="*/ 125479 w 125478"/>
                  <a:gd name="connsiteY1" fmla="*/ 0 h 125478"/>
                  <a:gd name="connsiteX2" fmla="*/ 125479 w 125478"/>
                  <a:gd name="connsiteY2" fmla="*/ 125479 h 125478"/>
                  <a:gd name="connsiteX3" fmla="*/ 0 w 125478"/>
                  <a:gd name="connsiteY3" fmla="*/ 125479 h 125478"/>
                </a:gdLst>
                <a:ahLst/>
                <a:cxnLst>
                  <a:cxn ang="0">
                    <a:pos x="connsiteX0" y="connsiteY0"/>
                  </a:cxn>
                  <a:cxn ang="0">
                    <a:pos x="connsiteX1" y="connsiteY1"/>
                  </a:cxn>
                  <a:cxn ang="0">
                    <a:pos x="connsiteX2" y="connsiteY2"/>
                  </a:cxn>
                  <a:cxn ang="0">
                    <a:pos x="connsiteX3" y="connsiteY3"/>
                  </a:cxn>
                </a:cxnLst>
                <a:rect l="l" t="t" r="r" b="b"/>
                <a:pathLst>
                  <a:path w="125478" h="125478">
                    <a:moveTo>
                      <a:pt x="0" y="0"/>
                    </a:moveTo>
                    <a:lnTo>
                      <a:pt x="125479" y="0"/>
                    </a:lnTo>
                    <a:lnTo>
                      <a:pt x="125479" y="125479"/>
                    </a:lnTo>
                    <a:lnTo>
                      <a:pt x="0" y="125479"/>
                    </a:lnTo>
                    <a:close/>
                  </a:path>
                </a:pathLst>
              </a:custGeom>
              <a:solidFill>
                <a:srgbClr val="50E6FF"/>
              </a:solidFill>
              <a:ln w="52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9" name="Freeform: Shape 248">
                <a:extLst>
                  <a:ext uri="{FF2B5EF4-FFF2-40B4-BE49-F238E27FC236}">
                    <a16:creationId xmlns:a16="http://schemas.microsoft.com/office/drawing/2014/main" id="{2882197F-8753-4FF7-B9A2-4B32869AC83C}"/>
                  </a:ext>
                </a:extLst>
              </p:cNvPr>
              <p:cNvSpPr/>
              <p:nvPr/>
            </p:nvSpPr>
            <p:spPr>
              <a:xfrm>
                <a:off x="5155869" y="1818283"/>
                <a:ext cx="355523" cy="355523"/>
              </a:xfrm>
              <a:custGeom>
                <a:avLst/>
                <a:gdLst>
                  <a:gd name="connsiteX0" fmla="*/ 44363 w 355523"/>
                  <a:gd name="connsiteY0" fmla="*/ 359303 h 355523"/>
                  <a:gd name="connsiteX1" fmla="*/ 0 w 355523"/>
                  <a:gd name="connsiteY1" fmla="*/ 314940 h 355523"/>
                  <a:gd name="connsiteX2" fmla="*/ 314940 w 355523"/>
                  <a:gd name="connsiteY2" fmla="*/ 0 h 355523"/>
                  <a:gd name="connsiteX3" fmla="*/ 359303 w 355523"/>
                  <a:gd name="connsiteY3" fmla="*/ 44363 h 355523"/>
                </a:gdLst>
                <a:ahLst/>
                <a:cxnLst>
                  <a:cxn ang="0">
                    <a:pos x="connsiteX0" y="connsiteY0"/>
                  </a:cxn>
                  <a:cxn ang="0">
                    <a:pos x="connsiteX1" y="connsiteY1"/>
                  </a:cxn>
                  <a:cxn ang="0">
                    <a:pos x="connsiteX2" y="connsiteY2"/>
                  </a:cxn>
                  <a:cxn ang="0">
                    <a:pos x="connsiteX3" y="connsiteY3"/>
                  </a:cxn>
                </a:cxnLst>
                <a:rect l="l" t="t" r="r" b="b"/>
                <a:pathLst>
                  <a:path w="355523" h="355523">
                    <a:moveTo>
                      <a:pt x="44363" y="359303"/>
                    </a:moveTo>
                    <a:lnTo>
                      <a:pt x="0" y="314940"/>
                    </a:lnTo>
                    <a:lnTo>
                      <a:pt x="314940" y="0"/>
                    </a:lnTo>
                    <a:lnTo>
                      <a:pt x="359303" y="44363"/>
                    </a:lnTo>
                    <a:close/>
                  </a:path>
                </a:pathLst>
              </a:custGeom>
              <a:grpFill/>
              <a:ln w="52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0" name="Freeform: Shape 249">
                <a:extLst>
                  <a:ext uri="{FF2B5EF4-FFF2-40B4-BE49-F238E27FC236}">
                    <a16:creationId xmlns:a16="http://schemas.microsoft.com/office/drawing/2014/main" id="{4415DEF2-17AF-4ACD-A1D8-8A2FAEDC90F0}"/>
                  </a:ext>
                </a:extLst>
              </p:cNvPr>
              <p:cNvSpPr/>
              <p:nvPr/>
            </p:nvSpPr>
            <p:spPr>
              <a:xfrm>
                <a:off x="5470426" y="1799476"/>
                <a:ext cx="62739" cy="209131"/>
              </a:xfrm>
              <a:custGeom>
                <a:avLst/>
                <a:gdLst>
                  <a:gd name="connsiteX0" fmla="*/ 62739 w 62739"/>
                  <a:gd name="connsiteY0" fmla="*/ 209131 h 209131"/>
                  <a:gd name="connsiteX1" fmla="*/ 0 w 62739"/>
                  <a:gd name="connsiteY1" fmla="*/ 209131 h 209131"/>
                  <a:gd name="connsiteX2" fmla="*/ 0 w 62739"/>
                  <a:gd name="connsiteY2" fmla="*/ 0 h 209131"/>
                  <a:gd name="connsiteX3" fmla="*/ 62739 w 62739"/>
                  <a:gd name="connsiteY3" fmla="*/ 0 h 209131"/>
                </a:gdLst>
                <a:ahLst/>
                <a:cxnLst>
                  <a:cxn ang="0">
                    <a:pos x="connsiteX0" y="connsiteY0"/>
                  </a:cxn>
                  <a:cxn ang="0">
                    <a:pos x="connsiteX1" y="connsiteY1"/>
                  </a:cxn>
                  <a:cxn ang="0">
                    <a:pos x="connsiteX2" y="connsiteY2"/>
                  </a:cxn>
                  <a:cxn ang="0">
                    <a:pos x="connsiteX3" y="connsiteY3"/>
                  </a:cxn>
                </a:cxnLst>
                <a:rect l="l" t="t" r="r" b="b"/>
                <a:pathLst>
                  <a:path w="62739" h="209131">
                    <a:moveTo>
                      <a:pt x="62739" y="209131"/>
                    </a:moveTo>
                    <a:lnTo>
                      <a:pt x="0" y="209131"/>
                    </a:lnTo>
                    <a:lnTo>
                      <a:pt x="0" y="0"/>
                    </a:lnTo>
                    <a:lnTo>
                      <a:pt x="62739" y="0"/>
                    </a:lnTo>
                    <a:close/>
                  </a:path>
                </a:pathLst>
              </a:custGeom>
              <a:grpFill/>
              <a:ln w="52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1" name="Freeform: Shape 250">
                <a:extLst>
                  <a:ext uri="{FF2B5EF4-FFF2-40B4-BE49-F238E27FC236}">
                    <a16:creationId xmlns:a16="http://schemas.microsoft.com/office/drawing/2014/main" id="{EBD4C8C8-BF36-4FD8-92DC-B519D73A04F6}"/>
                  </a:ext>
                </a:extLst>
              </p:cNvPr>
              <p:cNvSpPr/>
              <p:nvPr/>
            </p:nvSpPr>
            <p:spPr>
              <a:xfrm>
                <a:off x="5324042" y="1799481"/>
                <a:ext cx="209131" cy="62739"/>
              </a:xfrm>
              <a:custGeom>
                <a:avLst/>
                <a:gdLst>
                  <a:gd name="connsiteX0" fmla="*/ 0 w 209131"/>
                  <a:gd name="connsiteY0" fmla="*/ 62739 h 62739"/>
                  <a:gd name="connsiteX1" fmla="*/ 0 w 209131"/>
                  <a:gd name="connsiteY1" fmla="*/ 0 h 62739"/>
                  <a:gd name="connsiteX2" fmla="*/ 209131 w 209131"/>
                  <a:gd name="connsiteY2" fmla="*/ 0 h 62739"/>
                  <a:gd name="connsiteX3" fmla="*/ 209131 w 209131"/>
                  <a:gd name="connsiteY3" fmla="*/ 62739 h 62739"/>
                </a:gdLst>
                <a:ahLst/>
                <a:cxnLst>
                  <a:cxn ang="0">
                    <a:pos x="connsiteX0" y="connsiteY0"/>
                  </a:cxn>
                  <a:cxn ang="0">
                    <a:pos x="connsiteX1" y="connsiteY1"/>
                  </a:cxn>
                  <a:cxn ang="0">
                    <a:pos x="connsiteX2" y="connsiteY2"/>
                  </a:cxn>
                  <a:cxn ang="0">
                    <a:pos x="connsiteX3" y="connsiteY3"/>
                  </a:cxn>
                </a:cxnLst>
                <a:rect l="l" t="t" r="r" b="b"/>
                <a:pathLst>
                  <a:path w="209131" h="62739">
                    <a:moveTo>
                      <a:pt x="0" y="62739"/>
                    </a:moveTo>
                    <a:lnTo>
                      <a:pt x="0" y="0"/>
                    </a:lnTo>
                    <a:lnTo>
                      <a:pt x="209131" y="0"/>
                    </a:lnTo>
                    <a:lnTo>
                      <a:pt x="209131" y="62739"/>
                    </a:lnTo>
                    <a:close/>
                  </a:path>
                </a:pathLst>
              </a:custGeom>
              <a:grpFill/>
              <a:ln w="52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134" name="Rectangle 716">
            <a:extLst>
              <a:ext uri="{FF2B5EF4-FFF2-40B4-BE49-F238E27FC236}">
                <a16:creationId xmlns:a16="http://schemas.microsoft.com/office/drawing/2014/main" id="{25418216-E1CE-4E77-8B61-31E8C0109B5A}"/>
              </a:ext>
            </a:extLst>
          </p:cNvPr>
          <p:cNvSpPr/>
          <p:nvPr/>
        </p:nvSpPr>
        <p:spPr bwMode="auto">
          <a:xfrm>
            <a:off x="10014206" y="3189065"/>
            <a:ext cx="1720594" cy="261935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lvl="0" algn="ctr" defTabSz="951028" fontAlgn="base">
              <a:spcBef>
                <a:spcPct val="0"/>
              </a:spcBef>
              <a:spcAft>
                <a:spcPts val="1000"/>
              </a:spcAft>
              <a:defRPr/>
            </a:pPr>
            <a:r>
              <a:rPr lang="en-US" sz="1100" kern="0">
                <a:cs typeface="Segoe UI" pitchFamily="34" charset="0"/>
              </a:rPr>
              <a:t>Personalized medicine</a:t>
            </a:r>
          </a:p>
          <a:p>
            <a:pPr lvl="0" algn="ctr" defTabSz="951028" fontAlgn="base">
              <a:spcBef>
                <a:spcPct val="0"/>
              </a:spcBef>
              <a:spcAft>
                <a:spcPts val="1000"/>
              </a:spcAft>
              <a:defRPr/>
            </a:pPr>
            <a:r>
              <a:rPr lang="en-US" sz="1100" kern="0">
                <a:cs typeface="Segoe UI" pitchFamily="34" charset="0"/>
              </a:rPr>
              <a:t>Records sharing</a:t>
            </a:r>
          </a:p>
          <a:p>
            <a:pPr lvl="0" algn="ctr" defTabSz="951028" fontAlgn="base">
              <a:spcBef>
                <a:spcPct val="0"/>
              </a:spcBef>
              <a:spcAft>
                <a:spcPts val="1000"/>
              </a:spcAft>
              <a:defRPr/>
            </a:pPr>
            <a:r>
              <a:rPr lang="en-US" sz="1100" kern="0">
                <a:cs typeface="Segoe UI" pitchFamily="34" charset="0"/>
              </a:rPr>
              <a:t>Compliance</a:t>
            </a:r>
          </a:p>
          <a:p>
            <a:pPr lvl="0" algn="ctr" defTabSz="951028" fontAlgn="base">
              <a:spcBef>
                <a:spcPct val="0"/>
              </a:spcBef>
              <a:spcAft>
                <a:spcPts val="1000"/>
              </a:spcAft>
              <a:defRPr/>
            </a:pPr>
            <a:r>
              <a:rPr lang="en-US" sz="1100" kern="0">
                <a:cs typeface="Segoe UI" pitchFamily="34" charset="0"/>
              </a:rPr>
              <a:t>Agricultural authentication</a:t>
            </a:r>
          </a:p>
          <a:p>
            <a:pPr lvl="0" algn="ctr" defTabSz="951028" fontAlgn="base">
              <a:spcBef>
                <a:spcPct val="0"/>
              </a:spcBef>
              <a:spcAft>
                <a:spcPts val="1000"/>
              </a:spcAft>
              <a:defRPr/>
            </a:pPr>
            <a:r>
              <a:rPr lang="en-US" sz="1100" kern="0">
                <a:cs typeface="Segoe UI" pitchFamily="34" charset="0"/>
              </a:rPr>
              <a:t>Pharmaceutical purity</a:t>
            </a:r>
          </a:p>
        </p:txBody>
      </p:sp>
      <p:sp>
        <p:nvSpPr>
          <p:cNvPr id="137" name="Title 1">
            <a:extLst>
              <a:ext uri="{FF2B5EF4-FFF2-40B4-BE49-F238E27FC236}">
                <a16:creationId xmlns:a16="http://schemas.microsoft.com/office/drawing/2014/main" id="{875D6B95-EFC0-4674-AC62-C151EB319E9F}"/>
              </a:ext>
            </a:extLst>
          </p:cNvPr>
          <p:cNvSpPr txBox="1">
            <a:spLocks/>
          </p:cNvSpPr>
          <p:nvPr/>
        </p:nvSpPr>
        <p:spPr>
          <a:xfrm>
            <a:off x="269240" y="289511"/>
            <a:ext cx="11655840" cy="110799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a:t>With use cases and applications spanning across industries</a:t>
            </a:r>
          </a:p>
        </p:txBody>
      </p:sp>
    </p:spTree>
    <p:extLst>
      <p:ext uri="{BB962C8B-B14F-4D97-AF65-F5344CB8AC3E}">
        <p14:creationId xmlns:p14="http://schemas.microsoft.com/office/powerpoint/2010/main" val="2506679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shop&#10;&#10;Description generated with very high confidence">
            <a:extLst>
              <a:ext uri="{FF2B5EF4-FFF2-40B4-BE49-F238E27FC236}">
                <a16:creationId xmlns:a16="http://schemas.microsoft.com/office/drawing/2014/main" id="{09C2B4D0-5290-40AC-9EBE-AE343FC4118B}"/>
              </a:ext>
            </a:extLst>
          </p:cNvPr>
          <p:cNvPicPr>
            <a:picLocks noChangeAspect="1"/>
          </p:cNvPicPr>
          <p:nvPr/>
        </p:nvPicPr>
        <p:blipFill rotWithShape="1">
          <a:blip r:embed="rId3">
            <a:extLst>
              <a:ext uri="{28A0092B-C50C-407E-A947-70E740481C1C}">
                <a14:useLocalDpi xmlns:a14="http://schemas.microsoft.com/office/drawing/2010/main" val="0"/>
              </a:ext>
            </a:extLst>
          </a:blip>
          <a:srcRect b="16249"/>
          <a:stretch/>
        </p:blipFill>
        <p:spPr>
          <a:xfrm>
            <a:off x="0" y="1"/>
            <a:ext cx="12282057" cy="6857512"/>
          </a:xfrm>
          <a:prstGeom prst="rect">
            <a:avLst/>
          </a:prstGeom>
        </p:spPr>
      </p:pic>
      <p:sp>
        <p:nvSpPr>
          <p:cNvPr id="8" name="Rectangle 7">
            <a:extLst>
              <a:ext uri="{FF2B5EF4-FFF2-40B4-BE49-F238E27FC236}">
                <a16:creationId xmlns:a16="http://schemas.microsoft.com/office/drawing/2014/main" id="{5BA12ED5-213C-46AE-8513-4F393C1E3138}"/>
              </a:ext>
            </a:extLst>
          </p:cNvPr>
          <p:cNvSpPr/>
          <p:nvPr/>
        </p:nvSpPr>
        <p:spPr bwMode="auto">
          <a:xfrm>
            <a:off x="1" y="487"/>
            <a:ext cx="12296271" cy="2382684"/>
          </a:xfrm>
          <a:prstGeom prst="rect">
            <a:avLst/>
          </a:prstGeom>
          <a:gradFill flip="none" rotWithShape="1">
            <a:gsLst>
              <a:gs pos="0">
                <a:schemeClr val="bg1">
                  <a:alpha val="88000"/>
                </a:schemeClr>
              </a:gs>
              <a:gs pos="60000">
                <a:schemeClr val="bg1">
                  <a:alpha val="70000"/>
                </a:schemeClr>
              </a:gs>
              <a:gs pos="80000">
                <a:schemeClr val="bg1">
                  <a:alpha val="30000"/>
                </a:schemeClr>
              </a:gs>
              <a:gs pos="88000">
                <a:srgbClr val="FFFFFF">
                  <a:alpha val="15000"/>
                </a:srgbClr>
              </a:gs>
              <a:gs pos="97000">
                <a:schemeClr val="bg1">
                  <a:alpha val="3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a:solidFill>
                  <a:schemeClr val="tx1"/>
                </a:solidFill>
              </a:rPr>
              <a:t>Let’s imagine a food contamination scenario </a:t>
            </a:r>
          </a:p>
        </p:txBody>
      </p:sp>
    </p:spTree>
    <p:extLst>
      <p:ext uri="{BB962C8B-B14F-4D97-AF65-F5344CB8AC3E}">
        <p14:creationId xmlns:p14="http://schemas.microsoft.com/office/powerpoint/2010/main" val="541768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9" name="Picture 358" descr="A close up of a shop&#10;&#10;Description generated with very high confidence">
            <a:extLst>
              <a:ext uri="{FF2B5EF4-FFF2-40B4-BE49-F238E27FC236}">
                <a16:creationId xmlns:a16="http://schemas.microsoft.com/office/drawing/2014/main" id="{D74B2581-D921-4369-BB20-DD79B3B5F970}"/>
              </a:ext>
            </a:extLst>
          </p:cNvPr>
          <p:cNvPicPr>
            <a:picLocks noChangeAspect="1"/>
          </p:cNvPicPr>
          <p:nvPr/>
        </p:nvPicPr>
        <p:blipFill rotWithShape="1">
          <a:blip r:embed="rId3">
            <a:extLst>
              <a:ext uri="{28A0092B-C50C-407E-A947-70E740481C1C}">
                <a14:useLocalDpi xmlns:a14="http://schemas.microsoft.com/office/drawing/2010/main" val="0"/>
              </a:ext>
            </a:extLst>
          </a:blip>
          <a:srcRect b="16255"/>
          <a:stretch/>
        </p:blipFill>
        <p:spPr>
          <a:xfrm>
            <a:off x="2573" y="-8321"/>
            <a:ext cx="12282056" cy="6857027"/>
          </a:xfrm>
          <a:prstGeom prst="rect">
            <a:avLst/>
          </a:prstGeom>
        </p:spPr>
      </p:pic>
      <p:sp>
        <p:nvSpPr>
          <p:cNvPr id="8" name="Rectangle 7">
            <a:extLst>
              <a:ext uri="{FF2B5EF4-FFF2-40B4-BE49-F238E27FC236}">
                <a16:creationId xmlns:a16="http://schemas.microsoft.com/office/drawing/2014/main" id="{5BA12ED5-213C-46AE-8513-4F393C1E3138}"/>
              </a:ext>
            </a:extLst>
          </p:cNvPr>
          <p:cNvSpPr/>
          <p:nvPr/>
        </p:nvSpPr>
        <p:spPr bwMode="auto">
          <a:xfrm>
            <a:off x="-9070" y="-8321"/>
            <a:ext cx="12296271" cy="6857027"/>
          </a:xfrm>
          <a:prstGeom prst="rect">
            <a:avLst/>
          </a:prstGeom>
          <a:solidFill>
            <a:schemeClr val="bg1">
              <a:alpha val="70000"/>
            </a:schemeClr>
          </a:solidFill>
          <a:ln>
            <a:solidFill>
              <a:schemeClr val="accent4">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4" name="Rectangle 503">
            <a:extLst>
              <a:ext uri="{FF2B5EF4-FFF2-40B4-BE49-F238E27FC236}">
                <a16:creationId xmlns:a16="http://schemas.microsoft.com/office/drawing/2014/main" id="{0D6E7630-1CA2-41D9-96A4-8FD1CB5B027A}"/>
              </a:ext>
            </a:extLst>
          </p:cNvPr>
          <p:cNvSpPr/>
          <p:nvPr/>
        </p:nvSpPr>
        <p:spPr bwMode="auto">
          <a:xfrm>
            <a:off x="1" y="-8321"/>
            <a:ext cx="12296271" cy="2287434"/>
          </a:xfrm>
          <a:prstGeom prst="rect">
            <a:avLst/>
          </a:prstGeom>
          <a:gradFill flip="none" rotWithShape="1">
            <a:gsLst>
              <a:gs pos="0">
                <a:schemeClr val="bg1">
                  <a:alpha val="88000"/>
                </a:schemeClr>
              </a:gs>
              <a:gs pos="60000">
                <a:schemeClr val="bg1">
                  <a:alpha val="70000"/>
                </a:schemeClr>
              </a:gs>
              <a:gs pos="80000">
                <a:schemeClr val="bg1">
                  <a:alpha val="30000"/>
                </a:schemeClr>
              </a:gs>
              <a:gs pos="88000">
                <a:srgbClr val="FFFFFF">
                  <a:alpha val="15000"/>
                </a:srgbClr>
              </a:gs>
              <a:gs pos="97000">
                <a:schemeClr val="bg1">
                  <a:alpha val="3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19" name="Afghanistan">
            <a:extLst>
              <a:ext uri="{FF2B5EF4-FFF2-40B4-BE49-F238E27FC236}">
                <a16:creationId xmlns:a16="http://schemas.microsoft.com/office/drawing/2014/main" id="{7C4F1482-79D0-4BD0-BC6A-F0FD59E38671}"/>
              </a:ext>
            </a:extLst>
          </p:cNvPr>
          <p:cNvSpPr>
            <a:spLocks/>
          </p:cNvSpPr>
          <p:nvPr/>
        </p:nvSpPr>
        <p:spPr bwMode="auto">
          <a:xfrm>
            <a:off x="7248146" y="2781977"/>
            <a:ext cx="459328" cy="372566"/>
          </a:xfrm>
          <a:custGeom>
            <a:avLst/>
            <a:gdLst>
              <a:gd name="T0" fmla="*/ 245 w 270"/>
              <a:gd name="T1" fmla="*/ 26 h 219"/>
              <a:gd name="T2" fmla="*/ 221 w 270"/>
              <a:gd name="T3" fmla="*/ 35 h 219"/>
              <a:gd name="T4" fmla="*/ 207 w 270"/>
              <a:gd name="T5" fmla="*/ 42 h 219"/>
              <a:gd name="T6" fmla="*/ 194 w 270"/>
              <a:gd name="T7" fmla="*/ 14 h 219"/>
              <a:gd name="T8" fmla="*/ 189 w 270"/>
              <a:gd name="T9" fmla="*/ 6 h 219"/>
              <a:gd name="T10" fmla="*/ 170 w 270"/>
              <a:gd name="T11" fmla="*/ 9 h 219"/>
              <a:gd name="T12" fmla="*/ 168 w 270"/>
              <a:gd name="T13" fmla="*/ 22 h 219"/>
              <a:gd name="T14" fmla="*/ 153 w 270"/>
              <a:gd name="T15" fmla="*/ 32 h 219"/>
              <a:gd name="T16" fmla="*/ 133 w 270"/>
              <a:gd name="T17" fmla="*/ 36 h 219"/>
              <a:gd name="T18" fmla="*/ 110 w 270"/>
              <a:gd name="T19" fmla="*/ 27 h 219"/>
              <a:gd name="T20" fmla="*/ 93 w 270"/>
              <a:gd name="T21" fmla="*/ 27 h 219"/>
              <a:gd name="T22" fmla="*/ 81 w 270"/>
              <a:gd name="T23" fmla="*/ 28 h 219"/>
              <a:gd name="T24" fmla="*/ 66 w 270"/>
              <a:gd name="T25" fmla="*/ 53 h 219"/>
              <a:gd name="T26" fmla="*/ 42 w 270"/>
              <a:gd name="T27" fmla="*/ 64 h 219"/>
              <a:gd name="T28" fmla="*/ 26 w 270"/>
              <a:gd name="T29" fmla="*/ 78 h 219"/>
              <a:gd name="T30" fmla="*/ 2 w 270"/>
              <a:gd name="T31" fmla="*/ 98 h 219"/>
              <a:gd name="T32" fmla="*/ 9 w 270"/>
              <a:gd name="T33" fmla="*/ 120 h 219"/>
              <a:gd name="T34" fmla="*/ 14 w 270"/>
              <a:gd name="T35" fmla="*/ 152 h 219"/>
              <a:gd name="T36" fmla="*/ 34 w 270"/>
              <a:gd name="T37" fmla="*/ 170 h 219"/>
              <a:gd name="T38" fmla="*/ 23 w 270"/>
              <a:gd name="T39" fmla="*/ 208 h 219"/>
              <a:gd name="T40" fmla="*/ 79 w 270"/>
              <a:gd name="T41" fmla="*/ 216 h 219"/>
              <a:gd name="T42" fmla="*/ 95 w 270"/>
              <a:gd name="T43" fmla="*/ 213 h 219"/>
              <a:gd name="T44" fmla="*/ 133 w 270"/>
              <a:gd name="T45" fmla="*/ 206 h 219"/>
              <a:gd name="T46" fmla="*/ 139 w 270"/>
              <a:gd name="T47" fmla="*/ 172 h 219"/>
              <a:gd name="T48" fmla="*/ 155 w 270"/>
              <a:gd name="T49" fmla="*/ 166 h 219"/>
              <a:gd name="T50" fmla="*/ 177 w 270"/>
              <a:gd name="T51" fmla="*/ 165 h 219"/>
              <a:gd name="T52" fmla="*/ 180 w 270"/>
              <a:gd name="T53" fmla="*/ 144 h 219"/>
              <a:gd name="T54" fmla="*/ 197 w 270"/>
              <a:gd name="T55" fmla="*/ 124 h 219"/>
              <a:gd name="T56" fmla="*/ 204 w 270"/>
              <a:gd name="T57" fmla="*/ 109 h 219"/>
              <a:gd name="T58" fmla="*/ 205 w 270"/>
              <a:gd name="T59" fmla="*/ 91 h 219"/>
              <a:gd name="T60" fmla="*/ 207 w 270"/>
              <a:gd name="T61" fmla="*/ 69 h 219"/>
              <a:gd name="T62" fmla="*/ 209 w 270"/>
              <a:gd name="T63" fmla="*/ 48 h 219"/>
              <a:gd name="T64" fmla="*/ 250 w 270"/>
              <a:gd name="T65" fmla="*/ 40 h 219"/>
              <a:gd name="T66" fmla="*/ 270 w 270"/>
              <a:gd name="T67" fmla="*/ 33 h 219"/>
              <a:gd name="T68" fmla="*/ 265 w 270"/>
              <a:gd name="T69" fmla="*/ 2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0" h="219">
                <a:moveTo>
                  <a:pt x="265" y="26"/>
                </a:moveTo>
                <a:lnTo>
                  <a:pt x="245" y="26"/>
                </a:lnTo>
                <a:lnTo>
                  <a:pt x="231" y="24"/>
                </a:lnTo>
                <a:lnTo>
                  <a:pt x="221" y="35"/>
                </a:lnTo>
                <a:lnTo>
                  <a:pt x="213" y="38"/>
                </a:lnTo>
                <a:lnTo>
                  <a:pt x="207" y="42"/>
                </a:lnTo>
                <a:lnTo>
                  <a:pt x="198" y="34"/>
                </a:lnTo>
                <a:lnTo>
                  <a:pt x="194" y="14"/>
                </a:lnTo>
                <a:lnTo>
                  <a:pt x="189" y="13"/>
                </a:lnTo>
                <a:lnTo>
                  <a:pt x="189" y="6"/>
                </a:lnTo>
                <a:lnTo>
                  <a:pt x="176" y="0"/>
                </a:lnTo>
                <a:lnTo>
                  <a:pt x="170" y="9"/>
                </a:lnTo>
                <a:lnTo>
                  <a:pt x="171" y="18"/>
                </a:lnTo>
                <a:lnTo>
                  <a:pt x="168" y="22"/>
                </a:lnTo>
                <a:lnTo>
                  <a:pt x="157" y="21"/>
                </a:lnTo>
                <a:lnTo>
                  <a:pt x="153" y="32"/>
                </a:lnTo>
                <a:lnTo>
                  <a:pt x="146" y="27"/>
                </a:lnTo>
                <a:lnTo>
                  <a:pt x="133" y="36"/>
                </a:lnTo>
                <a:lnTo>
                  <a:pt x="126" y="32"/>
                </a:lnTo>
                <a:lnTo>
                  <a:pt x="110" y="27"/>
                </a:lnTo>
                <a:lnTo>
                  <a:pt x="99" y="27"/>
                </a:lnTo>
                <a:lnTo>
                  <a:pt x="93" y="27"/>
                </a:lnTo>
                <a:lnTo>
                  <a:pt x="82" y="20"/>
                </a:lnTo>
                <a:lnTo>
                  <a:pt x="81" y="28"/>
                </a:lnTo>
                <a:lnTo>
                  <a:pt x="66" y="33"/>
                </a:lnTo>
                <a:lnTo>
                  <a:pt x="66" y="53"/>
                </a:lnTo>
                <a:lnTo>
                  <a:pt x="57" y="60"/>
                </a:lnTo>
                <a:lnTo>
                  <a:pt x="42" y="64"/>
                </a:lnTo>
                <a:lnTo>
                  <a:pt x="41" y="75"/>
                </a:lnTo>
                <a:lnTo>
                  <a:pt x="26" y="78"/>
                </a:lnTo>
                <a:lnTo>
                  <a:pt x="4" y="69"/>
                </a:lnTo>
                <a:lnTo>
                  <a:pt x="2" y="98"/>
                </a:lnTo>
                <a:lnTo>
                  <a:pt x="0" y="116"/>
                </a:lnTo>
                <a:lnTo>
                  <a:pt x="9" y="120"/>
                </a:lnTo>
                <a:lnTo>
                  <a:pt x="4" y="133"/>
                </a:lnTo>
                <a:lnTo>
                  <a:pt x="14" y="152"/>
                </a:lnTo>
                <a:lnTo>
                  <a:pt x="18" y="167"/>
                </a:lnTo>
                <a:lnTo>
                  <a:pt x="34" y="170"/>
                </a:lnTo>
                <a:lnTo>
                  <a:pt x="38" y="185"/>
                </a:lnTo>
                <a:lnTo>
                  <a:pt x="23" y="208"/>
                </a:lnTo>
                <a:lnTo>
                  <a:pt x="60" y="219"/>
                </a:lnTo>
                <a:lnTo>
                  <a:pt x="79" y="216"/>
                </a:lnTo>
                <a:lnTo>
                  <a:pt x="91" y="219"/>
                </a:lnTo>
                <a:lnTo>
                  <a:pt x="95" y="213"/>
                </a:lnTo>
                <a:lnTo>
                  <a:pt x="109" y="215"/>
                </a:lnTo>
                <a:lnTo>
                  <a:pt x="133" y="206"/>
                </a:lnTo>
                <a:lnTo>
                  <a:pt x="131" y="185"/>
                </a:lnTo>
                <a:lnTo>
                  <a:pt x="139" y="172"/>
                </a:lnTo>
                <a:lnTo>
                  <a:pt x="154" y="172"/>
                </a:lnTo>
                <a:lnTo>
                  <a:pt x="155" y="166"/>
                </a:lnTo>
                <a:lnTo>
                  <a:pt x="170" y="163"/>
                </a:lnTo>
                <a:lnTo>
                  <a:pt x="177" y="165"/>
                </a:lnTo>
                <a:lnTo>
                  <a:pt x="184" y="158"/>
                </a:lnTo>
                <a:lnTo>
                  <a:pt x="180" y="144"/>
                </a:lnTo>
                <a:lnTo>
                  <a:pt x="186" y="129"/>
                </a:lnTo>
                <a:lnTo>
                  <a:pt x="197" y="124"/>
                </a:lnTo>
                <a:lnTo>
                  <a:pt x="186" y="108"/>
                </a:lnTo>
                <a:lnTo>
                  <a:pt x="204" y="109"/>
                </a:lnTo>
                <a:lnTo>
                  <a:pt x="208" y="100"/>
                </a:lnTo>
                <a:lnTo>
                  <a:pt x="205" y="91"/>
                </a:lnTo>
                <a:lnTo>
                  <a:pt x="213" y="81"/>
                </a:lnTo>
                <a:lnTo>
                  <a:pt x="207" y="69"/>
                </a:lnTo>
                <a:lnTo>
                  <a:pt x="200" y="58"/>
                </a:lnTo>
                <a:lnTo>
                  <a:pt x="209" y="48"/>
                </a:lnTo>
                <a:lnTo>
                  <a:pt x="229" y="43"/>
                </a:lnTo>
                <a:lnTo>
                  <a:pt x="250" y="40"/>
                </a:lnTo>
                <a:lnTo>
                  <a:pt x="259" y="36"/>
                </a:lnTo>
                <a:lnTo>
                  <a:pt x="270" y="33"/>
                </a:lnTo>
                <a:lnTo>
                  <a:pt x="265" y="26"/>
                </a:lnTo>
                <a:lnTo>
                  <a:pt x="265" y="2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20" name="Angola">
            <a:extLst>
              <a:ext uri="{FF2B5EF4-FFF2-40B4-BE49-F238E27FC236}">
                <a16:creationId xmlns:a16="http://schemas.microsoft.com/office/drawing/2014/main" id="{06F1277C-86E9-4EDE-93A1-63A1B23085BC}"/>
              </a:ext>
            </a:extLst>
          </p:cNvPr>
          <p:cNvSpPr>
            <a:spLocks noEditPoints="1"/>
          </p:cNvSpPr>
          <p:nvPr/>
        </p:nvSpPr>
        <p:spPr bwMode="auto">
          <a:xfrm>
            <a:off x="5609876" y="4520618"/>
            <a:ext cx="444018" cy="544389"/>
          </a:xfrm>
          <a:custGeom>
            <a:avLst/>
            <a:gdLst>
              <a:gd name="T0" fmla="*/ 40 w 261"/>
              <a:gd name="T1" fmla="*/ 33 h 320"/>
              <a:gd name="T2" fmla="*/ 26 w 261"/>
              <a:gd name="T3" fmla="*/ 35 h 320"/>
              <a:gd name="T4" fmla="*/ 15 w 261"/>
              <a:gd name="T5" fmla="*/ 44 h 320"/>
              <a:gd name="T6" fmla="*/ 30 w 261"/>
              <a:gd name="T7" fmla="*/ 75 h 320"/>
              <a:gd name="T8" fmla="*/ 29 w 261"/>
              <a:gd name="T9" fmla="*/ 107 h 320"/>
              <a:gd name="T10" fmla="*/ 33 w 261"/>
              <a:gd name="T11" fmla="*/ 126 h 320"/>
              <a:gd name="T12" fmla="*/ 45 w 261"/>
              <a:gd name="T13" fmla="*/ 149 h 320"/>
              <a:gd name="T14" fmla="*/ 43 w 261"/>
              <a:gd name="T15" fmla="*/ 180 h 320"/>
              <a:gd name="T16" fmla="*/ 25 w 261"/>
              <a:gd name="T17" fmla="*/ 206 h 320"/>
              <a:gd name="T18" fmla="*/ 12 w 261"/>
              <a:gd name="T19" fmla="*/ 237 h 320"/>
              <a:gd name="T20" fmla="*/ 4 w 261"/>
              <a:gd name="T21" fmla="*/ 270 h 320"/>
              <a:gd name="T22" fmla="*/ 2 w 261"/>
              <a:gd name="T23" fmla="*/ 305 h 320"/>
              <a:gd name="T24" fmla="*/ 25 w 261"/>
              <a:gd name="T25" fmla="*/ 297 h 320"/>
              <a:gd name="T26" fmla="*/ 50 w 261"/>
              <a:gd name="T27" fmla="*/ 308 h 320"/>
              <a:gd name="T28" fmla="*/ 138 w 261"/>
              <a:gd name="T29" fmla="*/ 305 h 320"/>
              <a:gd name="T30" fmla="*/ 201 w 261"/>
              <a:gd name="T31" fmla="*/ 320 h 320"/>
              <a:gd name="T32" fmla="*/ 227 w 261"/>
              <a:gd name="T33" fmla="*/ 296 h 320"/>
              <a:gd name="T34" fmla="*/ 216 w 261"/>
              <a:gd name="T35" fmla="*/ 201 h 320"/>
              <a:gd name="T36" fmla="*/ 258 w 261"/>
              <a:gd name="T37" fmla="*/ 192 h 320"/>
              <a:gd name="T38" fmla="*/ 258 w 261"/>
              <a:gd name="T39" fmla="*/ 173 h 320"/>
              <a:gd name="T40" fmla="*/ 259 w 261"/>
              <a:gd name="T41" fmla="*/ 154 h 320"/>
              <a:gd name="T42" fmla="*/ 236 w 261"/>
              <a:gd name="T43" fmla="*/ 156 h 320"/>
              <a:gd name="T44" fmla="*/ 222 w 261"/>
              <a:gd name="T45" fmla="*/ 158 h 320"/>
              <a:gd name="T46" fmla="*/ 216 w 261"/>
              <a:gd name="T47" fmla="*/ 120 h 320"/>
              <a:gd name="T48" fmla="*/ 219 w 261"/>
              <a:gd name="T49" fmla="*/ 91 h 320"/>
              <a:gd name="T50" fmla="*/ 214 w 261"/>
              <a:gd name="T51" fmla="*/ 67 h 320"/>
              <a:gd name="T52" fmla="*/ 191 w 261"/>
              <a:gd name="T53" fmla="*/ 59 h 320"/>
              <a:gd name="T54" fmla="*/ 179 w 261"/>
              <a:gd name="T55" fmla="*/ 63 h 320"/>
              <a:gd name="T56" fmla="*/ 160 w 261"/>
              <a:gd name="T57" fmla="*/ 78 h 320"/>
              <a:gd name="T58" fmla="*/ 146 w 261"/>
              <a:gd name="T59" fmla="*/ 80 h 320"/>
              <a:gd name="T60" fmla="*/ 124 w 261"/>
              <a:gd name="T61" fmla="*/ 86 h 320"/>
              <a:gd name="T62" fmla="*/ 112 w 261"/>
              <a:gd name="T63" fmla="*/ 65 h 320"/>
              <a:gd name="T64" fmla="*/ 101 w 261"/>
              <a:gd name="T65" fmla="*/ 33 h 320"/>
              <a:gd name="T66" fmla="*/ 20 w 261"/>
              <a:gd name="T67" fmla="*/ 29 h 320"/>
              <a:gd name="T68" fmla="*/ 24 w 261"/>
              <a:gd name="T69" fmla="*/ 13 h 320"/>
              <a:gd name="T70" fmla="*/ 24 w 261"/>
              <a:gd name="T71" fmla="*/ 0 h 320"/>
              <a:gd name="T72" fmla="*/ 9 w 261"/>
              <a:gd name="T73" fmla="*/ 14 h 320"/>
              <a:gd name="T74" fmla="*/ 20 w 261"/>
              <a:gd name="T75" fmla="*/ 2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1" h="320">
                <a:moveTo>
                  <a:pt x="101" y="33"/>
                </a:moveTo>
                <a:lnTo>
                  <a:pt x="40" y="33"/>
                </a:lnTo>
                <a:lnTo>
                  <a:pt x="32" y="36"/>
                </a:lnTo>
                <a:lnTo>
                  <a:pt x="26" y="35"/>
                </a:lnTo>
                <a:lnTo>
                  <a:pt x="17" y="39"/>
                </a:lnTo>
                <a:lnTo>
                  <a:pt x="15" y="44"/>
                </a:lnTo>
                <a:lnTo>
                  <a:pt x="26" y="59"/>
                </a:lnTo>
                <a:lnTo>
                  <a:pt x="30" y="75"/>
                </a:lnTo>
                <a:lnTo>
                  <a:pt x="36" y="97"/>
                </a:lnTo>
                <a:lnTo>
                  <a:pt x="29" y="107"/>
                </a:lnTo>
                <a:lnTo>
                  <a:pt x="28" y="112"/>
                </a:lnTo>
                <a:lnTo>
                  <a:pt x="33" y="126"/>
                </a:lnTo>
                <a:lnTo>
                  <a:pt x="39" y="141"/>
                </a:lnTo>
                <a:lnTo>
                  <a:pt x="45" y="149"/>
                </a:lnTo>
                <a:lnTo>
                  <a:pt x="46" y="162"/>
                </a:lnTo>
                <a:lnTo>
                  <a:pt x="43" y="180"/>
                </a:lnTo>
                <a:lnTo>
                  <a:pt x="37" y="190"/>
                </a:lnTo>
                <a:lnTo>
                  <a:pt x="25" y="206"/>
                </a:lnTo>
                <a:lnTo>
                  <a:pt x="20" y="216"/>
                </a:lnTo>
                <a:lnTo>
                  <a:pt x="12" y="237"/>
                </a:lnTo>
                <a:lnTo>
                  <a:pt x="12" y="247"/>
                </a:lnTo>
                <a:lnTo>
                  <a:pt x="4" y="270"/>
                </a:lnTo>
                <a:lnTo>
                  <a:pt x="0" y="290"/>
                </a:lnTo>
                <a:lnTo>
                  <a:pt x="2" y="305"/>
                </a:lnTo>
                <a:lnTo>
                  <a:pt x="12" y="300"/>
                </a:lnTo>
                <a:lnTo>
                  <a:pt x="25" y="297"/>
                </a:lnTo>
                <a:lnTo>
                  <a:pt x="39" y="297"/>
                </a:lnTo>
                <a:lnTo>
                  <a:pt x="50" y="308"/>
                </a:lnTo>
                <a:lnTo>
                  <a:pt x="54" y="306"/>
                </a:lnTo>
                <a:lnTo>
                  <a:pt x="138" y="305"/>
                </a:lnTo>
                <a:lnTo>
                  <a:pt x="152" y="316"/>
                </a:lnTo>
                <a:lnTo>
                  <a:pt x="201" y="320"/>
                </a:lnTo>
                <a:lnTo>
                  <a:pt x="240" y="311"/>
                </a:lnTo>
                <a:lnTo>
                  <a:pt x="227" y="296"/>
                </a:lnTo>
                <a:lnTo>
                  <a:pt x="213" y="276"/>
                </a:lnTo>
                <a:lnTo>
                  <a:pt x="216" y="201"/>
                </a:lnTo>
                <a:lnTo>
                  <a:pt x="260" y="201"/>
                </a:lnTo>
                <a:lnTo>
                  <a:pt x="258" y="192"/>
                </a:lnTo>
                <a:lnTo>
                  <a:pt x="261" y="184"/>
                </a:lnTo>
                <a:lnTo>
                  <a:pt x="258" y="173"/>
                </a:lnTo>
                <a:lnTo>
                  <a:pt x="261" y="161"/>
                </a:lnTo>
                <a:lnTo>
                  <a:pt x="259" y="154"/>
                </a:lnTo>
                <a:lnTo>
                  <a:pt x="249" y="152"/>
                </a:lnTo>
                <a:lnTo>
                  <a:pt x="236" y="156"/>
                </a:lnTo>
                <a:lnTo>
                  <a:pt x="227" y="155"/>
                </a:lnTo>
                <a:lnTo>
                  <a:pt x="222" y="158"/>
                </a:lnTo>
                <a:lnTo>
                  <a:pt x="223" y="129"/>
                </a:lnTo>
                <a:lnTo>
                  <a:pt x="216" y="120"/>
                </a:lnTo>
                <a:lnTo>
                  <a:pt x="215" y="105"/>
                </a:lnTo>
                <a:lnTo>
                  <a:pt x="219" y="91"/>
                </a:lnTo>
                <a:lnTo>
                  <a:pt x="214" y="82"/>
                </a:lnTo>
                <a:lnTo>
                  <a:pt x="214" y="67"/>
                </a:lnTo>
                <a:lnTo>
                  <a:pt x="189" y="67"/>
                </a:lnTo>
                <a:lnTo>
                  <a:pt x="191" y="59"/>
                </a:lnTo>
                <a:lnTo>
                  <a:pt x="180" y="59"/>
                </a:lnTo>
                <a:lnTo>
                  <a:pt x="179" y="63"/>
                </a:lnTo>
                <a:lnTo>
                  <a:pt x="166" y="64"/>
                </a:lnTo>
                <a:lnTo>
                  <a:pt x="160" y="78"/>
                </a:lnTo>
                <a:lnTo>
                  <a:pt x="157" y="84"/>
                </a:lnTo>
                <a:lnTo>
                  <a:pt x="146" y="80"/>
                </a:lnTo>
                <a:lnTo>
                  <a:pt x="139" y="84"/>
                </a:lnTo>
                <a:lnTo>
                  <a:pt x="124" y="86"/>
                </a:lnTo>
                <a:lnTo>
                  <a:pt x="117" y="74"/>
                </a:lnTo>
                <a:lnTo>
                  <a:pt x="112" y="65"/>
                </a:lnTo>
                <a:lnTo>
                  <a:pt x="106" y="51"/>
                </a:lnTo>
                <a:lnTo>
                  <a:pt x="101" y="33"/>
                </a:lnTo>
                <a:lnTo>
                  <a:pt x="101" y="33"/>
                </a:lnTo>
                <a:close/>
                <a:moveTo>
                  <a:pt x="20" y="29"/>
                </a:moveTo>
                <a:lnTo>
                  <a:pt x="21" y="18"/>
                </a:lnTo>
                <a:lnTo>
                  <a:pt x="24" y="13"/>
                </a:lnTo>
                <a:lnTo>
                  <a:pt x="31" y="7"/>
                </a:lnTo>
                <a:lnTo>
                  <a:pt x="24" y="0"/>
                </a:lnTo>
                <a:lnTo>
                  <a:pt x="17" y="4"/>
                </a:lnTo>
                <a:lnTo>
                  <a:pt x="9" y="14"/>
                </a:lnTo>
                <a:lnTo>
                  <a:pt x="14" y="32"/>
                </a:lnTo>
                <a:lnTo>
                  <a:pt x="20" y="29"/>
                </a:lnTo>
                <a:lnTo>
                  <a:pt x="20" y="2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21" name="Albania">
            <a:extLst>
              <a:ext uri="{FF2B5EF4-FFF2-40B4-BE49-F238E27FC236}">
                <a16:creationId xmlns:a16="http://schemas.microsoft.com/office/drawing/2014/main" id="{D4CC925A-A0AA-4EBE-8715-F051F304E819}"/>
              </a:ext>
            </a:extLst>
          </p:cNvPr>
          <p:cNvSpPr>
            <a:spLocks/>
          </p:cNvSpPr>
          <p:nvPr/>
        </p:nvSpPr>
        <p:spPr bwMode="auto">
          <a:xfrm>
            <a:off x="5827631" y="2613556"/>
            <a:ext cx="61244" cy="120787"/>
          </a:xfrm>
          <a:custGeom>
            <a:avLst/>
            <a:gdLst>
              <a:gd name="T0" fmla="*/ 8 w 36"/>
              <a:gd name="T1" fmla="*/ 0 h 71"/>
              <a:gd name="T2" fmla="*/ 0 w 36"/>
              <a:gd name="T3" fmla="*/ 12 h 71"/>
              <a:gd name="T4" fmla="*/ 2 w 36"/>
              <a:gd name="T5" fmla="*/ 19 h 71"/>
              <a:gd name="T6" fmla="*/ 2 w 36"/>
              <a:gd name="T7" fmla="*/ 19 h 71"/>
              <a:gd name="T8" fmla="*/ 6 w 36"/>
              <a:gd name="T9" fmla="*/ 23 h 71"/>
              <a:gd name="T10" fmla="*/ 4 w 36"/>
              <a:gd name="T11" fmla="*/ 30 h 71"/>
              <a:gd name="T12" fmla="*/ 4 w 36"/>
              <a:gd name="T13" fmla="*/ 46 h 71"/>
              <a:gd name="T14" fmla="*/ 6 w 36"/>
              <a:gd name="T15" fmla="*/ 57 h 71"/>
              <a:gd name="T16" fmla="*/ 17 w 36"/>
              <a:gd name="T17" fmla="*/ 65 h 71"/>
              <a:gd name="T18" fmla="*/ 18 w 36"/>
              <a:gd name="T19" fmla="*/ 70 h 71"/>
              <a:gd name="T20" fmla="*/ 22 w 36"/>
              <a:gd name="T21" fmla="*/ 71 h 71"/>
              <a:gd name="T22" fmla="*/ 30 w 36"/>
              <a:gd name="T23" fmla="*/ 60 h 71"/>
              <a:gd name="T24" fmla="*/ 30 w 36"/>
              <a:gd name="T25" fmla="*/ 53 h 71"/>
              <a:gd name="T26" fmla="*/ 36 w 36"/>
              <a:gd name="T27" fmla="*/ 49 h 71"/>
              <a:gd name="T28" fmla="*/ 36 w 36"/>
              <a:gd name="T29" fmla="*/ 43 h 71"/>
              <a:gd name="T30" fmla="*/ 27 w 36"/>
              <a:gd name="T31" fmla="*/ 38 h 71"/>
              <a:gd name="T32" fmla="*/ 25 w 36"/>
              <a:gd name="T33" fmla="*/ 27 h 71"/>
              <a:gd name="T34" fmla="*/ 25 w 36"/>
              <a:gd name="T35" fmla="*/ 20 h 71"/>
              <a:gd name="T36" fmla="*/ 25 w 36"/>
              <a:gd name="T37" fmla="*/ 20 h 71"/>
              <a:gd name="T38" fmla="*/ 24 w 36"/>
              <a:gd name="T39" fmla="*/ 12 h 71"/>
              <a:gd name="T40" fmla="*/ 19 w 36"/>
              <a:gd name="T41" fmla="*/ 9 h 71"/>
              <a:gd name="T42" fmla="*/ 14 w 36"/>
              <a:gd name="T43" fmla="*/ 3 h 71"/>
              <a:gd name="T44" fmla="*/ 10 w 36"/>
              <a:gd name="T45" fmla="*/ 5 h 71"/>
              <a:gd name="T46" fmla="*/ 8 w 36"/>
              <a:gd name="T47" fmla="*/ 0 h 71"/>
              <a:gd name="T48" fmla="*/ 8 w 36"/>
              <a:gd name="T4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 h="71">
                <a:moveTo>
                  <a:pt x="8" y="0"/>
                </a:moveTo>
                <a:lnTo>
                  <a:pt x="0" y="12"/>
                </a:lnTo>
                <a:lnTo>
                  <a:pt x="2" y="19"/>
                </a:lnTo>
                <a:lnTo>
                  <a:pt x="2" y="19"/>
                </a:lnTo>
                <a:lnTo>
                  <a:pt x="6" y="23"/>
                </a:lnTo>
                <a:lnTo>
                  <a:pt x="4" y="30"/>
                </a:lnTo>
                <a:lnTo>
                  <a:pt x="4" y="46"/>
                </a:lnTo>
                <a:lnTo>
                  <a:pt x="6" y="57"/>
                </a:lnTo>
                <a:lnTo>
                  <a:pt x="17" y="65"/>
                </a:lnTo>
                <a:lnTo>
                  <a:pt x="18" y="70"/>
                </a:lnTo>
                <a:lnTo>
                  <a:pt x="22" y="71"/>
                </a:lnTo>
                <a:lnTo>
                  <a:pt x="30" y="60"/>
                </a:lnTo>
                <a:lnTo>
                  <a:pt x="30" y="53"/>
                </a:lnTo>
                <a:lnTo>
                  <a:pt x="36" y="49"/>
                </a:lnTo>
                <a:lnTo>
                  <a:pt x="36" y="43"/>
                </a:lnTo>
                <a:lnTo>
                  <a:pt x="27" y="38"/>
                </a:lnTo>
                <a:lnTo>
                  <a:pt x="25" y="27"/>
                </a:lnTo>
                <a:lnTo>
                  <a:pt x="25" y="20"/>
                </a:lnTo>
                <a:lnTo>
                  <a:pt x="25" y="20"/>
                </a:lnTo>
                <a:lnTo>
                  <a:pt x="24" y="12"/>
                </a:lnTo>
                <a:lnTo>
                  <a:pt x="19" y="9"/>
                </a:lnTo>
                <a:lnTo>
                  <a:pt x="14" y="3"/>
                </a:lnTo>
                <a:lnTo>
                  <a:pt x="10" y="5"/>
                </a:lnTo>
                <a:lnTo>
                  <a:pt x="8" y="0"/>
                </a:lnTo>
                <a:lnTo>
                  <a:pt x="8"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22" name="United Arab Emirates">
            <a:extLst>
              <a:ext uri="{FF2B5EF4-FFF2-40B4-BE49-F238E27FC236}">
                <a16:creationId xmlns:a16="http://schemas.microsoft.com/office/drawing/2014/main" id="{8D02057B-CFAF-4AD0-AAD1-65F49883BEBA}"/>
              </a:ext>
            </a:extLst>
          </p:cNvPr>
          <p:cNvSpPr>
            <a:spLocks/>
          </p:cNvSpPr>
          <p:nvPr/>
        </p:nvSpPr>
        <p:spPr bwMode="auto">
          <a:xfrm>
            <a:off x="6994664" y="3287236"/>
            <a:ext cx="166719" cy="142901"/>
          </a:xfrm>
          <a:custGeom>
            <a:avLst/>
            <a:gdLst>
              <a:gd name="T0" fmla="*/ 93 w 98"/>
              <a:gd name="T1" fmla="*/ 8 h 84"/>
              <a:gd name="T2" fmla="*/ 87 w 98"/>
              <a:gd name="T3" fmla="*/ 0 h 84"/>
              <a:gd name="T4" fmla="*/ 76 w 98"/>
              <a:gd name="T5" fmla="*/ 14 h 84"/>
              <a:gd name="T6" fmla="*/ 63 w 98"/>
              <a:gd name="T7" fmla="*/ 30 h 84"/>
              <a:gd name="T8" fmla="*/ 50 w 98"/>
              <a:gd name="T9" fmla="*/ 46 h 84"/>
              <a:gd name="T10" fmla="*/ 38 w 98"/>
              <a:gd name="T11" fmla="*/ 45 h 84"/>
              <a:gd name="T12" fmla="*/ 21 w 98"/>
              <a:gd name="T13" fmla="*/ 44 h 84"/>
              <a:gd name="T14" fmla="*/ 5 w 98"/>
              <a:gd name="T15" fmla="*/ 48 h 84"/>
              <a:gd name="T16" fmla="*/ 4 w 98"/>
              <a:gd name="T17" fmla="*/ 41 h 84"/>
              <a:gd name="T18" fmla="*/ 0 w 98"/>
              <a:gd name="T19" fmla="*/ 43 h 84"/>
              <a:gd name="T20" fmla="*/ 1 w 98"/>
              <a:gd name="T21" fmla="*/ 49 h 84"/>
              <a:gd name="T22" fmla="*/ 12 w 98"/>
              <a:gd name="T23" fmla="*/ 72 h 84"/>
              <a:gd name="T24" fmla="*/ 74 w 98"/>
              <a:gd name="T25" fmla="*/ 84 h 84"/>
              <a:gd name="T26" fmla="*/ 78 w 98"/>
              <a:gd name="T27" fmla="*/ 80 h 84"/>
              <a:gd name="T28" fmla="*/ 78 w 98"/>
              <a:gd name="T29" fmla="*/ 69 h 84"/>
              <a:gd name="T30" fmla="*/ 83 w 98"/>
              <a:gd name="T31" fmla="*/ 60 h 84"/>
              <a:gd name="T32" fmla="*/ 82 w 98"/>
              <a:gd name="T33" fmla="*/ 51 h 84"/>
              <a:gd name="T34" fmla="*/ 91 w 98"/>
              <a:gd name="T35" fmla="*/ 45 h 84"/>
              <a:gd name="T36" fmla="*/ 86 w 98"/>
              <a:gd name="T37" fmla="*/ 42 h 84"/>
              <a:gd name="T38" fmla="*/ 87 w 98"/>
              <a:gd name="T39" fmla="*/ 26 h 84"/>
              <a:gd name="T40" fmla="*/ 98 w 98"/>
              <a:gd name="T41" fmla="*/ 26 h 84"/>
              <a:gd name="T42" fmla="*/ 93 w 98"/>
              <a:gd name="T43" fmla="*/ 8 h 84"/>
              <a:gd name="T44" fmla="*/ 93 w 98"/>
              <a:gd name="T45" fmla="*/ 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8" h="84">
                <a:moveTo>
                  <a:pt x="93" y="8"/>
                </a:moveTo>
                <a:lnTo>
                  <a:pt x="87" y="0"/>
                </a:lnTo>
                <a:lnTo>
                  <a:pt x="76" y="14"/>
                </a:lnTo>
                <a:lnTo>
                  <a:pt x="63" y="30"/>
                </a:lnTo>
                <a:lnTo>
                  <a:pt x="50" y="46"/>
                </a:lnTo>
                <a:lnTo>
                  <a:pt x="38" y="45"/>
                </a:lnTo>
                <a:lnTo>
                  <a:pt x="21" y="44"/>
                </a:lnTo>
                <a:lnTo>
                  <a:pt x="5" y="48"/>
                </a:lnTo>
                <a:lnTo>
                  <a:pt x="4" y="41"/>
                </a:lnTo>
                <a:lnTo>
                  <a:pt x="0" y="43"/>
                </a:lnTo>
                <a:lnTo>
                  <a:pt x="1" y="49"/>
                </a:lnTo>
                <a:lnTo>
                  <a:pt x="12" y="72"/>
                </a:lnTo>
                <a:lnTo>
                  <a:pt x="74" y="84"/>
                </a:lnTo>
                <a:lnTo>
                  <a:pt x="78" y="80"/>
                </a:lnTo>
                <a:lnTo>
                  <a:pt x="78" y="69"/>
                </a:lnTo>
                <a:lnTo>
                  <a:pt x="83" y="60"/>
                </a:lnTo>
                <a:lnTo>
                  <a:pt x="82" y="51"/>
                </a:lnTo>
                <a:lnTo>
                  <a:pt x="91" y="45"/>
                </a:lnTo>
                <a:lnTo>
                  <a:pt x="86" y="42"/>
                </a:lnTo>
                <a:lnTo>
                  <a:pt x="87" y="26"/>
                </a:lnTo>
                <a:lnTo>
                  <a:pt x="98" y="26"/>
                </a:lnTo>
                <a:lnTo>
                  <a:pt x="93" y="8"/>
                </a:lnTo>
                <a:lnTo>
                  <a:pt x="93" y="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23" name="Argentina">
            <a:extLst>
              <a:ext uri="{FF2B5EF4-FFF2-40B4-BE49-F238E27FC236}">
                <a16:creationId xmlns:a16="http://schemas.microsoft.com/office/drawing/2014/main" id="{B74CF115-FFDF-4190-8BA7-92278B550641}"/>
              </a:ext>
            </a:extLst>
          </p:cNvPr>
          <p:cNvSpPr>
            <a:spLocks noEditPoints="1"/>
          </p:cNvSpPr>
          <p:nvPr/>
        </p:nvSpPr>
        <p:spPr bwMode="auto">
          <a:xfrm>
            <a:off x="2792665" y="5221519"/>
            <a:ext cx="552894" cy="1335454"/>
          </a:xfrm>
          <a:custGeom>
            <a:avLst/>
            <a:gdLst>
              <a:gd name="T0" fmla="*/ 273 w 325"/>
              <a:gd name="T1" fmla="*/ 773 h 785"/>
              <a:gd name="T2" fmla="*/ 217 w 325"/>
              <a:gd name="T3" fmla="*/ 753 h 785"/>
              <a:gd name="T4" fmla="*/ 190 w 325"/>
              <a:gd name="T5" fmla="*/ 726 h 785"/>
              <a:gd name="T6" fmla="*/ 230 w 325"/>
              <a:gd name="T7" fmla="*/ 776 h 785"/>
              <a:gd name="T8" fmla="*/ 253 w 325"/>
              <a:gd name="T9" fmla="*/ 785 h 785"/>
              <a:gd name="T10" fmla="*/ 269 w 325"/>
              <a:gd name="T11" fmla="*/ 784 h 785"/>
              <a:gd name="T12" fmla="*/ 53 w 325"/>
              <a:gd name="T13" fmla="*/ 0 h 785"/>
              <a:gd name="T14" fmla="*/ 42 w 325"/>
              <a:gd name="T15" fmla="*/ 29 h 785"/>
              <a:gd name="T16" fmla="*/ 17 w 325"/>
              <a:gd name="T17" fmla="*/ 65 h 785"/>
              <a:gd name="T18" fmla="*/ 20 w 325"/>
              <a:gd name="T19" fmla="*/ 112 h 785"/>
              <a:gd name="T20" fmla="*/ 15 w 325"/>
              <a:gd name="T21" fmla="*/ 136 h 785"/>
              <a:gd name="T22" fmla="*/ 2 w 325"/>
              <a:gd name="T23" fmla="*/ 180 h 785"/>
              <a:gd name="T24" fmla="*/ 0 w 325"/>
              <a:gd name="T25" fmla="*/ 227 h 785"/>
              <a:gd name="T26" fmla="*/ 24 w 325"/>
              <a:gd name="T27" fmla="*/ 272 h 785"/>
              <a:gd name="T28" fmla="*/ 23 w 325"/>
              <a:gd name="T29" fmla="*/ 318 h 785"/>
              <a:gd name="T30" fmla="*/ 18 w 325"/>
              <a:gd name="T31" fmla="*/ 353 h 785"/>
              <a:gd name="T32" fmla="*/ 35 w 325"/>
              <a:gd name="T33" fmla="*/ 399 h 785"/>
              <a:gd name="T34" fmla="*/ 27 w 325"/>
              <a:gd name="T35" fmla="*/ 430 h 785"/>
              <a:gd name="T36" fmla="*/ 42 w 325"/>
              <a:gd name="T37" fmla="*/ 482 h 785"/>
              <a:gd name="T38" fmla="*/ 49 w 325"/>
              <a:gd name="T39" fmla="*/ 513 h 785"/>
              <a:gd name="T40" fmla="*/ 59 w 325"/>
              <a:gd name="T41" fmla="*/ 531 h 785"/>
              <a:gd name="T42" fmla="*/ 74 w 325"/>
              <a:gd name="T43" fmla="*/ 545 h 785"/>
              <a:gd name="T44" fmla="*/ 74 w 325"/>
              <a:gd name="T45" fmla="*/ 563 h 785"/>
              <a:gd name="T46" fmla="*/ 76 w 325"/>
              <a:gd name="T47" fmla="*/ 613 h 785"/>
              <a:gd name="T48" fmla="*/ 81 w 325"/>
              <a:gd name="T49" fmla="*/ 639 h 785"/>
              <a:gd name="T50" fmla="*/ 83 w 325"/>
              <a:gd name="T51" fmla="*/ 675 h 785"/>
              <a:gd name="T52" fmla="*/ 105 w 325"/>
              <a:gd name="T53" fmla="*/ 681 h 785"/>
              <a:gd name="T54" fmla="*/ 124 w 325"/>
              <a:gd name="T55" fmla="*/ 712 h 785"/>
              <a:gd name="T56" fmla="*/ 187 w 325"/>
              <a:gd name="T57" fmla="*/ 718 h 785"/>
              <a:gd name="T58" fmla="*/ 177 w 325"/>
              <a:gd name="T59" fmla="*/ 706 h 785"/>
              <a:gd name="T60" fmla="*/ 165 w 325"/>
              <a:gd name="T61" fmla="*/ 672 h 785"/>
              <a:gd name="T62" fmla="*/ 180 w 325"/>
              <a:gd name="T63" fmla="*/ 635 h 785"/>
              <a:gd name="T64" fmla="*/ 197 w 325"/>
              <a:gd name="T65" fmla="*/ 602 h 785"/>
              <a:gd name="T66" fmla="*/ 154 w 325"/>
              <a:gd name="T67" fmla="*/ 579 h 785"/>
              <a:gd name="T68" fmla="*/ 164 w 325"/>
              <a:gd name="T69" fmla="*/ 550 h 785"/>
              <a:gd name="T70" fmla="*/ 183 w 325"/>
              <a:gd name="T71" fmla="*/ 538 h 785"/>
              <a:gd name="T72" fmla="*/ 190 w 325"/>
              <a:gd name="T73" fmla="*/ 501 h 785"/>
              <a:gd name="T74" fmla="*/ 195 w 325"/>
              <a:gd name="T75" fmla="*/ 481 h 785"/>
              <a:gd name="T76" fmla="*/ 172 w 325"/>
              <a:gd name="T77" fmla="*/ 482 h 785"/>
              <a:gd name="T78" fmla="*/ 168 w 325"/>
              <a:gd name="T79" fmla="*/ 452 h 785"/>
              <a:gd name="T80" fmla="*/ 208 w 325"/>
              <a:gd name="T81" fmla="*/ 458 h 785"/>
              <a:gd name="T82" fmla="*/ 210 w 325"/>
              <a:gd name="T83" fmla="*/ 438 h 785"/>
              <a:gd name="T84" fmla="*/ 203 w 325"/>
              <a:gd name="T85" fmla="*/ 406 h 785"/>
              <a:gd name="T86" fmla="*/ 262 w 325"/>
              <a:gd name="T87" fmla="*/ 404 h 785"/>
              <a:gd name="T88" fmla="*/ 301 w 325"/>
              <a:gd name="T89" fmla="*/ 360 h 785"/>
              <a:gd name="T90" fmla="*/ 285 w 325"/>
              <a:gd name="T91" fmla="*/ 338 h 785"/>
              <a:gd name="T92" fmla="*/ 255 w 325"/>
              <a:gd name="T93" fmla="*/ 300 h 785"/>
              <a:gd name="T94" fmla="*/ 253 w 325"/>
              <a:gd name="T95" fmla="*/ 272 h 785"/>
              <a:gd name="T96" fmla="*/ 252 w 325"/>
              <a:gd name="T97" fmla="*/ 243 h 785"/>
              <a:gd name="T98" fmla="*/ 255 w 325"/>
              <a:gd name="T99" fmla="*/ 200 h 785"/>
              <a:gd name="T100" fmla="*/ 297 w 325"/>
              <a:gd name="T101" fmla="*/ 144 h 785"/>
              <a:gd name="T102" fmla="*/ 325 w 325"/>
              <a:gd name="T103" fmla="*/ 122 h 785"/>
              <a:gd name="T104" fmla="*/ 311 w 325"/>
              <a:gd name="T105" fmla="*/ 89 h 785"/>
              <a:gd name="T106" fmla="*/ 301 w 325"/>
              <a:gd name="T107" fmla="*/ 114 h 785"/>
              <a:gd name="T108" fmla="*/ 269 w 325"/>
              <a:gd name="T109" fmla="*/ 137 h 785"/>
              <a:gd name="T110" fmla="*/ 224 w 325"/>
              <a:gd name="T111" fmla="*/ 127 h 785"/>
              <a:gd name="T112" fmla="*/ 236 w 325"/>
              <a:gd name="T113" fmla="*/ 80 h 785"/>
              <a:gd name="T114" fmla="*/ 187 w 325"/>
              <a:gd name="T115" fmla="*/ 53 h 785"/>
              <a:gd name="T116" fmla="*/ 128 w 325"/>
              <a:gd name="T117" fmla="*/ 11 h 785"/>
              <a:gd name="T118" fmla="*/ 101 w 325"/>
              <a:gd name="T119" fmla="*/ 4 h 785"/>
              <a:gd name="T120" fmla="*/ 81 w 325"/>
              <a:gd name="T121" fmla="*/ 6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5" h="785">
                <a:moveTo>
                  <a:pt x="269" y="784"/>
                </a:moveTo>
                <a:lnTo>
                  <a:pt x="273" y="773"/>
                </a:lnTo>
                <a:lnTo>
                  <a:pt x="246" y="767"/>
                </a:lnTo>
                <a:lnTo>
                  <a:pt x="217" y="753"/>
                </a:lnTo>
                <a:lnTo>
                  <a:pt x="201" y="736"/>
                </a:lnTo>
                <a:lnTo>
                  <a:pt x="190" y="726"/>
                </a:lnTo>
                <a:lnTo>
                  <a:pt x="211" y="776"/>
                </a:lnTo>
                <a:lnTo>
                  <a:pt x="230" y="776"/>
                </a:lnTo>
                <a:lnTo>
                  <a:pt x="241" y="777"/>
                </a:lnTo>
                <a:lnTo>
                  <a:pt x="253" y="785"/>
                </a:lnTo>
                <a:lnTo>
                  <a:pt x="269" y="784"/>
                </a:lnTo>
                <a:lnTo>
                  <a:pt x="269" y="784"/>
                </a:lnTo>
                <a:close/>
                <a:moveTo>
                  <a:pt x="81" y="6"/>
                </a:moveTo>
                <a:lnTo>
                  <a:pt x="53" y="0"/>
                </a:lnTo>
                <a:lnTo>
                  <a:pt x="38" y="22"/>
                </a:lnTo>
                <a:lnTo>
                  <a:pt x="42" y="29"/>
                </a:lnTo>
                <a:lnTo>
                  <a:pt x="37" y="53"/>
                </a:lnTo>
                <a:lnTo>
                  <a:pt x="17" y="65"/>
                </a:lnTo>
                <a:lnTo>
                  <a:pt x="22" y="104"/>
                </a:lnTo>
                <a:lnTo>
                  <a:pt x="20" y="112"/>
                </a:lnTo>
                <a:lnTo>
                  <a:pt x="27" y="121"/>
                </a:lnTo>
                <a:lnTo>
                  <a:pt x="15" y="136"/>
                </a:lnTo>
                <a:lnTo>
                  <a:pt x="5" y="158"/>
                </a:lnTo>
                <a:lnTo>
                  <a:pt x="2" y="180"/>
                </a:lnTo>
                <a:lnTo>
                  <a:pt x="8" y="203"/>
                </a:lnTo>
                <a:lnTo>
                  <a:pt x="0" y="227"/>
                </a:lnTo>
                <a:lnTo>
                  <a:pt x="19" y="268"/>
                </a:lnTo>
                <a:lnTo>
                  <a:pt x="24" y="272"/>
                </a:lnTo>
                <a:lnTo>
                  <a:pt x="29" y="295"/>
                </a:lnTo>
                <a:lnTo>
                  <a:pt x="23" y="318"/>
                </a:lnTo>
                <a:lnTo>
                  <a:pt x="29" y="338"/>
                </a:lnTo>
                <a:lnTo>
                  <a:pt x="18" y="353"/>
                </a:lnTo>
                <a:lnTo>
                  <a:pt x="23" y="376"/>
                </a:lnTo>
                <a:lnTo>
                  <a:pt x="35" y="399"/>
                </a:lnTo>
                <a:lnTo>
                  <a:pt x="26" y="409"/>
                </a:lnTo>
                <a:lnTo>
                  <a:pt x="27" y="430"/>
                </a:lnTo>
                <a:lnTo>
                  <a:pt x="30" y="453"/>
                </a:lnTo>
                <a:lnTo>
                  <a:pt x="42" y="482"/>
                </a:lnTo>
                <a:lnTo>
                  <a:pt x="36" y="486"/>
                </a:lnTo>
                <a:lnTo>
                  <a:pt x="49" y="513"/>
                </a:lnTo>
                <a:lnTo>
                  <a:pt x="62" y="521"/>
                </a:lnTo>
                <a:lnTo>
                  <a:pt x="59" y="531"/>
                </a:lnTo>
                <a:lnTo>
                  <a:pt x="69" y="536"/>
                </a:lnTo>
                <a:lnTo>
                  <a:pt x="74" y="545"/>
                </a:lnTo>
                <a:lnTo>
                  <a:pt x="67" y="549"/>
                </a:lnTo>
                <a:lnTo>
                  <a:pt x="74" y="563"/>
                </a:lnTo>
                <a:lnTo>
                  <a:pt x="78" y="593"/>
                </a:lnTo>
                <a:lnTo>
                  <a:pt x="76" y="613"/>
                </a:lnTo>
                <a:lnTo>
                  <a:pt x="82" y="625"/>
                </a:lnTo>
                <a:lnTo>
                  <a:pt x="81" y="639"/>
                </a:lnTo>
                <a:lnTo>
                  <a:pt x="72" y="649"/>
                </a:lnTo>
                <a:lnTo>
                  <a:pt x="83" y="675"/>
                </a:lnTo>
                <a:lnTo>
                  <a:pt x="92" y="682"/>
                </a:lnTo>
                <a:lnTo>
                  <a:pt x="105" y="681"/>
                </a:lnTo>
                <a:lnTo>
                  <a:pt x="111" y="698"/>
                </a:lnTo>
                <a:lnTo>
                  <a:pt x="124" y="712"/>
                </a:lnTo>
                <a:lnTo>
                  <a:pt x="169" y="715"/>
                </a:lnTo>
                <a:lnTo>
                  <a:pt x="187" y="718"/>
                </a:lnTo>
                <a:lnTo>
                  <a:pt x="195" y="719"/>
                </a:lnTo>
                <a:lnTo>
                  <a:pt x="177" y="706"/>
                </a:lnTo>
                <a:lnTo>
                  <a:pt x="162" y="682"/>
                </a:lnTo>
                <a:lnTo>
                  <a:pt x="165" y="672"/>
                </a:lnTo>
                <a:lnTo>
                  <a:pt x="178" y="662"/>
                </a:lnTo>
                <a:lnTo>
                  <a:pt x="180" y="635"/>
                </a:lnTo>
                <a:lnTo>
                  <a:pt x="198" y="622"/>
                </a:lnTo>
                <a:lnTo>
                  <a:pt x="197" y="602"/>
                </a:lnTo>
                <a:lnTo>
                  <a:pt x="178" y="596"/>
                </a:lnTo>
                <a:lnTo>
                  <a:pt x="154" y="579"/>
                </a:lnTo>
                <a:lnTo>
                  <a:pt x="154" y="563"/>
                </a:lnTo>
                <a:lnTo>
                  <a:pt x="164" y="550"/>
                </a:lnTo>
                <a:lnTo>
                  <a:pt x="182" y="550"/>
                </a:lnTo>
                <a:lnTo>
                  <a:pt x="183" y="538"/>
                </a:lnTo>
                <a:lnTo>
                  <a:pt x="178" y="515"/>
                </a:lnTo>
                <a:lnTo>
                  <a:pt x="190" y="501"/>
                </a:lnTo>
                <a:lnTo>
                  <a:pt x="204" y="493"/>
                </a:lnTo>
                <a:lnTo>
                  <a:pt x="195" y="481"/>
                </a:lnTo>
                <a:lnTo>
                  <a:pt x="187" y="489"/>
                </a:lnTo>
                <a:lnTo>
                  <a:pt x="172" y="482"/>
                </a:lnTo>
                <a:lnTo>
                  <a:pt x="162" y="459"/>
                </a:lnTo>
                <a:lnTo>
                  <a:pt x="168" y="452"/>
                </a:lnTo>
                <a:lnTo>
                  <a:pt x="190" y="462"/>
                </a:lnTo>
                <a:lnTo>
                  <a:pt x="208" y="458"/>
                </a:lnTo>
                <a:lnTo>
                  <a:pt x="218" y="450"/>
                </a:lnTo>
                <a:lnTo>
                  <a:pt x="210" y="438"/>
                </a:lnTo>
                <a:lnTo>
                  <a:pt x="210" y="421"/>
                </a:lnTo>
                <a:lnTo>
                  <a:pt x="203" y="406"/>
                </a:lnTo>
                <a:lnTo>
                  <a:pt x="224" y="409"/>
                </a:lnTo>
                <a:lnTo>
                  <a:pt x="262" y="404"/>
                </a:lnTo>
                <a:lnTo>
                  <a:pt x="289" y="391"/>
                </a:lnTo>
                <a:lnTo>
                  <a:pt x="301" y="360"/>
                </a:lnTo>
                <a:lnTo>
                  <a:pt x="300" y="348"/>
                </a:lnTo>
                <a:lnTo>
                  <a:pt x="285" y="338"/>
                </a:lnTo>
                <a:lnTo>
                  <a:pt x="285" y="321"/>
                </a:lnTo>
                <a:lnTo>
                  <a:pt x="255" y="300"/>
                </a:lnTo>
                <a:lnTo>
                  <a:pt x="254" y="288"/>
                </a:lnTo>
                <a:lnTo>
                  <a:pt x="253" y="272"/>
                </a:lnTo>
                <a:lnTo>
                  <a:pt x="256" y="267"/>
                </a:lnTo>
                <a:lnTo>
                  <a:pt x="252" y="243"/>
                </a:lnTo>
                <a:lnTo>
                  <a:pt x="253" y="219"/>
                </a:lnTo>
                <a:lnTo>
                  <a:pt x="255" y="200"/>
                </a:lnTo>
                <a:lnTo>
                  <a:pt x="277" y="168"/>
                </a:lnTo>
                <a:lnTo>
                  <a:pt x="297" y="144"/>
                </a:lnTo>
                <a:lnTo>
                  <a:pt x="309" y="135"/>
                </a:lnTo>
                <a:lnTo>
                  <a:pt x="325" y="122"/>
                </a:lnTo>
                <a:lnTo>
                  <a:pt x="323" y="103"/>
                </a:lnTo>
                <a:lnTo>
                  <a:pt x="311" y="89"/>
                </a:lnTo>
                <a:lnTo>
                  <a:pt x="302" y="94"/>
                </a:lnTo>
                <a:lnTo>
                  <a:pt x="301" y="114"/>
                </a:lnTo>
                <a:lnTo>
                  <a:pt x="285" y="133"/>
                </a:lnTo>
                <a:lnTo>
                  <a:pt x="269" y="137"/>
                </a:lnTo>
                <a:lnTo>
                  <a:pt x="246" y="133"/>
                </a:lnTo>
                <a:lnTo>
                  <a:pt x="224" y="127"/>
                </a:lnTo>
                <a:lnTo>
                  <a:pt x="240" y="90"/>
                </a:lnTo>
                <a:lnTo>
                  <a:pt x="236" y="80"/>
                </a:lnTo>
                <a:lnTo>
                  <a:pt x="214" y="71"/>
                </a:lnTo>
                <a:lnTo>
                  <a:pt x="187" y="53"/>
                </a:lnTo>
                <a:lnTo>
                  <a:pt x="170" y="49"/>
                </a:lnTo>
                <a:lnTo>
                  <a:pt x="128" y="11"/>
                </a:lnTo>
                <a:lnTo>
                  <a:pt x="124" y="6"/>
                </a:lnTo>
                <a:lnTo>
                  <a:pt x="101" y="4"/>
                </a:lnTo>
                <a:lnTo>
                  <a:pt x="94" y="24"/>
                </a:lnTo>
                <a:lnTo>
                  <a:pt x="81" y="6"/>
                </a:lnTo>
                <a:lnTo>
                  <a:pt x="81" y="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24" name="Armenia">
            <a:extLst>
              <a:ext uri="{FF2B5EF4-FFF2-40B4-BE49-F238E27FC236}">
                <a16:creationId xmlns:a16="http://schemas.microsoft.com/office/drawing/2014/main" id="{6E3D6103-9D95-48DB-85ED-164ADBDA2B6F}"/>
              </a:ext>
            </a:extLst>
          </p:cNvPr>
          <p:cNvSpPr>
            <a:spLocks/>
          </p:cNvSpPr>
          <p:nvPr/>
        </p:nvSpPr>
        <p:spPr bwMode="auto">
          <a:xfrm>
            <a:off x="6627203" y="2671398"/>
            <a:ext cx="112280" cy="100372"/>
          </a:xfrm>
          <a:custGeom>
            <a:avLst/>
            <a:gdLst>
              <a:gd name="T0" fmla="*/ 66 w 66"/>
              <a:gd name="T1" fmla="*/ 58 h 59"/>
              <a:gd name="T2" fmla="*/ 62 w 66"/>
              <a:gd name="T3" fmla="*/ 42 h 59"/>
              <a:gd name="T4" fmla="*/ 53 w 66"/>
              <a:gd name="T5" fmla="*/ 37 h 59"/>
              <a:gd name="T6" fmla="*/ 44 w 66"/>
              <a:gd name="T7" fmla="*/ 32 h 59"/>
              <a:gd name="T8" fmla="*/ 47 w 66"/>
              <a:gd name="T9" fmla="*/ 24 h 59"/>
              <a:gd name="T10" fmla="*/ 36 w 66"/>
              <a:gd name="T11" fmla="*/ 16 h 59"/>
              <a:gd name="T12" fmla="*/ 39 w 66"/>
              <a:gd name="T13" fmla="*/ 10 h 59"/>
              <a:gd name="T14" fmla="*/ 31 w 66"/>
              <a:gd name="T15" fmla="*/ 6 h 59"/>
              <a:gd name="T16" fmla="*/ 25 w 66"/>
              <a:gd name="T17" fmla="*/ 0 h 59"/>
              <a:gd name="T18" fmla="*/ 0 w 66"/>
              <a:gd name="T19" fmla="*/ 4 h 59"/>
              <a:gd name="T20" fmla="*/ 5 w 66"/>
              <a:gd name="T21" fmla="*/ 11 h 59"/>
              <a:gd name="T22" fmla="*/ 5 w 66"/>
              <a:gd name="T23" fmla="*/ 23 h 59"/>
              <a:gd name="T24" fmla="*/ 20 w 66"/>
              <a:gd name="T25" fmla="*/ 29 h 59"/>
              <a:gd name="T26" fmla="*/ 29 w 66"/>
              <a:gd name="T27" fmla="*/ 35 h 59"/>
              <a:gd name="T28" fmla="*/ 33 w 66"/>
              <a:gd name="T29" fmla="*/ 35 h 59"/>
              <a:gd name="T30" fmla="*/ 40 w 66"/>
              <a:gd name="T31" fmla="*/ 41 h 59"/>
              <a:gd name="T32" fmla="*/ 48 w 66"/>
              <a:gd name="T33" fmla="*/ 41 h 59"/>
              <a:gd name="T34" fmla="*/ 49 w 66"/>
              <a:gd name="T35" fmla="*/ 45 h 59"/>
              <a:gd name="T36" fmla="*/ 60 w 66"/>
              <a:gd name="T37" fmla="*/ 59 h 59"/>
              <a:gd name="T38" fmla="*/ 66 w 66"/>
              <a:gd name="T39" fmla="*/ 58 h 59"/>
              <a:gd name="T40" fmla="*/ 66 w 66"/>
              <a:gd name="T41"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59">
                <a:moveTo>
                  <a:pt x="66" y="58"/>
                </a:moveTo>
                <a:lnTo>
                  <a:pt x="62" y="42"/>
                </a:lnTo>
                <a:lnTo>
                  <a:pt x="53" y="37"/>
                </a:lnTo>
                <a:lnTo>
                  <a:pt x="44" y="32"/>
                </a:lnTo>
                <a:lnTo>
                  <a:pt x="47" y="24"/>
                </a:lnTo>
                <a:lnTo>
                  <a:pt x="36" y="16"/>
                </a:lnTo>
                <a:lnTo>
                  <a:pt x="39" y="10"/>
                </a:lnTo>
                <a:lnTo>
                  <a:pt x="31" y="6"/>
                </a:lnTo>
                <a:lnTo>
                  <a:pt x="25" y="0"/>
                </a:lnTo>
                <a:lnTo>
                  <a:pt x="0" y="4"/>
                </a:lnTo>
                <a:lnTo>
                  <a:pt x="5" y="11"/>
                </a:lnTo>
                <a:lnTo>
                  <a:pt x="5" y="23"/>
                </a:lnTo>
                <a:lnTo>
                  <a:pt x="20" y="29"/>
                </a:lnTo>
                <a:lnTo>
                  <a:pt x="29" y="35"/>
                </a:lnTo>
                <a:lnTo>
                  <a:pt x="33" y="35"/>
                </a:lnTo>
                <a:lnTo>
                  <a:pt x="40" y="41"/>
                </a:lnTo>
                <a:lnTo>
                  <a:pt x="48" y="41"/>
                </a:lnTo>
                <a:lnTo>
                  <a:pt x="49" y="45"/>
                </a:lnTo>
                <a:lnTo>
                  <a:pt x="60" y="59"/>
                </a:lnTo>
                <a:lnTo>
                  <a:pt x="66" y="58"/>
                </a:lnTo>
                <a:lnTo>
                  <a:pt x="66" y="5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25" name="Australia">
            <a:extLst>
              <a:ext uri="{FF2B5EF4-FFF2-40B4-BE49-F238E27FC236}">
                <a16:creationId xmlns:a16="http://schemas.microsoft.com/office/drawing/2014/main" id="{02401200-8B2E-48A9-984F-CD5F738A4227}"/>
              </a:ext>
            </a:extLst>
          </p:cNvPr>
          <p:cNvSpPr>
            <a:spLocks noEditPoints="1"/>
          </p:cNvSpPr>
          <p:nvPr/>
        </p:nvSpPr>
        <p:spPr bwMode="auto">
          <a:xfrm>
            <a:off x="9083757" y="4770695"/>
            <a:ext cx="1423917" cy="1332052"/>
          </a:xfrm>
          <a:custGeom>
            <a:avLst/>
            <a:gdLst>
              <a:gd name="T0" fmla="*/ 498 w 837"/>
              <a:gd name="T1" fmla="*/ 746 h 783"/>
              <a:gd name="T2" fmla="*/ 503 w 837"/>
              <a:gd name="T3" fmla="*/ 783 h 783"/>
              <a:gd name="T4" fmla="*/ 556 w 837"/>
              <a:gd name="T5" fmla="*/ 747 h 783"/>
              <a:gd name="T6" fmla="*/ 531 w 837"/>
              <a:gd name="T7" fmla="*/ 726 h 783"/>
              <a:gd name="T8" fmla="*/ 707 w 837"/>
              <a:gd name="T9" fmla="*/ 66 h 783"/>
              <a:gd name="T10" fmla="*/ 697 w 837"/>
              <a:gd name="T11" fmla="*/ 26 h 783"/>
              <a:gd name="T12" fmla="*/ 683 w 837"/>
              <a:gd name="T13" fmla="*/ 16 h 783"/>
              <a:gd name="T14" fmla="*/ 669 w 837"/>
              <a:gd name="T15" fmla="*/ 54 h 783"/>
              <a:gd name="T16" fmla="*/ 661 w 837"/>
              <a:gd name="T17" fmla="*/ 105 h 783"/>
              <a:gd name="T18" fmla="*/ 634 w 837"/>
              <a:gd name="T19" fmla="*/ 160 h 783"/>
              <a:gd name="T20" fmla="*/ 589 w 837"/>
              <a:gd name="T21" fmla="*/ 146 h 783"/>
              <a:gd name="T22" fmla="*/ 547 w 837"/>
              <a:gd name="T23" fmla="*/ 116 h 783"/>
              <a:gd name="T24" fmla="*/ 549 w 837"/>
              <a:gd name="T25" fmla="*/ 73 h 783"/>
              <a:gd name="T26" fmla="*/ 573 w 837"/>
              <a:gd name="T27" fmla="*/ 40 h 783"/>
              <a:gd name="T28" fmla="*/ 538 w 837"/>
              <a:gd name="T29" fmla="*/ 38 h 783"/>
              <a:gd name="T30" fmla="*/ 493 w 837"/>
              <a:gd name="T31" fmla="*/ 17 h 783"/>
              <a:gd name="T32" fmla="*/ 482 w 837"/>
              <a:gd name="T33" fmla="*/ 35 h 783"/>
              <a:gd name="T34" fmla="*/ 429 w 837"/>
              <a:gd name="T35" fmla="*/ 58 h 783"/>
              <a:gd name="T36" fmla="*/ 411 w 837"/>
              <a:gd name="T37" fmla="*/ 103 h 783"/>
              <a:gd name="T38" fmla="*/ 362 w 837"/>
              <a:gd name="T39" fmla="*/ 75 h 783"/>
              <a:gd name="T40" fmla="*/ 332 w 837"/>
              <a:gd name="T41" fmla="*/ 85 h 783"/>
              <a:gd name="T42" fmla="*/ 300 w 837"/>
              <a:gd name="T43" fmla="*/ 117 h 783"/>
              <a:gd name="T44" fmla="*/ 283 w 837"/>
              <a:gd name="T45" fmla="*/ 153 h 783"/>
              <a:gd name="T46" fmla="*/ 248 w 837"/>
              <a:gd name="T47" fmla="*/ 170 h 783"/>
              <a:gd name="T48" fmla="*/ 210 w 837"/>
              <a:gd name="T49" fmla="*/ 215 h 783"/>
              <a:gd name="T50" fmla="*/ 166 w 837"/>
              <a:gd name="T51" fmla="*/ 228 h 783"/>
              <a:gd name="T52" fmla="*/ 121 w 837"/>
              <a:gd name="T53" fmla="*/ 239 h 783"/>
              <a:gd name="T54" fmla="*/ 62 w 837"/>
              <a:gd name="T55" fmla="*/ 282 h 783"/>
              <a:gd name="T56" fmla="*/ 47 w 837"/>
              <a:gd name="T57" fmla="*/ 307 h 783"/>
              <a:gd name="T58" fmla="*/ 39 w 837"/>
              <a:gd name="T59" fmla="*/ 341 h 783"/>
              <a:gd name="T60" fmla="*/ 31 w 837"/>
              <a:gd name="T61" fmla="*/ 356 h 783"/>
              <a:gd name="T62" fmla="*/ 33 w 837"/>
              <a:gd name="T63" fmla="*/ 396 h 783"/>
              <a:gd name="T64" fmla="*/ 39 w 837"/>
              <a:gd name="T65" fmla="*/ 447 h 783"/>
              <a:gd name="T66" fmla="*/ 33 w 837"/>
              <a:gd name="T67" fmla="*/ 512 h 783"/>
              <a:gd name="T68" fmla="*/ 6 w 837"/>
              <a:gd name="T69" fmla="*/ 546 h 783"/>
              <a:gd name="T70" fmla="*/ 38 w 837"/>
              <a:gd name="T71" fmla="*/ 579 h 783"/>
              <a:gd name="T72" fmla="*/ 82 w 837"/>
              <a:gd name="T73" fmla="*/ 567 h 783"/>
              <a:gd name="T74" fmla="*/ 144 w 837"/>
              <a:gd name="T75" fmla="*/ 555 h 783"/>
              <a:gd name="T76" fmla="*/ 194 w 837"/>
              <a:gd name="T77" fmla="*/ 530 h 783"/>
              <a:gd name="T78" fmla="*/ 284 w 837"/>
              <a:gd name="T79" fmla="*/ 506 h 783"/>
              <a:gd name="T80" fmla="*/ 379 w 837"/>
              <a:gd name="T81" fmla="*/ 507 h 783"/>
              <a:gd name="T82" fmla="*/ 405 w 837"/>
              <a:gd name="T83" fmla="*/ 553 h 783"/>
              <a:gd name="T84" fmla="*/ 441 w 837"/>
              <a:gd name="T85" fmla="*/ 549 h 783"/>
              <a:gd name="T86" fmla="*/ 438 w 837"/>
              <a:gd name="T87" fmla="*/ 572 h 783"/>
              <a:gd name="T88" fmla="*/ 456 w 837"/>
              <a:gd name="T89" fmla="*/ 582 h 783"/>
              <a:gd name="T90" fmla="*/ 464 w 837"/>
              <a:gd name="T91" fmla="*/ 618 h 783"/>
              <a:gd name="T92" fmla="*/ 489 w 837"/>
              <a:gd name="T93" fmla="*/ 660 h 783"/>
              <a:gd name="T94" fmla="*/ 551 w 837"/>
              <a:gd name="T95" fmla="*/ 648 h 783"/>
              <a:gd name="T96" fmla="*/ 579 w 837"/>
              <a:gd name="T97" fmla="*/ 666 h 783"/>
              <a:gd name="T98" fmla="*/ 655 w 837"/>
              <a:gd name="T99" fmla="*/ 637 h 783"/>
              <a:gd name="T100" fmla="*/ 697 w 837"/>
              <a:gd name="T101" fmla="*/ 583 h 783"/>
              <a:gd name="T102" fmla="*/ 762 w 837"/>
              <a:gd name="T103" fmla="*/ 520 h 783"/>
              <a:gd name="T104" fmla="*/ 813 w 837"/>
              <a:gd name="T105" fmla="*/ 447 h 783"/>
              <a:gd name="T106" fmla="*/ 833 w 837"/>
              <a:gd name="T107" fmla="*/ 380 h 783"/>
              <a:gd name="T108" fmla="*/ 820 w 837"/>
              <a:gd name="T109" fmla="*/ 319 h 783"/>
              <a:gd name="T110" fmla="*/ 799 w 837"/>
              <a:gd name="T111" fmla="*/ 273 h 783"/>
              <a:gd name="T112" fmla="*/ 784 w 837"/>
              <a:gd name="T113" fmla="*/ 232 h 783"/>
              <a:gd name="T114" fmla="*/ 737 w 837"/>
              <a:gd name="T115" fmla="*/ 181 h 783"/>
              <a:gd name="T116" fmla="*/ 735 w 837"/>
              <a:gd name="T117" fmla="*/ 134 h 783"/>
              <a:gd name="T118" fmla="*/ 725 w 837"/>
              <a:gd name="T119" fmla="*/ 8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7" h="783">
                <a:moveTo>
                  <a:pt x="518" y="717"/>
                </a:moveTo>
                <a:lnTo>
                  <a:pt x="507" y="716"/>
                </a:lnTo>
                <a:lnTo>
                  <a:pt x="500" y="727"/>
                </a:lnTo>
                <a:lnTo>
                  <a:pt x="498" y="746"/>
                </a:lnTo>
                <a:lnTo>
                  <a:pt x="489" y="761"/>
                </a:lnTo>
                <a:lnTo>
                  <a:pt x="488" y="781"/>
                </a:lnTo>
                <a:lnTo>
                  <a:pt x="499" y="782"/>
                </a:lnTo>
                <a:lnTo>
                  <a:pt x="503" y="783"/>
                </a:lnTo>
                <a:lnTo>
                  <a:pt x="527" y="767"/>
                </a:lnTo>
                <a:lnTo>
                  <a:pt x="529" y="773"/>
                </a:lnTo>
                <a:lnTo>
                  <a:pt x="544" y="755"/>
                </a:lnTo>
                <a:lnTo>
                  <a:pt x="556" y="747"/>
                </a:lnTo>
                <a:lnTo>
                  <a:pt x="573" y="719"/>
                </a:lnTo>
                <a:lnTo>
                  <a:pt x="562" y="717"/>
                </a:lnTo>
                <a:lnTo>
                  <a:pt x="545" y="722"/>
                </a:lnTo>
                <a:lnTo>
                  <a:pt x="531" y="726"/>
                </a:lnTo>
                <a:lnTo>
                  <a:pt x="518" y="717"/>
                </a:lnTo>
                <a:lnTo>
                  <a:pt x="518" y="717"/>
                </a:lnTo>
                <a:close/>
                <a:moveTo>
                  <a:pt x="705" y="74"/>
                </a:moveTo>
                <a:lnTo>
                  <a:pt x="707" y="66"/>
                </a:lnTo>
                <a:lnTo>
                  <a:pt x="708" y="52"/>
                </a:lnTo>
                <a:lnTo>
                  <a:pt x="701" y="40"/>
                </a:lnTo>
                <a:lnTo>
                  <a:pt x="702" y="30"/>
                </a:lnTo>
                <a:lnTo>
                  <a:pt x="697" y="26"/>
                </a:lnTo>
                <a:lnTo>
                  <a:pt x="698" y="12"/>
                </a:lnTo>
                <a:lnTo>
                  <a:pt x="693" y="0"/>
                </a:lnTo>
                <a:lnTo>
                  <a:pt x="685" y="10"/>
                </a:lnTo>
                <a:lnTo>
                  <a:pt x="683" y="16"/>
                </a:lnTo>
                <a:lnTo>
                  <a:pt x="677" y="29"/>
                </a:lnTo>
                <a:lnTo>
                  <a:pt x="671" y="41"/>
                </a:lnTo>
                <a:lnTo>
                  <a:pt x="672" y="50"/>
                </a:lnTo>
                <a:lnTo>
                  <a:pt x="669" y="54"/>
                </a:lnTo>
                <a:lnTo>
                  <a:pt x="663" y="72"/>
                </a:lnTo>
                <a:lnTo>
                  <a:pt x="663" y="86"/>
                </a:lnTo>
                <a:lnTo>
                  <a:pt x="660" y="93"/>
                </a:lnTo>
                <a:lnTo>
                  <a:pt x="661" y="105"/>
                </a:lnTo>
                <a:lnTo>
                  <a:pt x="652" y="124"/>
                </a:lnTo>
                <a:lnTo>
                  <a:pt x="647" y="137"/>
                </a:lnTo>
                <a:lnTo>
                  <a:pt x="641" y="147"/>
                </a:lnTo>
                <a:lnTo>
                  <a:pt x="634" y="160"/>
                </a:lnTo>
                <a:lnTo>
                  <a:pt x="619" y="167"/>
                </a:lnTo>
                <a:lnTo>
                  <a:pt x="601" y="160"/>
                </a:lnTo>
                <a:lnTo>
                  <a:pt x="599" y="153"/>
                </a:lnTo>
                <a:lnTo>
                  <a:pt x="589" y="146"/>
                </a:lnTo>
                <a:lnTo>
                  <a:pt x="584" y="146"/>
                </a:lnTo>
                <a:lnTo>
                  <a:pt x="572" y="132"/>
                </a:lnTo>
                <a:lnTo>
                  <a:pt x="562" y="124"/>
                </a:lnTo>
                <a:lnTo>
                  <a:pt x="547" y="116"/>
                </a:lnTo>
                <a:lnTo>
                  <a:pt x="532" y="103"/>
                </a:lnTo>
                <a:lnTo>
                  <a:pt x="532" y="96"/>
                </a:lnTo>
                <a:lnTo>
                  <a:pt x="542" y="85"/>
                </a:lnTo>
                <a:lnTo>
                  <a:pt x="549" y="73"/>
                </a:lnTo>
                <a:lnTo>
                  <a:pt x="548" y="64"/>
                </a:lnTo>
                <a:lnTo>
                  <a:pt x="556" y="63"/>
                </a:lnTo>
                <a:lnTo>
                  <a:pt x="565" y="54"/>
                </a:lnTo>
                <a:lnTo>
                  <a:pt x="573" y="40"/>
                </a:lnTo>
                <a:lnTo>
                  <a:pt x="564" y="28"/>
                </a:lnTo>
                <a:lnTo>
                  <a:pt x="559" y="33"/>
                </a:lnTo>
                <a:lnTo>
                  <a:pt x="551" y="31"/>
                </a:lnTo>
                <a:lnTo>
                  <a:pt x="538" y="38"/>
                </a:lnTo>
                <a:lnTo>
                  <a:pt x="526" y="30"/>
                </a:lnTo>
                <a:lnTo>
                  <a:pt x="519" y="33"/>
                </a:lnTo>
                <a:lnTo>
                  <a:pt x="503" y="27"/>
                </a:lnTo>
                <a:lnTo>
                  <a:pt x="493" y="17"/>
                </a:lnTo>
                <a:lnTo>
                  <a:pt x="480" y="12"/>
                </a:lnTo>
                <a:lnTo>
                  <a:pt x="468" y="15"/>
                </a:lnTo>
                <a:lnTo>
                  <a:pt x="483" y="23"/>
                </a:lnTo>
                <a:lnTo>
                  <a:pt x="482" y="35"/>
                </a:lnTo>
                <a:lnTo>
                  <a:pt x="463" y="40"/>
                </a:lnTo>
                <a:lnTo>
                  <a:pt x="453" y="37"/>
                </a:lnTo>
                <a:lnTo>
                  <a:pt x="440" y="45"/>
                </a:lnTo>
                <a:lnTo>
                  <a:pt x="429" y="58"/>
                </a:lnTo>
                <a:lnTo>
                  <a:pt x="432" y="64"/>
                </a:lnTo>
                <a:lnTo>
                  <a:pt x="421" y="70"/>
                </a:lnTo>
                <a:lnTo>
                  <a:pt x="408" y="90"/>
                </a:lnTo>
                <a:lnTo>
                  <a:pt x="411" y="103"/>
                </a:lnTo>
                <a:lnTo>
                  <a:pt x="398" y="100"/>
                </a:lnTo>
                <a:lnTo>
                  <a:pt x="385" y="100"/>
                </a:lnTo>
                <a:lnTo>
                  <a:pt x="376" y="86"/>
                </a:lnTo>
                <a:lnTo>
                  <a:pt x="362" y="75"/>
                </a:lnTo>
                <a:lnTo>
                  <a:pt x="351" y="79"/>
                </a:lnTo>
                <a:lnTo>
                  <a:pt x="342" y="82"/>
                </a:lnTo>
                <a:lnTo>
                  <a:pt x="340" y="88"/>
                </a:lnTo>
                <a:lnTo>
                  <a:pt x="332" y="85"/>
                </a:lnTo>
                <a:lnTo>
                  <a:pt x="331" y="92"/>
                </a:lnTo>
                <a:lnTo>
                  <a:pt x="320" y="96"/>
                </a:lnTo>
                <a:lnTo>
                  <a:pt x="313" y="105"/>
                </a:lnTo>
                <a:lnTo>
                  <a:pt x="300" y="117"/>
                </a:lnTo>
                <a:lnTo>
                  <a:pt x="294" y="135"/>
                </a:lnTo>
                <a:lnTo>
                  <a:pt x="286" y="130"/>
                </a:lnTo>
                <a:lnTo>
                  <a:pt x="278" y="141"/>
                </a:lnTo>
                <a:lnTo>
                  <a:pt x="283" y="153"/>
                </a:lnTo>
                <a:lnTo>
                  <a:pt x="274" y="157"/>
                </a:lnTo>
                <a:lnTo>
                  <a:pt x="268" y="137"/>
                </a:lnTo>
                <a:lnTo>
                  <a:pt x="250" y="157"/>
                </a:lnTo>
                <a:lnTo>
                  <a:pt x="248" y="170"/>
                </a:lnTo>
                <a:lnTo>
                  <a:pt x="245" y="180"/>
                </a:lnTo>
                <a:lnTo>
                  <a:pt x="231" y="192"/>
                </a:lnTo>
                <a:lnTo>
                  <a:pt x="223" y="204"/>
                </a:lnTo>
                <a:lnTo>
                  <a:pt x="210" y="215"/>
                </a:lnTo>
                <a:lnTo>
                  <a:pt x="187" y="222"/>
                </a:lnTo>
                <a:lnTo>
                  <a:pt x="176" y="221"/>
                </a:lnTo>
                <a:lnTo>
                  <a:pt x="170" y="223"/>
                </a:lnTo>
                <a:lnTo>
                  <a:pt x="166" y="228"/>
                </a:lnTo>
                <a:lnTo>
                  <a:pt x="153" y="231"/>
                </a:lnTo>
                <a:lnTo>
                  <a:pt x="136" y="240"/>
                </a:lnTo>
                <a:lnTo>
                  <a:pt x="130" y="237"/>
                </a:lnTo>
                <a:lnTo>
                  <a:pt x="121" y="239"/>
                </a:lnTo>
                <a:lnTo>
                  <a:pt x="103" y="248"/>
                </a:lnTo>
                <a:lnTo>
                  <a:pt x="92" y="258"/>
                </a:lnTo>
                <a:lnTo>
                  <a:pt x="73" y="265"/>
                </a:lnTo>
                <a:lnTo>
                  <a:pt x="62" y="282"/>
                </a:lnTo>
                <a:lnTo>
                  <a:pt x="64" y="264"/>
                </a:lnTo>
                <a:lnTo>
                  <a:pt x="52" y="281"/>
                </a:lnTo>
                <a:lnTo>
                  <a:pt x="52" y="295"/>
                </a:lnTo>
                <a:lnTo>
                  <a:pt x="47" y="307"/>
                </a:lnTo>
                <a:lnTo>
                  <a:pt x="41" y="312"/>
                </a:lnTo>
                <a:lnTo>
                  <a:pt x="36" y="326"/>
                </a:lnTo>
                <a:lnTo>
                  <a:pt x="39" y="334"/>
                </a:lnTo>
                <a:lnTo>
                  <a:pt x="39" y="341"/>
                </a:lnTo>
                <a:lnTo>
                  <a:pt x="46" y="360"/>
                </a:lnTo>
                <a:lnTo>
                  <a:pt x="43" y="372"/>
                </a:lnTo>
                <a:lnTo>
                  <a:pt x="39" y="363"/>
                </a:lnTo>
                <a:lnTo>
                  <a:pt x="31" y="356"/>
                </a:lnTo>
                <a:lnTo>
                  <a:pt x="32" y="378"/>
                </a:lnTo>
                <a:lnTo>
                  <a:pt x="26" y="367"/>
                </a:lnTo>
                <a:lnTo>
                  <a:pt x="26" y="378"/>
                </a:lnTo>
                <a:lnTo>
                  <a:pt x="33" y="396"/>
                </a:lnTo>
                <a:lnTo>
                  <a:pt x="31" y="415"/>
                </a:lnTo>
                <a:lnTo>
                  <a:pt x="38" y="424"/>
                </a:lnTo>
                <a:lnTo>
                  <a:pt x="36" y="432"/>
                </a:lnTo>
                <a:lnTo>
                  <a:pt x="39" y="447"/>
                </a:lnTo>
                <a:lnTo>
                  <a:pt x="34" y="461"/>
                </a:lnTo>
                <a:lnTo>
                  <a:pt x="33" y="474"/>
                </a:lnTo>
                <a:lnTo>
                  <a:pt x="36" y="498"/>
                </a:lnTo>
                <a:lnTo>
                  <a:pt x="33" y="512"/>
                </a:lnTo>
                <a:lnTo>
                  <a:pt x="25" y="529"/>
                </a:lnTo>
                <a:lnTo>
                  <a:pt x="23" y="537"/>
                </a:lnTo>
                <a:lnTo>
                  <a:pt x="17" y="543"/>
                </a:lnTo>
                <a:lnTo>
                  <a:pt x="6" y="546"/>
                </a:lnTo>
                <a:lnTo>
                  <a:pt x="0" y="560"/>
                </a:lnTo>
                <a:lnTo>
                  <a:pt x="10" y="564"/>
                </a:lnTo>
                <a:lnTo>
                  <a:pt x="25" y="579"/>
                </a:lnTo>
                <a:lnTo>
                  <a:pt x="38" y="579"/>
                </a:lnTo>
                <a:lnTo>
                  <a:pt x="53" y="580"/>
                </a:lnTo>
                <a:lnTo>
                  <a:pt x="65" y="573"/>
                </a:lnTo>
                <a:lnTo>
                  <a:pt x="77" y="566"/>
                </a:lnTo>
                <a:lnTo>
                  <a:pt x="82" y="567"/>
                </a:lnTo>
                <a:lnTo>
                  <a:pt x="99" y="554"/>
                </a:lnTo>
                <a:lnTo>
                  <a:pt x="113" y="553"/>
                </a:lnTo>
                <a:lnTo>
                  <a:pt x="129" y="550"/>
                </a:lnTo>
                <a:lnTo>
                  <a:pt x="144" y="555"/>
                </a:lnTo>
                <a:lnTo>
                  <a:pt x="158" y="553"/>
                </a:lnTo>
                <a:lnTo>
                  <a:pt x="175" y="552"/>
                </a:lnTo>
                <a:lnTo>
                  <a:pt x="186" y="542"/>
                </a:lnTo>
                <a:lnTo>
                  <a:pt x="194" y="530"/>
                </a:lnTo>
                <a:lnTo>
                  <a:pt x="214" y="524"/>
                </a:lnTo>
                <a:lnTo>
                  <a:pt x="240" y="512"/>
                </a:lnTo>
                <a:lnTo>
                  <a:pt x="259" y="514"/>
                </a:lnTo>
                <a:lnTo>
                  <a:pt x="284" y="506"/>
                </a:lnTo>
                <a:lnTo>
                  <a:pt x="314" y="497"/>
                </a:lnTo>
                <a:lnTo>
                  <a:pt x="350" y="495"/>
                </a:lnTo>
                <a:lnTo>
                  <a:pt x="365" y="506"/>
                </a:lnTo>
                <a:lnTo>
                  <a:pt x="379" y="507"/>
                </a:lnTo>
                <a:lnTo>
                  <a:pt x="399" y="521"/>
                </a:lnTo>
                <a:lnTo>
                  <a:pt x="392" y="527"/>
                </a:lnTo>
                <a:lnTo>
                  <a:pt x="400" y="536"/>
                </a:lnTo>
                <a:lnTo>
                  <a:pt x="405" y="553"/>
                </a:lnTo>
                <a:lnTo>
                  <a:pt x="398" y="566"/>
                </a:lnTo>
                <a:lnTo>
                  <a:pt x="409" y="575"/>
                </a:lnTo>
                <a:lnTo>
                  <a:pt x="425" y="557"/>
                </a:lnTo>
                <a:lnTo>
                  <a:pt x="441" y="549"/>
                </a:lnTo>
                <a:lnTo>
                  <a:pt x="466" y="529"/>
                </a:lnTo>
                <a:lnTo>
                  <a:pt x="461" y="546"/>
                </a:lnTo>
                <a:lnTo>
                  <a:pt x="447" y="558"/>
                </a:lnTo>
                <a:lnTo>
                  <a:pt x="438" y="572"/>
                </a:lnTo>
                <a:lnTo>
                  <a:pt x="422" y="585"/>
                </a:lnTo>
                <a:lnTo>
                  <a:pt x="441" y="580"/>
                </a:lnTo>
                <a:lnTo>
                  <a:pt x="459" y="564"/>
                </a:lnTo>
                <a:lnTo>
                  <a:pt x="456" y="582"/>
                </a:lnTo>
                <a:lnTo>
                  <a:pt x="444" y="593"/>
                </a:lnTo>
                <a:lnTo>
                  <a:pt x="461" y="596"/>
                </a:lnTo>
                <a:lnTo>
                  <a:pt x="466" y="606"/>
                </a:lnTo>
                <a:lnTo>
                  <a:pt x="464" y="618"/>
                </a:lnTo>
                <a:lnTo>
                  <a:pt x="459" y="637"/>
                </a:lnTo>
                <a:lnTo>
                  <a:pt x="464" y="652"/>
                </a:lnTo>
                <a:lnTo>
                  <a:pt x="479" y="659"/>
                </a:lnTo>
                <a:lnTo>
                  <a:pt x="489" y="660"/>
                </a:lnTo>
                <a:lnTo>
                  <a:pt x="499" y="664"/>
                </a:lnTo>
                <a:lnTo>
                  <a:pt x="512" y="671"/>
                </a:lnTo>
                <a:lnTo>
                  <a:pt x="538" y="653"/>
                </a:lnTo>
                <a:lnTo>
                  <a:pt x="551" y="648"/>
                </a:lnTo>
                <a:lnTo>
                  <a:pt x="542" y="661"/>
                </a:lnTo>
                <a:lnTo>
                  <a:pt x="551" y="665"/>
                </a:lnTo>
                <a:lnTo>
                  <a:pt x="561" y="676"/>
                </a:lnTo>
                <a:lnTo>
                  <a:pt x="579" y="666"/>
                </a:lnTo>
                <a:lnTo>
                  <a:pt x="593" y="657"/>
                </a:lnTo>
                <a:lnTo>
                  <a:pt x="616" y="646"/>
                </a:lnTo>
                <a:lnTo>
                  <a:pt x="639" y="646"/>
                </a:lnTo>
                <a:lnTo>
                  <a:pt x="655" y="637"/>
                </a:lnTo>
                <a:lnTo>
                  <a:pt x="658" y="630"/>
                </a:lnTo>
                <a:lnTo>
                  <a:pt x="669" y="613"/>
                </a:lnTo>
                <a:lnTo>
                  <a:pt x="684" y="595"/>
                </a:lnTo>
                <a:lnTo>
                  <a:pt x="697" y="583"/>
                </a:lnTo>
                <a:lnTo>
                  <a:pt x="714" y="562"/>
                </a:lnTo>
                <a:lnTo>
                  <a:pt x="726" y="550"/>
                </a:lnTo>
                <a:lnTo>
                  <a:pt x="742" y="532"/>
                </a:lnTo>
                <a:lnTo>
                  <a:pt x="762" y="520"/>
                </a:lnTo>
                <a:lnTo>
                  <a:pt x="781" y="499"/>
                </a:lnTo>
                <a:lnTo>
                  <a:pt x="793" y="482"/>
                </a:lnTo>
                <a:lnTo>
                  <a:pt x="798" y="468"/>
                </a:lnTo>
                <a:lnTo>
                  <a:pt x="813" y="447"/>
                </a:lnTo>
                <a:lnTo>
                  <a:pt x="820" y="436"/>
                </a:lnTo>
                <a:lnTo>
                  <a:pt x="829" y="415"/>
                </a:lnTo>
                <a:lnTo>
                  <a:pt x="827" y="394"/>
                </a:lnTo>
                <a:lnTo>
                  <a:pt x="833" y="380"/>
                </a:lnTo>
                <a:lnTo>
                  <a:pt x="837" y="366"/>
                </a:lnTo>
                <a:lnTo>
                  <a:pt x="837" y="348"/>
                </a:lnTo>
                <a:lnTo>
                  <a:pt x="827" y="328"/>
                </a:lnTo>
                <a:lnTo>
                  <a:pt x="820" y="319"/>
                </a:lnTo>
                <a:lnTo>
                  <a:pt x="809" y="305"/>
                </a:lnTo>
                <a:lnTo>
                  <a:pt x="812" y="279"/>
                </a:lnTo>
                <a:lnTo>
                  <a:pt x="806" y="283"/>
                </a:lnTo>
                <a:lnTo>
                  <a:pt x="799" y="273"/>
                </a:lnTo>
                <a:lnTo>
                  <a:pt x="790" y="278"/>
                </a:lnTo>
                <a:lnTo>
                  <a:pt x="788" y="252"/>
                </a:lnTo>
                <a:lnTo>
                  <a:pt x="780" y="237"/>
                </a:lnTo>
                <a:lnTo>
                  <a:pt x="784" y="232"/>
                </a:lnTo>
                <a:lnTo>
                  <a:pt x="772" y="221"/>
                </a:lnTo>
                <a:lnTo>
                  <a:pt x="760" y="209"/>
                </a:lnTo>
                <a:lnTo>
                  <a:pt x="741" y="197"/>
                </a:lnTo>
                <a:lnTo>
                  <a:pt x="737" y="181"/>
                </a:lnTo>
                <a:lnTo>
                  <a:pt x="742" y="169"/>
                </a:lnTo>
                <a:lnTo>
                  <a:pt x="741" y="149"/>
                </a:lnTo>
                <a:lnTo>
                  <a:pt x="736" y="146"/>
                </a:lnTo>
                <a:lnTo>
                  <a:pt x="735" y="134"/>
                </a:lnTo>
                <a:lnTo>
                  <a:pt x="734" y="113"/>
                </a:lnTo>
                <a:lnTo>
                  <a:pt x="738" y="103"/>
                </a:lnTo>
                <a:lnTo>
                  <a:pt x="729" y="94"/>
                </a:lnTo>
                <a:lnTo>
                  <a:pt x="725" y="83"/>
                </a:lnTo>
                <a:lnTo>
                  <a:pt x="710" y="93"/>
                </a:lnTo>
                <a:lnTo>
                  <a:pt x="705" y="74"/>
                </a:lnTo>
                <a:lnTo>
                  <a:pt x="705" y="7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26" name="Austria">
            <a:extLst>
              <a:ext uri="{FF2B5EF4-FFF2-40B4-BE49-F238E27FC236}">
                <a16:creationId xmlns:a16="http://schemas.microsoft.com/office/drawing/2014/main" id="{8E45080D-F7A0-4C3A-B8B1-A96844A50EB5}"/>
              </a:ext>
            </a:extLst>
          </p:cNvPr>
          <p:cNvSpPr>
            <a:spLocks/>
          </p:cNvSpPr>
          <p:nvPr/>
        </p:nvSpPr>
        <p:spPr bwMode="auto">
          <a:xfrm>
            <a:off x="5499297" y="2365179"/>
            <a:ext cx="233066" cy="102073"/>
          </a:xfrm>
          <a:custGeom>
            <a:avLst/>
            <a:gdLst>
              <a:gd name="T0" fmla="*/ 136 w 137"/>
              <a:gd name="T1" fmla="*/ 10 h 60"/>
              <a:gd name="T2" fmla="*/ 128 w 137"/>
              <a:gd name="T3" fmla="*/ 5 h 60"/>
              <a:gd name="T4" fmla="*/ 119 w 137"/>
              <a:gd name="T5" fmla="*/ 6 h 60"/>
              <a:gd name="T6" fmla="*/ 104 w 137"/>
              <a:gd name="T7" fmla="*/ 0 h 60"/>
              <a:gd name="T8" fmla="*/ 98 w 137"/>
              <a:gd name="T9" fmla="*/ 2 h 60"/>
              <a:gd name="T10" fmla="*/ 88 w 137"/>
              <a:gd name="T11" fmla="*/ 11 h 60"/>
              <a:gd name="T12" fmla="*/ 74 w 137"/>
              <a:gd name="T13" fmla="*/ 4 h 60"/>
              <a:gd name="T14" fmla="*/ 68 w 137"/>
              <a:gd name="T15" fmla="*/ 14 h 60"/>
              <a:gd name="T16" fmla="*/ 62 w 137"/>
              <a:gd name="T17" fmla="*/ 18 h 60"/>
              <a:gd name="T18" fmla="*/ 65 w 137"/>
              <a:gd name="T19" fmla="*/ 32 h 60"/>
              <a:gd name="T20" fmla="*/ 64 w 137"/>
              <a:gd name="T21" fmla="*/ 36 h 60"/>
              <a:gd name="T22" fmla="*/ 58 w 137"/>
              <a:gd name="T23" fmla="*/ 32 h 60"/>
              <a:gd name="T24" fmla="*/ 49 w 137"/>
              <a:gd name="T25" fmla="*/ 31 h 60"/>
              <a:gd name="T26" fmla="*/ 36 w 137"/>
              <a:gd name="T27" fmla="*/ 35 h 60"/>
              <a:gd name="T28" fmla="*/ 20 w 137"/>
              <a:gd name="T29" fmla="*/ 34 h 60"/>
              <a:gd name="T30" fmla="*/ 18 w 137"/>
              <a:gd name="T31" fmla="*/ 40 h 60"/>
              <a:gd name="T32" fmla="*/ 7 w 137"/>
              <a:gd name="T33" fmla="*/ 33 h 60"/>
              <a:gd name="T34" fmla="*/ 2 w 137"/>
              <a:gd name="T35" fmla="*/ 34 h 60"/>
              <a:gd name="T36" fmla="*/ 3 w 137"/>
              <a:gd name="T37" fmla="*/ 39 h 60"/>
              <a:gd name="T38" fmla="*/ 0 w 137"/>
              <a:gd name="T39" fmla="*/ 45 h 60"/>
              <a:gd name="T40" fmla="*/ 8 w 137"/>
              <a:gd name="T41" fmla="*/ 49 h 60"/>
              <a:gd name="T42" fmla="*/ 19 w 137"/>
              <a:gd name="T43" fmla="*/ 49 h 60"/>
              <a:gd name="T44" fmla="*/ 30 w 137"/>
              <a:gd name="T45" fmla="*/ 53 h 60"/>
              <a:gd name="T46" fmla="*/ 32 w 137"/>
              <a:gd name="T47" fmla="*/ 48 h 60"/>
              <a:gd name="T48" fmla="*/ 49 w 137"/>
              <a:gd name="T49" fmla="*/ 45 h 60"/>
              <a:gd name="T50" fmla="*/ 55 w 137"/>
              <a:gd name="T51" fmla="*/ 53 h 60"/>
              <a:gd name="T52" fmla="*/ 81 w 137"/>
              <a:gd name="T53" fmla="*/ 59 h 60"/>
              <a:gd name="T54" fmla="*/ 97 w 137"/>
              <a:gd name="T55" fmla="*/ 60 h 60"/>
              <a:gd name="T56" fmla="*/ 106 w 137"/>
              <a:gd name="T57" fmla="*/ 55 h 60"/>
              <a:gd name="T58" fmla="*/ 122 w 137"/>
              <a:gd name="T59" fmla="*/ 55 h 60"/>
              <a:gd name="T60" fmla="*/ 126 w 137"/>
              <a:gd name="T61" fmla="*/ 50 h 60"/>
              <a:gd name="T62" fmla="*/ 131 w 137"/>
              <a:gd name="T63" fmla="*/ 35 h 60"/>
              <a:gd name="T64" fmla="*/ 126 w 137"/>
              <a:gd name="T65" fmla="*/ 31 h 60"/>
              <a:gd name="T66" fmla="*/ 137 w 137"/>
              <a:gd name="T67" fmla="*/ 31 h 60"/>
              <a:gd name="T68" fmla="*/ 137 w 137"/>
              <a:gd name="T69" fmla="*/ 21 h 60"/>
              <a:gd name="T70" fmla="*/ 135 w 137"/>
              <a:gd name="T71" fmla="*/ 13 h 60"/>
              <a:gd name="T72" fmla="*/ 136 w 137"/>
              <a:gd name="T73" fmla="*/ 10 h 60"/>
              <a:gd name="T74" fmla="*/ 136 w 137"/>
              <a:gd name="T75"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7" h="60">
                <a:moveTo>
                  <a:pt x="136" y="10"/>
                </a:moveTo>
                <a:lnTo>
                  <a:pt x="128" y="5"/>
                </a:lnTo>
                <a:lnTo>
                  <a:pt x="119" y="6"/>
                </a:lnTo>
                <a:lnTo>
                  <a:pt x="104" y="0"/>
                </a:lnTo>
                <a:lnTo>
                  <a:pt x="98" y="2"/>
                </a:lnTo>
                <a:lnTo>
                  <a:pt x="88" y="11"/>
                </a:lnTo>
                <a:lnTo>
                  <a:pt x="74" y="4"/>
                </a:lnTo>
                <a:lnTo>
                  <a:pt x="68" y="14"/>
                </a:lnTo>
                <a:lnTo>
                  <a:pt x="62" y="18"/>
                </a:lnTo>
                <a:lnTo>
                  <a:pt x="65" y="32"/>
                </a:lnTo>
                <a:lnTo>
                  <a:pt x="64" y="36"/>
                </a:lnTo>
                <a:lnTo>
                  <a:pt x="58" y="32"/>
                </a:lnTo>
                <a:lnTo>
                  <a:pt x="49" y="31"/>
                </a:lnTo>
                <a:lnTo>
                  <a:pt x="36" y="35"/>
                </a:lnTo>
                <a:lnTo>
                  <a:pt x="20" y="34"/>
                </a:lnTo>
                <a:lnTo>
                  <a:pt x="18" y="40"/>
                </a:lnTo>
                <a:lnTo>
                  <a:pt x="7" y="33"/>
                </a:lnTo>
                <a:lnTo>
                  <a:pt x="2" y="34"/>
                </a:lnTo>
                <a:lnTo>
                  <a:pt x="3" y="39"/>
                </a:lnTo>
                <a:lnTo>
                  <a:pt x="0" y="45"/>
                </a:lnTo>
                <a:lnTo>
                  <a:pt x="8" y="49"/>
                </a:lnTo>
                <a:lnTo>
                  <a:pt x="19" y="49"/>
                </a:lnTo>
                <a:lnTo>
                  <a:pt x="30" y="53"/>
                </a:lnTo>
                <a:lnTo>
                  <a:pt x="32" y="48"/>
                </a:lnTo>
                <a:lnTo>
                  <a:pt x="49" y="45"/>
                </a:lnTo>
                <a:lnTo>
                  <a:pt x="55" y="53"/>
                </a:lnTo>
                <a:lnTo>
                  <a:pt x="81" y="59"/>
                </a:lnTo>
                <a:lnTo>
                  <a:pt x="97" y="60"/>
                </a:lnTo>
                <a:lnTo>
                  <a:pt x="106" y="55"/>
                </a:lnTo>
                <a:lnTo>
                  <a:pt x="122" y="55"/>
                </a:lnTo>
                <a:lnTo>
                  <a:pt x="126" y="50"/>
                </a:lnTo>
                <a:lnTo>
                  <a:pt x="131" y="35"/>
                </a:lnTo>
                <a:lnTo>
                  <a:pt x="126" y="31"/>
                </a:lnTo>
                <a:lnTo>
                  <a:pt x="137" y="31"/>
                </a:lnTo>
                <a:lnTo>
                  <a:pt x="137" y="21"/>
                </a:lnTo>
                <a:lnTo>
                  <a:pt x="135" y="13"/>
                </a:lnTo>
                <a:lnTo>
                  <a:pt x="136" y="10"/>
                </a:lnTo>
                <a:lnTo>
                  <a:pt x="136" y="1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27" name="Azerbaijan">
            <a:extLst>
              <a:ext uri="{FF2B5EF4-FFF2-40B4-BE49-F238E27FC236}">
                <a16:creationId xmlns:a16="http://schemas.microsoft.com/office/drawing/2014/main" id="{71566D01-8A3A-4E19-88C0-AE443E2AA6E9}"/>
              </a:ext>
            </a:extLst>
          </p:cNvPr>
          <p:cNvSpPr>
            <a:spLocks noEditPoints="1"/>
          </p:cNvSpPr>
          <p:nvPr/>
        </p:nvSpPr>
        <p:spPr bwMode="auto">
          <a:xfrm>
            <a:off x="6669733" y="2645880"/>
            <a:ext cx="187134" cy="144603"/>
          </a:xfrm>
          <a:custGeom>
            <a:avLst/>
            <a:gdLst>
              <a:gd name="T0" fmla="*/ 8 w 110"/>
              <a:gd name="T1" fmla="*/ 50 h 85"/>
              <a:gd name="T2" fmla="*/ 4 w 110"/>
              <a:gd name="T3" fmla="*/ 50 h 85"/>
              <a:gd name="T4" fmla="*/ 8 w 110"/>
              <a:gd name="T5" fmla="*/ 60 h 85"/>
              <a:gd name="T6" fmla="*/ 21 w 110"/>
              <a:gd name="T7" fmla="*/ 71 h 85"/>
              <a:gd name="T8" fmla="*/ 35 w 110"/>
              <a:gd name="T9" fmla="*/ 74 h 85"/>
              <a:gd name="T10" fmla="*/ 24 w 110"/>
              <a:gd name="T11" fmla="*/ 60 h 85"/>
              <a:gd name="T12" fmla="*/ 23 w 110"/>
              <a:gd name="T13" fmla="*/ 56 h 85"/>
              <a:gd name="T14" fmla="*/ 15 w 110"/>
              <a:gd name="T15" fmla="*/ 56 h 85"/>
              <a:gd name="T16" fmla="*/ 8 w 110"/>
              <a:gd name="T17" fmla="*/ 50 h 85"/>
              <a:gd name="T18" fmla="*/ 8 w 110"/>
              <a:gd name="T19" fmla="*/ 50 h 85"/>
              <a:gd name="T20" fmla="*/ 47 w 110"/>
              <a:gd name="T21" fmla="*/ 15 h 85"/>
              <a:gd name="T22" fmla="*/ 31 w 110"/>
              <a:gd name="T23" fmla="*/ 1 h 85"/>
              <a:gd name="T24" fmla="*/ 25 w 110"/>
              <a:gd name="T25" fmla="*/ 0 h 85"/>
              <a:gd name="T26" fmla="*/ 21 w 110"/>
              <a:gd name="T27" fmla="*/ 4 h 85"/>
              <a:gd name="T28" fmla="*/ 33 w 110"/>
              <a:gd name="T29" fmla="*/ 17 h 85"/>
              <a:gd name="T30" fmla="*/ 31 w 110"/>
              <a:gd name="T31" fmla="*/ 19 h 85"/>
              <a:gd name="T32" fmla="*/ 21 w 110"/>
              <a:gd name="T33" fmla="*/ 18 h 85"/>
              <a:gd name="T34" fmla="*/ 5 w 110"/>
              <a:gd name="T35" fmla="*/ 11 h 85"/>
              <a:gd name="T36" fmla="*/ 0 w 110"/>
              <a:gd name="T37" fmla="*/ 15 h 85"/>
              <a:gd name="T38" fmla="*/ 6 w 110"/>
              <a:gd name="T39" fmla="*/ 21 h 85"/>
              <a:gd name="T40" fmla="*/ 14 w 110"/>
              <a:gd name="T41" fmla="*/ 25 h 85"/>
              <a:gd name="T42" fmla="*/ 11 w 110"/>
              <a:gd name="T43" fmla="*/ 31 h 85"/>
              <a:gd name="T44" fmla="*/ 22 w 110"/>
              <a:gd name="T45" fmla="*/ 39 h 85"/>
              <a:gd name="T46" fmla="*/ 19 w 110"/>
              <a:gd name="T47" fmla="*/ 47 h 85"/>
              <a:gd name="T48" fmla="*/ 28 w 110"/>
              <a:gd name="T49" fmla="*/ 52 h 85"/>
              <a:gd name="T50" fmla="*/ 37 w 110"/>
              <a:gd name="T51" fmla="*/ 57 h 85"/>
              <a:gd name="T52" fmla="*/ 41 w 110"/>
              <a:gd name="T53" fmla="*/ 73 h 85"/>
              <a:gd name="T54" fmla="*/ 61 w 110"/>
              <a:gd name="T55" fmla="*/ 56 h 85"/>
              <a:gd name="T56" fmla="*/ 68 w 110"/>
              <a:gd name="T57" fmla="*/ 54 h 85"/>
              <a:gd name="T58" fmla="*/ 75 w 110"/>
              <a:gd name="T59" fmla="*/ 61 h 85"/>
              <a:gd name="T60" fmla="*/ 71 w 110"/>
              <a:gd name="T61" fmla="*/ 73 h 85"/>
              <a:gd name="T62" fmla="*/ 85 w 110"/>
              <a:gd name="T63" fmla="*/ 85 h 85"/>
              <a:gd name="T64" fmla="*/ 90 w 110"/>
              <a:gd name="T65" fmla="*/ 84 h 85"/>
              <a:gd name="T66" fmla="*/ 87 w 110"/>
              <a:gd name="T67" fmla="*/ 72 h 85"/>
              <a:gd name="T68" fmla="*/ 93 w 110"/>
              <a:gd name="T69" fmla="*/ 66 h 85"/>
              <a:gd name="T70" fmla="*/ 94 w 110"/>
              <a:gd name="T71" fmla="*/ 58 h 85"/>
              <a:gd name="T72" fmla="*/ 94 w 110"/>
              <a:gd name="T73" fmla="*/ 39 h 85"/>
              <a:gd name="T74" fmla="*/ 110 w 110"/>
              <a:gd name="T75" fmla="*/ 37 h 85"/>
              <a:gd name="T76" fmla="*/ 103 w 110"/>
              <a:gd name="T77" fmla="*/ 32 h 85"/>
              <a:gd name="T78" fmla="*/ 93 w 110"/>
              <a:gd name="T79" fmla="*/ 31 h 85"/>
              <a:gd name="T80" fmla="*/ 80 w 110"/>
              <a:gd name="T81" fmla="*/ 14 h 85"/>
              <a:gd name="T82" fmla="*/ 67 w 110"/>
              <a:gd name="T83" fmla="*/ 2 h 85"/>
              <a:gd name="T84" fmla="*/ 67 w 110"/>
              <a:gd name="T85" fmla="*/ 2 h 85"/>
              <a:gd name="T86" fmla="*/ 58 w 110"/>
              <a:gd name="T87" fmla="*/ 11 h 85"/>
              <a:gd name="T88" fmla="*/ 56 w 110"/>
              <a:gd name="T89" fmla="*/ 17 h 85"/>
              <a:gd name="T90" fmla="*/ 47 w 110"/>
              <a:gd name="T91" fmla="*/ 15 h 85"/>
              <a:gd name="T92" fmla="*/ 47 w 110"/>
              <a:gd name="T93" fmla="*/ 1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85">
                <a:moveTo>
                  <a:pt x="8" y="50"/>
                </a:moveTo>
                <a:lnTo>
                  <a:pt x="4" y="50"/>
                </a:lnTo>
                <a:lnTo>
                  <a:pt x="8" y="60"/>
                </a:lnTo>
                <a:lnTo>
                  <a:pt x="21" y="71"/>
                </a:lnTo>
                <a:lnTo>
                  <a:pt x="35" y="74"/>
                </a:lnTo>
                <a:lnTo>
                  <a:pt x="24" y="60"/>
                </a:lnTo>
                <a:lnTo>
                  <a:pt x="23" y="56"/>
                </a:lnTo>
                <a:lnTo>
                  <a:pt x="15" y="56"/>
                </a:lnTo>
                <a:lnTo>
                  <a:pt x="8" y="50"/>
                </a:lnTo>
                <a:lnTo>
                  <a:pt x="8" y="50"/>
                </a:lnTo>
                <a:close/>
                <a:moveTo>
                  <a:pt x="47" y="15"/>
                </a:moveTo>
                <a:lnTo>
                  <a:pt x="31" y="1"/>
                </a:lnTo>
                <a:lnTo>
                  <a:pt x="25" y="0"/>
                </a:lnTo>
                <a:lnTo>
                  <a:pt x="21" y="4"/>
                </a:lnTo>
                <a:lnTo>
                  <a:pt x="33" y="17"/>
                </a:lnTo>
                <a:lnTo>
                  <a:pt x="31" y="19"/>
                </a:lnTo>
                <a:lnTo>
                  <a:pt x="21" y="18"/>
                </a:lnTo>
                <a:lnTo>
                  <a:pt x="5" y="11"/>
                </a:lnTo>
                <a:lnTo>
                  <a:pt x="0" y="15"/>
                </a:lnTo>
                <a:lnTo>
                  <a:pt x="6" y="21"/>
                </a:lnTo>
                <a:lnTo>
                  <a:pt x="14" y="25"/>
                </a:lnTo>
                <a:lnTo>
                  <a:pt x="11" y="31"/>
                </a:lnTo>
                <a:lnTo>
                  <a:pt x="22" y="39"/>
                </a:lnTo>
                <a:lnTo>
                  <a:pt x="19" y="47"/>
                </a:lnTo>
                <a:lnTo>
                  <a:pt x="28" y="52"/>
                </a:lnTo>
                <a:lnTo>
                  <a:pt x="37" y="57"/>
                </a:lnTo>
                <a:lnTo>
                  <a:pt x="41" y="73"/>
                </a:lnTo>
                <a:lnTo>
                  <a:pt x="61" y="56"/>
                </a:lnTo>
                <a:lnTo>
                  <a:pt x="68" y="54"/>
                </a:lnTo>
                <a:lnTo>
                  <a:pt x="75" y="61"/>
                </a:lnTo>
                <a:lnTo>
                  <a:pt x="71" y="73"/>
                </a:lnTo>
                <a:lnTo>
                  <a:pt x="85" y="85"/>
                </a:lnTo>
                <a:lnTo>
                  <a:pt x="90" y="84"/>
                </a:lnTo>
                <a:lnTo>
                  <a:pt x="87" y="72"/>
                </a:lnTo>
                <a:lnTo>
                  <a:pt x="93" y="66"/>
                </a:lnTo>
                <a:lnTo>
                  <a:pt x="94" y="58"/>
                </a:lnTo>
                <a:lnTo>
                  <a:pt x="94" y="39"/>
                </a:lnTo>
                <a:lnTo>
                  <a:pt x="110" y="37"/>
                </a:lnTo>
                <a:lnTo>
                  <a:pt x="103" y="32"/>
                </a:lnTo>
                <a:lnTo>
                  <a:pt x="93" y="31"/>
                </a:lnTo>
                <a:lnTo>
                  <a:pt x="80" y="14"/>
                </a:lnTo>
                <a:lnTo>
                  <a:pt x="67" y="2"/>
                </a:lnTo>
                <a:lnTo>
                  <a:pt x="67" y="2"/>
                </a:lnTo>
                <a:lnTo>
                  <a:pt x="58" y="11"/>
                </a:lnTo>
                <a:lnTo>
                  <a:pt x="56" y="17"/>
                </a:lnTo>
                <a:lnTo>
                  <a:pt x="47" y="15"/>
                </a:lnTo>
                <a:lnTo>
                  <a:pt x="47" y="1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28" name="Burundi">
            <a:extLst>
              <a:ext uri="{FF2B5EF4-FFF2-40B4-BE49-F238E27FC236}">
                <a16:creationId xmlns:a16="http://schemas.microsoft.com/office/drawing/2014/main" id="{6CC9F263-C30D-404A-8010-B4E0DD12BA46}"/>
              </a:ext>
            </a:extLst>
          </p:cNvPr>
          <p:cNvSpPr>
            <a:spLocks/>
          </p:cNvSpPr>
          <p:nvPr/>
        </p:nvSpPr>
        <p:spPr bwMode="auto">
          <a:xfrm>
            <a:off x="6235922" y="4433856"/>
            <a:ext cx="62944" cy="86762"/>
          </a:xfrm>
          <a:custGeom>
            <a:avLst/>
            <a:gdLst>
              <a:gd name="T0" fmla="*/ 32 w 37"/>
              <a:gd name="T1" fmla="*/ 12 h 51"/>
              <a:gd name="T2" fmla="*/ 31 w 37"/>
              <a:gd name="T3" fmla="*/ 2 h 51"/>
              <a:gd name="T4" fmla="*/ 31 w 37"/>
              <a:gd name="T5" fmla="*/ 2 h 51"/>
              <a:gd name="T6" fmla="*/ 20 w 37"/>
              <a:gd name="T7" fmla="*/ 0 h 51"/>
              <a:gd name="T8" fmla="*/ 13 w 37"/>
              <a:gd name="T9" fmla="*/ 14 h 51"/>
              <a:gd name="T10" fmla="*/ 0 w 37"/>
              <a:gd name="T11" fmla="*/ 13 h 51"/>
              <a:gd name="T12" fmla="*/ 5 w 37"/>
              <a:gd name="T13" fmla="*/ 23 h 51"/>
              <a:gd name="T14" fmla="*/ 6 w 37"/>
              <a:gd name="T15" fmla="*/ 27 h 51"/>
              <a:gd name="T16" fmla="*/ 13 w 37"/>
              <a:gd name="T17" fmla="*/ 50 h 51"/>
              <a:gd name="T18" fmla="*/ 12 w 37"/>
              <a:gd name="T19" fmla="*/ 51 h 51"/>
              <a:gd name="T20" fmla="*/ 15 w 37"/>
              <a:gd name="T21" fmla="*/ 51 h 51"/>
              <a:gd name="T22" fmla="*/ 23 w 37"/>
              <a:gd name="T23" fmla="*/ 42 h 51"/>
              <a:gd name="T24" fmla="*/ 31 w 37"/>
              <a:gd name="T25" fmla="*/ 30 h 51"/>
              <a:gd name="T26" fmla="*/ 37 w 37"/>
              <a:gd name="T27" fmla="*/ 25 h 51"/>
              <a:gd name="T28" fmla="*/ 37 w 37"/>
              <a:gd name="T29" fmla="*/ 17 h 51"/>
              <a:gd name="T30" fmla="*/ 32 w 37"/>
              <a:gd name="T31" fmla="*/ 12 h 51"/>
              <a:gd name="T32" fmla="*/ 32 w 37"/>
              <a:gd name="T33"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51">
                <a:moveTo>
                  <a:pt x="32" y="12"/>
                </a:moveTo>
                <a:lnTo>
                  <a:pt x="31" y="2"/>
                </a:lnTo>
                <a:lnTo>
                  <a:pt x="31" y="2"/>
                </a:lnTo>
                <a:lnTo>
                  <a:pt x="20" y="0"/>
                </a:lnTo>
                <a:lnTo>
                  <a:pt x="13" y="14"/>
                </a:lnTo>
                <a:lnTo>
                  <a:pt x="0" y="13"/>
                </a:lnTo>
                <a:lnTo>
                  <a:pt x="5" y="23"/>
                </a:lnTo>
                <a:lnTo>
                  <a:pt x="6" y="27"/>
                </a:lnTo>
                <a:lnTo>
                  <a:pt x="13" y="50"/>
                </a:lnTo>
                <a:lnTo>
                  <a:pt x="12" y="51"/>
                </a:lnTo>
                <a:lnTo>
                  <a:pt x="15" y="51"/>
                </a:lnTo>
                <a:lnTo>
                  <a:pt x="23" y="42"/>
                </a:lnTo>
                <a:lnTo>
                  <a:pt x="31" y="30"/>
                </a:lnTo>
                <a:lnTo>
                  <a:pt x="37" y="25"/>
                </a:lnTo>
                <a:lnTo>
                  <a:pt x="37" y="17"/>
                </a:lnTo>
                <a:lnTo>
                  <a:pt x="32" y="12"/>
                </a:lnTo>
                <a:lnTo>
                  <a:pt x="32" y="1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29" name="Belgium">
            <a:extLst>
              <a:ext uri="{FF2B5EF4-FFF2-40B4-BE49-F238E27FC236}">
                <a16:creationId xmlns:a16="http://schemas.microsoft.com/office/drawing/2014/main" id="{B4630DEE-1224-430C-885F-F0F09AD22135}"/>
              </a:ext>
            </a:extLst>
          </p:cNvPr>
          <p:cNvSpPr>
            <a:spLocks/>
          </p:cNvSpPr>
          <p:nvPr/>
        </p:nvSpPr>
        <p:spPr bwMode="auto">
          <a:xfrm>
            <a:off x="5278140" y="2269910"/>
            <a:ext cx="112280" cy="76555"/>
          </a:xfrm>
          <a:custGeom>
            <a:avLst/>
            <a:gdLst>
              <a:gd name="T0" fmla="*/ 44 w 66"/>
              <a:gd name="T1" fmla="*/ 0 h 45"/>
              <a:gd name="T2" fmla="*/ 27 w 66"/>
              <a:gd name="T3" fmla="*/ 4 h 45"/>
              <a:gd name="T4" fmla="*/ 14 w 66"/>
              <a:gd name="T5" fmla="*/ 3 h 45"/>
              <a:gd name="T6" fmla="*/ 14 w 66"/>
              <a:gd name="T7" fmla="*/ 3 h 45"/>
              <a:gd name="T8" fmla="*/ 0 w 66"/>
              <a:gd name="T9" fmla="*/ 7 h 45"/>
              <a:gd name="T10" fmla="*/ 2 w 66"/>
              <a:gd name="T11" fmla="*/ 16 h 45"/>
              <a:gd name="T12" fmla="*/ 10 w 66"/>
              <a:gd name="T13" fmla="*/ 16 h 45"/>
              <a:gd name="T14" fmla="*/ 20 w 66"/>
              <a:gd name="T15" fmla="*/ 25 h 45"/>
              <a:gd name="T16" fmla="*/ 32 w 66"/>
              <a:gd name="T17" fmla="*/ 35 h 45"/>
              <a:gd name="T18" fmla="*/ 41 w 66"/>
              <a:gd name="T19" fmla="*/ 34 h 45"/>
              <a:gd name="T20" fmla="*/ 58 w 66"/>
              <a:gd name="T21" fmla="*/ 45 h 45"/>
              <a:gd name="T22" fmla="*/ 60 w 66"/>
              <a:gd name="T23" fmla="*/ 32 h 45"/>
              <a:gd name="T24" fmla="*/ 65 w 66"/>
              <a:gd name="T25" fmla="*/ 31 h 45"/>
              <a:gd name="T26" fmla="*/ 66 w 66"/>
              <a:gd name="T27" fmla="*/ 15 h 45"/>
              <a:gd name="T28" fmla="*/ 55 w 66"/>
              <a:gd name="T29" fmla="*/ 10 h 45"/>
              <a:gd name="T30" fmla="*/ 44 w 66"/>
              <a:gd name="T31" fmla="*/ 0 h 45"/>
              <a:gd name="T32" fmla="*/ 44 w 66"/>
              <a:gd name="T3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45">
                <a:moveTo>
                  <a:pt x="44" y="0"/>
                </a:moveTo>
                <a:lnTo>
                  <a:pt x="27" y="4"/>
                </a:lnTo>
                <a:lnTo>
                  <a:pt x="14" y="3"/>
                </a:lnTo>
                <a:lnTo>
                  <a:pt x="14" y="3"/>
                </a:lnTo>
                <a:lnTo>
                  <a:pt x="0" y="7"/>
                </a:lnTo>
                <a:lnTo>
                  <a:pt x="2" y="16"/>
                </a:lnTo>
                <a:lnTo>
                  <a:pt x="10" y="16"/>
                </a:lnTo>
                <a:lnTo>
                  <a:pt x="20" y="25"/>
                </a:lnTo>
                <a:lnTo>
                  <a:pt x="32" y="35"/>
                </a:lnTo>
                <a:lnTo>
                  <a:pt x="41" y="34"/>
                </a:lnTo>
                <a:lnTo>
                  <a:pt x="58" y="45"/>
                </a:lnTo>
                <a:lnTo>
                  <a:pt x="60" y="32"/>
                </a:lnTo>
                <a:lnTo>
                  <a:pt x="65" y="31"/>
                </a:lnTo>
                <a:lnTo>
                  <a:pt x="66" y="15"/>
                </a:lnTo>
                <a:lnTo>
                  <a:pt x="55" y="10"/>
                </a:lnTo>
                <a:lnTo>
                  <a:pt x="44" y="0"/>
                </a:lnTo>
                <a:lnTo>
                  <a:pt x="44"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30" name="Benin">
            <a:extLst>
              <a:ext uri="{FF2B5EF4-FFF2-40B4-BE49-F238E27FC236}">
                <a16:creationId xmlns:a16="http://schemas.microsoft.com/office/drawing/2014/main" id="{A42EF676-2F23-45C7-94A8-523CFDABDB14}"/>
              </a:ext>
            </a:extLst>
          </p:cNvPr>
          <p:cNvSpPr>
            <a:spLocks/>
          </p:cNvSpPr>
          <p:nvPr/>
        </p:nvSpPr>
        <p:spPr bwMode="auto">
          <a:xfrm>
            <a:off x="5227104" y="3845234"/>
            <a:ext cx="108878" cy="246677"/>
          </a:xfrm>
          <a:custGeom>
            <a:avLst/>
            <a:gdLst>
              <a:gd name="T0" fmla="*/ 60 w 64"/>
              <a:gd name="T1" fmla="*/ 14 h 145"/>
              <a:gd name="T2" fmla="*/ 43 w 64"/>
              <a:gd name="T3" fmla="*/ 0 h 145"/>
              <a:gd name="T4" fmla="*/ 36 w 64"/>
              <a:gd name="T5" fmla="*/ 0 h 145"/>
              <a:gd name="T6" fmla="*/ 29 w 64"/>
              <a:gd name="T7" fmla="*/ 7 h 145"/>
              <a:gd name="T8" fmla="*/ 25 w 64"/>
              <a:gd name="T9" fmla="*/ 14 h 145"/>
              <a:gd name="T10" fmla="*/ 14 w 64"/>
              <a:gd name="T11" fmla="*/ 17 h 145"/>
              <a:gd name="T12" fmla="*/ 10 w 64"/>
              <a:gd name="T13" fmla="*/ 27 h 145"/>
              <a:gd name="T14" fmla="*/ 3 w 64"/>
              <a:gd name="T15" fmla="*/ 30 h 145"/>
              <a:gd name="T16" fmla="*/ 0 w 64"/>
              <a:gd name="T17" fmla="*/ 42 h 145"/>
              <a:gd name="T18" fmla="*/ 7 w 64"/>
              <a:gd name="T19" fmla="*/ 49 h 145"/>
              <a:gd name="T20" fmla="*/ 14 w 64"/>
              <a:gd name="T21" fmla="*/ 58 h 145"/>
              <a:gd name="T22" fmla="*/ 15 w 64"/>
              <a:gd name="T23" fmla="*/ 69 h 145"/>
              <a:gd name="T24" fmla="*/ 19 w 64"/>
              <a:gd name="T25" fmla="*/ 74 h 145"/>
              <a:gd name="T26" fmla="*/ 18 w 64"/>
              <a:gd name="T27" fmla="*/ 129 h 145"/>
              <a:gd name="T28" fmla="*/ 24 w 64"/>
              <a:gd name="T29" fmla="*/ 145 h 145"/>
              <a:gd name="T30" fmla="*/ 40 w 64"/>
              <a:gd name="T31" fmla="*/ 142 h 145"/>
              <a:gd name="T32" fmla="*/ 41 w 64"/>
              <a:gd name="T33" fmla="*/ 104 h 145"/>
              <a:gd name="T34" fmla="*/ 41 w 64"/>
              <a:gd name="T35" fmla="*/ 89 h 145"/>
              <a:gd name="T36" fmla="*/ 45 w 64"/>
              <a:gd name="T37" fmla="*/ 74 h 145"/>
              <a:gd name="T38" fmla="*/ 52 w 64"/>
              <a:gd name="T39" fmla="*/ 66 h 145"/>
              <a:gd name="T40" fmla="*/ 62 w 64"/>
              <a:gd name="T41" fmla="*/ 51 h 145"/>
              <a:gd name="T42" fmla="*/ 59 w 64"/>
              <a:gd name="T43" fmla="*/ 46 h 145"/>
              <a:gd name="T44" fmla="*/ 64 w 64"/>
              <a:gd name="T45" fmla="*/ 36 h 145"/>
              <a:gd name="T46" fmla="*/ 59 w 64"/>
              <a:gd name="T47" fmla="*/ 21 h 145"/>
              <a:gd name="T48" fmla="*/ 60 w 64"/>
              <a:gd name="T49" fmla="*/ 14 h 145"/>
              <a:gd name="T50" fmla="*/ 60 w 64"/>
              <a:gd name="T51" fmla="*/ 1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 h="145">
                <a:moveTo>
                  <a:pt x="60" y="14"/>
                </a:moveTo>
                <a:lnTo>
                  <a:pt x="43" y="0"/>
                </a:lnTo>
                <a:lnTo>
                  <a:pt x="36" y="0"/>
                </a:lnTo>
                <a:lnTo>
                  <a:pt x="29" y="7"/>
                </a:lnTo>
                <a:lnTo>
                  <a:pt x="25" y="14"/>
                </a:lnTo>
                <a:lnTo>
                  <a:pt x="14" y="17"/>
                </a:lnTo>
                <a:lnTo>
                  <a:pt x="10" y="27"/>
                </a:lnTo>
                <a:lnTo>
                  <a:pt x="3" y="30"/>
                </a:lnTo>
                <a:lnTo>
                  <a:pt x="0" y="42"/>
                </a:lnTo>
                <a:lnTo>
                  <a:pt x="7" y="49"/>
                </a:lnTo>
                <a:lnTo>
                  <a:pt x="14" y="58"/>
                </a:lnTo>
                <a:lnTo>
                  <a:pt x="15" y="69"/>
                </a:lnTo>
                <a:lnTo>
                  <a:pt x="19" y="74"/>
                </a:lnTo>
                <a:lnTo>
                  <a:pt x="18" y="129"/>
                </a:lnTo>
                <a:lnTo>
                  <a:pt x="24" y="145"/>
                </a:lnTo>
                <a:lnTo>
                  <a:pt x="40" y="142"/>
                </a:lnTo>
                <a:lnTo>
                  <a:pt x="41" y="104"/>
                </a:lnTo>
                <a:lnTo>
                  <a:pt x="41" y="89"/>
                </a:lnTo>
                <a:lnTo>
                  <a:pt x="45" y="74"/>
                </a:lnTo>
                <a:lnTo>
                  <a:pt x="52" y="66"/>
                </a:lnTo>
                <a:lnTo>
                  <a:pt x="62" y="51"/>
                </a:lnTo>
                <a:lnTo>
                  <a:pt x="59" y="46"/>
                </a:lnTo>
                <a:lnTo>
                  <a:pt x="64" y="36"/>
                </a:lnTo>
                <a:lnTo>
                  <a:pt x="59" y="21"/>
                </a:lnTo>
                <a:lnTo>
                  <a:pt x="60" y="14"/>
                </a:lnTo>
                <a:lnTo>
                  <a:pt x="60" y="1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31" name="Burkina Faso">
            <a:extLst>
              <a:ext uri="{FF2B5EF4-FFF2-40B4-BE49-F238E27FC236}">
                <a16:creationId xmlns:a16="http://schemas.microsoft.com/office/drawing/2014/main" id="{06447376-0756-474B-A17F-71199D269F2A}"/>
              </a:ext>
            </a:extLst>
          </p:cNvPr>
          <p:cNvSpPr>
            <a:spLocks/>
          </p:cNvSpPr>
          <p:nvPr/>
        </p:nvSpPr>
        <p:spPr bwMode="auto">
          <a:xfrm>
            <a:off x="5005945" y="3729552"/>
            <a:ext cx="270493" cy="222859"/>
          </a:xfrm>
          <a:custGeom>
            <a:avLst/>
            <a:gdLst>
              <a:gd name="T0" fmla="*/ 122 w 159"/>
              <a:gd name="T1" fmla="*/ 5 h 131"/>
              <a:gd name="T2" fmla="*/ 109 w 159"/>
              <a:gd name="T3" fmla="*/ 5 h 131"/>
              <a:gd name="T4" fmla="*/ 103 w 159"/>
              <a:gd name="T5" fmla="*/ 0 h 131"/>
              <a:gd name="T6" fmla="*/ 92 w 159"/>
              <a:gd name="T7" fmla="*/ 4 h 131"/>
              <a:gd name="T8" fmla="*/ 72 w 159"/>
              <a:gd name="T9" fmla="*/ 13 h 131"/>
              <a:gd name="T10" fmla="*/ 69 w 159"/>
              <a:gd name="T11" fmla="*/ 20 h 131"/>
              <a:gd name="T12" fmla="*/ 53 w 159"/>
              <a:gd name="T13" fmla="*/ 32 h 131"/>
              <a:gd name="T14" fmla="*/ 50 w 159"/>
              <a:gd name="T15" fmla="*/ 37 h 131"/>
              <a:gd name="T16" fmla="*/ 41 w 159"/>
              <a:gd name="T17" fmla="*/ 42 h 131"/>
              <a:gd name="T18" fmla="*/ 31 w 159"/>
              <a:gd name="T19" fmla="*/ 39 h 131"/>
              <a:gd name="T20" fmla="*/ 25 w 159"/>
              <a:gd name="T21" fmla="*/ 45 h 131"/>
              <a:gd name="T22" fmla="*/ 22 w 159"/>
              <a:gd name="T23" fmla="*/ 61 h 131"/>
              <a:gd name="T24" fmla="*/ 5 w 159"/>
              <a:gd name="T25" fmla="*/ 80 h 131"/>
              <a:gd name="T26" fmla="*/ 6 w 159"/>
              <a:gd name="T27" fmla="*/ 89 h 131"/>
              <a:gd name="T28" fmla="*/ 0 w 159"/>
              <a:gd name="T29" fmla="*/ 99 h 131"/>
              <a:gd name="T30" fmla="*/ 1 w 159"/>
              <a:gd name="T31" fmla="*/ 113 h 131"/>
              <a:gd name="T32" fmla="*/ 11 w 159"/>
              <a:gd name="T33" fmla="*/ 117 h 131"/>
              <a:gd name="T34" fmla="*/ 15 w 159"/>
              <a:gd name="T35" fmla="*/ 126 h 131"/>
              <a:gd name="T36" fmla="*/ 24 w 159"/>
              <a:gd name="T37" fmla="*/ 131 h 131"/>
              <a:gd name="T38" fmla="*/ 31 w 159"/>
              <a:gd name="T39" fmla="*/ 125 h 131"/>
              <a:gd name="T40" fmla="*/ 41 w 159"/>
              <a:gd name="T41" fmla="*/ 124 h 131"/>
              <a:gd name="T42" fmla="*/ 56 w 159"/>
              <a:gd name="T43" fmla="*/ 130 h 131"/>
              <a:gd name="T44" fmla="*/ 52 w 159"/>
              <a:gd name="T45" fmla="*/ 112 h 131"/>
              <a:gd name="T46" fmla="*/ 53 w 159"/>
              <a:gd name="T47" fmla="*/ 99 h 131"/>
              <a:gd name="T48" fmla="*/ 89 w 159"/>
              <a:gd name="T49" fmla="*/ 97 h 131"/>
              <a:gd name="T50" fmla="*/ 99 w 159"/>
              <a:gd name="T51" fmla="*/ 99 h 131"/>
              <a:gd name="T52" fmla="*/ 105 w 159"/>
              <a:gd name="T53" fmla="*/ 95 h 131"/>
              <a:gd name="T54" fmla="*/ 114 w 159"/>
              <a:gd name="T55" fmla="*/ 97 h 131"/>
              <a:gd name="T56" fmla="*/ 133 w 159"/>
              <a:gd name="T57" fmla="*/ 98 h 131"/>
              <a:gd name="T58" fmla="*/ 140 w 159"/>
              <a:gd name="T59" fmla="*/ 95 h 131"/>
              <a:gd name="T60" fmla="*/ 144 w 159"/>
              <a:gd name="T61" fmla="*/ 85 h 131"/>
              <a:gd name="T62" fmla="*/ 155 w 159"/>
              <a:gd name="T63" fmla="*/ 82 h 131"/>
              <a:gd name="T64" fmla="*/ 159 w 159"/>
              <a:gd name="T65" fmla="*/ 75 h 131"/>
              <a:gd name="T66" fmla="*/ 159 w 159"/>
              <a:gd name="T67" fmla="*/ 59 h 131"/>
              <a:gd name="T68" fmla="*/ 136 w 159"/>
              <a:gd name="T69" fmla="*/ 54 h 131"/>
              <a:gd name="T70" fmla="*/ 135 w 159"/>
              <a:gd name="T71" fmla="*/ 42 h 131"/>
              <a:gd name="T72" fmla="*/ 123 w 159"/>
              <a:gd name="T73" fmla="*/ 27 h 131"/>
              <a:gd name="T74" fmla="*/ 120 w 159"/>
              <a:gd name="T75" fmla="*/ 16 h 131"/>
              <a:gd name="T76" fmla="*/ 122 w 159"/>
              <a:gd name="T77" fmla="*/ 5 h 131"/>
              <a:gd name="T78" fmla="*/ 122 w 159"/>
              <a:gd name="T79" fmla="*/ 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 h="131">
                <a:moveTo>
                  <a:pt x="122" y="5"/>
                </a:moveTo>
                <a:lnTo>
                  <a:pt x="109" y="5"/>
                </a:lnTo>
                <a:lnTo>
                  <a:pt x="103" y="0"/>
                </a:lnTo>
                <a:lnTo>
                  <a:pt x="92" y="4"/>
                </a:lnTo>
                <a:lnTo>
                  <a:pt x="72" y="13"/>
                </a:lnTo>
                <a:lnTo>
                  <a:pt x="69" y="20"/>
                </a:lnTo>
                <a:lnTo>
                  <a:pt x="53" y="32"/>
                </a:lnTo>
                <a:lnTo>
                  <a:pt x="50" y="37"/>
                </a:lnTo>
                <a:lnTo>
                  <a:pt x="41" y="42"/>
                </a:lnTo>
                <a:lnTo>
                  <a:pt x="31" y="39"/>
                </a:lnTo>
                <a:lnTo>
                  <a:pt x="25" y="45"/>
                </a:lnTo>
                <a:lnTo>
                  <a:pt x="22" y="61"/>
                </a:lnTo>
                <a:lnTo>
                  <a:pt x="5" y="80"/>
                </a:lnTo>
                <a:lnTo>
                  <a:pt x="6" y="89"/>
                </a:lnTo>
                <a:lnTo>
                  <a:pt x="0" y="99"/>
                </a:lnTo>
                <a:lnTo>
                  <a:pt x="1" y="113"/>
                </a:lnTo>
                <a:lnTo>
                  <a:pt x="11" y="117"/>
                </a:lnTo>
                <a:lnTo>
                  <a:pt x="15" y="126"/>
                </a:lnTo>
                <a:lnTo>
                  <a:pt x="24" y="131"/>
                </a:lnTo>
                <a:lnTo>
                  <a:pt x="31" y="125"/>
                </a:lnTo>
                <a:lnTo>
                  <a:pt x="41" y="124"/>
                </a:lnTo>
                <a:lnTo>
                  <a:pt x="56" y="130"/>
                </a:lnTo>
                <a:lnTo>
                  <a:pt x="52" y="112"/>
                </a:lnTo>
                <a:lnTo>
                  <a:pt x="53" y="99"/>
                </a:lnTo>
                <a:lnTo>
                  <a:pt x="89" y="97"/>
                </a:lnTo>
                <a:lnTo>
                  <a:pt x="99" y="99"/>
                </a:lnTo>
                <a:lnTo>
                  <a:pt x="105" y="95"/>
                </a:lnTo>
                <a:lnTo>
                  <a:pt x="114" y="97"/>
                </a:lnTo>
                <a:lnTo>
                  <a:pt x="133" y="98"/>
                </a:lnTo>
                <a:lnTo>
                  <a:pt x="140" y="95"/>
                </a:lnTo>
                <a:lnTo>
                  <a:pt x="144" y="85"/>
                </a:lnTo>
                <a:lnTo>
                  <a:pt x="155" y="82"/>
                </a:lnTo>
                <a:lnTo>
                  <a:pt x="159" y="75"/>
                </a:lnTo>
                <a:lnTo>
                  <a:pt x="159" y="59"/>
                </a:lnTo>
                <a:lnTo>
                  <a:pt x="136" y="54"/>
                </a:lnTo>
                <a:lnTo>
                  <a:pt x="135" y="42"/>
                </a:lnTo>
                <a:lnTo>
                  <a:pt x="123" y="27"/>
                </a:lnTo>
                <a:lnTo>
                  <a:pt x="120" y="16"/>
                </a:lnTo>
                <a:lnTo>
                  <a:pt x="122" y="5"/>
                </a:lnTo>
                <a:lnTo>
                  <a:pt x="122" y="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32" name="Bulgaria">
            <a:extLst>
              <a:ext uri="{FF2B5EF4-FFF2-40B4-BE49-F238E27FC236}">
                <a16:creationId xmlns:a16="http://schemas.microsoft.com/office/drawing/2014/main" id="{8F2CB280-CFDC-4DFA-826F-AE927616AE13}"/>
              </a:ext>
            </a:extLst>
          </p:cNvPr>
          <p:cNvSpPr>
            <a:spLocks/>
          </p:cNvSpPr>
          <p:nvPr/>
        </p:nvSpPr>
        <p:spPr bwMode="auto">
          <a:xfrm>
            <a:off x="5921199" y="2554013"/>
            <a:ext cx="199042" cy="117384"/>
          </a:xfrm>
          <a:custGeom>
            <a:avLst/>
            <a:gdLst>
              <a:gd name="T0" fmla="*/ 117 w 117"/>
              <a:gd name="T1" fmla="*/ 12 h 69"/>
              <a:gd name="T2" fmla="*/ 106 w 117"/>
              <a:gd name="T3" fmla="*/ 9 h 69"/>
              <a:gd name="T4" fmla="*/ 91 w 117"/>
              <a:gd name="T5" fmla="*/ 2 h 69"/>
              <a:gd name="T6" fmla="*/ 69 w 117"/>
              <a:gd name="T7" fmla="*/ 6 h 69"/>
              <a:gd name="T8" fmla="*/ 61 w 117"/>
              <a:gd name="T9" fmla="*/ 13 h 69"/>
              <a:gd name="T10" fmla="*/ 33 w 117"/>
              <a:gd name="T11" fmla="*/ 11 h 69"/>
              <a:gd name="T12" fmla="*/ 18 w 117"/>
              <a:gd name="T13" fmla="*/ 7 h 69"/>
              <a:gd name="T14" fmla="*/ 11 w 117"/>
              <a:gd name="T15" fmla="*/ 9 h 69"/>
              <a:gd name="T16" fmla="*/ 4 w 117"/>
              <a:gd name="T17" fmla="*/ 0 h 69"/>
              <a:gd name="T18" fmla="*/ 0 w 117"/>
              <a:gd name="T19" fmla="*/ 6 h 69"/>
              <a:gd name="T20" fmla="*/ 3 w 117"/>
              <a:gd name="T21" fmla="*/ 14 h 69"/>
              <a:gd name="T22" fmla="*/ 13 w 117"/>
              <a:gd name="T23" fmla="*/ 23 h 69"/>
              <a:gd name="T24" fmla="*/ 7 w 117"/>
              <a:gd name="T25" fmla="*/ 31 h 69"/>
              <a:gd name="T26" fmla="*/ 4 w 117"/>
              <a:gd name="T27" fmla="*/ 38 h 69"/>
              <a:gd name="T28" fmla="*/ 7 w 117"/>
              <a:gd name="T29" fmla="*/ 41 h 69"/>
              <a:gd name="T30" fmla="*/ 4 w 117"/>
              <a:gd name="T31" fmla="*/ 44 h 69"/>
              <a:gd name="T32" fmla="*/ 14 w 117"/>
              <a:gd name="T33" fmla="*/ 51 h 69"/>
              <a:gd name="T34" fmla="*/ 17 w 117"/>
              <a:gd name="T35" fmla="*/ 67 h 69"/>
              <a:gd name="T36" fmla="*/ 31 w 117"/>
              <a:gd name="T37" fmla="*/ 67 h 69"/>
              <a:gd name="T38" fmla="*/ 46 w 117"/>
              <a:gd name="T39" fmla="*/ 62 h 69"/>
              <a:gd name="T40" fmla="*/ 61 w 117"/>
              <a:gd name="T41" fmla="*/ 69 h 69"/>
              <a:gd name="T42" fmla="*/ 78 w 117"/>
              <a:gd name="T43" fmla="*/ 67 h 69"/>
              <a:gd name="T44" fmla="*/ 77 w 117"/>
              <a:gd name="T45" fmla="*/ 56 h 69"/>
              <a:gd name="T46" fmla="*/ 96 w 117"/>
              <a:gd name="T47" fmla="*/ 48 h 69"/>
              <a:gd name="T48" fmla="*/ 112 w 117"/>
              <a:gd name="T49" fmla="*/ 51 h 69"/>
              <a:gd name="T50" fmla="*/ 104 w 117"/>
              <a:gd name="T51" fmla="*/ 38 h 69"/>
              <a:gd name="T52" fmla="*/ 110 w 117"/>
              <a:gd name="T53" fmla="*/ 21 h 69"/>
              <a:gd name="T54" fmla="*/ 117 w 117"/>
              <a:gd name="T55" fmla="*/ 12 h 69"/>
              <a:gd name="T56" fmla="*/ 117 w 117"/>
              <a:gd name="T57" fmla="*/ 1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7" h="69">
                <a:moveTo>
                  <a:pt x="117" y="12"/>
                </a:moveTo>
                <a:lnTo>
                  <a:pt x="106" y="9"/>
                </a:lnTo>
                <a:lnTo>
                  <a:pt x="91" y="2"/>
                </a:lnTo>
                <a:lnTo>
                  <a:pt x="69" y="6"/>
                </a:lnTo>
                <a:lnTo>
                  <a:pt x="61" y="13"/>
                </a:lnTo>
                <a:lnTo>
                  <a:pt x="33" y="11"/>
                </a:lnTo>
                <a:lnTo>
                  <a:pt x="18" y="7"/>
                </a:lnTo>
                <a:lnTo>
                  <a:pt x="11" y="9"/>
                </a:lnTo>
                <a:lnTo>
                  <a:pt x="4" y="0"/>
                </a:lnTo>
                <a:lnTo>
                  <a:pt x="0" y="6"/>
                </a:lnTo>
                <a:lnTo>
                  <a:pt x="3" y="14"/>
                </a:lnTo>
                <a:lnTo>
                  <a:pt x="13" y="23"/>
                </a:lnTo>
                <a:lnTo>
                  <a:pt x="7" y="31"/>
                </a:lnTo>
                <a:lnTo>
                  <a:pt x="4" y="38"/>
                </a:lnTo>
                <a:lnTo>
                  <a:pt x="7" y="41"/>
                </a:lnTo>
                <a:lnTo>
                  <a:pt x="4" y="44"/>
                </a:lnTo>
                <a:lnTo>
                  <a:pt x="14" y="51"/>
                </a:lnTo>
                <a:lnTo>
                  <a:pt x="17" y="67"/>
                </a:lnTo>
                <a:lnTo>
                  <a:pt x="31" y="67"/>
                </a:lnTo>
                <a:lnTo>
                  <a:pt x="46" y="62"/>
                </a:lnTo>
                <a:lnTo>
                  <a:pt x="61" y="69"/>
                </a:lnTo>
                <a:lnTo>
                  <a:pt x="78" y="67"/>
                </a:lnTo>
                <a:lnTo>
                  <a:pt x="77" y="56"/>
                </a:lnTo>
                <a:lnTo>
                  <a:pt x="96" y="48"/>
                </a:lnTo>
                <a:lnTo>
                  <a:pt x="112" y="51"/>
                </a:lnTo>
                <a:lnTo>
                  <a:pt x="104" y="38"/>
                </a:lnTo>
                <a:lnTo>
                  <a:pt x="110" y="21"/>
                </a:lnTo>
                <a:lnTo>
                  <a:pt x="117" y="12"/>
                </a:lnTo>
                <a:lnTo>
                  <a:pt x="117" y="1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33" name="Bosnia and Herzegovina">
            <a:extLst>
              <a:ext uri="{FF2B5EF4-FFF2-40B4-BE49-F238E27FC236}">
                <a16:creationId xmlns:a16="http://schemas.microsoft.com/office/drawing/2014/main" id="{DE61A937-35F5-49F1-89A3-E8BD99F0E96A}"/>
              </a:ext>
            </a:extLst>
          </p:cNvPr>
          <p:cNvSpPr>
            <a:spLocks/>
          </p:cNvSpPr>
          <p:nvPr/>
        </p:nvSpPr>
        <p:spPr bwMode="auto">
          <a:xfrm>
            <a:off x="5703442" y="2516588"/>
            <a:ext cx="127591" cy="98670"/>
          </a:xfrm>
          <a:custGeom>
            <a:avLst/>
            <a:gdLst>
              <a:gd name="T0" fmla="*/ 24 w 75"/>
              <a:gd name="T1" fmla="*/ 0 h 58"/>
              <a:gd name="T2" fmla="*/ 15 w 75"/>
              <a:gd name="T3" fmla="*/ 0 h 58"/>
              <a:gd name="T4" fmla="*/ 12 w 75"/>
              <a:gd name="T5" fmla="*/ 4 h 58"/>
              <a:gd name="T6" fmla="*/ 4 w 75"/>
              <a:gd name="T7" fmla="*/ 0 h 58"/>
              <a:gd name="T8" fmla="*/ 0 w 75"/>
              <a:gd name="T9" fmla="*/ 9 h 58"/>
              <a:gd name="T10" fmla="*/ 11 w 75"/>
              <a:gd name="T11" fmla="*/ 19 h 58"/>
              <a:gd name="T12" fmla="*/ 15 w 75"/>
              <a:gd name="T13" fmla="*/ 27 h 58"/>
              <a:gd name="T14" fmla="*/ 25 w 75"/>
              <a:gd name="T15" fmla="*/ 35 h 58"/>
              <a:gd name="T16" fmla="*/ 32 w 75"/>
              <a:gd name="T17" fmla="*/ 41 h 58"/>
              <a:gd name="T18" fmla="*/ 41 w 75"/>
              <a:gd name="T19" fmla="*/ 50 h 58"/>
              <a:gd name="T20" fmla="*/ 58 w 75"/>
              <a:gd name="T21" fmla="*/ 58 h 58"/>
              <a:gd name="T22" fmla="*/ 60 w 75"/>
              <a:gd name="T23" fmla="*/ 46 h 58"/>
              <a:gd name="T24" fmla="*/ 66 w 75"/>
              <a:gd name="T25" fmla="*/ 41 h 58"/>
              <a:gd name="T26" fmla="*/ 69 w 75"/>
              <a:gd name="T27" fmla="*/ 39 h 58"/>
              <a:gd name="T28" fmla="*/ 73 w 75"/>
              <a:gd name="T29" fmla="*/ 37 h 58"/>
              <a:gd name="T30" fmla="*/ 75 w 75"/>
              <a:gd name="T31" fmla="*/ 27 h 58"/>
              <a:gd name="T32" fmla="*/ 65 w 75"/>
              <a:gd name="T33" fmla="*/ 18 h 58"/>
              <a:gd name="T34" fmla="*/ 69 w 75"/>
              <a:gd name="T35" fmla="*/ 8 h 58"/>
              <a:gd name="T36" fmla="*/ 62 w 75"/>
              <a:gd name="T37" fmla="*/ 8 h 58"/>
              <a:gd name="T38" fmla="*/ 62 w 75"/>
              <a:gd name="T39" fmla="*/ 8 h 58"/>
              <a:gd name="T40" fmla="*/ 53 w 75"/>
              <a:gd name="T41" fmla="*/ 2 h 58"/>
              <a:gd name="T42" fmla="*/ 40 w 75"/>
              <a:gd name="T43" fmla="*/ 3 h 58"/>
              <a:gd name="T44" fmla="*/ 24 w 75"/>
              <a:gd name="T45" fmla="*/ 0 h 58"/>
              <a:gd name="T46" fmla="*/ 24 w 75"/>
              <a:gd name="T4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5" h="58">
                <a:moveTo>
                  <a:pt x="24" y="0"/>
                </a:moveTo>
                <a:lnTo>
                  <a:pt x="15" y="0"/>
                </a:lnTo>
                <a:lnTo>
                  <a:pt x="12" y="4"/>
                </a:lnTo>
                <a:lnTo>
                  <a:pt x="4" y="0"/>
                </a:lnTo>
                <a:lnTo>
                  <a:pt x="0" y="9"/>
                </a:lnTo>
                <a:lnTo>
                  <a:pt x="11" y="19"/>
                </a:lnTo>
                <a:lnTo>
                  <a:pt x="15" y="27"/>
                </a:lnTo>
                <a:lnTo>
                  <a:pt x="25" y="35"/>
                </a:lnTo>
                <a:lnTo>
                  <a:pt x="32" y="41"/>
                </a:lnTo>
                <a:lnTo>
                  <a:pt x="41" y="50"/>
                </a:lnTo>
                <a:lnTo>
                  <a:pt x="58" y="58"/>
                </a:lnTo>
                <a:lnTo>
                  <a:pt x="60" y="46"/>
                </a:lnTo>
                <a:lnTo>
                  <a:pt x="66" y="41"/>
                </a:lnTo>
                <a:lnTo>
                  <a:pt x="69" y="39"/>
                </a:lnTo>
                <a:lnTo>
                  <a:pt x="73" y="37"/>
                </a:lnTo>
                <a:lnTo>
                  <a:pt x="75" y="27"/>
                </a:lnTo>
                <a:lnTo>
                  <a:pt x="65" y="18"/>
                </a:lnTo>
                <a:lnTo>
                  <a:pt x="69" y="8"/>
                </a:lnTo>
                <a:lnTo>
                  <a:pt x="62" y="8"/>
                </a:lnTo>
                <a:lnTo>
                  <a:pt x="62" y="8"/>
                </a:lnTo>
                <a:lnTo>
                  <a:pt x="53" y="2"/>
                </a:lnTo>
                <a:lnTo>
                  <a:pt x="40" y="3"/>
                </a:lnTo>
                <a:lnTo>
                  <a:pt x="24" y="0"/>
                </a:lnTo>
                <a:lnTo>
                  <a:pt x="24"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34" name="Belarus">
            <a:extLst>
              <a:ext uri="{FF2B5EF4-FFF2-40B4-BE49-F238E27FC236}">
                <a16:creationId xmlns:a16="http://schemas.microsoft.com/office/drawing/2014/main" id="{76D6DB24-EA6F-4E33-9F95-D26860A34317}"/>
              </a:ext>
            </a:extLst>
          </p:cNvPr>
          <p:cNvSpPr>
            <a:spLocks/>
          </p:cNvSpPr>
          <p:nvPr/>
        </p:nvSpPr>
        <p:spPr bwMode="auto">
          <a:xfrm>
            <a:off x="5905887" y="2089581"/>
            <a:ext cx="282401" cy="187134"/>
          </a:xfrm>
          <a:custGeom>
            <a:avLst/>
            <a:gdLst>
              <a:gd name="T0" fmla="*/ 93 w 166"/>
              <a:gd name="T1" fmla="*/ 6 h 110"/>
              <a:gd name="T2" fmla="*/ 74 w 166"/>
              <a:gd name="T3" fmla="*/ 0 h 110"/>
              <a:gd name="T4" fmla="*/ 57 w 166"/>
              <a:gd name="T5" fmla="*/ 9 h 110"/>
              <a:gd name="T6" fmla="*/ 48 w 166"/>
              <a:gd name="T7" fmla="*/ 12 h 110"/>
              <a:gd name="T8" fmla="*/ 50 w 166"/>
              <a:gd name="T9" fmla="*/ 22 h 110"/>
              <a:gd name="T10" fmla="*/ 37 w 166"/>
              <a:gd name="T11" fmla="*/ 29 h 110"/>
              <a:gd name="T12" fmla="*/ 35 w 166"/>
              <a:gd name="T13" fmla="*/ 42 h 110"/>
              <a:gd name="T14" fmla="*/ 18 w 166"/>
              <a:gd name="T15" fmla="*/ 51 h 110"/>
              <a:gd name="T16" fmla="*/ 1 w 166"/>
              <a:gd name="T17" fmla="*/ 51 h 110"/>
              <a:gd name="T18" fmla="*/ 3 w 166"/>
              <a:gd name="T19" fmla="*/ 60 h 110"/>
              <a:gd name="T20" fmla="*/ 9 w 166"/>
              <a:gd name="T21" fmla="*/ 69 h 110"/>
              <a:gd name="T22" fmla="*/ 10 w 166"/>
              <a:gd name="T23" fmla="*/ 78 h 110"/>
              <a:gd name="T24" fmla="*/ 0 w 166"/>
              <a:gd name="T25" fmla="*/ 82 h 110"/>
              <a:gd name="T26" fmla="*/ 7 w 166"/>
              <a:gd name="T27" fmla="*/ 94 h 110"/>
              <a:gd name="T28" fmla="*/ 9 w 166"/>
              <a:gd name="T29" fmla="*/ 103 h 110"/>
              <a:gd name="T30" fmla="*/ 18 w 166"/>
              <a:gd name="T31" fmla="*/ 102 h 110"/>
              <a:gd name="T32" fmla="*/ 26 w 166"/>
              <a:gd name="T33" fmla="*/ 96 h 110"/>
              <a:gd name="T34" fmla="*/ 40 w 166"/>
              <a:gd name="T35" fmla="*/ 96 h 110"/>
              <a:gd name="T36" fmla="*/ 59 w 166"/>
              <a:gd name="T37" fmla="*/ 97 h 110"/>
              <a:gd name="T38" fmla="*/ 79 w 166"/>
              <a:gd name="T39" fmla="*/ 103 h 110"/>
              <a:gd name="T40" fmla="*/ 94 w 166"/>
              <a:gd name="T41" fmla="*/ 103 h 110"/>
              <a:gd name="T42" fmla="*/ 102 w 166"/>
              <a:gd name="T43" fmla="*/ 107 h 110"/>
              <a:gd name="T44" fmla="*/ 107 w 166"/>
              <a:gd name="T45" fmla="*/ 103 h 110"/>
              <a:gd name="T46" fmla="*/ 113 w 166"/>
              <a:gd name="T47" fmla="*/ 109 h 110"/>
              <a:gd name="T48" fmla="*/ 129 w 166"/>
              <a:gd name="T49" fmla="*/ 107 h 110"/>
              <a:gd name="T50" fmla="*/ 136 w 166"/>
              <a:gd name="T51" fmla="*/ 110 h 110"/>
              <a:gd name="T52" fmla="*/ 135 w 166"/>
              <a:gd name="T53" fmla="*/ 97 h 110"/>
              <a:gd name="T54" fmla="*/ 140 w 166"/>
              <a:gd name="T55" fmla="*/ 93 h 110"/>
              <a:gd name="T56" fmla="*/ 156 w 166"/>
              <a:gd name="T57" fmla="*/ 92 h 110"/>
              <a:gd name="T58" fmla="*/ 156 w 166"/>
              <a:gd name="T59" fmla="*/ 92 h 110"/>
              <a:gd name="T60" fmla="*/ 148 w 166"/>
              <a:gd name="T61" fmla="*/ 77 h 110"/>
              <a:gd name="T62" fmla="*/ 143 w 166"/>
              <a:gd name="T63" fmla="*/ 69 h 110"/>
              <a:gd name="T64" fmla="*/ 146 w 166"/>
              <a:gd name="T65" fmla="*/ 68 h 110"/>
              <a:gd name="T66" fmla="*/ 160 w 166"/>
              <a:gd name="T67" fmla="*/ 68 h 110"/>
              <a:gd name="T68" fmla="*/ 166 w 166"/>
              <a:gd name="T69" fmla="*/ 63 h 110"/>
              <a:gd name="T70" fmla="*/ 160 w 166"/>
              <a:gd name="T71" fmla="*/ 57 h 110"/>
              <a:gd name="T72" fmla="*/ 147 w 166"/>
              <a:gd name="T73" fmla="*/ 53 h 110"/>
              <a:gd name="T74" fmla="*/ 148 w 166"/>
              <a:gd name="T75" fmla="*/ 49 h 110"/>
              <a:gd name="T76" fmla="*/ 139 w 166"/>
              <a:gd name="T77" fmla="*/ 45 h 110"/>
              <a:gd name="T78" fmla="*/ 125 w 166"/>
              <a:gd name="T79" fmla="*/ 30 h 110"/>
              <a:gd name="T80" fmla="*/ 128 w 166"/>
              <a:gd name="T81" fmla="*/ 25 h 110"/>
              <a:gd name="T82" fmla="*/ 124 w 166"/>
              <a:gd name="T83" fmla="*/ 13 h 110"/>
              <a:gd name="T84" fmla="*/ 105 w 166"/>
              <a:gd name="T85" fmla="*/ 8 h 110"/>
              <a:gd name="T86" fmla="*/ 97 w 166"/>
              <a:gd name="T87" fmla="*/ 11 h 110"/>
              <a:gd name="T88" fmla="*/ 93 w 166"/>
              <a:gd name="T89" fmla="*/ 6 h 110"/>
              <a:gd name="T90" fmla="*/ 93 w 166"/>
              <a:gd name="T91" fmla="*/ 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6" h="110">
                <a:moveTo>
                  <a:pt x="93" y="6"/>
                </a:moveTo>
                <a:lnTo>
                  <a:pt x="74" y="0"/>
                </a:lnTo>
                <a:lnTo>
                  <a:pt x="57" y="9"/>
                </a:lnTo>
                <a:lnTo>
                  <a:pt x="48" y="12"/>
                </a:lnTo>
                <a:lnTo>
                  <a:pt x="50" y="22"/>
                </a:lnTo>
                <a:lnTo>
                  <a:pt x="37" y="29"/>
                </a:lnTo>
                <a:lnTo>
                  <a:pt x="35" y="42"/>
                </a:lnTo>
                <a:lnTo>
                  <a:pt x="18" y="51"/>
                </a:lnTo>
                <a:lnTo>
                  <a:pt x="1" y="51"/>
                </a:lnTo>
                <a:lnTo>
                  <a:pt x="3" y="60"/>
                </a:lnTo>
                <a:lnTo>
                  <a:pt x="9" y="69"/>
                </a:lnTo>
                <a:lnTo>
                  <a:pt x="10" y="78"/>
                </a:lnTo>
                <a:lnTo>
                  <a:pt x="0" y="82"/>
                </a:lnTo>
                <a:lnTo>
                  <a:pt x="7" y="94"/>
                </a:lnTo>
                <a:lnTo>
                  <a:pt x="9" y="103"/>
                </a:lnTo>
                <a:lnTo>
                  <a:pt x="18" y="102"/>
                </a:lnTo>
                <a:lnTo>
                  <a:pt x="26" y="96"/>
                </a:lnTo>
                <a:lnTo>
                  <a:pt x="40" y="96"/>
                </a:lnTo>
                <a:lnTo>
                  <a:pt x="59" y="97"/>
                </a:lnTo>
                <a:lnTo>
                  <a:pt x="79" y="103"/>
                </a:lnTo>
                <a:lnTo>
                  <a:pt x="94" y="103"/>
                </a:lnTo>
                <a:lnTo>
                  <a:pt x="102" y="107"/>
                </a:lnTo>
                <a:lnTo>
                  <a:pt x="107" y="103"/>
                </a:lnTo>
                <a:lnTo>
                  <a:pt x="113" y="109"/>
                </a:lnTo>
                <a:lnTo>
                  <a:pt x="129" y="107"/>
                </a:lnTo>
                <a:lnTo>
                  <a:pt x="136" y="110"/>
                </a:lnTo>
                <a:lnTo>
                  <a:pt x="135" y="97"/>
                </a:lnTo>
                <a:lnTo>
                  <a:pt x="140" y="93"/>
                </a:lnTo>
                <a:lnTo>
                  <a:pt x="156" y="92"/>
                </a:lnTo>
                <a:lnTo>
                  <a:pt x="156" y="92"/>
                </a:lnTo>
                <a:lnTo>
                  <a:pt x="148" y="77"/>
                </a:lnTo>
                <a:lnTo>
                  <a:pt x="143" y="69"/>
                </a:lnTo>
                <a:lnTo>
                  <a:pt x="146" y="68"/>
                </a:lnTo>
                <a:lnTo>
                  <a:pt x="160" y="68"/>
                </a:lnTo>
                <a:lnTo>
                  <a:pt x="166" y="63"/>
                </a:lnTo>
                <a:lnTo>
                  <a:pt x="160" y="57"/>
                </a:lnTo>
                <a:lnTo>
                  <a:pt x="147" y="53"/>
                </a:lnTo>
                <a:lnTo>
                  <a:pt x="148" y="49"/>
                </a:lnTo>
                <a:lnTo>
                  <a:pt x="139" y="45"/>
                </a:lnTo>
                <a:lnTo>
                  <a:pt x="125" y="30"/>
                </a:lnTo>
                <a:lnTo>
                  <a:pt x="128" y="25"/>
                </a:lnTo>
                <a:lnTo>
                  <a:pt x="124" y="13"/>
                </a:lnTo>
                <a:lnTo>
                  <a:pt x="105" y="8"/>
                </a:lnTo>
                <a:lnTo>
                  <a:pt x="97" y="11"/>
                </a:lnTo>
                <a:lnTo>
                  <a:pt x="93" y="6"/>
                </a:lnTo>
                <a:lnTo>
                  <a:pt x="93" y="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35" name="Belize">
            <a:extLst>
              <a:ext uri="{FF2B5EF4-FFF2-40B4-BE49-F238E27FC236}">
                <a16:creationId xmlns:a16="http://schemas.microsoft.com/office/drawing/2014/main" id="{098D2D7C-732A-434A-B92A-DE9C167A9A5D}"/>
              </a:ext>
            </a:extLst>
          </p:cNvPr>
          <p:cNvSpPr>
            <a:spLocks/>
          </p:cNvSpPr>
          <p:nvPr/>
        </p:nvSpPr>
        <p:spPr bwMode="auto">
          <a:xfrm>
            <a:off x="2050935" y="3593455"/>
            <a:ext cx="51037" cy="103775"/>
          </a:xfrm>
          <a:custGeom>
            <a:avLst/>
            <a:gdLst>
              <a:gd name="T0" fmla="*/ 6 w 30"/>
              <a:gd name="T1" fmla="*/ 61 h 61"/>
              <a:gd name="T2" fmla="*/ 11 w 30"/>
              <a:gd name="T3" fmla="*/ 54 h 61"/>
              <a:gd name="T4" fmla="*/ 15 w 30"/>
              <a:gd name="T5" fmla="*/ 53 h 61"/>
              <a:gd name="T6" fmla="*/ 20 w 30"/>
              <a:gd name="T7" fmla="*/ 46 h 61"/>
              <a:gd name="T8" fmla="*/ 23 w 30"/>
              <a:gd name="T9" fmla="*/ 34 h 61"/>
              <a:gd name="T10" fmla="*/ 22 w 30"/>
              <a:gd name="T11" fmla="*/ 32 h 61"/>
              <a:gd name="T12" fmla="*/ 25 w 30"/>
              <a:gd name="T13" fmla="*/ 24 h 61"/>
              <a:gd name="T14" fmla="*/ 24 w 30"/>
              <a:gd name="T15" fmla="*/ 20 h 61"/>
              <a:gd name="T16" fmla="*/ 29 w 30"/>
              <a:gd name="T17" fmla="*/ 10 h 61"/>
              <a:gd name="T18" fmla="*/ 30 w 30"/>
              <a:gd name="T19" fmla="*/ 3 h 61"/>
              <a:gd name="T20" fmla="*/ 26 w 30"/>
              <a:gd name="T21" fmla="*/ 3 h 61"/>
              <a:gd name="T22" fmla="*/ 26 w 30"/>
              <a:gd name="T23" fmla="*/ 0 h 61"/>
              <a:gd name="T24" fmla="*/ 22 w 30"/>
              <a:gd name="T25" fmla="*/ 0 h 61"/>
              <a:gd name="T26" fmla="*/ 13 w 30"/>
              <a:gd name="T27" fmla="*/ 14 h 61"/>
              <a:gd name="T28" fmla="*/ 9 w 30"/>
              <a:gd name="T29" fmla="*/ 11 h 61"/>
              <a:gd name="T30" fmla="*/ 7 w 30"/>
              <a:gd name="T31" fmla="*/ 13 h 61"/>
              <a:gd name="T32" fmla="*/ 7 w 30"/>
              <a:gd name="T33" fmla="*/ 16 h 61"/>
              <a:gd name="T34" fmla="*/ 4 w 30"/>
              <a:gd name="T35" fmla="*/ 35 h 61"/>
              <a:gd name="T36" fmla="*/ 0 w 30"/>
              <a:gd name="T37" fmla="*/ 61 h 61"/>
              <a:gd name="T38" fmla="*/ 6 w 30"/>
              <a:gd name="T39" fmla="*/ 61 h 61"/>
              <a:gd name="T40" fmla="*/ 6 w 30"/>
              <a:gd name="T4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61">
                <a:moveTo>
                  <a:pt x="6" y="61"/>
                </a:moveTo>
                <a:lnTo>
                  <a:pt x="11" y="54"/>
                </a:lnTo>
                <a:lnTo>
                  <a:pt x="15" y="53"/>
                </a:lnTo>
                <a:lnTo>
                  <a:pt x="20" y="46"/>
                </a:lnTo>
                <a:lnTo>
                  <a:pt x="23" y="34"/>
                </a:lnTo>
                <a:lnTo>
                  <a:pt x="22" y="32"/>
                </a:lnTo>
                <a:lnTo>
                  <a:pt x="25" y="24"/>
                </a:lnTo>
                <a:lnTo>
                  <a:pt x="24" y="20"/>
                </a:lnTo>
                <a:lnTo>
                  <a:pt x="29" y="10"/>
                </a:lnTo>
                <a:lnTo>
                  <a:pt x="30" y="3"/>
                </a:lnTo>
                <a:lnTo>
                  <a:pt x="26" y="3"/>
                </a:lnTo>
                <a:lnTo>
                  <a:pt x="26" y="0"/>
                </a:lnTo>
                <a:lnTo>
                  <a:pt x="22" y="0"/>
                </a:lnTo>
                <a:lnTo>
                  <a:pt x="13" y="14"/>
                </a:lnTo>
                <a:lnTo>
                  <a:pt x="9" y="11"/>
                </a:lnTo>
                <a:lnTo>
                  <a:pt x="7" y="13"/>
                </a:lnTo>
                <a:lnTo>
                  <a:pt x="7" y="16"/>
                </a:lnTo>
                <a:lnTo>
                  <a:pt x="4" y="35"/>
                </a:lnTo>
                <a:lnTo>
                  <a:pt x="0" y="61"/>
                </a:lnTo>
                <a:lnTo>
                  <a:pt x="6" y="61"/>
                </a:lnTo>
                <a:lnTo>
                  <a:pt x="6" y="6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36" name="Bolivia">
            <a:extLst>
              <a:ext uri="{FF2B5EF4-FFF2-40B4-BE49-F238E27FC236}">
                <a16:creationId xmlns:a16="http://schemas.microsoft.com/office/drawing/2014/main" id="{883B9E21-AD75-4FBC-BD76-C944C9AFEA02}"/>
              </a:ext>
            </a:extLst>
          </p:cNvPr>
          <p:cNvSpPr>
            <a:spLocks/>
          </p:cNvSpPr>
          <p:nvPr/>
        </p:nvSpPr>
        <p:spPr bwMode="auto">
          <a:xfrm>
            <a:off x="2731421" y="4734970"/>
            <a:ext cx="445718" cy="530779"/>
          </a:xfrm>
          <a:custGeom>
            <a:avLst/>
            <a:gdLst>
              <a:gd name="T0" fmla="*/ 253 w 262"/>
              <a:gd name="T1" fmla="*/ 247 h 312"/>
              <a:gd name="T2" fmla="*/ 258 w 262"/>
              <a:gd name="T3" fmla="*/ 243 h 312"/>
              <a:gd name="T4" fmla="*/ 255 w 262"/>
              <a:gd name="T5" fmla="*/ 229 h 312"/>
              <a:gd name="T6" fmla="*/ 260 w 262"/>
              <a:gd name="T7" fmla="*/ 218 h 312"/>
              <a:gd name="T8" fmla="*/ 262 w 262"/>
              <a:gd name="T9" fmla="*/ 200 h 312"/>
              <a:gd name="T10" fmla="*/ 256 w 262"/>
              <a:gd name="T11" fmla="*/ 185 h 312"/>
              <a:gd name="T12" fmla="*/ 244 w 262"/>
              <a:gd name="T13" fmla="*/ 178 h 312"/>
              <a:gd name="T14" fmla="*/ 241 w 262"/>
              <a:gd name="T15" fmla="*/ 169 h 312"/>
              <a:gd name="T16" fmla="*/ 243 w 262"/>
              <a:gd name="T17" fmla="*/ 156 h 312"/>
              <a:gd name="T18" fmla="*/ 203 w 262"/>
              <a:gd name="T19" fmla="*/ 154 h 312"/>
              <a:gd name="T20" fmla="*/ 194 w 262"/>
              <a:gd name="T21" fmla="*/ 127 h 312"/>
              <a:gd name="T22" fmla="*/ 199 w 262"/>
              <a:gd name="T23" fmla="*/ 126 h 312"/>
              <a:gd name="T24" fmla="*/ 198 w 262"/>
              <a:gd name="T25" fmla="*/ 116 h 312"/>
              <a:gd name="T26" fmla="*/ 194 w 262"/>
              <a:gd name="T27" fmla="*/ 109 h 312"/>
              <a:gd name="T28" fmla="*/ 192 w 262"/>
              <a:gd name="T29" fmla="*/ 95 h 312"/>
              <a:gd name="T30" fmla="*/ 180 w 262"/>
              <a:gd name="T31" fmla="*/ 89 h 312"/>
              <a:gd name="T32" fmla="*/ 167 w 262"/>
              <a:gd name="T33" fmla="*/ 89 h 312"/>
              <a:gd name="T34" fmla="*/ 157 w 262"/>
              <a:gd name="T35" fmla="*/ 81 h 312"/>
              <a:gd name="T36" fmla="*/ 143 w 262"/>
              <a:gd name="T37" fmla="*/ 77 h 312"/>
              <a:gd name="T38" fmla="*/ 134 w 262"/>
              <a:gd name="T39" fmla="*/ 68 h 312"/>
              <a:gd name="T40" fmla="*/ 111 w 262"/>
              <a:gd name="T41" fmla="*/ 64 h 312"/>
              <a:gd name="T42" fmla="*/ 86 w 262"/>
              <a:gd name="T43" fmla="*/ 43 h 312"/>
              <a:gd name="T44" fmla="*/ 87 w 262"/>
              <a:gd name="T45" fmla="*/ 27 h 312"/>
              <a:gd name="T46" fmla="*/ 85 w 262"/>
              <a:gd name="T47" fmla="*/ 18 h 312"/>
              <a:gd name="T48" fmla="*/ 85 w 262"/>
              <a:gd name="T49" fmla="*/ 0 h 312"/>
              <a:gd name="T50" fmla="*/ 58 w 262"/>
              <a:gd name="T51" fmla="*/ 5 h 312"/>
              <a:gd name="T52" fmla="*/ 48 w 262"/>
              <a:gd name="T53" fmla="*/ 13 h 312"/>
              <a:gd name="T54" fmla="*/ 30 w 262"/>
              <a:gd name="T55" fmla="*/ 22 h 312"/>
              <a:gd name="T56" fmla="*/ 26 w 262"/>
              <a:gd name="T57" fmla="*/ 30 h 312"/>
              <a:gd name="T58" fmla="*/ 15 w 262"/>
              <a:gd name="T59" fmla="*/ 31 h 312"/>
              <a:gd name="T60" fmla="*/ 0 w 262"/>
              <a:gd name="T61" fmla="*/ 28 h 312"/>
              <a:gd name="T62" fmla="*/ 20 w 262"/>
              <a:gd name="T63" fmla="*/ 66 h 312"/>
              <a:gd name="T64" fmla="*/ 16 w 262"/>
              <a:gd name="T65" fmla="*/ 75 h 312"/>
              <a:gd name="T66" fmla="*/ 16 w 262"/>
              <a:gd name="T67" fmla="*/ 91 h 312"/>
              <a:gd name="T68" fmla="*/ 17 w 262"/>
              <a:gd name="T69" fmla="*/ 111 h 312"/>
              <a:gd name="T70" fmla="*/ 11 w 262"/>
              <a:gd name="T71" fmla="*/ 123 h 312"/>
              <a:gd name="T72" fmla="*/ 15 w 262"/>
              <a:gd name="T73" fmla="*/ 132 h 312"/>
              <a:gd name="T74" fmla="*/ 11 w 262"/>
              <a:gd name="T75" fmla="*/ 140 h 312"/>
              <a:gd name="T76" fmla="*/ 21 w 262"/>
              <a:gd name="T77" fmla="*/ 160 h 312"/>
              <a:gd name="T78" fmla="*/ 11 w 262"/>
              <a:gd name="T79" fmla="*/ 186 h 312"/>
              <a:gd name="T80" fmla="*/ 22 w 262"/>
              <a:gd name="T81" fmla="*/ 202 h 312"/>
              <a:gd name="T82" fmla="*/ 27 w 262"/>
              <a:gd name="T83" fmla="*/ 219 h 312"/>
              <a:gd name="T84" fmla="*/ 39 w 262"/>
              <a:gd name="T85" fmla="*/ 229 h 312"/>
              <a:gd name="T86" fmla="*/ 35 w 262"/>
              <a:gd name="T87" fmla="*/ 252 h 312"/>
              <a:gd name="T88" fmla="*/ 48 w 262"/>
              <a:gd name="T89" fmla="*/ 279 h 312"/>
              <a:gd name="T90" fmla="*/ 60 w 262"/>
              <a:gd name="T91" fmla="*/ 312 h 312"/>
              <a:gd name="T92" fmla="*/ 74 w 262"/>
              <a:gd name="T93" fmla="*/ 308 h 312"/>
              <a:gd name="T94" fmla="*/ 89 w 262"/>
              <a:gd name="T95" fmla="*/ 286 h 312"/>
              <a:gd name="T96" fmla="*/ 117 w 262"/>
              <a:gd name="T97" fmla="*/ 292 h 312"/>
              <a:gd name="T98" fmla="*/ 130 w 262"/>
              <a:gd name="T99" fmla="*/ 310 h 312"/>
              <a:gd name="T100" fmla="*/ 137 w 262"/>
              <a:gd name="T101" fmla="*/ 290 h 312"/>
              <a:gd name="T102" fmla="*/ 160 w 262"/>
              <a:gd name="T103" fmla="*/ 292 h 312"/>
              <a:gd name="T104" fmla="*/ 164 w 262"/>
              <a:gd name="T105" fmla="*/ 297 h 312"/>
              <a:gd name="T106" fmla="*/ 170 w 262"/>
              <a:gd name="T107" fmla="*/ 268 h 312"/>
              <a:gd name="T108" fmla="*/ 169 w 262"/>
              <a:gd name="T109" fmla="*/ 256 h 312"/>
              <a:gd name="T110" fmla="*/ 177 w 262"/>
              <a:gd name="T111" fmla="*/ 234 h 312"/>
              <a:gd name="T112" fmla="*/ 212 w 262"/>
              <a:gd name="T113" fmla="*/ 228 h 312"/>
              <a:gd name="T114" fmla="*/ 231 w 262"/>
              <a:gd name="T115" fmla="*/ 228 h 312"/>
              <a:gd name="T116" fmla="*/ 252 w 262"/>
              <a:gd name="T117" fmla="*/ 240 h 312"/>
              <a:gd name="T118" fmla="*/ 253 w 262"/>
              <a:gd name="T119" fmla="*/ 247 h 312"/>
              <a:gd name="T120" fmla="*/ 253 w 262"/>
              <a:gd name="T121" fmla="*/ 247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312">
                <a:moveTo>
                  <a:pt x="253" y="247"/>
                </a:moveTo>
                <a:lnTo>
                  <a:pt x="258" y="243"/>
                </a:lnTo>
                <a:lnTo>
                  <a:pt x="255" y="229"/>
                </a:lnTo>
                <a:lnTo>
                  <a:pt x="260" y="218"/>
                </a:lnTo>
                <a:lnTo>
                  <a:pt x="262" y="200"/>
                </a:lnTo>
                <a:lnTo>
                  <a:pt x="256" y="185"/>
                </a:lnTo>
                <a:lnTo>
                  <a:pt x="244" y="178"/>
                </a:lnTo>
                <a:lnTo>
                  <a:pt x="241" y="169"/>
                </a:lnTo>
                <a:lnTo>
                  <a:pt x="243" y="156"/>
                </a:lnTo>
                <a:lnTo>
                  <a:pt x="203" y="154"/>
                </a:lnTo>
                <a:lnTo>
                  <a:pt x="194" y="127"/>
                </a:lnTo>
                <a:lnTo>
                  <a:pt x="199" y="126"/>
                </a:lnTo>
                <a:lnTo>
                  <a:pt x="198" y="116"/>
                </a:lnTo>
                <a:lnTo>
                  <a:pt x="194" y="109"/>
                </a:lnTo>
                <a:lnTo>
                  <a:pt x="192" y="95"/>
                </a:lnTo>
                <a:lnTo>
                  <a:pt x="180" y="89"/>
                </a:lnTo>
                <a:lnTo>
                  <a:pt x="167" y="89"/>
                </a:lnTo>
                <a:lnTo>
                  <a:pt x="157" y="81"/>
                </a:lnTo>
                <a:lnTo>
                  <a:pt x="143" y="77"/>
                </a:lnTo>
                <a:lnTo>
                  <a:pt x="134" y="68"/>
                </a:lnTo>
                <a:lnTo>
                  <a:pt x="111" y="64"/>
                </a:lnTo>
                <a:lnTo>
                  <a:pt x="86" y="43"/>
                </a:lnTo>
                <a:lnTo>
                  <a:pt x="87" y="27"/>
                </a:lnTo>
                <a:lnTo>
                  <a:pt x="85" y="18"/>
                </a:lnTo>
                <a:lnTo>
                  <a:pt x="85" y="0"/>
                </a:lnTo>
                <a:lnTo>
                  <a:pt x="58" y="5"/>
                </a:lnTo>
                <a:lnTo>
                  <a:pt x="48" y="13"/>
                </a:lnTo>
                <a:lnTo>
                  <a:pt x="30" y="22"/>
                </a:lnTo>
                <a:lnTo>
                  <a:pt x="26" y="30"/>
                </a:lnTo>
                <a:lnTo>
                  <a:pt x="15" y="31"/>
                </a:lnTo>
                <a:lnTo>
                  <a:pt x="0" y="28"/>
                </a:lnTo>
                <a:lnTo>
                  <a:pt x="20" y="66"/>
                </a:lnTo>
                <a:lnTo>
                  <a:pt x="16" y="75"/>
                </a:lnTo>
                <a:lnTo>
                  <a:pt x="16" y="91"/>
                </a:lnTo>
                <a:lnTo>
                  <a:pt x="17" y="111"/>
                </a:lnTo>
                <a:lnTo>
                  <a:pt x="11" y="123"/>
                </a:lnTo>
                <a:lnTo>
                  <a:pt x="15" y="132"/>
                </a:lnTo>
                <a:lnTo>
                  <a:pt x="11" y="140"/>
                </a:lnTo>
                <a:lnTo>
                  <a:pt x="21" y="160"/>
                </a:lnTo>
                <a:lnTo>
                  <a:pt x="11" y="186"/>
                </a:lnTo>
                <a:lnTo>
                  <a:pt x="22" y="202"/>
                </a:lnTo>
                <a:lnTo>
                  <a:pt x="27" y="219"/>
                </a:lnTo>
                <a:lnTo>
                  <a:pt x="39" y="229"/>
                </a:lnTo>
                <a:lnTo>
                  <a:pt x="35" y="252"/>
                </a:lnTo>
                <a:lnTo>
                  <a:pt x="48" y="279"/>
                </a:lnTo>
                <a:lnTo>
                  <a:pt x="60" y="312"/>
                </a:lnTo>
                <a:lnTo>
                  <a:pt x="74" y="308"/>
                </a:lnTo>
                <a:lnTo>
                  <a:pt x="89" y="286"/>
                </a:lnTo>
                <a:lnTo>
                  <a:pt x="117" y="292"/>
                </a:lnTo>
                <a:lnTo>
                  <a:pt x="130" y="310"/>
                </a:lnTo>
                <a:lnTo>
                  <a:pt x="137" y="290"/>
                </a:lnTo>
                <a:lnTo>
                  <a:pt x="160" y="292"/>
                </a:lnTo>
                <a:lnTo>
                  <a:pt x="164" y="297"/>
                </a:lnTo>
                <a:lnTo>
                  <a:pt x="170" y="268"/>
                </a:lnTo>
                <a:lnTo>
                  <a:pt x="169" y="256"/>
                </a:lnTo>
                <a:lnTo>
                  <a:pt x="177" y="234"/>
                </a:lnTo>
                <a:lnTo>
                  <a:pt x="212" y="228"/>
                </a:lnTo>
                <a:lnTo>
                  <a:pt x="231" y="228"/>
                </a:lnTo>
                <a:lnTo>
                  <a:pt x="252" y="240"/>
                </a:lnTo>
                <a:lnTo>
                  <a:pt x="253" y="247"/>
                </a:lnTo>
                <a:lnTo>
                  <a:pt x="253" y="24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37" name="Brazil">
            <a:extLst>
              <a:ext uri="{FF2B5EF4-FFF2-40B4-BE49-F238E27FC236}">
                <a16:creationId xmlns:a16="http://schemas.microsoft.com/office/drawing/2014/main" id="{5189EB82-FD76-472F-996F-0AA051E5EB91}"/>
              </a:ext>
            </a:extLst>
          </p:cNvPr>
          <p:cNvSpPr>
            <a:spLocks/>
          </p:cNvSpPr>
          <p:nvPr/>
        </p:nvSpPr>
        <p:spPr bwMode="auto">
          <a:xfrm>
            <a:off x="2564702" y="4127637"/>
            <a:ext cx="1398398" cy="1577027"/>
          </a:xfrm>
          <a:custGeom>
            <a:avLst/>
            <a:gdLst>
              <a:gd name="T0" fmla="*/ 339 w 822"/>
              <a:gd name="T1" fmla="*/ 85 h 927"/>
              <a:gd name="T2" fmla="*/ 310 w 822"/>
              <a:gd name="T3" fmla="*/ 94 h 927"/>
              <a:gd name="T4" fmla="*/ 295 w 822"/>
              <a:gd name="T5" fmla="*/ 39 h 927"/>
              <a:gd name="T6" fmla="*/ 292 w 822"/>
              <a:gd name="T7" fmla="*/ 6 h 927"/>
              <a:gd name="T8" fmla="*/ 271 w 822"/>
              <a:gd name="T9" fmla="*/ 17 h 927"/>
              <a:gd name="T10" fmla="*/ 210 w 822"/>
              <a:gd name="T11" fmla="*/ 29 h 927"/>
              <a:gd name="T12" fmla="*/ 198 w 822"/>
              <a:gd name="T13" fmla="*/ 51 h 927"/>
              <a:gd name="T14" fmla="*/ 204 w 822"/>
              <a:gd name="T15" fmla="*/ 80 h 927"/>
              <a:gd name="T16" fmla="*/ 173 w 822"/>
              <a:gd name="T17" fmla="*/ 106 h 927"/>
              <a:gd name="T18" fmla="*/ 138 w 822"/>
              <a:gd name="T19" fmla="*/ 84 h 927"/>
              <a:gd name="T20" fmla="*/ 85 w 822"/>
              <a:gd name="T21" fmla="*/ 99 h 927"/>
              <a:gd name="T22" fmla="*/ 80 w 822"/>
              <a:gd name="T23" fmla="*/ 112 h 927"/>
              <a:gd name="T24" fmla="*/ 92 w 822"/>
              <a:gd name="T25" fmla="*/ 162 h 927"/>
              <a:gd name="T26" fmla="*/ 45 w 822"/>
              <a:gd name="T27" fmla="*/ 235 h 927"/>
              <a:gd name="T28" fmla="*/ 18 w 822"/>
              <a:gd name="T29" fmla="*/ 282 h 927"/>
              <a:gd name="T30" fmla="*/ 10 w 822"/>
              <a:gd name="T31" fmla="*/ 325 h 927"/>
              <a:gd name="T32" fmla="*/ 42 w 822"/>
              <a:gd name="T33" fmla="*/ 363 h 927"/>
              <a:gd name="T34" fmla="*/ 86 w 822"/>
              <a:gd name="T35" fmla="*/ 390 h 927"/>
              <a:gd name="T36" fmla="*/ 128 w 822"/>
              <a:gd name="T37" fmla="*/ 379 h 927"/>
              <a:gd name="T38" fmla="*/ 183 w 822"/>
              <a:gd name="T39" fmla="*/ 375 h 927"/>
              <a:gd name="T40" fmla="*/ 232 w 822"/>
              <a:gd name="T41" fmla="*/ 425 h 927"/>
              <a:gd name="T42" fmla="*/ 278 w 822"/>
              <a:gd name="T43" fmla="*/ 446 h 927"/>
              <a:gd name="T44" fmla="*/ 297 w 822"/>
              <a:gd name="T45" fmla="*/ 483 h 927"/>
              <a:gd name="T46" fmla="*/ 339 w 822"/>
              <a:gd name="T47" fmla="*/ 526 h 927"/>
              <a:gd name="T48" fmla="*/ 358 w 822"/>
              <a:gd name="T49" fmla="*/ 575 h 927"/>
              <a:gd name="T50" fmla="*/ 357 w 822"/>
              <a:gd name="T51" fmla="*/ 617 h 927"/>
              <a:gd name="T52" fmla="*/ 404 w 822"/>
              <a:gd name="T53" fmla="*/ 657 h 927"/>
              <a:gd name="T54" fmla="*/ 423 w 822"/>
              <a:gd name="T55" fmla="*/ 696 h 927"/>
              <a:gd name="T56" fmla="*/ 438 w 822"/>
              <a:gd name="T57" fmla="*/ 723 h 927"/>
              <a:gd name="T58" fmla="*/ 459 w 822"/>
              <a:gd name="T59" fmla="*/ 765 h 927"/>
              <a:gd name="T60" fmla="*/ 389 w 822"/>
              <a:gd name="T61" fmla="*/ 843 h 927"/>
              <a:gd name="T62" fmla="*/ 455 w 822"/>
              <a:gd name="T63" fmla="*/ 873 h 927"/>
              <a:gd name="T64" fmla="*/ 488 w 822"/>
              <a:gd name="T65" fmla="*/ 927 h 927"/>
              <a:gd name="T66" fmla="*/ 531 w 822"/>
              <a:gd name="T67" fmla="*/ 861 h 927"/>
              <a:gd name="T68" fmla="*/ 564 w 822"/>
              <a:gd name="T69" fmla="*/ 770 h 927"/>
              <a:gd name="T70" fmla="*/ 598 w 822"/>
              <a:gd name="T71" fmla="*/ 698 h 927"/>
              <a:gd name="T72" fmla="*/ 688 w 822"/>
              <a:gd name="T73" fmla="*/ 671 h 927"/>
              <a:gd name="T74" fmla="*/ 729 w 822"/>
              <a:gd name="T75" fmla="*/ 591 h 927"/>
              <a:gd name="T76" fmla="*/ 742 w 822"/>
              <a:gd name="T77" fmla="*/ 497 h 927"/>
              <a:gd name="T78" fmla="*/ 763 w 822"/>
              <a:gd name="T79" fmla="*/ 414 h 927"/>
              <a:gd name="T80" fmla="*/ 822 w 822"/>
              <a:gd name="T81" fmla="*/ 300 h 927"/>
              <a:gd name="T82" fmla="*/ 785 w 822"/>
              <a:gd name="T83" fmla="*/ 247 h 927"/>
              <a:gd name="T84" fmla="*/ 679 w 822"/>
              <a:gd name="T85" fmla="*/ 194 h 927"/>
              <a:gd name="T86" fmla="*/ 607 w 822"/>
              <a:gd name="T87" fmla="*/ 162 h 927"/>
              <a:gd name="T88" fmla="*/ 529 w 822"/>
              <a:gd name="T89" fmla="*/ 131 h 927"/>
              <a:gd name="T90" fmla="*/ 501 w 822"/>
              <a:gd name="T91" fmla="*/ 83 h 927"/>
              <a:gd name="T92" fmla="*/ 466 w 822"/>
              <a:gd name="T93" fmla="*/ 26 h 927"/>
              <a:gd name="T94" fmla="*/ 428 w 822"/>
              <a:gd name="T95" fmla="*/ 76 h 927"/>
              <a:gd name="T96" fmla="*/ 406 w 822"/>
              <a:gd name="T97" fmla="*/ 70 h 927"/>
              <a:gd name="T98" fmla="*/ 373 w 822"/>
              <a:gd name="T99" fmla="*/ 72 h 927"/>
              <a:gd name="T100" fmla="*/ 363 w 822"/>
              <a:gd name="T101" fmla="*/ 80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2" h="927">
                <a:moveTo>
                  <a:pt x="363" y="80"/>
                </a:moveTo>
                <a:lnTo>
                  <a:pt x="357" y="80"/>
                </a:lnTo>
                <a:lnTo>
                  <a:pt x="346" y="79"/>
                </a:lnTo>
                <a:lnTo>
                  <a:pt x="339" y="85"/>
                </a:lnTo>
                <a:lnTo>
                  <a:pt x="329" y="89"/>
                </a:lnTo>
                <a:lnTo>
                  <a:pt x="324" y="90"/>
                </a:lnTo>
                <a:lnTo>
                  <a:pt x="321" y="94"/>
                </a:lnTo>
                <a:lnTo>
                  <a:pt x="310" y="94"/>
                </a:lnTo>
                <a:lnTo>
                  <a:pt x="297" y="82"/>
                </a:lnTo>
                <a:lnTo>
                  <a:pt x="296" y="72"/>
                </a:lnTo>
                <a:lnTo>
                  <a:pt x="291" y="59"/>
                </a:lnTo>
                <a:lnTo>
                  <a:pt x="295" y="39"/>
                </a:lnTo>
                <a:lnTo>
                  <a:pt x="301" y="31"/>
                </a:lnTo>
                <a:lnTo>
                  <a:pt x="296" y="20"/>
                </a:lnTo>
                <a:lnTo>
                  <a:pt x="289" y="16"/>
                </a:lnTo>
                <a:lnTo>
                  <a:pt x="292" y="6"/>
                </a:lnTo>
                <a:lnTo>
                  <a:pt x="287" y="0"/>
                </a:lnTo>
                <a:lnTo>
                  <a:pt x="277" y="1"/>
                </a:lnTo>
                <a:lnTo>
                  <a:pt x="279" y="9"/>
                </a:lnTo>
                <a:lnTo>
                  <a:pt x="271" y="17"/>
                </a:lnTo>
                <a:lnTo>
                  <a:pt x="247" y="26"/>
                </a:lnTo>
                <a:lnTo>
                  <a:pt x="232" y="30"/>
                </a:lnTo>
                <a:lnTo>
                  <a:pt x="226" y="36"/>
                </a:lnTo>
                <a:lnTo>
                  <a:pt x="210" y="29"/>
                </a:lnTo>
                <a:lnTo>
                  <a:pt x="194" y="26"/>
                </a:lnTo>
                <a:lnTo>
                  <a:pt x="190" y="29"/>
                </a:lnTo>
                <a:lnTo>
                  <a:pt x="199" y="35"/>
                </a:lnTo>
                <a:lnTo>
                  <a:pt x="198" y="51"/>
                </a:lnTo>
                <a:lnTo>
                  <a:pt x="200" y="66"/>
                </a:lnTo>
                <a:lnTo>
                  <a:pt x="219" y="67"/>
                </a:lnTo>
                <a:lnTo>
                  <a:pt x="220" y="73"/>
                </a:lnTo>
                <a:lnTo>
                  <a:pt x="204" y="80"/>
                </a:lnTo>
                <a:lnTo>
                  <a:pt x="202" y="90"/>
                </a:lnTo>
                <a:lnTo>
                  <a:pt x="193" y="94"/>
                </a:lnTo>
                <a:lnTo>
                  <a:pt x="178" y="99"/>
                </a:lnTo>
                <a:lnTo>
                  <a:pt x="173" y="106"/>
                </a:lnTo>
                <a:lnTo>
                  <a:pt x="157" y="108"/>
                </a:lnTo>
                <a:lnTo>
                  <a:pt x="146" y="95"/>
                </a:lnTo>
                <a:lnTo>
                  <a:pt x="141" y="98"/>
                </a:lnTo>
                <a:lnTo>
                  <a:pt x="138" y="84"/>
                </a:lnTo>
                <a:lnTo>
                  <a:pt x="132" y="77"/>
                </a:lnTo>
                <a:lnTo>
                  <a:pt x="125" y="85"/>
                </a:lnTo>
                <a:lnTo>
                  <a:pt x="85" y="84"/>
                </a:lnTo>
                <a:lnTo>
                  <a:pt x="85" y="99"/>
                </a:lnTo>
                <a:lnTo>
                  <a:pt x="97" y="102"/>
                </a:lnTo>
                <a:lnTo>
                  <a:pt x="96" y="110"/>
                </a:lnTo>
                <a:lnTo>
                  <a:pt x="92" y="108"/>
                </a:lnTo>
                <a:lnTo>
                  <a:pt x="80" y="112"/>
                </a:lnTo>
                <a:lnTo>
                  <a:pt x="80" y="129"/>
                </a:lnTo>
                <a:lnTo>
                  <a:pt x="89" y="138"/>
                </a:lnTo>
                <a:lnTo>
                  <a:pt x="92" y="151"/>
                </a:lnTo>
                <a:lnTo>
                  <a:pt x="92" y="162"/>
                </a:lnTo>
                <a:lnTo>
                  <a:pt x="84" y="227"/>
                </a:lnTo>
                <a:lnTo>
                  <a:pt x="65" y="226"/>
                </a:lnTo>
                <a:lnTo>
                  <a:pt x="62" y="230"/>
                </a:lnTo>
                <a:lnTo>
                  <a:pt x="45" y="235"/>
                </a:lnTo>
                <a:lnTo>
                  <a:pt x="22" y="250"/>
                </a:lnTo>
                <a:lnTo>
                  <a:pt x="20" y="262"/>
                </a:lnTo>
                <a:lnTo>
                  <a:pt x="15" y="270"/>
                </a:lnTo>
                <a:lnTo>
                  <a:pt x="18" y="282"/>
                </a:lnTo>
                <a:lnTo>
                  <a:pt x="6" y="290"/>
                </a:lnTo>
                <a:lnTo>
                  <a:pt x="6" y="300"/>
                </a:lnTo>
                <a:lnTo>
                  <a:pt x="0" y="304"/>
                </a:lnTo>
                <a:lnTo>
                  <a:pt x="10" y="325"/>
                </a:lnTo>
                <a:lnTo>
                  <a:pt x="23" y="339"/>
                </a:lnTo>
                <a:lnTo>
                  <a:pt x="19" y="350"/>
                </a:lnTo>
                <a:lnTo>
                  <a:pt x="32" y="351"/>
                </a:lnTo>
                <a:lnTo>
                  <a:pt x="42" y="363"/>
                </a:lnTo>
                <a:lnTo>
                  <a:pt x="59" y="364"/>
                </a:lnTo>
                <a:lnTo>
                  <a:pt x="76" y="350"/>
                </a:lnTo>
                <a:lnTo>
                  <a:pt x="77" y="387"/>
                </a:lnTo>
                <a:lnTo>
                  <a:pt x="86" y="390"/>
                </a:lnTo>
                <a:lnTo>
                  <a:pt x="98" y="385"/>
                </a:lnTo>
                <a:lnTo>
                  <a:pt x="113" y="388"/>
                </a:lnTo>
                <a:lnTo>
                  <a:pt x="124" y="387"/>
                </a:lnTo>
                <a:lnTo>
                  <a:pt x="128" y="379"/>
                </a:lnTo>
                <a:lnTo>
                  <a:pt x="146" y="370"/>
                </a:lnTo>
                <a:lnTo>
                  <a:pt x="156" y="362"/>
                </a:lnTo>
                <a:lnTo>
                  <a:pt x="183" y="357"/>
                </a:lnTo>
                <a:lnTo>
                  <a:pt x="183" y="375"/>
                </a:lnTo>
                <a:lnTo>
                  <a:pt x="185" y="384"/>
                </a:lnTo>
                <a:lnTo>
                  <a:pt x="184" y="400"/>
                </a:lnTo>
                <a:lnTo>
                  <a:pt x="209" y="421"/>
                </a:lnTo>
                <a:lnTo>
                  <a:pt x="232" y="425"/>
                </a:lnTo>
                <a:lnTo>
                  <a:pt x="241" y="434"/>
                </a:lnTo>
                <a:lnTo>
                  <a:pt x="255" y="438"/>
                </a:lnTo>
                <a:lnTo>
                  <a:pt x="265" y="446"/>
                </a:lnTo>
                <a:lnTo>
                  <a:pt x="278" y="446"/>
                </a:lnTo>
                <a:lnTo>
                  <a:pt x="290" y="452"/>
                </a:lnTo>
                <a:lnTo>
                  <a:pt x="292" y="466"/>
                </a:lnTo>
                <a:lnTo>
                  <a:pt x="296" y="473"/>
                </a:lnTo>
                <a:lnTo>
                  <a:pt x="297" y="483"/>
                </a:lnTo>
                <a:lnTo>
                  <a:pt x="292" y="484"/>
                </a:lnTo>
                <a:lnTo>
                  <a:pt x="301" y="511"/>
                </a:lnTo>
                <a:lnTo>
                  <a:pt x="341" y="513"/>
                </a:lnTo>
                <a:lnTo>
                  <a:pt x="339" y="526"/>
                </a:lnTo>
                <a:lnTo>
                  <a:pt x="342" y="535"/>
                </a:lnTo>
                <a:lnTo>
                  <a:pt x="354" y="542"/>
                </a:lnTo>
                <a:lnTo>
                  <a:pt x="360" y="557"/>
                </a:lnTo>
                <a:lnTo>
                  <a:pt x="358" y="575"/>
                </a:lnTo>
                <a:lnTo>
                  <a:pt x="353" y="586"/>
                </a:lnTo>
                <a:lnTo>
                  <a:pt x="356" y="600"/>
                </a:lnTo>
                <a:lnTo>
                  <a:pt x="351" y="604"/>
                </a:lnTo>
                <a:lnTo>
                  <a:pt x="357" y="617"/>
                </a:lnTo>
                <a:lnTo>
                  <a:pt x="359" y="650"/>
                </a:lnTo>
                <a:lnTo>
                  <a:pt x="381" y="655"/>
                </a:lnTo>
                <a:lnTo>
                  <a:pt x="389" y="650"/>
                </a:lnTo>
                <a:lnTo>
                  <a:pt x="404" y="657"/>
                </a:lnTo>
                <a:lnTo>
                  <a:pt x="409" y="663"/>
                </a:lnTo>
                <a:lnTo>
                  <a:pt x="412" y="685"/>
                </a:lnTo>
                <a:lnTo>
                  <a:pt x="415" y="694"/>
                </a:lnTo>
                <a:lnTo>
                  <a:pt x="423" y="696"/>
                </a:lnTo>
                <a:lnTo>
                  <a:pt x="430" y="691"/>
                </a:lnTo>
                <a:lnTo>
                  <a:pt x="438" y="696"/>
                </a:lnTo>
                <a:lnTo>
                  <a:pt x="439" y="709"/>
                </a:lnTo>
                <a:lnTo>
                  <a:pt x="438" y="723"/>
                </a:lnTo>
                <a:lnTo>
                  <a:pt x="436" y="737"/>
                </a:lnTo>
                <a:lnTo>
                  <a:pt x="445" y="732"/>
                </a:lnTo>
                <a:lnTo>
                  <a:pt x="457" y="746"/>
                </a:lnTo>
                <a:lnTo>
                  <a:pt x="459" y="765"/>
                </a:lnTo>
                <a:lnTo>
                  <a:pt x="443" y="778"/>
                </a:lnTo>
                <a:lnTo>
                  <a:pt x="431" y="787"/>
                </a:lnTo>
                <a:lnTo>
                  <a:pt x="411" y="811"/>
                </a:lnTo>
                <a:lnTo>
                  <a:pt x="389" y="843"/>
                </a:lnTo>
                <a:lnTo>
                  <a:pt x="402" y="840"/>
                </a:lnTo>
                <a:lnTo>
                  <a:pt x="424" y="858"/>
                </a:lnTo>
                <a:lnTo>
                  <a:pt x="432" y="858"/>
                </a:lnTo>
                <a:lnTo>
                  <a:pt x="455" y="873"/>
                </a:lnTo>
                <a:lnTo>
                  <a:pt x="473" y="886"/>
                </a:lnTo>
                <a:lnTo>
                  <a:pt x="487" y="902"/>
                </a:lnTo>
                <a:lnTo>
                  <a:pt x="480" y="913"/>
                </a:lnTo>
                <a:lnTo>
                  <a:pt x="488" y="927"/>
                </a:lnTo>
                <a:lnTo>
                  <a:pt x="499" y="913"/>
                </a:lnTo>
                <a:lnTo>
                  <a:pt x="505" y="891"/>
                </a:lnTo>
                <a:lnTo>
                  <a:pt x="516" y="880"/>
                </a:lnTo>
                <a:lnTo>
                  <a:pt x="531" y="861"/>
                </a:lnTo>
                <a:lnTo>
                  <a:pt x="548" y="819"/>
                </a:lnTo>
                <a:lnTo>
                  <a:pt x="561" y="806"/>
                </a:lnTo>
                <a:lnTo>
                  <a:pt x="563" y="795"/>
                </a:lnTo>
                <a:lnTo>
                  <a:pt x="564" y="770"/>
                </a:lnTo>
                <a:lnTo>
                  <a:pt x="560" y="757"/>
                </a:lnTo>
                <a:lnTo>
                  <a:pt x="561" y="740"/>
                </a:lnTo>
                <a:lnTo>
                  <a:pt x="576" y="716"/>
                </a:lnTo>
                <a:lnTo>
                  <a:pt x="598" y="698"/>
                </a:lnTo>
                <a:lnTo>
                  <a:pt x="620" y="690"/>
                </a:lnTo>
                <a:lnTo>
                  <a:pt x="634" y="680"/>
                </a:lnTo>
                <a:lnTo>
                  <a:pt x="666" y="671"/>
                </a:lnTo>
                <a:lnTo>
                  <a:pt x="688" y="671"/>
                </a:lnTo>
                <a:lnTo>
                  <a:pt x="692" y="657"/>
                </a:lnTo>
                <a:lnTo>
                  <a:pt x="708" y="646"/>
                </a:lnTo>
                <a:lnTo>
                  <a:pt x="710" y="622"/>
                </a:lnTo>
                <a:lnTo>
                  <a:pt x="729" y="591"/>
                </a:lnTo>
                <a:lnTo>
                  <a:pt x="731" y="559"/>
                </a:lnTo>
                <a:lnTo>
                  <a:pt x="737" y="549"/>
                </a:lnTo>
                <a:lnTo>
                  <a:pt x="738" y="534"/>
                </a:lnTo>
                <a:lnTo>
                  <a:pt x="742" y="497"/>
                </a:lnTo>
                <a:lnTo>
                  <a:pt x="738" y="453"/>
                </a:lnTo>
                <a:lnTo>
                  <a:pt x="744" y="435"/>
                </a:lnTo>
                <a:lnTo>
                  <a:pt x="749" y="434"/>
                </a:lnTo>
                <a:lnTo>
                  <a:pt x="763" y="414"/>
                </a:lnTo>
                <a:lnTo>
                  <a:pt x="775" y="388"/>
                </a:lnTo>
                <a:lnTo>
                  <a:pt x="804" y="354"/>
                </a:lnTo>
                <a:lnTo>
                  <a:pt x="815" y="339"/>
                </a:lnTo>
                <a:lnTo>
                  <a:pt x="822" y="300"/>
                </a:lnTo>
                <a:lnTo>
                  <a:pt x="818" y="285"/>
                </a:lnTo>
                <a:lnTo>
                  <a:pt x="811" y="255"/>
                </a:lnTo>
                <a:lnTo>
                  <a:pt x="803" y="248"/>
                </a:lnTo>
                <a:lnTo>
                  <a:pt x="785" y="247"/>
                </a:lnTo>
                <a:lnTo>
                  <a:pt x="769" y="239"/>
                </a:lnTo>
                <a:lnTo>
                  <a:pt x="742" y="213"/>
                </a:lnTo>
                <a:lnTo>
                  <a:pt x="710" y="193"/>
                </a:lnTo>
                <a:lnTo>
                  <a:pt x="679" y="194"/>
                </a:lnTo>
                <a:lnTo>
                  <a:pt x="638" y="181"/>
                </a:lnTo>
                <a:lnTo>
                  <a:pt x="614" y="189"/>
                </a:lnTo>
                <a:lnTo>
                  <a:pt x="617" y="176"/>
                </a:lnTo>
                <a:lnTo>
                  <a:pt x="607" y="162"/>
                </a:lnTo>
                <a:lnTo>
                  <a:pt x="572" y="148"/>
                </a:lnTo>
                <a:lnTo>
                  <a:pt x="546" y="139"/>
                </a:lnTo>
                <a:lnTo>
                  <a:pt x="530" y="154"/>
                </a:lnTo>
                <a:lnTo>
                  <a:pt x="529" y="131"/>
                </a:lnTo>
                <a:lnTo>
                  <a:pt x="492" y="127"/>
                </a:lnTo>
                <a:lnTo>
                  <a:pt x="485" y="120"/>
                </a:lnTo>
                <a:lnTo>
                  <a:pt x="501" y="100"/>
                </a:lnTo>
                <a:lnTo>
                  <a:pt x="501" y="83"/>
                </a:lnTo>
                <a:lnTo>
                  <a:pt x="490" y="80"/>
                </a:lnTo>
                <a:lnTo>
                  <a:pt x="479" y="38"/>
                </a:lnTo>
                <a:lnTo>
                  <a:pt x="473" y="25"/>
                </a:lnTo>
                <a:lnTo>
                  <a:pt x="466" y="26"/>
                </a:lnTo>
                <a:lnTo>
                  <a:pt x="453" y="48"/>
                </a:lnTo>
                <a:lnTo>
                  <a:pt x="447" y="66"/>
                </a:lnTo>
                <a:lnTo>
                  <a:pt x="438" y="74"/>
                </a:lnTo>
                <a:lnTo>
                  <a:pt x="428" y="76"/>
                </a:lnTo>
                <a:lnTo>
                  <a:pt x="425" y="69"/>
                </a:lnTo>
                <a:lnTo>
                  <a:pt x="421" y="68"/>
                </a:lnTo>
                <a:lnTo>
                  <a:pt x="414" y="75"/>
                </a:lnTo>
                <a:lnTo>
                  <a:pt x="406" y="70"/>
                </a:lnTo>
                <a:lnTo>
                  <a:pt x="394" y="65"/>
                </a:lnTo>
                <a:lnTo>
                  <a:pt x="383" y="67"/>
                </a:lnTo>
                <a:lnTo>
                  <a:pt x="375" y="66"/>
                </a:lnTo>
                <a:lnTo>
                  <a:pt x="373" y="72"/>
                </a:lnTo>
                <a:lnTo>
                  <a:pt x="376" y="77"/>
                </a:lnTo>
                <a:lnTo>
                  <a:pt x="374" y="81"/>
                </a:lnTo>
                <a:lnTo>
                  <a:pt x="363" y="80"/>
                </a:lnTo>
                <a:lnTo>
                  <a:pt x="363" y="8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38" name="Brunei">
            <a:extLst>
              <a:ext uri="{FF2B5EF4-FFF2-40B4-BE49-F238E27FC236}">
                <a16:creationId xmlns:a16="http://schemas.microsoft.com/office/drawing/2014/main" id="{69C93B26-95F2-42E9-91D9-212E9E494441}"/>
              </a:ext>
            </a:extLst>
          </p:cNvPr>
          <p:cNvSpPr>
            <a:spLocks/>
          </p:cNvSpPr>
          <p:nvPr/>
        </p:nvSpPr>
        <p:spPr bwMode="auto">
          <a:xfrm>
            <a:off x="9272591" y="4120832"/>
            <a:ext cx="44231" cy="57841"/>
          </a:xfrm>
          <a:custGeom>
            <a:avLst/>
            <a:gdLst>
              <a:gd name="T0" fmla="*/ 0 w 26"/>
              <a:gd name="T1" fmla="*/ 22 h 34"/>
              <a:gd name="T2" fmla="*/ 11 w 26"/>
              <a:gd name="T3" fmla="*/ 34 h 34"/>
              <a:gd name="T4" fmla="*/ 14 w 26"/>
              <a:gd name="T5" fmla="*/ 26 h 34"/>
              <a:gd name="T6" fmla="*/ 25 w 26"/>
              <a:gd name="T7" fmla="*/ 27 h 34"/>
              <a:gd name="T8" fmla="*/ 26 w 26"/>
              <a:gd name="T9" fmla="*/ 11 h 34"/>
              <a:gd name="T10" fmla="*/ 26 w 26"/>
              <a:gd name="T11" fmla="*/ 0 h 34"/>
              <a:gd name="T12" fmla="*/ 9 w 26"/>
              <a:gd name="T13" fmla="*/ 13 h 34"/>
              <a:gd name="T14" fmla="*/ 0 w 26"/>
              <a:gd name="T15" fmla="*/ 22 h 34"/>
              <a:gd name="T16" fmla="*/ 0 w 26"/>
              <a:gd name="T17"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4">
                <a:moveTo>
                  <a:pt x="0" y="22"/>
                </a:moveTo>
                <a:lnTo>
                  <a:pt x="11" y="34"/>
                </a:lnTo>
                <a:lnTo>
                  <a:pt x="14" y="26"/>
                </a:lnTo>
                <a:lnTo>
                  <a:pt x="25" y="27"/>
                </a:lnTo>
                <a:lnTo>
                  <a:pt x="26" y="11"/>
                </a:lnTo>
                <a:lnTo>
                  <a:pt x="26" y="0"/>
                </a:lnTo>
                <a:lnTo>
                  <a:pt x="9" y="13"/>
                </a:lnTo>
                <a:lnTo>
                  <a:pt x="0" y="22"/>
                </a:lnTo>
                <a:lnTo>
                  <a:pt x="0" y="2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39" name="Bhutan">
            <a:extLst>
              <a:ext uri="{FF2B5EF4-FFF2-40B4-BE49-F238E27FC236}">
                <a16:creationId xmlns:a16="http://schemas.microsoft.com/office/drawing/2014/main" id="{F347E2D3-B975-448D-9662-8EC0DE11B3D3}"/>
              </a:ext>
            </a:extLst>
          </p:cNvPr>
          <p:cNvSpPr>
            <a:spLocks/>
          </p:cNvSpPr>
          <p:nvPr/>
        </p:nvSpPr>
        <p:spPr bwMode="auto">
          <a:xfrm>
            <a:off x="8268875" y="3195371"/>
            <a:ext cx="113980" cy="64646"/>
          </a:xfrm>
          <a:custGeom>
            <a:avLst/>
            <a:gdLst>
              <a:gd name="T0" fmla="*/ 56 w 67"/>
              <a:gd name="T1" fmla="*/ 13 h 38"/>
              <a:gd name="T2" fmla="*/ 46 w 67"/>
              <a:gd name="T3" fmla="*/ 7 h 38"/>
              <a:gd name="T4" fmla="*/ 35 w 67"/>
              <a:gd name="T5" fmla="*/ 6 h 38"/>
              <a:gd name="T6" fmla="*/ 20 w 67"/>
              <a:gd name="T7" fmla="*/ 0 h 38"/>
              <a:gd name="T8" fmla="*/ 10 w 67"/>
              <a:gd name="T9" fmla="*/ 7 h 38"/>
              <a:gd name="T10" fmla="*/ 0 w 67"/>
              <a:gd name="T11" fmla="*/ 24 h 38"/>
              <a:gd name="T12" fmla="*/ 1 w 67"/>
              <a:gd name="T13" fmla="*/ 29 h 38"/>
              <a:gd name="T14" fmla="*/ 22 w 67"/>
              <a:gd name="T15" fmla="*/ 38 h 38"/>
              <a:gd name="T16" fmla="*/ 34 w 67"/>
              <a:gd name="T17" fmla="*/ 35 h 38"/>
              <a:gd name="T18" fmla="*/ 52 w 67"/>
              <a:gd name="T19" fmla="*/ 36 h 38"/>
              <a:gd name="T20" fmla="*/ 67 w 67"/>
              <a:gd name="T21" fmla="*/ 36 h 38"/>
              <a:gd name="T22" fmla="*/ 67 w 67"/>
              <a:gd name="T23" fmla="*/ 21 h 38"/>
              <a:gd name="T24" fmla="*/ 56 w 67"/>
              <a:gd name="T25" fmla="*/ 13 h 38"/>
              <a:gd name="T26" fmla="*/ 56 w 67"/>
              <a:gd name="T27"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38">
                <a:moveTo>
                  <a:pt x="56" y="13"/>
                </a:moveTo>
                <a:lnTo>
                  <a:pt x="46" y="7"/>
                </a:lnTo>
                <a:lnTo>
                  <a:pt x="35" y="6"/>
                </a:lnTo>
                <a:lnTo>
                  <a:pt x="20" y="0"/>
                </a:lnTo>
                <a:lnTo>
                  <a:pt x="10" y="7"/>
                </a:lnTo>
                <a:lnTo>
                  <a:pt x="0" y="24"/>
                </a:lnTo>
                <a:lnTo>
                  <a:pt x="1" y="29"/>
                </a:lnTo>
                <a:lnTo>
                  <a:pt x="22" y="38"/>
                </a:lnTo>
                <a:lnTo>
                  <a:pt x="34" y="35"/>
                </a:lnTo>
                <a:lnTo>
                  <a:pt x="52" y="36"/>
                </a:lnTo>
                <a:lnTo>
                  <a:pt x="67" y="36"/>
                </a:lnTo>
                <a:lnTo>
                  <a:pt x="67" y="21"/>
                </a:lnTo>
                <a:lnTo>
                  <a:pt x="56" y="13"/>
                </a:lnTo>
                <a:lnTo>
                  <a:pt x="56" y="1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40" name="Bangladesh">
            <a:extLst>
              <a:ext uri="{FF2B5EF4-FFF2-40B4-BE49-F238E27FC236}">
                <a16:creationId xmlns:a16="http://schemas.microsoft.com/office/drawing/2014/main" id="{F58512AF-208B-4EC9-887C-C6CAD2803175}"/>
              </a:ext>
            </a:extLst>
          </p:cNvPr>
          <p:cNvSpPr>
            <a:spLocks/>
          </p:cNvSpPr>
          <p:nvPr/>
        </p:nvSpPr>
        <p:spPr bwMode="auto">
          <a:xfrm>
            <a:off x="8260369" y="3271927"/>
            <a:ext cx="182029" cy="231366"/>
          </a:xfrm>
          <a:custGeom>
            <a:avLst/>
            <a:gdLst>
              <a:gd name="T0" fmla="*/ 105 w 107"/>
              <a:gd name="T1" fmla="*/ 105 h 136"/>
              <a:gd name="T2" fmla="*/ 88 w 107"/>
              <a:gd name="T3" fmla="*/ 66 h 136"/>
              <a:gd name="T4" fmla="*/ 83 w 107"/>
              <a:gd name="T5" fmla="*/ 67 h 136"/>
              <a:gd name="T6" fmla="*/ 82 w 107"/>
              <a:gd name="T7" fmla="*/ 82 h 136"/>
              <a:gd name="T8" fmla="*/ 69 w 107"/>
              <a:gd name="T9" fmla="*/ 69 h 136"/>
              <a:gd name="T10" fmla="*/ 73 w 107"/>
              <a:gd name="T11" fmla="*/ 56 h 136"/>
              <a:gd name="T12" fmla="*/ 82 w 107"/>
              <a:gd name="T13" fmla="*/ 54 h 136"/>
              <a:gd name="T14" fmla="*/ 88 w 107"/>
              <a:gd name="T15" fmla="*/ 34 h 136"/>
              <a:gd name="T16" fmla="*/ 75 w 107"/>
              <a:gd name="T17" fmla="*/ 31 h 136"/>
              <a:gd name="T18" fmla="*/ 57 w 107"/>
              <a:gd name="T19" fmla="*/ 31 h 136"/>
              <a:gd name="T20" fmla="*/ 36 w 107"/>
              <a:gd name="T21" fmla="*/ 28 h 136"/>
              <a:gd name="T22" fmla="*/ 32 w 107"/>
              <a:gd name="T23" fmla="*/ 11 h 136"/>
              <a:gd name="T24" fmla="*/ 22 w 107"/>
              <a:gd name="T25" fmla="*/ 9 h 136"/>
              <a:gd name="T26" fmla="*/ 4 w 107"/>
              <a:gd name="T27" fmla="*/ 0 h 136"/>
              <a:gd name="T28" fmla="*/ 0 w 107"/>
              <a:gd name="T29" fmla="*/ 16 h 136"/>
              <a:gd name="T30" fmla="*/ 16 w 107"/>
              <a:gd name="T31" fmla="*/ 28 h 136"/>
              <a:gd name="T32" fmla="*/ 5 w 107"/>
              <a:gd name="T33" fmla="*/ 37 h 136"/>
              <a:gd name="T34" fmla="*/ 2 w 107"/>
              <a:gd name="T35" fmla="*/ 46 h 136"/>
              <a:gd name="T36" fmla="*/ 16 w 107"/>
              <a:gd name="T37" fmla="*/ 52 h 136"/>
              <a:gd name="T38" fmla="*/ 15 w 107"/>
              <a:gd name="T39" fmla="*/ 66 h 136"/>
              <a:gd name="T40" fmla="*/ 24 w 107"/>
              <a:gd name="T41" fmla="*/ 84 h 136"/>
              <a:gd name="T42" fmla="*/ 30 w 107"/>
              <a:gd name="T43" fmla="*/ 104 h 136"/>
              <a:gd name="T44" fmla="*/ 38 w 107"/>
              <a:gd name="T45" fmla="*/ 106 h 136"/>
              <a:gd name="T46" fmla="*/ 44 w 107"/>
              <a:gd name="T47" fmla="*/ 108 h 136"/>
              <a:gd name="T48" fmla="*/ 47 w 107"/>
              <a:gd name="T49" fmla="*/ 105 h 136"/>
              <a:gd name="T50" fmla="*/ 57 w 107"/>
              <a:gd name="T51" fmla="*/ 109 h 136"/>
              <a:gd name="T52" fmla="*/ 61 w 107"/>
              <a:gd name="T53" fmla="*/ 96 h 136"/>
              <a:gd name="T54" fmla="*/ 58 w 107"/>
              <a:gd name="T55" fmla="*/ 86 h 136"/>
              <a:gd name="T56" fmla="*/ 77 w 107"/>
              <a:gd name="T57" fmla="*/ 87 h 136"/>
              <a:gd name="T58" fmla="*/ 87 w 107"/>
              <a:gd name="T59" fmla="*/ 101 h 136"/>
              <a:gd name="T60" fmla="*/ 93 w 107"/>
              <a:gd name="T61" fmla="*/ 112 h 136"/>
              <a:gd name="T62" fmla="*/ 96 w 107"/>
              <a:gd name="T63" fmla="*/ 124 h 136"/>
              <a:gd name="T64" fmla="*/ 103 w 107"/>
              <a:gd name="T65" fmla="*/ 136 h 136"/>
              <a:gd name="T66" fmla="*/ 100 w 107"/>
              <a:gd name="T67" fmla="*/ 118 h 136"/>
              <a:gd name="T68" fmla="*/ 107 w 107"/>
              <a:gd name="T69" fmla="*/ 121 h 136"/>
              <a:gd name="T70" fmla="*/ 105 w 107"/>
              <a:gd name="T71" fmla="*/ 105 h 136"/>
              <a:gd name="T72" fmla="*/ 105 w 107"/>
              <a:gd name="T73" fmla="*/ 10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7" h="136">
                <a:moveTo>
                  <a:pt x="105" y="105"/>
                </a:moveTo>
                <a:lnTo>
                  <a:pt x="88" y="66"/>
                </a:lnTo>
                <a:lnTo>
                  <a:pt x="83" y="67"/>
                </a:lnTo>
                <a:lnTo>
                  <a:pt x="82" y="82"/>
                </a:lnTo>
                <a:lnTo>
                  <a:pt x="69" y="69"/>
                </a:lnTo>
                <a:lnTo>
                  <a:pt x="73" y="56"/>
                </a:lnTo>
                <a:lnTo>
                  <a:pt x="82" y="54"/>
                </a:lnTo>
                <a:lnTo>
                  <a:pt x="88" y="34"/>
                </a:lnTo>
                <a:lnTo>
                  <a:pt x="75" y="31"/>
                </a:lnTo>
                <a:lnTo>
                  <a:pt x="57" y="31"/>
                </a:lnTo>
                <a:lnTo>
                  <a:pt x="36" y="28"/>
                </a:lnTo>
                <a:lnTo>
                  <a:pt x="32" y="11"/>
                </a:lnTo>
                <a:lnTo>
                  <a:pt x="22" y="9"/>
                </a:lnTo>
                <a:lnTo>
                  <a:pt x="4" y="0"/>
                </a:lnTo>
                <a:lnTo>
                  <a:pt x="0" y="16"/>
                </a:lnTo>
                <a:lnTo>
                  <a:pt x="16" y="28"/>
                </a:lnTo>
                <a:lnTo>
                  <a:pt x="5" y="37"/>
                </a:lnTo>
                <a:lnTo>
                  <a:pt x="2" y="46"/>
                </a:lnTo>
                <a:lnTo>
                  <a:pt x="16" y="52"/>
                </a:lnTo>
                <a:lnTo>
                  <a:pt x="15" y="66"/>
                </a:lnTo>
                <a:lnTo>
                  <a:pt x="24" y="84"/>
                </a:lnTo>
                <a:lnTo>
                  <a:pt x="30" y="104"/>
                </a:lnTo>
                <a:lnTo>
                  <a:pt x="38" y="106"/>
                </a:lnTo>
                <a:lnTo>
                  <a:pt x="44" y="108"/>
                </a:lnTo>
                <a:lnTo>
                  <a:pt x="47" y="105"/>
                </a:lnTo>
                <a:lnTo>
                  <a:pt x="57" y="109"/>
                </a:lnTo>
                <a:lnTo>
                  <a:pt x="61" y="96"/>
                </a:lnTo>
                <a:lnTo>
                  <a:pt x="58" y="86"/>
                </a:lnTo>
                <a:lnTo>
                  <a:pt x="77" y="87"/>
                </a:lnTo>
                <a:lnTo>
                  <a:pt x="87" y="101"/>
                </a:lnTo>
                <a:lnTo>
                  <a:pt x="93" y="112"/>
                </a:lnTo>
                <a:lnTo>
                  <a:pt x="96" y="124"/>
                </a:lnTo>
                <a:lnTo>
                  <a:pt x="103" y="136"/>
                </a:lnTo>
                <a:lnTo>
                  <a:pt x="100" y="118"/>
                </a:lnTo>
                <a:lnTo>
                  <a:pt x="107" y="121"/>
                </a:lnTo>
                <a:lnTo>
                  <a:pt x="105" y="105"/>
                </a:lnTo>
                <a:lnTo>
                  <a:pt x="105" y="10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41" name="Botswana">
            <a:extLst>
              <a:ext uri="{FF2B5EF4-FFF2-40B4-BE49-F238E27FC236}">
                <a16:creationId xmlns:a16="http://schemas.microsoft.com/office/drawing/2014/main" id="{6C02192D-C01F-4FA5-81D7-9A333602804D}"/>
              </a:ext>
            </a:extLst>
          </p:cNvPr>
          <p:cNvSpPr>
            <a:spLocks/>
          </p:cNvSpPr>
          <p:nvPr/>
        </p:nvSpPr>
        <p:spPr bwMode="auto">
          <a:xfrm>
            <a:off x="5892277" y="5054800"/>
            <a:ext cx="336842" cy="370864"/>
          </a:xfrm>
          <a:custGeom>
            <a:avLst/>
            <a:gdLst>
              <a:gd name="T0" fmla="*/ 116 w 198"/>
              <a:gd name="T1" fmla="*/ 1 h 218"/>
              <a:gd name="T2" fmla="*/ 113 w 198"/>
              <a:gd name="T3" fmla="*/ 0 h 218"/>
              <a:gd name="T4" fmla="*/ 100 w 198"/>
              <a:gd name="T5" fmla="*/ 5 h 218"/>
              <a:gd name="T6" fmla="*/ 95 w 198"/>
              <a:gd name="T7" fmla="*/ 5 h 218"/>
              <a:gd name="T8" fmla="*/ 81 w 198"/>
              <a:gd name="T9" fmla="*/ 14 h 218"/>
              <a:gd name="T10" fmla="*/ 73 w 198"/>
              <a:gd name="T11" fmla="*/ 5 h 218"/>
              <a:gd name="T12" fmla="*/ 41 w 198"/>
              <a:gd name="T13" fmla="*/ 13 h 218"/>
              <a:gd name="T14" fmla="*/ 26 w 198"/>
              <a:gd name="T15" fmla="*/ 14 h 218"/>
              <a:gd name="T16" fmla="*/ 22 w 198"/>
              <a:gd name="T17" fmla="*/ 98 h 218"/>
              <a:gd name="T18" fmla="*/ 2 w 198"/>
              <a:gd name="T19" fmla="*/ 99 h 218"/>
              <a:gd name="T20" fmla="*/ 0 w 198"/>
              <a:gd name="T21" fmla="*/ 169 h 218"/>
              <a:gd name="T22" fmla="*/ 5 w 198"/>
              <a:gd name="T23" fmla="*/ 172 h 218"/>
              <a:gd name="T24" fmla="*/ 16 w 198"/>
              <a:gd name="T25" fmla="*/ 195 h 218"/>
              <a:gd name="T26" fmla="*/ 14 w 198"/>
              <a:gd name="T27" fmla="*/ 209 h 218"/>
              <a:gd name="T28" fmla="*/ 18 w 198"/>
              <a:gd name="T29" fmla="*/ 218 h 218"/>
              <a:gd name="T30" fmla="*/ 33 w 198"/>
              <a:gd name="T31" fmla="*/ 215 h 218"/>
              <a:gd name="T32" fmla="*/ 43 w 198"/>
              <a:gd name="T33" fmla="*/ 205 h 218"/>
              <a:gd name="T34" fmla="*/ 54 w 198"/>
              <a:gd name="T35" fmla="*/ 197 h 218"/>
              <a:gd name="T36" fmla="*/ 59 w 198"/>
              <a:gd name="T37" fmla="*/ 186 h 218"/>
              <a:gd name="T38" fmla="*/ 69 w 198"/>
              <a:gd name="T39" fmla="*/ 181 h 218"/>
              <a:gd name="T40" fmla="*/ 78 w 198"/>
              <a:gd name="T41" fmla="*/ 183 h 218"/>
              <a:gd name="T42" fmla="*/ 87 w 198"/>
              <a:gd name="T43" fmla="*/ 190 h 218"/>
              <a:gd name="T44" fmla="*/ 103 w 198"/>
              <a:gd name="T45" fmla="*/ 191 h 218"/>
              <a:gd name="T46" fmla="*/ 117 w 198"/>
              <a:gd name="T47" fmla="*/ 185 h 218"/>
              <a:gd name="T48" fmla="*/ 119 w 198"/>
              <a:gd name="T49" fmla="*/ 178 h 218"/>
              <a:gd name="T50" fmla="*/ 124 w 198"/>
              <a:gd name="T51" fmla="*/ 167 h 218"/>
              <a:gd name="T52" fmla="*/ 135 w 198"/>
              <a:gd name="T53" fmla="*/ 165 h 218"/>
              <a:gd name="T54" fmla="*/ 141 w 198"/>
              <a:gd name="T55" fmla="*/ 156 h 218"/>
              <a:gd name="T56" fmla="*/ 149 w 198"/>
              <a:gd name="T57" fmla="*/ 140 h 218"/>
              <a:gd name="T58" fmla="*/ 168 w 198"/>
              <a:gd name="T59" fmla="*/ 123 h 218"/>
              <a:gd name="T60" fmla="*/ 198 w 198"/>
              <a:gd name="T61" fmla="*/ 105 h 218"/>
              <a:gd name="T62" fmla="*/ 185 w 198"/>
              <a:gd name="T63" fmla="*/ 94 h 218"/>
              <a:gd name="T64" fmla="*/ 170 w 198"/>
              <a:gd name="T65" fmla="*/ 91 h 218"/>
              <a:gd name="T66" fmla="*/ 164 w 198"/>
              <a:gd name="T67" fmla="*/ 75 h 218"/>
              <a:gd name="T68" fmla="*/ 164 w 198"/>
              <a:gd name="T69" fmla="*/ 67 h 218"/>
              <a:gd name="T70" fmla="*/ 156 w 198"/>
              <a:gd name="T71" fmla="*/ 65 h 218"/>
              <a:gd name="T72" fmla="*/ 133 w 198"/>
              <a:gd name="T73" fmla="*/ 39 h 218"/>
              <a:gd name="T74" fmla="*/ 127 w 198"/>
              <a:gd name="T75" fmla="*/ 25 h 218"/>
              <a:gd name="T76" fmla="*/ 123 w 198"/>
              <a:gd name="T77" fmla="*/ 20 h 218"/>
              <a:gd name="T78" fmla="*/ 116 w 198"/>
              <a:gd name="T79" fmla="*/ 1 h 218"/>
              <a:gd name="T80" fmla="*/ 116 w 198"/>
              <a:gd name="T81" fmla="*/ 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8" h="218">
                <a:moveTo>
                  <a:pt x="116" y="1"/>
                </a:moveTo>
                <a:lnTo>
                  <a:pt x="113" y="0"/>
                </a:lnTo>
                <a:lnTo>
                  <a:pt x="100" y="5"/>
                </a:lnTo>
                <a:lnTo>
                  <a:pt x="95" y="5"/>
                </a:lnTo>
                <a:lnTo>
                  <a:pt x="81" y="14"/>
                </a:lnTo>
                <a:lnTo>
                  <a:pt x="73" y="5"/>
                </a:lnTo>
                <a:lnTo>
                  <a:pt x="41" y="13"/>
                </a:lnTo>
                <a:lnTo>
                  <a:pt x="26" y="14"/>
                </a:lnTo>
                <a:lnTo>
                  <a:pt x="22" y="98"/>
                </a:lnTo>
                <a:lnTo>
                  <a:pt x="2" y="99"/>
                </a:lnTo>
                <a:lnTo>
                  <a:pt x="0" y="169"/>
                </a:lnTo>
                <a:lnTo>
                  <a:pt x="5" y="172"/>
                </a:lnTo>
                <a:lnTo>
                  <a:pt x="16" y="195"/>
                </a:lnTo>
                <a:lnTo>
                  <a:pt x="14" y="209"/>
                </a:lnTo>
                <a:lnTo>
                  <a:pt x="18" y="218"/>
                </a:lnTo>
                <a:lnTo>
                  <a:pt x="33" y="215"/>
                </a:lnTo>
                <a:lnTo>
                  <a:pt x="43" y="205"/>
                </a:lnTo>
                <a:lnTo>
                  <a:pt x="54" y="197"/>
                </a:lnTo>
                <a:lnTo>
                  <a:pt x="59" y="186"/>
                </a:lnTo>
                <a:lnTo>
                  <a:pt x="69" y="181"/>
                </a:lnTo>
                <a:lnTo>
                  <a:pt x="78" y="183"/>
                </a:lnTo>
                <a:lnTo>
                  <a:pt x="87" y="190"/>
                </a:lnTo>
                <a:lnTo>
                  <a:pt x="103" y="191"/>
                </a:lnTo>
                <a:lnTo>
                  <a:pt x="117" y="185"/>
                </a:lnTo>
                <a:lnTo>
                  <a:pt x="119" y="178"/>
                </a:lnTo>
                <a:lnTo>
                  <a:pt x="124" y="167"/>
                </a:lnTo>
                <a:lnTo>
                  <a:pt x="135" y="165"/>
                </a:lnTo>
                <a:lnTo>
                  <a:pt x="141" y="156"/>
                </a:lnTo>
                <a:lnTo>
                  <a:pt x="149" y="140"/>
                </a:lnTo>
                <a:lnTo>
                  <a:pt x="168" y="123"/>
                </a:lnTo>
                <a:lnTo>
                  <a:pt x="198" y="105"/>
                </a:lnTo>
                <a:lnTo>
                  <a:pt x="185" y="94"/>
                </a:lnTo>
                <a:lnTo>
                  <a:pt x="170" y="91"/>
                </a:lnTo>
                <a:lnTo>
                  <a:pt x="164" y="75"/>
                </a:lnTo>
                <a:lnTo>
                  <a:pt x="164" y="67"/>
                </a:lnTo>
                <a:lnTo>
                  <a:pt x="156" y="65"/>
                </a:lnTo>
                <a:lnTo>
                  <a:pt x="133" y="39"/>
                </a:lnTo>
                <a:lnTo>
                  <a:pt x="127" y="25"/>
                </a:lnTo>
                <a:lnTo>
                  <a:pt x="123" y="20"/>
                </a:lnTo>
                <a:lnTo>
                  <a:pt x="116" y="1"/>
                </a:lnTo>
                <a:lnTo>
                  <a:pt x="116"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42" name="Central African Republic">
            <a:extLst>
              <a:ext uri="{FF2B5EF4-FFF2-40B4-BE49-F238E27FC236}">
                <a16:creationId xmlns:a16="http://schemas.microsoft.com/office/drawing/2014/main" id="{36B22335-C9DA-4144-88D7-54C4EB906244}"/>
              </a:ext>
            </a:extLst>
          </p:cNvPr>
          <p:cNvSpPr>
            <a:spLocks/>
          </p:cNvSpPr>
          <p:nvPr/>
        </p:nvSpPr>
        <p:spPr bwMode="auto">
          <a:xfrm>
            <a:off x="5715352" y="3889467"/>
            <a:ext cx="461028" cy="358957"/>
          </a:xfrm>
          <a:custGeom>
            <a:avLst/>
            <a:gdLst>
              <a:gd name="T0" fmla="*/ 195 w 271"/>
              <a:gd name="T1" fmla="*/ 59 h 211"/>
              <a:gd name="T2" fmla="*/ 187 w 271"/>
              <a:gd name="T3" fmla="*/ 45 h 211"/>
              <a:gd name="T4" fmla="*/ 189 w 271"/>
              <a:gd name="T5" fmla="*/ 25 h 211"/>
              <a:gd name="T6" fmla="*/ 175 w 271"/>
              <a:gd name="T7" fmla="*/ 0 h 211"/>
              <a:gd name="T8" fmla="*/ 151 w 271"/>
              <a:gd name="T9" fmla="*/ 14 h 211"/>
              <a:gd name="T10" fmla="*/ 117 w 271"/>
              <a:gd name="T11" fmla="*/ 51 h 211"/>
              <a:gd name="T12" fmla="*/ 91 w 271"/>
              <a:gd name="T13" fmla="*/ 51 h 211"/>
              <a:gd name="T14" fmla="*/ 82 w 271"/>
              <a:gd name="T15" fmla="*/ 68 h 211"/>
              <a:gd name="T16" fmla="*/ 47 w 271"/>
              <a:gd name="T17" fmla="*/ 87 h 211"/>
              <a:gd name="T18" fmla="*/ 38 w 271"/>
              <a:gd name="T19" fmla="*/ 80 h 211"/>
              <a:gd name="T20" fmla="*/ 17 w 271"/>
              <a:gd name="T21" fmla="*/ 89 h 211"/>
              <a:gd name="T22" fmla="*/ 2 w 271"/>
              <a:gd name="T23" fmla="*/ 117 h 211"/>
              <a:gd name="T24" fmla="*/ 3 w 271"/>
              <a:gd name="T25" fmla="*/ 146 h 211"/>
              <a:gd name="T26" fmla="*/ 10 w 271"/>
              <a:gd name="T27" fmla="*/ 165 h 211"/>
              <a:gd name="T28" fmla="*/ 20 w 271"/>
              <a:gd name="T29" fmla="*/ 186 h 211"/>
              <a:gd name="T30" fmla="*/ 31 w 271"/>
              <a:gd name="T31" fmla="*/ 205 h 211"/>
              <a:gd name="T32" fmla="*/ 44 w 271"/>
              <a:gd name="T33" fmla="*/ 189 h 211"/>
              <a:gd name="T34" fmla="*/ 71 w 271"/>
              <a:gd name="T35" fmla="*/ 180 h 211"/>
              <a:gd name="T36" fmla="*/ 86 w 271"/>
              <a:gd name="T37" fmla="*/ 165 h 211"/>
              <a:gd name="T38" fmla="*/ 105 w 271"/>
              <a:gd name="T39" fmla="*/ 146 h 211"/>
              <a:gd name="T40" fmla="*/ 136 w 271"/>
              <a:gd name="T41" fmla="*/ 163 h 211"/>
              <a:gd name="T42" fmla="*/ 167 w 271"/>
              <a:gd name="T43" fmla="*/ 169 h 211"/>
              <a:gd name="T44" fmla="*/ 176 w 271"/>
              <a:gd name="T45" fmla="*/ 153 h 211"/>
              <a:gd name="T46" fmla="*/ 209 w 271"/>
              <a:gd name="T47" fmla="*/ 144 h 211"/>
              <a:gd name="T48" fmla="*/ 224 w 271"/>
              <a:gd name="T49" fmla="*/ 148 h 211"/>
              <a:gd name="T50" fmla="*/ 234 w 271"/>
              <a:gd name="T51" fmla="*/ 140 h 211"/>
              <a:gd name="T52" fmla="*/ 264 w 271"/>
              <a:gd name="T53" fmla="*/ 143 h 211"/>
              <a:gd name="T54" fmla="*/ 268 w 271"/>
              <a:gd name="T55" fmla="*/ 133 h 211"/>
              <a:gd name="T56" fmla="*/ 246 w 271"/>
              <a:gd name="T57" fmla="*/ 109 h 211"/>
              <a:gd name="T58" fmla="*/ 223 w 271"/>
              <a:gd name="T59" fmla="*/ 87 h 211"/>
              <a:gd name="T60" fmla="*/ 211 w 271"/>
              <a:gd name="T61" fmla="*/ 69 h 211"/>
              <a:gd name="T62" fmla="*/ 197 w 271"/>
              <a:gd name="T63" fmla="*/ 6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1" h="211">
                <a:moveTo>
                  <a:pt x="197" y="60"/>
                </a:moveTo>
                <a:lnTo>
                  <a:pt x="195" y="59"/>
                </a:lnTo>
                <a:lnTo>
                  <a:pt x="188" y="52"/>
                </a:lnTo>
                <a:lnTo>
                  <a:pt x="187" y="45"/>
                </a:lnTo>
                <a:lnTo>
                  <a:pt x="189" y="35"/>
                </a:lnTo>
                <a:lnTo>
                  <a:pt x="189" y="25"/>
                </a:lnTo>
                <a:lnTo>
                  <a:pt x="177" y="10"/>
                </a:lnTo>
                <a:lnTo>
                  <a:pt x="175" y="0"/>
                </a:lnTo>
                <a:lnTo>
                  <a:pt x="161" y="5"/>
                </a:lnTo>
                <a:lnTo>
                  <a:pt x="151" y="14"/>
                </a:lnTo>
                <a:lnTo>
                  <a:pt x="136" y="40"/>
                </a:lnTo>
                <a:lnTo>
                  <a:pt x="117" y="51"/>
                </a:lnTo>
                <a:lnTo>
                  <a:pt x="96" y="50"/>
                </a:lnTo>
                <a:lnTo>
                  <a:pt x="91" y="51"/>
                </a:lnTo>
                <a:lnTo>
                  <a:pt x="92" y="60"/>
                </a:lnTo>
                <a:lnTo>
                  <a:pt x="82" y="68"/>
                </a:lnTo>
                <a:lnTo>
                  <a:pt x="74" y="78"/>
                </a:lnTo>
                <a:lnTo>
                  <a:pt x="47" y="87"/>
                </a:lnTo>
                <a:lnTo>
                  <a:pt x="42" y="81"/>
                </a:lnTo>
                <a:lnTo>
                  <a:pt x="38" y="80"/>
                </a:lnTo>
                <a:lnTo>
                  <a:pt x="34" y="87"/>
                </a:lnTo>
                <a:lnTo>
                  <a:pt x="17" y="89"/>
                </a:lnTo>
                <a:lnTo>
                  <a:pt x="6" y="113"/>
                </a:lnTo>
                <a:lnTo>
                  <a:pt x="2" y="117"/>
                </a:lnTo>
                <a:lnTo>
                  <a:pt x="0" y="136"/>
                </a:lnTo>
                <a:lnTo>
                  <a:pt x="3" y="146"/>
                </a:lnTo>
                <a:lnTo>
                  <a:pt x="1" y="152"/>
                </a:lnTo>
                <a:lnTo>
                  <a:pt x="10" y="165"/>
                </a:lnTo>
                <a:lnTo>
                  <a:pt x="12" y="174"/>
                </a:lnTo>
                <a:lnTo>
                  <a:pt x="20" y="186"/>
                </a:lnTo>
                <a:lnTo>
                  <a:pt x="30" y="193"/>
                </a:lnTo>
                <a:lnTo>
                  <a:pt x="31" y="205"/>
                </a:lnTo>
                <a:lnTo>
                  <a:pt x="34" y="211"/>
                </a:lnTo>
                <a:lnTo>
                  <a:pt x="44" y="189"/>
                </a:lnTo>
                <a:lnTo>
                  <a:pt x="57" y="177"/>
                </a:lnTo>
                <a:lnTo>
                  <a:pt x="71" y="180"/>
                </a:lnTo>
                <a:lnTo>
                  <a:pt x="84" y="182"/>
                </a:lnTo>
                <a:lnTo>
                  <a:pt x="86" y="165"/>
                </a:lnTo>
                <a:lnTo>
                  <a:pt x="94" y="153"/>
                </a:lnTo>
                <a:lnTo>
                  <a:pt x="105" y="146"/>
                </a:lnTo>
                <a:lnTo>
                  <a:pt x="122" y="153"/>
                </a:lnTo>
                <a:lnTo>
                  <a:pt x="136" y="163"/>
                </a:lnTo>
                <a:lnTo>
                  <a:pt x="151" y="164"/>
                </a:lnTo>
                <a:lnTo>
                  <a:pt x="167" y="169"/>
                </a:lnTo>
                <a:lnTo>
                  <a:pt x="173" y="155"/>
                </a:lnTo>
                <a:lnTo>
                  <a:pt x="176" y="153"/>
                </a:lnTo>
                <a:lnTo>
                  <a:pt x="186" y="155"/>
                </a:lnTo>
                <a:lnTo>
                  <a:pt x="209" y="144"/>
                </a:lnTo>
                <a:lnTo>
                  <a:pt x="217" y="149"/>
                </a:lnTo>
                <a:lnTo>
                  <a:pt x="224" y="148"/>
                </a:lnTo>
                <a:lnTo>
                  <a:pt x="227" y="142"/>
                </a:lnTo>
                <a:lnTo>
                  <a:pt x="234" y="140"/>
                </a:lnTo>
                <a:lnTo>
                  <a:pt x="251" y="143"/>
                </a:lnTo>
                <a:lnTo>
                  <a:pt x="264" y="143"/>
                </a:lnTo>
                <a:lnTo>
                  <a:pt x="271" y="141"/>
                </a:lnTo>
                <a:lnTo>
                  <a:pt x="268" y="133"/>
                </a:lnTo>
                <a:lnTo>
                  <a:pt x="252" y="123"/>
                </a:lnTo>
                <a:lnTo>
                  <a:pt x="246" y="109"/>
                </a:lnTo>
                <a:lnTo>
                  <a:pt x="237" y="99"/>
                </a:lnTo>
                <a:lnTo>
                  <a:pt x="223" y="87"/>
                </a:lnTo>
                <a:lnTo>
                  <a:pt x="223" y="79"/>
                </a:lnTo>
                <a:lnTo>
                  <a:pt x="211" y="69"/>
                </a:lnTo>
                <a:lnTo>
                  <a:pt x="197" y="60"/>
                </a:lnTo>
                <a:lnTo>
                  <a:pt x="197" y="6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43" name="Canada">
            <a:extLst>
              <a:ext uri="{FF2B5EF4-FFF2-40B4-BE49-F238E27FC236}">
                <a16:creationId xmlns:a16="http://schemas.microsoft.com/office/drawing/2014/main" id="{48D47E71-DEA0-40C3-8828-1349E44E099E}"/>
              </a:ext>
            </a:extLst>
          </p:cNvPr>
          <p:cNvSpPr>
            <a:spLocks noEditPoints="1"/>
          </p:cNvSpPr>
          <p:nvPr/>
        </p:nvSpPr>
        <p:spPr bwMode="auto">
          <a:xfrm>
            <a:off x="1179913" y="1196445"/>
            <a:ext cx="2706631" cy="1444331"/>
          </a:xfrm>
          <a:custGeom>
            <a:avLst/>
            <a:gdLst>
              <a:gd name="T0" fmla="*/ 1194 w 1591"/>
              <a:gd name="T1" fmla="*/ 665 h 849"/>
              <a:gd name="T2" fmla="*/ 32 w 1591"/>
              <a:gd name="T3" fmla="*/ 652 h 849"/>
              <a:gd name="T4" fmla="*/ 1323 w 1591"/>
              <a:gd name="T5" fmla="*/ 649 h 849"/>
              <a:gd name="T6" fmla="*/ 1366 w 1591"/>
              <a:gd name="T7" fmla="*/ 743 h 849"/>
              <a:gd name="T8" fmla="*/ 1346 w 1591"/>
              <a:gd name="T9" fmla="*/ 649 h 849"/>
              <a:gd name="T10" fmla="*/ 1061 w 1591"/>
              <a:gd name="T11" fmla="*/ 389 h 849"/>
              <a:gd name="T12" fmla="*/ 1026 w 1591"/>
              <a:gd name="T13" fmla="*/ 381 h 849"/>
              <a:gd name="T14" fmla="*/ 1062 w 1591"/>
              <a:gd name="T15" fmla="*/ 353 h 849"/>
              <a:gd name="T16" fmla="*/ 1180 w 1591"/>
              <a:gd name="T17" fmla="*/ 269 h 849"/>
              <a:gd name="T18" fmla="*/ 890 w 1591"/>
              <a:gd name="T19" fmla="*/ 256 h 849"/>
              <a:gd name="T20" fmla="*/ 868 w 1591"/>
              <a:gd name="T21" fmla="*/ 286 h 849"/>
              <a:gd name="T22" fmla="*/ 697 w 1591"/>
              <a:gd name="T23" fmla="*/ 274 h 849"/>
              <a:gd name="T24" fmla="*/ 476 w 1591"/>
              <a:gd name="T25" fmla="*/ 243 h 849"/>
              <a:gd name="T26" fmla="*/ 251 w 1591"/>
              <a:gd name="T27" fmla="*/ 242 h 849"/>
              <a:gd name="T28" fmla="*/ 91 w 1591"/>
              <a:gd name="T29" fmla="*/ 491 h 849"/>
              <a:gd name="T30" fmla="*/ 108 w 1591"/>
              <a:gd name="T31" fmla="*/ 688 h 849"/>
              <a:gd name="T32" fmla="*/ 626 w 1591"/>
              <a:gd name="T33" fmla="*/ 691 h 849"/>
              <a:gd name="T34" fmla="*/ 775 w 1591"/>
              <a:gd name="T35" fmla="*/ 697 h 849"/>
              <a:gd name="T36" fmla="*/ 838 w 1591"/>
              <a:gd name="T37" fmla="*/ 755 h 849"/>
              <a:gd name="T38" fmla="*/ 773 w 1591"/>
              <a:gd name="T39" fmla="*/ 847 h 849"/>
              <a:gd name="T40" fmla="*/ 848 w 1591"/>
              <a:gd name="T41" fmla="*/ 819 h 849"/>
              <a:gd name="T42" fmla="*/ 1022 w 1591"/>
              <a:gd name="T43" fmla="*/ 775 h 849"/>
              <a:gd name="T44" fmla="*/ 1110 w 1591"/>
              <a:gd name="T45" fmla="*/ 812 h 849"/>
              <a:gd name="T46" fmla="*/ 1172 w 1591"/>
              <a:gd name="T47" fmla="*/ 682 h 849"/>
              <a:gd name="T48" fmla="*/ 1334 w 1591"/>
              <a:gd name="T49" fmla="*/ 632 h 849"/>
              <a:gd name="T50" fmla="*/ 1284 w 1591"/>
              <a:gd name="T51" fmla="*/ 433 h 849"/>
              <a:gd name="T52" fmla="*/ 1097 w 1591"/>
              <a:gd name="T53" fmla="*/ 385 h 849"/>
              <a:gd name="T54" fmla="*/ 920 w 1591"/>
              <a:gd name="T55" fmla="*/ 636 h 849"/>
              <a:gd name="T56" fmla="*/ 783 w 1591"/>
              <a:gd name="T57" fmla="*/ 467 h 849"/>
              <a:gd name="T58" fmla="*/ 1030 w 1591"/>
              <a:gd name="T59" fmla="*/ 308 h 849"/>
              <a:gd name="T60" fmla="*/ 1014 w 1591"/>
              <a:gd name="T61" fmla="*/ 259 h 849"/>
              <a:gd name="T62" fmla="*/ 617 w 1591"/>
              <a:gd name="T63" fmla="*/ 221 h 849"/>
              <a:gd name="T64" fmla="*/ 749 w 1591"/>
              <a:gd name="T65" fmla="*/ 248 h 849"/>
              <a:gd name="T66" fmla="*/ 780 w 1591"/>
              <a:gd name="T67" fmla="*/ 191 h 849"/>
              <a:gd name="T68" fmla="*/ 854 w 1591"/>
              <a:gd name="T69" fmla="*/ 165 h 849"/>
              <a:gd name="T70" fmla="*/ 1130 w 1591"/>
              <a:gd name="T71" fmla="*/ 158 h 849"/>
              <a:gd name="T72" fmla="*/ 1194 w 1591"/>
              <a:gd name="T73" fmla="*/ 236 h 849"/>
              <a:gd name="T74" fmla="*/ 1163 w 1591"/>
              <a:gd name="T75" fmla="*/ 346 h 849"/>
              <a:gd name="T76" fmla="*/ 1315 w 1591"/>
              <a:gd name="T77" fmla="*/ 346 h 849"/>
              <a:gd name="T78" fmla="*/ 1343 w 1591"/>
              <a:gd name="T79" fmla="*/ 248 h 849"/>
              <a:gd name="T80" fmla="*/ 1110 w 1591"/>
              <a:gd name="T81" fmla="*/ 182 h 849"/>
              <a:gd name="T82" fmla="*/ 961 w 1591"/>
              <a:gd name="T83" fmla="*/ 165 h 849"/>
              <a:gd name="T84" fmla="*/ 976 w 1591"/>
              <a:gd name="T85" fmla="*/ 192 h 849"/>
              <a:gd name="T86" fmla="*/ 523 w 1591"/>
              <a:gd name="T87" fmla="*/ 187 h 849"/>
              <a:gd name="T88" fmla="*/ 1040 w 1591"/>
              <a:gd name="T89" fmla="*/ 136 h 849"/>
              <a:gd name="T90" fmla="*/ 861 w 1591"/>
              <a:gd name="T91" fmla="*/ 114 h 849"/>
              <a:gd name="T92" fmla="*/ 764 w 1591"/>
              <a:gd name="T93" fmla="*/ 146 h 849"/>
              <a:gd name="T94" fmla="*/ 1060 w 1591"/>
              <a:gd name="T95" fmla="*/ 128 h 849"/>
              <a:gd name="T96" fmla="*/ 1132 w 1591"/>
              <a:gd name="T97" fmla="*/ 126 h 849"/>
              <a:gd name="T98" fmla="*/ 656 w 1591"/>
              <a:gd name="T99" fmla="*/ 115 h 849"/>
              <a:gd name="T100" fmla="*/ 1088 w 1591"/>
              <a:gd name="T101" fmla="*/ 90 h 849"/>
              <a:gd name="T102" fmla="*/ 899 w 1591"/>
              <a:gd name="T103" fmla="*/ 72 h 849"/>
              <a:gd name="T104" fmla="*/ 971 w 1591"/>
              <a:gd name="T105" fmla="*/ 59 h 849"/>
              <a:gd name="T106" fmla="*/ 1153 w 1591"/>
              <a:gd name="T107" fmla="*/ 32 h 849"/>
              <a:gd name="T108" fmla="*/ 1222 w 1591"/>
              <a:gd name="T109" fmla="*/ 53 h 849"/>
              <a:gd name="T110" fmla="*/ 1229 w 1591"/>
              <a:gd name="T111" fmla="*/ 15 h 849"/>
              <a:gd name="T112" fmla="*/ 1203 w 1591"/>
              <a:gd name="T113" fmla="*/ 69 h 849"/>
              <a:gd name="T114" fmla="*/ 1296 w 1591"/>
              <a:gd name="T115" fmla="*/ 99 h 849"/>
              <a:gd name="T116" fmla="*/ 1492 w 1591"/>
              <a:gd name="T117" fmla="*/ 34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91" h="849">
                <a:moveTo>
                  <a:pt x="1177" y="745"/>
                </a:moveTo>
                <a:lnTo>
                  <a:pt x="1174" y="733"/>
                </a:lnTo>
                <a:lnTo>
                  <a:pt x="1165" y="740"/>
                </a:lnTo>
                <a:lnTo>
                  <a:pt x="1166" y="748"/>
                </a:lnTo>
                <a:lnTo>
                  <a:pt x="1188" y="758"/>
                </a:lnTo>
                <a:lnTo>
                  <a:pt x="1194" y="757"/>
                </a:lnTo>
                <a:lnTo>
                  <a:pt x="1207" y="747"/>
                </a:lnTo>
                <a:lnTo>
                  <a:pt x="1190" y="747"/>
                </a:lnTo>
                <a:lnTo>
                  <a:pt x="1177" y="745"/>
                </a:lnTo>
                <a:lnTo>
                  <a:pt x="1177" y="745"/>
                </a:lnTo>
                <a:close/>
                <a:moveTo>
                  <a:pt x="1231" y="685"/>
                </a:moveTo>
                <a:lnTo>
                  <a:pt x="1231" y="681"/>
                </a:lnTo>
                <a:lnTo>
                  <a:pt x="1216" y="671"/>
                </a:lnTo>
                <a:lnTo>
                  <a:pt x="1194" y="665"/>
                </a:lnTo>
                <a:lnTo>
                  <a:pt x="1187" y="667"/>
                </a:lnTo>
                <a:lnTo>
                  <a:pt x="1200" y="678"/>
                </a:lnTo>
                <a:lnTo>
                  <a:pt x="1222" y="686"/>
                </a:lnTo>
                <a:lnTo>
                  <a:pt x="1231" y="685"/>
                </a:lnTo>
                <a:lnTo>
                  <a:pt x="1231" y="685"/>
                </a:lnTo>
                <a:close/>
                <a:moveTo>
                  <a:pt x="90" y="699"/>
                </a:moveTo>
                <a:lnTo>
                  <a:pt x="91" y="686"/>
                </a:lnTo>
                <a:lnTo>
                  <a:pt x="79" y="677"/>
                </a:lnTo>
                <a:lnTo>
                  <a:pt x="78" y="665"/>
                </a:lnTo>
                <a:lnTo>
                  <a:pt x="77" y="658"/>
                </a:lnTo>
                <a:lnTo>
                  <a:pt x="62" y="655"/>
                </a:lnTo>
                <a:lnTo>
                  <a:pt x="53" y="652"/>
                </a:lnTo>
                <a:lnTo>
                  <a:pt x="38" y="647"/>
                </a:lnTo>
                <a:lnTo>
                  <a:pt x="32" y="652"/>
                </a:lnTo>
                <a:lnTo>
                  <a:pt x="30" y="664"/>
                </a:lnTo>
                <a:lnTo>
                  <a:pt x="46" y="669"/>
                </a:lnTo>
                <a:lnTo>
                  <a:pt x="45" y="676"/>
                </a:lnTo>
                <a:lnTo>
                  <a:pt x="55" y="684"/>
                </a:lnTo>
                <a:lnTo>
                  <a:pt x="55" y="691"/>
                </a:lnTo>
                <a:lnTo>
                  <a:pt x="79" y="703"/>
                </a:lnTo>
                <a:lnTo>
                  <a:pt x="90" y="699"/>
                </a:lnTo>
                <a:lnTo>
                  <a:pt x="90" y="699"/>
                </a:lnTo>
                <a:close/>
                <a:moveTo>
                  <a:pt x="1346" y="649"/>
                </a:moveTo>
                <a:lnTo>
                  <a:pt x="1360" y="635"/>
                </a:lnTo>
                <a:lnTo>
                  <a:pt x="1365" y="628"/>
                </a:lnTo>
                <a:lnTo>
                  <a:pt x="1358" y="627"/>
                </a:lnTo>
                <a:lnTo>
                  <a:pt x="1339" y="635"/>
                </a:lnTo>
                <a:lnTo>
                  <a:pt x="1323" y="649"/>
                </a:lnTo>
                <a:lnTo>
                  <a:pt x="1293" y="685"/>
                </a:lnTo>
                <a:lnTo>
                  <a:pt x="1274" y="699"/>
                </a:lnTo>
                <a:lnTo>
                  <a:pt x="1279" y="705"/>
                </a:lnTo>
                <a:lnTo>
                  <a:pt x="1265" y="713"/>
                </a:lnTo>
                <a:lnTo>
                  <a:pt x="1266" y="720"/>
                </a:lnTo>
                <a:lnTo>
                  <a:pt x="1302" y="720"/>
                </a:lnTo>
                <a:lnTo>
                  <a:pt x="1322" y="719"/>
                </a:lnTo>
                <a:lnTo>
                  <a:pt x="1338" y="725"/>
                </a:lnTo>
                <a:lnTo>
                  <a:pt x="1322" y="736"/>
                </a:lnTo>
                <a:lnTo>
                  <a:pt x="1333" y="736"/>
                </a:lnTo>
                <a:lnTo>
                  <a:pt x="1360" y="717"/>
                </a:lnTo>
                <a:lnTo>
                  <a:pt x="1364" y="719"/>
                </a:lnTo>
                <a:lnTo>
                  <a:pt x="1355" y="738"/>
                </a:lnTo>
                <a:lnTo>
                  <a:pt x="1366" y="743"/>
                </a:lnTo>
                <a:lnTo>
                  <a:pt x="1375" y="742"/>
                </a:lnTo>
                <a:lnTo>
                  <a:pt x="1388" y="721"/>
                </a:lnTo>
                <a:lnTo>
                  <a:pt x="1386" y="707"/>
                </a:lnTo>
                <a:lnTo>
                  <a:pt x="1388" y="695"/>
                </a:lnTo>
                <a:lnTo>
                  <a:pt x="1374" y="699"/>
                </a:lnTo>
                <a:lnTo>
                  <a:pt x="1384" y="682"/>
                </a:lnTo>
                <a:lnTo>
                  <a:pt x="1368" y="675"/>
                </a:lnTo>
                <a:lnTo>
                  <a:pt x="1358" y="680"/>
                </a:lnTo>
                <a:lnTo>
                  <a:pt x="1343" y="674"/>
                </a:lnTo>
                <a:lnTo>
                  <a:pt x="1352" y="666"/>
                </a:lnTo>
                <a:lnTo>
                  <a:pt x="1341" y="662"/>
                </a:lnTo>
                <a:lnTo>
                  <a:pt x="1327" y="669"/>
                </a:lnTo>
                <a:lnTo>
                  <a:pt x="1346" y="649"/>
                </a:lnTo>
                <a:lnTo>
                  <a:pt x="1346" y="649"/>
                </a:lnTo>
                <a:close/>
                <a:moveTo>
                  <a:pt x="13" y="569"/>
                </a:moveTo>
                <a:lnTo>
                  <a:pt x="6" y="577"/>
                </a:lnTo>
                <a:lnTo>
                  <a:pt x="0" y="587"/>
                </a:lnTo>
                <a:lnTo>
                  <a:pt x="4" y="593"/>
                </a:lnTo>
                <a:lnTo>
                  <a:pt x="2" y="604"/>
                </a:lnTo>
                <a:lnTo>
                  <a:pt x="4" y="615"/>
                </a:lnTo>
                <a:lnTo>
                  <a:pt x="12" y="615"/>
                </a:lnTo>
                <a:lnTo>
                  <a:pt x="11" y="596"/>
                </a:lnTo>
                <a:lnTo>
                  <a:pt x="38" y="570"/>
                </a:lnTo>
                <a:lnTo>
                  <a:pt x="19" y="572"/>
                </a:lnTo>
                <a:lnTo>
                  <a:pt x="13" y="569"/>
                </a:lnTo>
                <a:lnTo>
                  <a:pt x="13" y="569"/>
                </a:lnTo>
                <a:close/>
                <a:moveTo>
                  <a:pt x="1062" y="394"/>
                </a:moveTo>
                <a:lnTo>
                  <a:pt x="1061" y="389"/>
                </a:lnTo>
                <a:lnTo>
                  <a:pt x="1054" y="389"/>
                </a:lnTo>
                <a:lnTo>
                  <a:pt x="1044" y="395"/>
                </a:lnTo>
                <a:lnTo>
                  <a:pt x="1042" y="396"/>
                </a:lnTo>
                <a:lnTo>
                  <a:pt x="1042" y="403"/>
                </a:lnTo>
                <a:lnTo>
                  <a:pt x="1049" y="405"/>
                </a:lnTo>
                <a:lnTo>
                  <a:pt x="1062" y="394"/>
                </a:lnTo>
                <a:lnTo>
                  <a:pt x="1062" y="394"/>
                </a:lnTo>
                <a:close/>
                <a:moveTo>
                  <a:pt x="1026" y="381"/>
                </a:moveTo>
                <a:lnTo>
                  <a:pt x="1029" y="378"/>
                </a:lnTo>
                <a:lnTo>
                  <a:pt x="1007" y="378"/>
                </a:lnTo>
                <a:lnTo>
                  <a:pt x="988" y="387"/>
                </a:lnTo>
                <a:lnTo>
                  <a:pt x="988" y="393"/>
                </a:lnTo>
                <a:lnTo>
                  <a:pt x="999" y="394"/>
                </a:lnTo>
                <a:lnTo>
                  <a:pt x="1026" y="381"/>
                </a:lnTo>
                <a:lnTo>
                  <a:pt x="1026" y="381"/>
                </a:lnTo>
                <a:close/>
                <a:moveTo>
                  <a:pt x="1014" y="320"/>
                </a:moveTo>
                <a:lnTo>
                  <a:pt x="1005" y="318"/>
                </a:lnTo>
                <a:lnTo>
                  <a:pt x="986" y="338"/>
                </a:lnTo>
                <a:lnTo>
                  <a:pt x="972" y="353"/>
                </a:lnTo>
                <a:lnTo>
                  <a:pt x="951" y="365"/>
                </a:lnTo>
                <a:lnTo>
                  <a:pt x="975" y="362"/>
                </a:lnTo>
                <a:lnTo>
                  <a:pt x="971" y="375"/>
                </a:lnTo>
                <a:lnTo>
                  <a:pt x="1002" y="364"/>
                </a:lnTo>
                <a:lnTo>
                  <a:pt x="1026" y="353"/>
                </a:lnTo>
                <a:lnTo>
                  <a:pt x="1028" y="362"/>
                </a:lnTo>
                <a:lnTo>
                  <a:pt x="1051" y="367"/>
                </a:lnTo>
                <a:lnTo>
                  <a:pt x="1068" y="360"/>
                </a:lnTo>
                <a:lnTo>
                  <a:pt x="1062" y="353"/>
                </a:lnTo>
                <a:lnTo>
                  <a:pt x="1049" y="355"/>
                </a:lnTo>
                <a:lnTo>
                  <a:pt x="1054" y="345"/>
                </a:lnTo>
                <a:lnTo>
                  <a:pt x="1040" y="339"/>
                </a:lnTo>
                <a:lnTo>
                  <a:pt x="1027" y="331"/>
                </a:lnTo>
                <a:lnTo>
                  <a:pt x="1022" y="325"/>
                </a:lnTo>
                <a:lnTo>
                  <a:pt x="1011" y="329"/>
                </a:lnTo>
                <a:lnTo>
                  <a:pt x="1014" y="320"/>
                </a:lnTo>
                <a:lnTo>
                  <a:pt x="1014" y="320"/>
                </a:lnTo>
                <a:close/>
                <a:moveTo>
                  <a:pt x="1181" y="289"/>
                </a:moveTo>
                <a:lnTo>
                  <a:pt x="1195" y="283"/>
                </a:lnTo>
                <a:lnTo>
                  <a:pt x="1199" y="281"/>
                </a:lnTo>
                <a:lnTo>
                  <a:pt x="1204" y="271"/>
                </a:lnTo>
                <a:lnTo>
                  <a:pt x="1195" y="266"/>
                </a:lnTo>
                <a:lnTo>
                  <a:pt x="1180" y="269"/>
                </a:lnTo>
                <a:lnTo>
                  <a:pt x="1166" y="281"/>
                </a:lnTo>
                <a:lnTo>
                  <a:pt x="1163" y="290"/>
                </a:lnTo>
                <a:lnTo>
                  <a:pt x="1181" y="289"/>
                </a:lnTo>
                <a:lnTo>
                  <a:pt x="1181" y="289"/>
                </a:lnTo>
                <a:close/>
                <a:moveTo>
                  <a:pt x="906" y="249"/>
                </a:moveTo>
                <a:lnTo>
                  <a:pt x="902" y="241"/>
                </a:lnTo>
                <a:lnTo>
                  <a:pt x="901" y="238"/>
                </a:lnTo>
                <a:lnTo>
                  <a:pt x="896" y="234"/>
                </a:lnTo>
                <a:lnTo>
                  <a:pt x="885" y="228"/>
                </a:lnTo>
                <a:lnTo>
                  <a:pt x="866" y="238"/>
                </a:lnTo>
                <a:lnTo>
                  <a:pt x="847" y="243"/>
                </a:lnTo>
                <a:lnTo>
                  <a:pt x="860" y="253"/>
                </a:lnTo>
                <a:lnTo>
                  <a:pt x="874" y="251"/>
                </a:lnTo>
                <a:lnTo>
                  <a:pt x="890" y="256"/>
                </a:lnTo>
                <a:lnTo>
                  <a:pt x="906" y="249"/>
                </a:lnTo>
                <a:close/>
                <a:moveTo>
                  <a:pt x="989" y="241"/>
                </a:moveTo>
                <a:lnTo>
                  <a:pt x="965" y="238"/>
                </a:lnTo>
                <a:lnTo>
                  <a:pt x="986" y="228"/>
                </a:lnTo>
                <a:lnTo>
                  <a:pt x="984" y="206"/>
                </a:lnTo>
                <a:lnTo>
                  <a:pt x="977" y="197"/>
                </a:lnTo>
                <a:lnTo>
                  <a:pt x="960" y="194"/>
                </a:lnTo>
                <a:lnTo>
                  <a:pt x="930" y="208"/>
                </a:lnTo>
                <a:lnTo>
                  <a:pt x="910" y="230"/>
                </a:lnTo>
                <a:lnTo>
                  <a:pt x="921" y="238"/>
                </a:lnTo>
                <a:lnTo>
                  <a:pt x="927" y="250"/>
                </a:lnTo>
                <a:lnTo>
                  <a:pt x="903" y="270"/>
                </a:lnTo>
                <a:lnTo>
                  <a:pt x="891" y="269"/>
                </a:lnTo>
                <a:lnTo>
                  <a:pt x="868" y="286"/>
                </a:lnTo>
                <a:lnTo>
                  <a:pt x="884" y="267"/>
                </a:lnTo>
                <a:lnTo>
                  <a:pt x="866" y="260"/>
                </a:lnTo>
                <a:lnTo>
                  <a:pt x="849" y="264"/>
                </a:lnTo>
                <a:lnTo>
                  <a:pt x="840" y="276"/>
                </a:lnTo>
                <a:lnTo>
                  <a:pt x="818" y="276"/>
                </a:lnTo>
                <a:lnTo>
                  <a:pt x="791" y="279"/>
                </a:lnTo>
                <a:lnTo>
                  <a:pt x="772" y="269"/>
                </a:lnTo>
                <a:lnTo>
                  <a:pt x="753" y="271"/>
                </a:lnTo>
                <a:lnTo>
                  <a:pt x="747" y="260"/>
                </a:lnTo>
                <a:lnTo>
                  <a:pt x="740" y="255"/>
                </a:lnTo>
                <a:lnTo>
                  <a:pt x="726" y="257"/>
                </a:lnTo>
                <a:lnTo>
                  <a:pt x="706" y="258"/>
                </a:lnTo>
                <a:lnTo>
                  <a:pt x="689" y="266"/>
                </a:lnTo>
                <a:lnTo>
                  <a:pt x="697" y="274"/>
                </a:lnTo>
                <a:lnTo>
                  <a:pt x="671" y="284"/>
                </a:lnTo>
                <a:lnTo>
                  <a:pt x="666" y="272"/>
                </a:lnTo>
                <a:lnTo>
                  <a:pt x="649" y="276"/>
                </a:lnTo>
                <a:lnTo>
                  <a:pt x="605" y="278"/>
                </a:lnTo>
                <a:lnTo>
                  <a:pt x="581" y="273"/>
                </a:lnTo>
                <a:lnTo>
                  <a:pt x="613" y="264"/>
                </a:lnTo>
                <a:lnTo>
                  <a:pt x="603" y="254"/>
                </a:lnTo>
                <a:lnTo>
                  <a:pt x="587" y="255"/>
                </a:lnTo>
                <a:lnTo>
                  <a:pt x="569" y="251"/>
                </a:lnTo>
                <a:lnTo>
                  <a:pt x="541" y="244"/>
                </a:lnTo>
                <a:lnTo>
                  <a:pt x="527" y="236"/>
                </a:lnTo>
                <a:lnTo>
                  <a:pt x="510" y="234"/>
                </a:lnTo>
                <a:lnTo>
                  <a:pt x="497" y="241"/>
                </a:lnTo>
                <a:lnTo>
                  <a:pt x="476" y="243"/>
                </a:lnTo>
                <a:lnTo>
                  <a:pt x="490" y="228"/>
                </a:lnTo>
                <a:lnTo>
                  <a:pt x="455" y="241"/>
                </a:lnTo>
                <a:lnTo>
                  <a:pt x="449" y="225"/>
                </a:lnTo>
                <a:lnTo>
                  <a:pt x="442" y="222"/>
                </a:lnTo>
                <a:lnTo>
                  <a:pt x="428" y="231"/>
                </a:lnTo>
                <a:lnTo>
                  <a:pt x="411" y="236"/>
                </a:lnTo>
                <a:lnTo>
                  <a:pt x="410" y="227"/>
                </a:lnTo>
                <a:lnTo>
                  <a:pt x="379" y="233"/>
                </a:lnTo>
                <a:lnTo>
                  <a:pt x="347" y="241"/>
                </a:lnTo>
                <a:lnTo>
                  <a:pt x="327" y="240"/>
                </a:lnTo>
                <a:lnTo>
                  <a:pt x="301" y="245"/>
                </a:lnTo>
                <a:lnTo>
                  <a:pt x="278" y="254"/>
                </a:lnTo>
                <a:lnTo>
                  <a:pt x="264" y="252"/>
                </a:lnTo>
                <a:lnTo>
                  <a:pt x="251" y="242"/>
                </a:lnTo>
                <a:lnTo>
                  <a:pt x="230" y="238"/>
                </a:lnTo>
                <a:lnTo>
                  <a:pt x="230" y="238"/>
                </a:lnTo>
                <a:lnTo>
                  <a:pt x="139" y="312"/>
                </a:lnTo>
                <a:lnTo>
                  <a:pt x="7" y="434"/>
                </a:lnTo>
                <a:lnTo>
                  <a:pt x="23" y="434"/>
                </a:lnTo>
                <a:lnTo>
                  <a:pt x="32" y="440"/>
                </a:lnTo>
                <a:lnTo>
                  <a:pt x="35" y="450"/>
                </a:lnTo>
                <a:lnTo>
                  <a:pt x="36" y="465"/>
                </a:lnTo>
                <a:lnTo>
                  <a:pt x="64" y="452"/>
                </a:lnTo>
                <a:lnTo>
                  <a:pt x="88" y="445"/>
                </a:lnTo>
                <a:lnTo>
                  <a:pt x="86" y="456"/>
                </a:lnTo>
                <a:lnTo>
                  <a:pt x="88" y="466"/>
                </a:lnTo>
                <a:lnTo>
                  <a:pt x="95" y="475"/>
                </a:lnTo>
                <a:lnTo>
                  <a:pt x="91" y="491"/>
                </a:lnTo>
                <a:lnTo>
                  <a:pt x="85" y="516"/>
                </a:lnTo>
                <a:lnTo>
                  <a:pt x="102" y="531"/>
                </a:lnTo>
                <a:lnTo>
                  <a:pt x="91" y="544"/>
                </a:lnTo>
                <a:lnTo>
                  <a:pt x="71" y="555"/>
                </a:lnTo>
                <a:lnTo>
                  <a:pt x="71" y="555"/>
                </a:lnTo>
                <a:lnTo>
                  <a:pt x="62" y="566"/>
                </a:lnTo>
                <a:lnTo>
                  <a:pt x="70" y="583"/>
                </a:lnTo>
                <a:lnTo>
                  <a:pt x="58" y="602"/>
                </a:lnTo>
                <a:lnTo>
                  <a:pt x="74" y="611"/>
                </a:lnTo>
                <a:lnTo>
                  <a:pt x="60" y="625"/>
                </a:lnTo>
                <a:lnTo>
                  <a:pt x="55" y="646"/>
                </a:lnTo>
                <a:lnTo>
                  <a:pt x="82" y="655"/>
                </a:lnTo>
                <a:lnTo>
                  <a:pt x="87" y="665"/>
                </a:lnTo>
                <a:lnTo>
                  <a:pt x="108" y="688"/>
                </a:lnTo>
                <a:lnTo>
                  <a:pt x="111" y="688"/>
                </a:lnTo>
                <a:lnTo>
                  <a:pt x="162" y="688"/>
                </a:lnTo>
                <a:lnTo>
                  <a:pt x="217" y="688"/>
                </a:lnTo>
                <a:lnTo>
                  <a:pt x="235" y="688"/>
                </a:lnTo>
                <a:lnTo>
                  <a:pt x="291" y="688"/>
                </a:lnTo>
                <a:lnTo>
                  <a:pt x="345" y="688"/>
                </a:lnTo>
                <a:lnTo>
                  <a:pt x="400" y="688"/>
                </a:lnTo>
                <a:lnTo>
                  <a:pt x="455" y="688"/>
                </a:lnTo>
                <a:lnTo>
                  <a:pt x="518" y="688"/>
                </a:lnTo>
                <a:lnTo>
                  <a:pt x="580" y="688"/>
                </a:lnTo>
                <a:lnTo>
                  <a:pt x="617" y="688"/>
                </a:lnTo>
                <a:lnTo>
                  <a:pt x="622" y="678"/>
                </a:lnTo>
                <a:lnTo>
                  <a:pt x="629" y="678"/>
                </a:lnTo>
                <a:lnTo>
                  <a:pt x="626" y="691"/>
                </a:lnTo>
                <a:lnTo>
                  <a:pt x="630" y="695"/>
                </a:lnTo>
                <a:lnTo>
                  <a:pt x="641" y="697"/>
                </a:lnTo>
                <a:lnTo>
                  <a:pt x="659" y="701"/>
                </a:lnTo>
                <a:lnTo>
                  <a:pt x="673" y="707"/>
                </a:lnTo>
                <a:lnTo>
                  <a:pt x="689" y="705"/>
                </a:lnTo>
                <a:lnTo>
                  <a:pt x="709" y="710"/>
                </a:lnTo>
                <a:lnTo>
                  <a:pt x="709" y="710"/>
                </a:lnTo>
                <a:lnTo>
                  <a:pt x="721" y="702"/>
                </a:lnTo>
                <a:lnTo>
                  <a:pt x="732" y="698"/>
                </a:lnTo>
                <a:lnTo>
                  <a:pt x="740" y="692"/>
                </a:lnTo>
                <a:lnTo>
                  <a:pt x="745" y="690"/>
                </a:lnTo>
                <a:lnTo>
                  <a:pt x="760" y="693"/>
                </a:lnTo>
                <a:lnTo>
                  <a:pt x="772" y="694"/>
                </a:lnTo>
                <a:lnTo>
                  <a:pt x="775" y="697"/>
                </a:lnTo>
                <a:lnTo>
                  <a:pt x="775" y="710"/>
                </a:lnTo>
                <a:lnTo>
                  <a:pt x="795" y="714"/>
                </a:lnTo>
                <a:lnTo>
                  <a:pt x="788" y="720"/>
                </a:lnTo>
                <a:lnTo>
                  <a:pt x="793" y="728"/>
                </a:lnTo>
                <a:lnTo>
                  <a:pt x="786" y="736"/>
                </a:lnTo>
                <a:lnTo>
                  <a:pt x="793" y="739"/>
                </a:lnTo>
                <a:lnTo>
                  <a:pt x="786" y="747"/>
                </a:lnTo>
                <a:lnTo>
                  <a:pt x="786" y="747"/>
                </a:lnTo>
                <a:lnTo>
                  <a:pt x="790" y="747"/>
                </a:lnTo>
                <a:lnTo>
                  <a:pt x="795" y="745"/>
                </a:lnTo>
                <a:lnTo>
                  <a:pt x="797" y="749"/>
                </a:lnTo>
                <a:lnTo>
                  <a:pt x="810" y="752"/>
                </a:lnTo>
                <a:lnTo>
                  <a:pt x="824" y="753"/>
                </a:lnTo>
                <a:lnTo>
                  <a:pt x="838" y="755"/>
                </a:lnTo>
                <a:lnTo>
                  <a:pt x="853" y="760"/>
                </a:lnTo>
                <a:lnTo>
                  <a:pt x="856" y="767"/>
                </a:lnTo>
                <a:lnTo>
                  <a:pt x="861" y="785"/>
                </a:lnTo>
                <a:lnTo>
                  <a:pt x="852" y="792"/>
                </a:lnTo>
                <a:lnTo>
                  <a:pt x="838" y="789"/>
                </a:lnTo>
                <a:lnTo>
                  <a:pt x="834" y="775"/>
                </a:lnTo>
                <a:lnTo>
                  <a:pt x="831" y="790"/>
                </a:lnTo>
                <a:lnTo>
                  <a:pt x="816" y="802"/>
                </a:lnTo>
                <a:lnTo>
                  <a:pt x="814" y="813"/>
                </a:lnTo>
                <a:lnTo>
                  <a:pt x="810" y="819"/>
                </a:lnTo>
                <a:lnTo>
                  <a:pt x="794" y="827"/>
                </a:lnTo>
                <a:lnTo>
                  <a:pt x="794" y="827"/>
                </a:lnTo>
                <a:lnTo>
                  <a:pt x="781" y="839"/>
                </a:lnTo>
                <a:lnTo>
                  <a:pt x="773" y="847"/>
                </a:lnTo>
                <a:lnTo>
                  <a:pt x="783" y="849"/>
                </a:lnTo>
                <a:lnTo>
                  <a:pt x="800" y="842"/>
                </a:lnTo>
                <a:lnTo>
                  <a:pt x="811" y="835"/>
                </a:lnTo>
                <a:lnTo>
                  <a:pt x="816" y="834"/>
                </a:lnTo>
                <a:lnTo>
                  <a:pt x="827" y="836"/>
                </a:lnTo>
                <a:lnTo>
                  <a:pt x="833" y="833"/>
                </a:lnTo>
                <a:lnTo>
                  <a:pt x="843" y="830"/>
                </a:lnTo>
                <a:lnTo>
                  <a:pt x="861" y="827"/>
                </a:lnTo>
                <a:lnTo>
                  <a:pt x="861" y="827"/>
                </a:lnTo>
                <a:lnTo>
                  <a:pt x="861" y="827"/>
                </a:lnTo>
                <a:lnTo>
                  <a:pt x="862" y="820"/>
                </a:lnTo>
                <a:lnTo>
                  <a:pt x="861" y="820"/>
                </a:lnTo>
                <a:lnTo>
                  <a:pt x="855" y="822"/>
                </a:lnTo>
                <a:lnTo>
                  <a:pt x="848" y="819"/>
                </a:lnTo>
                <a:lnTo>
                  <a:pt x="857" y="812"/>
                </a:lnTo>
                <a:lnTo>
                  <a:pt x="863" y="809"/>
                </a:lnTo>
                <a:lnTo>
                  <a:pt x="878" y="805"/>
                </a:lnTo>
                <a:lnTo>
                  <a:pt x="895" y="803"/>
                </a:lnTo>
                <a:lnTo>
                  <a:pt x="902" y="807"/>
                </a:lnTo>
                <a:lnTo>
                  <a:pt x="909" y="802"/>
                </a:lnTo>
                <a:lnTo>
                  <a:pt x="916" y="799"/>
                </a:lnTo>
                <a:lnTo>
                  <a:pt x="919" y="800"/>
                </a:lnTo>
                <a:lnTo>
                  <a:pt x="920" y="801"/>
                </a:lnTo>
                <a:lnTo>
                  <a:pt x="945" y="785"/>
                </a:lnTo>
                <a:lnTo>
                  <a:pt x="955" y="780"/>
                </a:lnTo>
                <a:lnTo>
                  <a:pt x="983" y="780"/>
                </a:lnTo>
                <a:lnTo>
                  <a:pt x="1018" y="780"/>
                </a:lnTo>
                <a:lnTo>
                  <a:pt x="1022" y="775"/>
                </a:lnTo>
                <a:lnTo>
                  <a:pt x="1028" y="774"/>
                </a:lnTo>
                <a:lnTo>
                  <a:pt x="1038" y="770"/>
                </a:lnTo>
                <a:lnTo>
                  <a:pt x="1048" y="760"/>
                </a:lnTo>
                <a:lnTo>
                  <a:pt x="1060" y="741"/>
                </a:lnTo>
                <a:lnTo>
                  <a:pt x="1081" y="723"/>
                </a:lnTo>
                <a:lnTo>
                  <a:pt x="1084" y="730"/>
                </a:lnTo>
                <a:lnTo>
                  <a:pt x="1098" y="726"/>
                </a:lnTo>
                <a:lnTo>
                  <a:pt x="1104" y="733"/>
                </a:lnTo>
                <a:lnTo>
                  <a:pt x="1094" y="764"/>
                </a:lnTo>
                <a:lnTo>
                  <a:pt x="1101" y="777"/>
                </a:lnTo>
                <a:lnTo>
                  <a:pt x="1124" y="775"/>
                </a:lnTo>
                <a:lnTo>
                  <a:pt x="1153" y="774"/>
                </a:lnTo>
                <a:lnTo>
                  <a:pt x="1115" y="792"/>
                </a:lnTo>
                <a:lnTo>
                  <a:pt x="1110" y="812"/>
                </a:lnTo>
                <a:lnTo>
                  <a:pt x="1123" y="814"/>
                </a:lnTo>
                <a:lnTo>
                  <a:pt x="1150" y="797"/>
                </a:lnTo>
                <a:lnTo>
                  <a:pt x="1171" y="789"/>
                </a:lnTo>
                <a:lnTo>
                  <a:pt x="1217" y="775"/>
                </a:lnTo>
                <a:lnTo>
                  <a:pt x="1245" y="759"/>
                </a:lnTo>
                <a:lnTo>
                  <a:pt x="1235" y="751"/>
                </a:lnTo>
                <a:lnTo>
                  <a:pt x="1238" y="734"/>
                </a:lnTo>
                <a:lnTo>
                  <a:pt x="1212" y="761"/>
                </a:lnTo>
                <a:lnTo>
                  <a:pt x="1180" y="763"/>
                </a:lnTo>
                <a:lnTo>
                  <a:pt x="1160" y="751"/>
                </a:lnTo>
                <a:lnTo>
                  <a:pt x="1159" y="734"/>
                </a:lnTo>
                <a:lnTo>
                  <a:pt x="1162" y="709"/>
                </a:lnTo>
                <a:lnTo>
                  <a:pt x="1184" y="693"/>
                </a:lnTo>
                <a:lnTo>
                  <a:pt x="1172" y="682"/>
                </a:lnTo>
                <a:lnTo>
                  <a:pt x="1143" y="684"/>
                </a:lnTo>
                <a:lnTo>
                  <a:pt x="1098" y="704"/>
                </a:lnTo>
                <a:lnTo>
                  <a:pt x="1057" y="734"/>
                </a:lnTo>
                <a:lnTo>
                  <a:pt x="1040" y="738"/>
                </a:lnTo>
                <a:lnTo>
                  <a:pt x="1069" y="717"/>
                </a:lnTo>
                <a:lnTo>
                  <a:pt x="1108" y="686"/>
                </a:lnTo>
                <a:lnTo>
                  <a:pt x="1134" y="676"/>
                </a:lnTo>
                <a:lnTo>
                  <a:pt x="1155" y="660"/>
                </a:lnTo>
                <a:lnTo>
                  <a:pt x="1175" y="658"/>
                </a:lnTo>
                <a:lnTo>
                  <a:pt x="1202" y="658"/>
                </a:lnTo>
                <a:lnTo>
                  <a:pt x="1239" y="663"/>
                </a:lnTo>
                <a:lnTo>
                  <a:pt x="1272" y="659"/>
                </a:lnTo>
                <a:lnTo>
                  <a:pt x="1301" y="640"/>
                </a:lnTo>
                <a:lnTo>
                  <a:pt x="1334" y="632"/>
                </a:lnTo>
                <a:lnTo>
                  <a:pt x="1349" y="624"/>
                </a:lnTo>
                <a:lnTo>
                  <a:pt x="1364" y="615"/>
                </a:lnTo>
                <a:lnTo>
                  <a:pt x="1372" y="590"/>
                </a:lnTo>
                <a:lnTo>
                  <a:pt x="1368" y="581"/>
                </a:lnTo>
                <a:lnTo>
                  <a:pt x="1355" y="578"/>
                </a:lnTo>
                <a:lnTo>
                  <a:pt x="1355" y="559"/>
                </a:lnTo>
                <a:lnTo>
                  <a:pt x="1347" y="552"/>
                </a:lnTo>
                <a:lnTo>
                  <a:pt x="1321" y="546"/>
                </a:lnTo>
                <a:lnTo>
                  <a:pt x="1310" y="534"/>
                </a:lnTo>
                <a:lnTo>
                  <a:pt x="1293" y="521"/>
                </a:lnTo>
                <a:lnTo>
                  <a:pt x="1306" y="507"/>
                </a:lnTo>
                <a:lnTo>
                  <a:pt x="1298" y="480"/>
                </a:lnTo>
                <a:lnTo>
                  <a:pt x="1288" y="452"/>
                </a:lnTo>
                <a:lnTo>
                  <a:pt x="1284" y="433"/>
                </a:lnTo>
                <a:lnTo>
                  <a:pt x="1268" y="443"/>
                </a:lnTo>
                <a:lnTo>
                  <a:pt x="1240" y="467"/>
                </a:lnTo>
                <a:lnTo>
                  <a:pt x="1210" y="480"/>
                </a:lnTo>
                <a:lnTo>
                  <a:pt x="1205" y="466"/>
                </a:lnTo>
                <a:lnTo>
                  <a:pt x="1191" y="463"/>
                </a:lnTo>
                <a:lnTo>
                  <a:pt x="1199" y="436"/>
                </a:lnTo>
                <a:lnTo>
                  <a:pt x="1208" y="417"/>
                </a:lnTo>
                <a:lnTo>
                  <a:pt x="1180" y="415"/>
                </a:lnTo>
                <a:lnTo>
                  <a:pt x="1180" y="408"/>
                </a:lnTo>
                <a:lnTo>
                  <a:pt x="1166" y="395"/>
                </a:lnTo>
                <a:lnTo>
                  <a:pt x="1154" y="387"/>
                </a:lnTo>
                <a:lnTo>
                  <a:pt x="1138" y="393"/>
                </a:lnTo>
                <a:lnTo>
                  <a:pt x="1123" y="391"/>
                </a:lnTo>
                <a:lnTo>
                  <a:pt x="1097" y="385"/>
                </a:lnTo>
                <a:lnTo>
                  <a:pt x="1083" y="390"/>
                </a:lnTo>
                <a:lnTo>
                  <a:pt x="1068" y="424"/>
                </a:lnTo>
                <a:lnTo>
                  <a:pt x="1065" y="443"/>
                </a:lnTo>
                <a:lnTo>
                  <a:pt x="1032" y="466"/>
                </a:lnTo>
                <a:lnTo>
                  <a:pt x="1044" y="483"/>
                </a:lnTo>
                <a:lnTo>
                  <a:pt x="1046" y="502"/>
                </a:lnTo>
                <a:lnTo>
                  <a:pt x="1040" y="517"/>
                </a:lnTo>
                <a:lnTo>
                  <a:pt x="1022" y="532"/>
                </a:lnTo>
                <a:lnTo>
                  <a:pt x="994" y="548"/>
                </a:lnTo>
                <a:lnTo>
                  <a:pt x="960" y="558"/>
                </a:lnTo>
                <a:lnTo>
                  <a:pt x="967" y="570"/>
                </a:lnTo>
                <a:lnTo>
                  <a:pt x="958" y="606"/>
                </a:lnTo>
                <a:lnTo>
                  <a:pt x="938" y="630"/>
                </a:lnTo>
                <a:lnTo>
                  <a:pt x="920" y="636"/>
                </a:lnTo>
                <a:lnTo>
                  <a:pt x="904" y="615"/>
                </a:lnTo>
                <a:lnTo>
                  <a:pt x="903" y="590"/>
                </a:lnTo>
                <a:lnTo>
                  <a:pt x="910" y="567"/>
                </a:lnTo>
                <a:lnTo>
                  <a:pt x="923" y="548"/>
                </a:lnTo>
                <a:lnTo>
                  <a:pt x="905" y="546"/>
                </a:lnTo>
                <a:lnTo>
                  <a:pt x="877" y="544"/>
                </a:lnTo>
                <a:lnTo>
                  <a:pt x="864" y="535"/>
                </a:lnTo>
                <a:lnTo>
                  <a:pt x="846" y="529"/>
                </a:lnTo>
                <a:lnTo>
                  <a:pt x="840" y="518"/>
                </a:lnTo>
                <a:lnTo>
                  <a:pt x="828" y="509"/>
                </a:lnTo>
                <a:lnTo>
                  <a:pt x="801" y="500"/>
                </a:lnTo>
                <a:lnTo>
                  <a:pt x="774" y="505"/>
                </a:lnTo>
                <a:lnTo>
                  <a:pt x="777" y="488"/>
                </a:lnTo>
                <a:lnTo>
                  <a:pt x="783" y="467"/>
                </a:lnTo>
                <a:lnTo>
                  <a:pt x="760" y="464"/>
                </a:lnTo>
                <a:lnTo>
                  <a:pt x="779" y="438"/>
                </a:lnTo>
                <a:lnTo>
                  <a:pt x="797" y="421"/>
                </a:lnTo>
                <a:lnTo>
                  <a:pt x="832" y="396"/>
                </a:lnTo>
                <a:lnTo>
                  <a:pt x="864" y="380"/>
                </a:lnTo>
                <a:lnTo>
                  <a:pt x="885" y="377"/>
                </a:lnTo>
                <a:lnTo>
                  <a:pt x="896" y="363"/>
                </a:lnTo>
                <a:lnTo>
                  <a:pt x="915" y="353"/>
                </a:lnTo>
                <a:lnTo>
                  <a:pt x="939" y="353"/>
                </a:lnTo>
                <a:lnTo>
                  <a:pt x="968" y="339"/>
                </a:lnTo>
                <a:lnTo>
                  <a:pt x="979" y="329"/>
                </a:lnTo>
                <a:lnTo>
                  <a:pt x="1006" y="311"/>
                </a:lnTo>
                <a:lnTo>
                  <a:pt x="1018" y="301"/>
                </a:lnTo>
                <a:lnTo>
                  <a:pt x="1030" y="308"/>
                </a:lnTo>
                <a:lnTo>
                  <a:pt x="1054" y="304"/>
                </a:lnTo>
                <a:lnTo>
                  <a:pt x="1095" y="290"/>
                </a:lnTo>
                <a:lnTo>
                  <a:pt x="1103" y="280"/>
                </a:lnTo>
                <a:lnTo>
                  <a:pt x="1100" y="269"/>
                </a:lnTo>
                <a:lnTo>
                  <a:pt x="1119" y="258"/>
                </a:lnTo>
                <a:lnTo>
                  <a:pt x="1125" y="248"/>
                </a:lnTo>
                <a:lnTo>
                  <a:pt x="1112" y="239"/>
                </a:lnTo>
                <a:lnTo>
                  <a:pt x="1092" y="236"/>
                </a:lnTo>
                <a:lnTo>
                  <a:pt x="1071" y="234"/>
                </a:lnTo>
                <a:lnTo>
                  <a:pt x="1054" y="256"/>
                </a:lnTo>
                <a:lnTo>
                  <a:pt x="1030" y="273"/>
                </a:lnTo>
                <a:lnTo>
                  <a:pt x="1003" y="288"/>
                </a:lnTo>
                <a:lnTo>
                  <a:pt x="998" y="274"/>
                </a:lnTo>
                <a:lnTo>
                  <a:pt x="1014" y="259"/>
                </a:lnTo>
                <a:lnTo>
                  <a:pt x="1006" y="246"/>
                </a:lnTo>
                <a:lnTo>
                  <a:pt x="973" y="262"/>
                </a:lnTo>
                <a:lnTo>
                  <a:pt x="989" y="241"/>
                </a:lnTo>
                <a:lnTo>
                  <a:pt x="989" y="241"/>
                </a:lnTo>
                <a:close/>
                <a:moveTo>
                  <a:pt x="707" y="170"/>
                </a:moveTo>
                <a:lnTo>
                  <a:pt x="697" y="167"/>
                </a:lnTo>
                <a:lnTo>
                  <a:pt x="645" y="179"/>
                </a:lnTo>
                <a:lnTo>
                  <a:pt x="625" y="186"/>
                </a:lnTo>
                <a:lnTo>
                  <a:pt x="596" y="201"/>
                </a:lnTo>
                <a:lnTo>
                  <a:pt x="617" y="206"/>
                </a:lnTo>
                <a:lnTo>
                  <a:pt x="639" y="206"/>
                </a:lnTo>
                <a:lnTo>
                  <a:pt x="596" y="213"/>
                </a:lnTo>
                <a:lnTo>
                  <a:pt x="596" y="221"/>
                </a:lnTo>
                <a:lnTo>
                  <a:pt x="617" y="221"/>
                </a:lnTo>
                <a:lnTo>
                  <a:pt x="651" y="220"/>
                </a:lnTo>
                <a:lnTo>
                  <a:pt x="675" y="225"/>
                </a:lnTo>
                <a:lnTo>
                  <a:pt x="652" y="228"/>
                </a:lnTo>
                <a:lnTo>
                  <a:pt x="631" y="226"/>
                </a:lnTo>
                <a:lnTo>
                  <a:pt x="605" y="230"/>
                </a:lnTo>
                <a:lnTo>
                  <a:pt x="592" y="232"/>
                </a:lnTo>
                <a:lnTo>
                  <a:pt x="595" y="248"/>
                </a:lnTo>
                <a:lnTo>
                  <a:pt x="611" y="246"/>
                </a:lnTo>
                <a:lnTo>
                  <a:pt x="626" y="252"/>
                </a:lnTo>
                <a:lnTo>
                  <a:pt x="625" y="261"/>
                </a:lnTo>
                <a:lnTo>
                  <a:pt x="654" y="259"/>
                </a:lnTo>
                <a:lnTo>
                  <a:pt x="696" y="256"/>
                </a:lnTo>
                <a:lnTo>
                  <a:pt x="730" y="249"/>
                </a:lnTo>
                <a:lnTo>
                  <a:pt x="749" y="248"/>
                </a:lnTo>
                <a:lnTo>
                  <a:pt x="771" y="254"/>
                </a:lnTo>
                <a:lnTo>
                  <a:pt x="796" y="256"/>
                </a:lnTo>
                <a:lnTo>
                  <a:pt x="807" y="249"/>
                </a:lnTo>
                <a:lnTo>
                  <a:pt x="805" y="241"/>
                </a:lnTo>
                <a:lnTo>
                  <a:pt x="831" y="240"/>
                </a:lnTo>
                <a:lnTo>
                  <a:pt x="841" y="231"/>
                </a:lnTo>
                <a:lnTo>
                  <a:pt x="822" y="222"/>
                </a:lnTo>
                <a:lnTo>
                  <a:pt x="806" y="212"/>
                </a:lnTo>
                <a:lnTo>
                  <a:pt x="815" y="198"/>
                </a:lnTo>
                <a:lnTo>
                  <a:pt x="826" y="180"/>
                </a:lnTo>
                <a:lnTo>
                  <a:pt x="817" y="172"/>
                </a:lnTo>
                <a:lnTo>
                  <a:pt x="806" y="169"/>
                </a:lnTo>
                <a:lnTo>
                  <a:pt x="790" y="171"/>
                </a:lnTo>
                <a:lnTo>
                  <a:pt x="780" y="191"/>
                </a:lnTo>
                <a:lnTo>
                  <a:pt x="764" y="199"/>
                </a:lnTo>
                <a:lnTo>
                  <a:pt x="772" y="180"/>
                </a:lnTo>
                <a:lnTo>
                  <a:pt x="766" y="174"/>
                </a:lnTo>
                <a:lnTo>
                  <a:pt x="738" y="184"/>
                </a:lnTo>
                <a:lnTo>
                  <a:pt x="729" y="174"/>
                </a:lnTo>
                <a:lnTo>
                  <a:pt x="689" y="180"/>
                </a:lnTo>
                <a:lnTo>
                  <a:pt x="707" y="170"/>
                </a:lnTo>
                <a:lnTo>
                  <a:pt x="707" y="170"/>
                </a:lnTo>
                <a:close/>
                <a:moveTo>
                  <a:pt x="854" y="165"/>
                </a:moveTo>
                <a:lnTo>
                  <a:pt x="847" y="161"/>
                </a:lnTo>
                <a:lnTo>
                  <a:pt x="827" y="162"/>
                </a:lnTo>
                <a:lnTo>
                  <a:pt x="819" y="165"/>
                </a:lnTo>
                <a:lnTo>
                  <a:pt x="828" y="178"/>
                </a:lnTo>
                <a:lnTo>
                  <a:pt x="854" y="165"/>
                </a:lnTo>
                <a:close/>
                <a:moveTo>
                  <a:pt x="1255" y="171"/>
                </a:moveTo>
                <a:lnTo>
                  <a:pt x="1239" y="161"/>
                </a:lnTo>
                <a:lnTo>
                  <a:pt x="1208" y="159"/>
                </a:lnTo>
                <a:lnTo>
                  <a:pt x="1200" y="160"/>
                </a:lnTo>
                <a:lnTo>
                  <a:pt x="1194" y="167"/>
                </a:lnTo>
                <a:lnTo>
                  <a:pt x="1201" y="177"/>
                </a:lnTo>
                <a:lnTo>
                  <a:pt x="1205" y="178"/>
                </a:lnTo>
                <a:lnTo>
                  <a:pt x="1223" y="176"/>
                </a:lnTo>
                <a:lnTo>
                  <a:pt x="1237" y="176"/>
                </a:lnTo>
                <a:lnTo>
                  <a:pt x="1253" y="176"/>
                </a:lnTo>
                <a:lnTo>
                  <a:pt x="1255" y="171"/>
                </a:lnTo>
                <a:lnTo>
                  <a:pt x="1255" y="171"/>
                </a:lnTo>
                <a:close/>
                <a:moveTo>
                  <a:pt x="1109" y="170"/>
                </a:moveTo>
                <a:lnTo>
                  <a:pt x="1130" y="158"/>
                </a:lnTo>
                <a:lnTo>
                  <a:pt x="1088" y="163"/>
                </a:lnTo>
                <a:lnTo>
                  <a:pt x="1067" y="170"/>
                </a:lnTo>
                <a:lnTo>
                  <a:pt x="1040" y="188"/>
                </a:lnTo>
                <a:lnTo>
                  <a:pt x="1027" y="208"/>
                </a:lnTo>
                <a:lnTo>
                  <a:pt x="1048" y="208"/>
                </a:lnTo>
                <a:lnTo>
                  <a:pt x="1026" y="216"/>
                </a:lnTo>
                <a:lnTo>
                  <a:pt x="1032" y="224"/>
                </a:lnTo>
                <a:lnTo>
                  <a:pt x="1054" y="226"/>
                </a:lnTo>
                <a:lnTo>
                  <a:pt x="1082" y="232"/>
                </a:lnTo>
                <a:lnTo>
                  <a:pt x="1133" y="237"/>
                </a:lnTo>
                <a:lnTo>
                  <a:pt x="1163" y="234"/>
                </a:lnTo>
                <a:lnTo>
                  <a:pt x="1175" y="228"/>
                </a:lnTo>
                <a:lnTo>
                  <a:pt x="1182" y="235"/>
                </a:lnTo>
                <a:lnTo>
                  <a:pt x="1194" y="236"/>
                </a:lnTo>
                <a:lnTo>
                  <a:pt x="1202" y="249"/>
                </a:lnTo>
                <a:lnTo>
                  <a:pt x="1189" y="254"/>
                </a:lnTo>
                <a:lnTo>
                  <a:pt x="1215" y="260"/>
                </a:lnTo>
                <a:lnTo>
                  <a:pt x="1233" y="270"/>
                </a:lnTo>
                <a:lnTo>
                  <a:pt x="1235" y="277"/>
                </a:lnTo>
                <a:lnTo>
                  <a:pt x="1233" y="286"/>
                </a:lnTo>
                <a:lnTo>
                  <a:pt x="1201" y="307"/>
                </a:lnTo>
                <a:lnTo>
                  <a:pt x="1189" y="316"/>
                </a:lnTo>
                <a:lnTo>
                  <a:pt x="1190" y="324"/>
                </a:lnTo>
                <a:lnTo>
                  <a:pt x="1155" y="326"/>
                </a:lnTo>
                <a:lnTo>
                  <a:pt x="1125" y="327"/>
                </a:lnTo>
                <a:lnTo>
                  <a:pt x="1105" y="342"/>
                </a:lnTo>
                <a:lnTo>
                  <a:pt x="1114" y="350"/>
                </a:lnTo>
                <a:lnTo>
                  <a:pt x="1163" y="346"/>
                </a:lnTo>
                <a:lnTo>
                  <a:pt x="1166" y="340"/>
                </a:lnTo>
                <a:lnTo>
                  <a:pt x="1183" y="351"/>
                </a:lnTo>
                <a:lnTo>
                  <a:pt x="1201" y="361"/>
                </a:lnTo>
                <a:lnTo>
                  <a:pt x="1192" y="367"/>
                </a:lnTo>
                <a:lnTo>
                  <a:pt x="1207" y="378"/>
                </a:lnTo>
                <a:lnTo>
                  <a:pt x="1235" y="390"/>
                </a:lnTo>
                <a:lnTo>
                  <a:pt x="1275" y="398"/>
                </a:lnTo>
                <a:lnTo>
                  <a:pt x="1276" y="391"/>
                </a:lnTo>
                <a:lnTo>
                  <a:pt x="1265" y="378"/>
                </a:lnTo>
                <a:lnTo>
                  <a:pt x="1252" y="360"/>
                </a:lnTo>
                <a:lnTo>
                  <a:pt x="1284" y="377"/>
                </a:lnTo>
                <a:lnTo>
                  <a:pt x="1302" y="382"/>
                </a:lnTo>
                <a:lnTo>
                  <a:pt x="1315" y="367"/>
                </a:lnTo>
                <a:lnTo>
                  <a:pt x="1315" y="346"/>
                </a:lnTo>
                <a:lnTo>
                  <a:pt x="1311" y="340"/>
                </a:lnTo>
                <a:lnTo>
                  <a:pt x="1294" y="331"/>
                </a:lnTo>
                <a:lnTo>
                  <a:pt x="1285" y="319"/>
                </a:lnTo>
                <a:lnTo>
                  <a:pt x="1293" y="307"/>
                </a:lnTo>
                <a:lnTo>
                  <a:pt x="1315" y="305"/>
                </a:lnTo>
                <a:lnTo>
                  <a:pt x="1329" y="325"/>
                </a:lnTo>
                <a:lnTo>
                  <a:pt x="1344" y="334"/>
                </a:lnTo>
                <a:lnTo>
                  <a:pt x="1384" y="310"/>
                </a:lnTo>
                <a:lnTo>
                  <a:pt x="1396" y="295"/>
                </a:lnTo>
                <a:lnTo>
                  <a:pt x="1373" y="294"/>
                </a:lnTo>
                <a:lnTo>
                  <a:pt x="1361" y="275"/>
                </a:lnTo>
                <a:lnTo>
                  <a:pt x="1338" y="270"/>
                </a:lnTo>
                <a:lnTo>
                  <a:pt x="1309" y="257"/>
                </a:lnTo>
                <a:lnTo>
                  <a:pt x="1343" y="248"/>
                </a:lnTo>
                <a:lnTo>
                  <a:pt x="1340" y="229"/>
                </a:lnTo>
                <a:lnTo>
                  <a:pt x="1332" y="221"/>
                </a:lnTo>
                <a:lnTo>
                  <a:pt x="1301" y="213"/>
                </a:lnTo>
                <a:lnTo>
                  <a:pt x="1294" y="201"/>
                </a:lnTo>
                <a:lnTo>
                  <a:pt x="1264" y="206"/>
                </a:lnTo>
                <a:lnTo>
                  <a:pt x="1267" y="197"/>
                </a:lnTo>
                <a:lnTo>
                  <a:pt x="1254" y="187"/>
                </a:lnTo>
                <a:lnTo>
                  <a:pt x="1229" y="178"/>
                </a:lnTo>
                <a:lnTo>
                  <a:pt x="1209" y="185"/>
                </a:lnTo>
                <a:lnTo>
                  <a:pt x="1176" y="191"/>
                </a:lnTo>
                <a:lnTo>
                  <a:pt x="1188" y="179"/>
                </a:lnTo>
                <a:lnTo>
                  <a:pt x="1180" y="159"/>
                </a:lnTo>
                <a:lnTo>
                  <a:pt x="1136" y="167"/>
                </a:lnTo>
                <a:lnTo>
                  <a:pt x="1110" y="182"/>
                </a:lnTo>
                <a:lnTo>
                  <a:pt x="1109" y="170"/>
                </a:lnTo>
                <a:lnTo>
                  <a:pt x="1109" y="170"/>
                </a:lnTo>
                <a:close/>
                <a:moveTo>
                  <a:pt x="922" y="157"/>
                </a:moveTo>
                <a:lnTo>
                  <a:pt x="895" y="167"/>
                </a:lnTo>
                <a:lnTo>
                  <a:pt x="899" y="179"/>
                </a:lnTo>
                <a:lnTo>
                  <a:pt x="871" y="176"/>
                </a:lnTo>
                <a:lnTo>
                  <a:pt x="865" y="183"/>
                </a:lnTo>
                <a:lnTo>
                  <a:pt x="886" y="198"/>
                </a:lnTo>
                <a:lnTo>
                  <a:pt x="889" y="205"/>
                </a:lnTo>
                <a:lnTo>
                  <a:pt x="902" y="207"/>
                </a:lnTo>
                <a:lnTo>
                  <a:pt x="934" y="199"/>
                </a:lnTo>
                <a:lnTo>
                  <a:pt x="953" y="182"/>
                </a:lnTo>
                <a:lnTo>
                  <a:pt x="939" y="173"/>
                </a:lnTo>
                <a:lnTo>
                  <a:pt x="961" y="165"/>
                </a:lnTo>
                <a:lnTo>
                  <a:pt x="963" y="159"/>
                </a:lnTo>
                <a:lnTo>
                  <a:pt x="935" y="161"/>
                </a:lnTo>
                <a:lnTo>
                  <a:pt x="922" y="157"/>
                </a:lnTo>
                <a:lnTo>
                  <a:pt x="922" y="157"/>
                </a:lnTo>
                <a:close/>
                <a:moveTo>
                  <a:pt x="1005" y="178"/>
                </a:moveTo>
                <a:lnTo>
                  <a:pt x="1026" y="174"/>
                </a:lnTo>
                <a:lnTo>
                  <a:pt x="1063" y="157"/>
                </a:lnTo>
                <a:lnTo>
                  <a:pt x="1040" y="153"/>
                </a:lnTo>
                <a:lnTo>
                  <a:pt x="1011" y="152"/>
                </a:lnTo>
                <a:lnTo>
                  <a:pt x="992" y="157"/>
                </a:lnTo>
                <a:lnTo>
                  <a:pt x="976" y="165"/>
                </a:lnTo>
                <a:lnTo>
                  <a:pt x="967" y="174"/>
                </a:lnTo>
                <a:lnTo>
                  <a:pt x="960" y="191"/>
                </a:lnTo>
                <a:lnTo>
                  <a:pt x="976" y="192"/>
                </a:lnTo>
                <a:lnTo>
                  <a:pt x="1005" y="178"/>
                </a:lnTo>
                <a:close/>
                <a:moveTo>
                  <a:pt x="576" y="204"/>
                </a:moveTo>
                <a:lnTo>
                  <a:pt x="587" y="196"/>
                </a:lnTo>
                <a:lnTo>
                  <a:pt x="620" y="183"/>
                </a:lnTo>
                <a:lnTo>
                  <a:pt x="672" y="169"/>
                </a:lnTo>
                <a:lnTo>
                  <a:pt x="696" y="164"/>
                </a:lnTo>
                <a:lnTo>
                  <a:pt x="689" y="156"/>
                </a:lnTo>
                <a:lnTo>
                  <a:pt x="683" y="151"/>
                </a:lnTo>
                <a:lnTo>
                  <a:pt x="647" y="150"/>
                </a:lnTo>
                <a:lnTo>
                  <a:pt x="632" y="146"/>
                </a:lnTo>
                <a:lnTo>
                  <a:pt x="580" y="149"/>
                </a:lnTo>
                <a:lnTo>
                  <a:pt x="579" y="160"/>
                </a:lnTo>
                <a:lnTo>
                  <a:pt x="550" y="172"/>
                </a:lnTo>
                <a:lnTo>
                  <a:pt x="523" y="187"/>
                </a:lnTo>
                <a:lnTo>
                  <a:pt x="506" y="195"/>
                </a:lnTo>
                <a:lnTo>
                  <a:pt x="529" y="205"/>
                </a:lnTo>
                <a:lnTo>
                  <a:pt x="527" y="213"/>
                </a:lnTo>
                <a:lnTo>
                  <a:pt x="576" y="204"/>
                </a:lnTo>
                <a:lnTo>
                  <a:pt x="576" y="204"/>
                </a:lnTo>
                <a:close/>
                <a:moveTo>
                  <a:pt x="1040" y="136"/>
                </a:moveTo>
                <a:lnTo>
                  <a:pt x="1041" y="130"/>
                </a:lnTo>
                <a:lnTo>
                  <a:pt x="1036" y="124"/>
                </a:lnTo>
                <a:lnTo>
                  <a:pt x="1011" y="128"/>
                </a:lnTo>
                <a:lnTo>
                  <a:pt x="994" y="137"/>
                </a:lnTo>
                <a:lnTo>
                  <a:pt x="1006" y="142"/>
                </a:lnTo>
                <a:lnTo>
                  <a:pt x="1025" y="143"/>
                </a:lnTo>
                <a:lnTo>
                  <a:pt x="1040" y="136"/>
                </a:lnTo>
                <a:lnTo>
                  <a:pt x="1040" y="136"/>
                </a:lnTo>
                <a:close/>
                <a:moveTo>
                  <a:pt x="1008" y="104"/>
                </a:moveTo>
                <a:lnTo>
                  <a:pt x="1003" y="107"/>
                </a:lnTo>
                <a:lnTo>
                  <a:pt x="985" y="105"/>
                </a:lnTo>
                <a:lnTo>
                  <a:pt x="957" y="112"/>
                </a:lnTo>
                <a:lnTo>
                  <a:pt x="943" y="111"/>
                </a:lnTo>
                <a:lnTo>
                  <a:pt x="927" y="126"/>
                </a:lnTo>
                <a:lnTo>
                  <a:pt x="952" y="124"/>
                </a:lnTo>
                <a:lnTo>
                  <a:pt x="939" y="135"/>
                </a:lnTo>
                <a:lnTo>
                  <a:pt x="951" y="138"/>
                </a:lnTo>
                <a:lnTo>
                  <a:pt x="976" y="136"/>
                </a:lnTo>
                <a:lnTo>
                  <a:pt x="997" y="122"/>
                </a:lnTo>
                <a:lnTo>
                  <a:pt x="1009" y="113"/>
                </a:lnTo>
                <a:lnTo>
                  <a:pt x="1008" y="104"/>
                </a:lnTo>
                <a:close/>
                <a:moveTo>
                  <a:pt x="861" y="114"/>
                </a:moveTo>
                <a:lnTo>
                  <a:pt x="869" y="105"/>
                </a:lnTo>
                <a:lnTo>
                  <a:pt x="857" y="103"/>
                </a:lnTo>
                <a:lnTo>
                  <a:pt x="835" y="109"/>
                </a:lnTo>
                <a:lnTo>
                  <a:pt x="833" y="127"/>
                </a:lnTo>
                <a:lnTo>
                  <a:pt x="810" y="126"/>
                </a:lnTo>
                <a:lnTo>
                  <a:pt x="800" y="114"/>
                </a:lnTo>
                <a:lnTo>
                  <a:pt x="769" y="109"/>
                </a:lnTo>
                <a:lnTo>
                  <a:pt x="749" y="114"/>
                </a:lnTo>
                <a:lnTo>
                  <a:pt x="705" y="131"/>
                </a:lnTo>
                <a:lnTo>
                  <a:pt x="721" y="135"/>
                </a:lnTo>
                <a:lnTo>
                  <a:pt x="787" y="133"/>
                </a:lnTo>
                <a:lnTo>
                  <a:pt x="747" y="141"/>
                </a:lnTo>
                <a:lnTo>
                  <a:pt x="742" y="147"/>
                </a:lnTo>
                <a:lnTo>
                  <a:pt x="764" y="146"/>
                </a:lnTo>
                <a:lnTo>
                  <a:pt x="810" y="139"/>
                </a:lnTo>
                <a:lnTo>
                  <a:pt x="861" y="135"/>
                </a:lnTo>
                <a:lnTo>
                  <a:pt x="880" y="127"/>
                </a:lnTo>
                <a:lnTo>
                  <a:pt x="889" y="118"/>
                </a:lnTo>
                <a:lnTo>
                  <a:pt x="875" y="117"/>
                </a:lnTo>
                <a:lnTo>
                  <a:pt x="859" y="120"/>
                </a:lnTo>
                <a:lnTo>
                  <a:pt x="861" y="114"/>
                </a:lnTo>
                <a:close/>
                <a:moveTo>
                  <a:pt x="1068" y="98"/>
                </a:moveTo>
                <a:lnTo>
                  <a:pt x="1041" y="96"/>
                </a:lnTo>
                <a:lnTo>
                  <a:pt x="1027" y="103"/>
                </a:lnTo>
                <a:lnTo>
                  <a:pt x="1037" y="109"/>
                </a:lnTo>
                <a:lnTo>
                  <a:pt x="1063" y="112"/>
                </a:lnTo>
                <a:lnTo>
                  <a:pt x="1068" y="119"/>
                </a:lnTo>
                <a:lnTo>
                  <a:pt x="1060" y="128"/>
                </a:lnTo>
                <a:lnTo>
                  <a:pt x="1054" y="139"/>
                </a:lnTo>
                <a:lnTo>
                  <a:pt x="1086" y="144"/>
                </a:lnTo>
                <a:lnTo>
                  <a:pt x="1107" y="147"/>
                </a:lnTo>
                <a:lnTo>
                  <a:pt x="1137" y="146"/>
                </a:lnTo>
                <a:lnTo>
                  <a:pt x="1180" y="143"/>
                </a:lnTo>
                <a:lnTo>
                  <a:pt x="1195" y="146"/>
                </a:lnTo>
                <a:lnTo>
                  <a:pt x="1221" y="142"/>
                </a:lnTo>
                <a:lnTo>
                  <a:pt x="1234" y="137"/>
                </a:lnTo>
                <a:lnTo>
                  <a:pt x="1237" y="129"/>
                </a:lnTo>
                <a:lnTo>
                  <a:pt x="1229" y="122"/>
                </a:lnTo>
                <a:lnTo>
                  <a:pt x="1208" y="121"/>
                </a:lnTo>
                <a:lnTo>
                  <a:pt x="1178" y="123"/>
                </a:lnTo>
                <a:lnTo>
                  <a:pt x="1152" y="127"/>
                </a:lnTo>
                <a:lnTo>
                  <a:pt x="1132" y="126"/>
                </a:lnTo>
                <a:lnTo>
                  <a:pt x="1114" y="124"/>
                </a:lnTo>
                <a:lnTo>
                  <a:pt x="1110" y="120"/>
                </a:lnTo>
                <a:lnTo>
                  <a:pt x="1098" y="116"/>
                </a:lnTo>
                <a:lnTo>
                  <a:pt x="1109" y="109"/>
                </a:lnTo>
                <a:lnTo>
                  <a:pt x="1104" y="103"/>
                </a:lnTo>
                <a:lnTo>
                  <a:pt x="1076" y="103"/>
                </a:lnTo>
                <a:lnTo>
                  <a:pt x="1068" y="98"/>
                </a:lnTo>
                <a:lnTo>
                  <a:pt x="1068" y="98"/>
                </a:lnTo>
                <a:close/>
                <a:moveTo>
                  <a:pt x="787" y="87"/>
                </a:moveTo>
                <a:lnTo>
                  <a:pt x="765" y="90"/>
                </a:lnTo>
                <a:lnTo>
                  <a:pt x="744" y="90"/>
                </a:lnTo>
                <a:lnTo>
                  <a:pt x="700" y="101"/>
                </a:lnTo>
                <a:lnTo>
                  <a:pt x="656" y="115"/>
                </a:lnTo>
                <a:lnTo>
                  <a:pt x="656" y="115"/>
                </a:lnTo>
                <a:lnTo>
                  <a:pt x="670" y="119"/>
                </a:lnTo>
                <a:lnTo>
                  <a:pt x="696" y="116"/>
                </a:lnTo>
                <a:lnTo>
                  <a:pt x="732" y="109"/>
                </a:lnTo>
                <a:lnTo>
                  <a:pt x="746" y="107"/>
                </a:lnTo>
                <a:lnTo>
                  <a:pt x="766" y="101"/>
                </a:lnTo>
                <a:lnTo>
                  <a:pt x="787" y="87"/>
                </a:lnTo>
                <a:close/>
                <a:moveTo>
                  <a:pt x="1088" y="90"/>
                </a:moveTo>
                <a:lnTo>
                  <a:pt x="1092" y="88"/>
                </a:lnTo>
                <a:lnTo>
                  <a:pt x="1086" y="85"/>
                </a:lnTo>
                <a:lnTo>
                  <a:pt x="1059" y="85"/>
                </a:lnTo>
                <a:lnTo>
                  <a:pt x="1057" y="89"/>
                </a:lnTo>
                <a:lnTo>
                  <a:pt x="1082" y="90"/>
                </a:lnTo>
                <a:lnTo>
                  <a:pt x="1088" y="90"/>
                </a:lnTo>
                <a:lnTo>
                  <a:pt x="1088" y="90"/>
                </a:lnTo>
                <a:close/>
                <a:moveTo>
                  <a:pt x="871" y="86"/>
                </a:moveTo>
                <a:lnTo>
                  <a:pt x="882" y="82"/>
                </a:lnTo>
                <a:lnTo>
                  <a:pt x="867" y="79"/>
                </a:lnTo>
                <a:lnTo>
                  <a:pt x="844" y="81"/>
                </a:lnTo>
                <a:lnTo>
                  <a:pt x="826" y="86"/>
                </a:lnTo>
                <a:lnTo>
                  <a:pt x="838" y="92"/>
                </a:lnTo>
                <a:lnTo>
                  <a:pt x="871" y="86"/>
                </a:lnTo>
                <a:close/>
                <a:moveTo>
                  <a:pt x="899" y="72"/>
                </a:moveTo>
                <a:lnTo>
                  <a:pt x="887" y="68"/>
                </a:lnTo>
                <a:lnTo>
                  <a:pt x="881" y="67"/>
                </a:lnTo>
                <a:lnTo>
                  <a:pt x="859" y="72"/>
                </a:lnTo>
                <a:lnTo>
                  <a:pt x="856" y="74"/>
                </a:lnTo>
                <a:lnTo>
                  <a:pt x="878" y="74"/>
                </a:lnTo>
                <a:lnTo>
                  <a:pt x="899" y="72"/>
                </a:lnTo>
                <a:close/>
                <a:moveTo>
                  <a:pt x="1072" y="81"/>
                </a:moveTo>
                <a:lnTo>
                  <a:pt x="1083" y="74"/>
                </a:lnTo>
                <a:lnTo>
                  <a:pt x="1075" y="68"/>
                </a:lnTo>
                <a:lnTo>
                  <a:pt x="1068" y="67"/>
                </a:lnTo>
                <a:lnTo>
                  <a:pt x="1053" y="67"/>
                </a:lnTo>
                <a:lnTo>
                  <a:pt x="1044" y="73"/>
                </a:lnTo>
                <a:lnTo>
                  <a:pt x="1042" y="80"/>
                </a:lnTo>
                <a:lnTo>
                  <a:pt x="1048" y="85"/>
                </a:lnTo>
                <a:lnTo>
                  <a:pt x="1072" y="81"/>
                </a:lnTo>
                <a:lnTo>
                  <a:pt x="1072" y="81"/>
                </a:lnTo>
                <a:close/>
                <a:moveTo>
                  <a:pt x="1022" y="76"/>
                </a:moveTo>
                <a:lnTo>
                  <a:pt x="1022" y="68"/>
                </a:lnTo>
                <a:lnTo>
                  <a:pt x="994" y="61"/>
                </a:lnTo>
                <a:lnTo>
                  <a:pt x="971" y="59"/>
                </a:lnTo>
                <a:lnTo>
                  <a:pt x="964" y="66"/>
                </a:lnTo>
                <a:lnTo>
                  <a:pt x="974" y="70"/>
                </a:lnTo>
                <a:lnTo>
                  <a:pt x="955" y="75"/>
                </a:lnTo>
                <a:lnTo>
                  <a:pt x="983" y="75"/>
                </a:lnTo>
                <a:lnTo>
                  <a:pt x="997" y="81"/>
                </a:lnTo>
                <a:lnTo>
                  <a:pt x="1017" y="83"/>
                </a:lnTo>
                <a:lnTo>
                  <a:pt x="1022" y="76"/>
                </a:lnTo>
                <a:close/>
                <a:moveTo>
                  <a:pt x="1222" y="53"/>
                </a:moveTo>
                <a:lnTo>
                  <a:pt x="1224" y="43"/>
                </a:lnTo>
                <a:lnTo>
                  <a:pt x="1207" y="40"/>
                </a:lnTo>
                <a:lnTo>
                  <a:pt x="1189" y="36"/>
                </a:lnTo>
                <a:lnTo>
                  <a:pt x="1183" y="29"/>
                </a:lnTo>
                <a:lnTo>
                  <a:pt x="1152" y="29"/>
                </a:lnTo>
                <a:lnTo>
                  <a:pt x="1153" y="32"/>
                </a:lnTo>
                <a:lnTo>
                  <a:pt x="1139" y="33"/>
                </a:lnTo>
                <a:lnTo>
                  <a:pt x="1124" y="38"/>
                </a:lnTo>
                <a:lnTo>
                  <a:pt x="1106" y="45"/>
                </a:lnTo>
                <a:lnTo>
                  <a:pt x="1104" y="53"/>
                </a:lnTo>
                <a:lnTo>
                  <a:pt x="1111" y="58"/>
                </a:lnTo>
                <a:lnTo>
                  <a:pt x="1136" y="58"/>
                </a:lnTo>
                <a:lnTo>
                  <a:pt x="1120" y="62"/>
                </a:lnTo>
                <a:lnTo>
                  <a:pt x="1112" y="69"/>
                </a:lnTo>
                <a:lnTo>
                  <a:pt x="1118" y="75"/>
                </a:lnTo>
                <a:lnTo>
                  <a:pt x="1143" y="78"/>
                </a:lnTo>
                <a:lnTo>
                  <a:pt x="1168" y="76"/>
                </a:lnTo>
                <a:lnTo>
                  <a:pt x="1208" y="64"/>
                </a:lnTo>
                <a:lnTo>
                  <a:pt x="1232" y="58"/>
                </a:lnTo>
                <a:lnTo>
                  <a:pt x="1222" y="53"/>
                </a:lnTo>
                <a:close/>
                <a:moveTo>
                  <a:pt x="1515" y="1"/>
                </a:moveTo>
                <a:lnTo>
                  <a:pt x="1489" y="1"/>
                </a:lnTo>
                <a:lnTo>
                  <a:pt x="1463" y="0"/>
                </a:lnTo>
                <a:lnTo>
                  <a:pt x="1425" y="2"/>
                </a:lnTo>
                <a:lnTo>
                  <a:pt x="1420" y="1"/>
                </a:lnTo>
                <a:lnTo>
                  <a:pt x="1381" y="1"/>
                </a:lnTo>
                <a:lnTo>
                  <a:pt x="1358" y="2"/>
                </a:lnTo>
                <a:lnTo>
                  <a:pt x="1338" y="5"/>
                </a:lnTo>
                <a:lnTo>
                  <a:pt x="1320" y="13"/>
                </a:lnTo>
                <a:lnTo>
                  <a:pt x="1311" y="9"/>
                </a:lnTo>
                <a:lnTo>
                  <a:pt x="1296" y="8"/>
                </a:lnTo>
                <a:lnTo>
                  <a:pt x="1272" y="14"/>
                </a:lnTo>
                <a:lnTo>
                  <a:pt x="1244" y="15"/>
                </a:lnTo>
                <a:lnTo>
                  <a:pt x="1229" y="15"/>
                </a:lnTo>
                <a:lnTo>
                  <a:pt x="1207" y="19"/>
                </a:lnTo>
                <a:lnTo>
                  <a:pt x="1202" y="24"/>
                </a:lnTo>
                <a:lnTo>
                  <a:pt x="1211" y="29"/>
                </a:lnTo>
                <a:lnTo>
                  <a:pt x="1214" y="34"/>
                </a:lnTo>
                <a:lnTo>
                  <a:pt x="1231" y="40"/>
                </a:lnTo>
                <a:lnTo>
                  <a:pt x="1278" y="39"/>
                </a:lnTo>
                <a:lnTo>
                  <a:pt x="1304" y="41"/>
                </a:lnTo>
                <a:lnTo>
                  <a:pt x="1278" y="46"/>
                </a:lnTo>
                <a:lnTo>
                  <a:pt x="1269" y="44"/>
                </a:lnTo>
                <a:lnTo>
                  <a:pt x="1235" y="43"/>
                </a:lnTo>
                <a:lnTo>
                  <a:pt x="1230" y="52"/>
                </a:lnTo>
                <a:lnTo>
                  <a:pt x="1241" y="58"/>
                </a:lnTo>
                <a:lnTo>
                  <a:pt x="1231" y="64"/>
                </a:lnTo>
                <a:lnTo>
                  <a:pt x="1203" y="69"/>
                </a:lnTo>
                <a:lnTo>
                  <a:pt x="1184" y="75"/>
                </a:lnTo>
                <a:lnTo>
                  <a:pt x="1203" y="78"/>
                </a:lnTo>
                <a:lnTo>
                  <a:pt x="1208" y="89"/>
                </a:lnTo>
                <a:lnTo>
                  <a:pt x="1180" y="82"/>
                </a:lnTo>
                <a:lnTo>
                  <a:pt x="1171" y="83"/>
                </a:lnTo>
                <a:lnTo>
                  <a:pt x="1164" y="96"/>
                </a:lnTo>
                <a:lnTo>
                  <a:pt x="1134" y="100"/>
                </a:lnTo>
                <a:lnTo>
                  <a:pt x="1126" y="109"/>
                </a:lnTo>
                <a:lnTo>
                  <a:pt x="1152" y="110"/>
                </a:lnTo>
                <a:lnTo>
                  <a:pt x="1170" y="112"/>
                </a:lnTo>
                <a:lnTo>
                  <a:pt x="1214" y="109"/>
                </a:lnTo>
                <a:lnTo>
                  <a:pt x="1245" y="114"/>
                </a:lnTo>
                <a:lnTo>
                  <a:pt x="1293" y="103"/>
                </a:lnTo>
                <a:lnTo>
                  <a:pt x="1296" y="99"/>
                </a:lnTo>
                <a:lnTo>
                  <a:pt x="1272" y="100"/>
                </a:lnTo>
                <a:lnTo>
                  <a:pt x="1274" y="96"/>
                </a:lnTo>
                <a:lnTo>
                  <a:pt x="1298" y="90"/>
                </a:lnTo>
                <a:lnTo>
                  <a:pt x="1311" y="83"/>
                </a:lnTo>
                <a:lnTo>
                  <a:pt x="1337" y="78"/>
                </a:lnTo>
                <a:lnTo>
                  <a:pt x="1356" y="72"/>
                </a:lnTo>
                <a:lnTo>
                  <a:pt x="1352" y="64"/>
                </a:lnTo>
                <a:lnTo>
                  <a:pt x="1365" y="61"/>
                </a:lnTo>
                <a:lnTo>
                  <a:pt x="1349" y="58"/>
                </a:lnTo>
                <a:lnTo>
                  <a:pt x="1391" y="58"/>
                </a:lnTo>
                <a:lnTo>
                  <a:pt x="1403" y="54"/>
                </a:lnTo>
                <a:lnTo>
                  <a:pt x="1432" y="51"/>
                </a:lnTo>
                <a:lnTo>
                  <a:pt x="1466" y="38"/>
                </a:lnTo>
                <a:lnTo>
                  <a:pt x="1492" y="34"/>
                </a:lnTo>
                <a:lnTo>
                  <a:pt x="1531" y="25"/>
                </a:lnTo>
                <a:lnTo>
                  <a:pt x="1503" y="25"/>
                </a:lnTo>
                <a:lnTo>
                  <a:pt x="1518" y="21"/>
                </a:lnTo>
                <a:lnTo>
                  <a:pt x="1551" y="18"/>
                </a:lnTo>
                <a:lnTo>
                  <a:pt x="1588" y="12"/>
                </a:lnTo>
                <a:lnTo>
                  <a:pt x="1591" y="8"/>
                </a:lnTo>
                <a:lnTo>
                  <a:pt x="1572" y="4"/>
                </a:lnTo>
                <a:lnTo>
                  <a:pt x="1546" y="2"/>
                </a:lnTo>
                <a:lnTo>
                  <a:pt x="1515" y="1"/>
                </a:lnTo>
                <a:lnTo>
                  <a:pt x="1515"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44" name="Switzerland">
            <a:extLst>
              <a:ext uri="{FF2B5EF4-FFF2-40B4-BE49-F238E27FC236}">
                <a16:creationId xmlns:a16="http://schemas.microsoft.com/office/drawing/2014/main" id="{8EA6A545-02BD-4071-AF5F-45EB1D1F6611}"/>
              </a:ext>
            </a:extLst>
          </p:cNvPr>
          <p:cNvSpPr>
            <a:spLocks/>
          </p:cNvSpPr>
          <p:nvPr/>
        </p:nvSpPr>
        <p:spPr bwMode="auto">
          <a:xfrm>
            <a:off x="5390420" y="2412812"/>
            <a:ext cx="141200" cy="79958"/>
          </a:xfrm>
          <a:custGeom>
            <a:avLst/>
            <a:gdLst>
              <a:gd name="T0" fmla="*/ 66 w 83"/>
              <a:gd name="T1" fmla="*/ 6 h 47"/>
              <a:gd name="T2" fmla="*/ 46 w 83"/>
              <a:gd name="T3" fmla="*/ 0 h 47"/>
              <a:gd name="T4" fmla="*/ 42 w 83"/>
              <a:gd name="T5" fmla="*/ 4 h 47"/>
              <a:gd name="T6" fmla="*/ 27 w 83"/>
              <a:gd name="T7" fmla="*/ 4 h 47"/>
              <a:gd name="T8" fmla="*/ 22 w 83"/>
              <a:gd name="T9" fmla="*/ 8 h 47"/>
              <a:gd name="T10" fmla="*/ 13 w 83"/>
              <a:gd name="T11" fmla="*/ 6 h 47"/>
              <a:gd name="T12" fmla="*/ 14 w 83"/>
              <a:gd name="T13" fmla="*/ 12 h 47"/>
              <a:gd name="T14" fmla="*/ 0 w 83"/>
              <a:gd name="T15" fmla="*/ 25 h 47"/>
              <a:gd name="T16" fmla="*/ 0 w 83"/>
              <a:gd name="T17" fmla="*/ 36 h 47"/>
              <a:gd name="T18" fmla="*/ 10 w 83"/>
              <a:gd name="T19" fmla="*/ 32 h 47"/>
              <a:gd name="T20" fmla="*/ 16 w 83"/>
              <a:gd name="T21" fmla="*/ 43 h 47"/>
              <a:gd name="T22" fmla="*/ 25 w 83"/>
              <a:gd name="T23" fmla="*/ 47 h 47"/>
              <a:gd name="T24" fmla="*/ 33 w 83"/>
              <a:gd name="T25" fmla="*/ 46 h 47"/>
              <a:gd name="T26" fmla="*/ 43 w 83"/>
              <a:gd name="T27" fmla="*/ 38 h 47"/>
              <a:gd name="T28" fmla="*/ 47 w 83"/>
              <a:gd name="T29" fmla="*/ 42 h 47"/>
              <a:gd name="T30" fmla="*/ 56 w 83"/>
              <a:gd name="T31" fmla="*/ 42 h 47"/>
              <a:gd name="T32" fmla="*/ 59 w 83"/>
              <a:gd name="T33" fmla="*/ 32 h 47"/>
              <a:gd name="T34" fmla="*/ 73 w 83"/>
              <a:gd name="T35" fmla="*/ 35 h 47"/>
              <a:gd name="T36" fmla="*/ 82 w 83"/>
              <a:gd name="T37" fmla="*/ 31 h 47"/>
              <a:gd name="T38" fmla="*/ 83 w 83"/>
              <a:gd name="T39" fmla="*/ 21 h 47"/>
              <a:gd name="T40" fmla="*/ 72 w 83"/>
              <a:gd name="T41" fmla="*/ 21 h 47"/>
              <a:gd name="T42" fmla="*/ 64 w 83"/>
              <a:gd name="T43" fmla="*/ 17 h 47"/>
              <a:gd name="T44" fmla="*/ 67 w 83"/>
              <a:gd name="T45" fmla="*/ 11 h 47"/>
              <a:gd name="T46" fmla="*/ 66 w 83"/>
              <a:gd name="T47" fmla="*/ 6 h 47"/>
              <a:gd name="T48" fmla="*/ 66 w 83"/>
              <a:gd name="T49"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 h="47">
                <a:moveTo>
                  <a:pt x="66" y="6"/>
                </a:moveTo>
                <a:lnTo>
                  <a:pt x="46" y="0"/>
                </a:lnTo>
                <a:lnTo>
                  <a:pt x="42" y="4"/>
                </a:lnTo>
                <a:lnTo>
                  <a:pt x="27" y="4"/>
                </a:lnTo>
                <a:lnTo>
                  <a:pt x="22" y="8"/>
                </a:lnTo>
                <a:lnTo>
                  <a:pt x="13" y="6"/>
                </a:lnTo>
                <a:lnTo>
                  <a:pt x="14" y="12"/>
                </a:lnTo>
                <a:lnTo>
                  <a:pt x="0" y="25"/>
                </a:lnTo>
                <a:lnTo>
                  <a:pt x="0" y="36"/>
                </a:lnTo>
                <a:lnTo>
                  <a:pt x="10" y="32"/>
                </a:lnTo>
                <a:lnTo>
                  <a:pt x="16" y="43"/>
                </a:lnTo>
                <a:lnTo>
                  <a:pt x="25" y="47"/>
                </a:lnTo>
                <a:lnTo>
                  <a:pt x="33" y="46"/>
                </a:lnTo>
                <a:lnTo>
                  <a:pt x="43" y="38"/>
                </a:lnTo>
                <a:lnTo>
                  <a:pt x="47" y="42"/>
                </a:lnTo>
                <a:lnTo>
                  <a:pt x="56" y="42"/>
                </a:lnTo>
                <a:lnTo>
                  <a:pt x="59" y="32"/>
                </a:lnTo>
                <a:lnTo>
                  <a:pt x="73" y="35"/>
                </a:lnTo>
                <a:lnTo>
                  <a:pt x="82" y="31"/>
                </a:lnTo>
                <a:lnTo>
                  <a:pt x="83" y="21"/>
                </a:lnTo>
                <a:lnTo>
                  <a:pt x="72" y="21"/>
                </a:lnTo>
                <a:lnTo>
                  <a:pt x="64" y="17"/>
                </a:lnTo>
                <a:lnTo>
                  <a:pt x="67" y="11"/>
                </a:lnTo>
                <a:lnTo>
                  <a:pt x="66" y="6"/>
                </a:lnTo>
                <a:lnTo>
                  <a:pt x="66" y="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45" name="Chile">
            <a:extLst>
              <a:ext uri="{FF2B5EF4-FFF2-40B4-BE49-F238E27FC236}">
                <a16:creationId xmlns:a16="http://schemas.microsoft.com/office/drawing/2014/main" id="{77B43760-0FED-4158-84FA-7990585EEBEF}"/>
              </a:ext>
            </a:extLst>
          </p:cNvPr>
          <p:cNvSpPr>
            <a:spLocks noEditPoints="1"/>
          </p:cNvSpPr>
          <p:nvPr/>
        </p:nvSpPr>
        <p:spPr bwMode="auto">
          <a:xfrm>
            <a:off x="2724615" y="5051397"/>
            <a:ext cx="478040" cy="1517483"/>
          </a:xfrm>
          <a:custGeom>
            <a:avLst/>
            <a:gdLst>
              <a:gd name="T0" fmla="*/ 216 w 281"/>
              <a:gd name="T1" fmla="*/ 823 h 892"/>
              <a:gd name="T2" fmla="*/ 203 w 281"/>
              <a:gd name="T3" fmla="*/ 847 h 892"/>
              <a:gd name="T4" fmla="*/ 173 w 281"/>
              <a:gd name="T5" fmla="*/ 850 h 892"/>
              <a:gd name="T6" fmla="*/ 123 w 281"/>
              <a:gd name="T7" fmla="*/ 831 h 892"/>
              <a:gd name="T8" fmla="*/ 183 w 281"/>
              <a:gd name="T9" fmla="*/ 868 h 892"/>
              <a:gd name="T10" fmla="*/ 231 w 281"/>
              <a:gd name="T11" fmla="*/ 884 h 892"/>
              <a:gd name="T12" fmla="*/ 258 w 281"/>
              <a:gd name="T13" fmla="*/ 892 h 892"/>
              <a:gd name="T14" fmla="*/ 279 w 281"/>
              <a:gd name="T15" fmla="*/ 886 h 892"/>
              <a:gd name="T16" fmla="*/ 270 w 281"/>
              <a:gd name="T17" fmla="*/ 876 h 892"/>
              <a:gd name="T18" fmla="*/ 230 w 281"/>
              <a:gd name="T19" fmla="*/ 826 h 892"/>
              <a:gd name="T20" fmla="*/ 52 w 281"/>
              <a:gd name="T21" fmla="*/ 93 h 892"/>
              <a:gd name="T22" fmla="*/ 43 w 281"/>
              <a:gd name="T23" fmla="*/ 43 h 892"/>
              <a:gd name="T24" fmla="*/ 26 w 281"/>
              <a:gd name="T25" fmla="*/ 16 h 892"/>
              <a:gd name="T26" fmla="*/ 10 w 281"/>
              <a:gd name="T27" fmla="*/ 12 h 892"/>
              <a:gd name="T28" fmla="*/ 8 w 281"/>
              <a:gd name="T29" fmla="*/ 52 h 892"/>
              <a:gd name="T30" fmla="*/ 13 w 281"/>
              <a:gd name="T31" fmla="*/ 143 h 892"/>
              <a:gd name="T32" fmla="*/ 17 w 281"/>
              <a:gd name="T33" fmla="*/ 239 h 892"/>
              <a:gd name="T34" fmla="*/ 18 w 281"/>
              <a:gd name="T35" fmla="*/ 297 h 892"/>
              <a:gd name="T36" fmla="*/ 28 w 281"/>
              <a:gd name="T37" fmla="*/ 353 h 892"/>
              <a:gd name="T38" fmla="*/ 22 w 281"/>
              <a:gd name="T39" fmla="*/ 425 h 892"/>
              <a:gd name="T40" fmla="*/ 13 w 281"/>
              <a:gd name="T41" fmla="*/ 466 h 892"/>
              <a:gd name="T42" fmla="*/ 33 w 281"/>
              <a:gd name="T43" fmla="*/ 517 h 892"/>
              <a:gd name="T44" fmla="*/ 37 w 281"/>
              <a:gd name="T45" fmla="*/ 576 h 892"/>
              <a:gd name="T46" fmla="*/ 56 w 281"/>
              <a:gd name="T47" fmla="*/ 612 h 892"/>
              <a:gd name="T48" fmla="*/ 66 w 281"/>
              <a:gd name="T49" fmla="*/ 590 h 892"/>
              <a:gd name="T50" fmla="*/ 49 w 281"/>
              <a:gd name="T51" fmla="*/ 629 h 892"/>
              <a:gd name="T52" fmla="*/ 47 w 281"/>
              <a:gd name="T53" fmla="*/ 688 h 892"/>
              <a:gd name="T54" fmla="*/ 64 w 281"/>
              <a:gd name="T55" fmla="*/ 712 h 892"/>
              <a:gd name="T56" fmla="*/ 84 w 281"/>
              <a:gd name="T57" fmla="*/ 775 h 892"/>
              <a:gd name="T58" fmla="*/ 101 w 281"/>
              <a:gd name="T59" fmla="*/ 803 h 892"/>
              <a:gd name="T60" fmla="*/ 141 w 281"/>
              <a:gd name="T61" fmla="*/ 831 h 892"/>
              <a:gd name="T62" fmla="*/ 168 w 281"/>
              <a:gd name="T63" fmla="*/ 846 h 892"/>
              <a:gd name="T64" fmla="*/ 199 w 281"/>
              <a:gd name="T65" fmla="*/ 853 h 892"/>
              <a:gd name="T66" fmla="*/ 205 w 281"/>
              <a:gd name="T67" fmla="*/ 823 h 892"/>
              <a:gd name="T68" fmla="*/ 227 w 281"/>
              <a:gd name="T69" fmla="*/ 818 h 892"/>
              <a:gd name="T70" fmla="*/ 164 w 281"/>
              <a:gd name="T71" fmla="*/ 812 h 892"/>
              <a:gd name="T72" fmla="*/ 145 w 281"/>
              <a:gd name="T73" fmla="*/ 781 h 892"/>
              <a:gd name="T74" fmla="*/ 123 w 281"/>
              <a:gd name="T75" fmla="*/ 775 h 892"/>
              <a:gd name="T76" fmla="*/ 121 w 281"/>
              <a:gd name="T77" fmla="*/ 739 h 892"/>
              <a:gd name="T78" fmla="*/ 116 w 281"/>
              <a:gd name="T79" fmla="*/ 713 h 892"/>
              <a:gd name="T80" fmla="*/ 114 w 281"/>
              <a:gd name="T81" fmla="*/ 663 h 892"/>
              <a:gd name="T82" fmla="*/ 114 w 281"/>
              <a:gd name="T83" fmla="*/ 645 h 892"/>
              <a:gd name="T84" fmla="*/ 99 w 281"/>
              <a:gd name="T85" fmla="*/ 631 h 892"/>
              <a:gd name="T86" fmla="*/ 89 w 281"/>
              <a:gd name="T87" fmla="*/ 613 h 892"/>
              <a:gd name="T88" fmla="*/ 82 w 281"/>
              <a:gd name="T89" fmla="*/ 582 h 892"/>
              <a:gd name="T90" fmla="*/ 67 w 281"/>
              <a:gd name="T91" fmla="*/ 530 h 892"/>
              <a:gd name="T92" fmla="*/ 75 w 281"/>
              <a:gd name="T93" fmla="*/ 499 h 892"/>
              <a:gd name="T94" fmla="*/ 58 w 281"/>
              <a:gd name="T95" fmla="*/ 453 h 892"/>
              <a:gd name="T96" fmla="*/ 63 w 281"/>
              <a:gd name="T97" fmla="*/ 418 h 892"/>
              <a:gd name="T98" fmla="*/ 64 w 281"/>
              <a:gd name="T99" fmla="*/ 372 h 892"/>
              <a:gd name="T100" fmla="*/ 40 w 281"/>
              <a:gd name="T101" fmla="*/ 327 h 892"/>
              <a:gd name="T102" fmla="*/ 42 w 281"/>
              <a:gd name="T103" fmla="*/ 280 h 892"/>
              <a:gd name="T104" fmla="*/ 55 w 281"/>
              <a:gd name="T105" fmla="*/ 236 h 892"/>
              <a:gd name="T106" fmla="*/ 60 w 281"/>
              <a:gd name="T107" fmla="*/ 212 h 892"/>
              <a:gd name="T108" fmla="*/ 57 w 281"/>
              <a:gd name="T109" fmla="*/ 165 h 892"/>
              <a:gd name="T110" fmla="*/ 82 w 281"/>
              <a:gd name="T111" fmla="*/ 129 h 892"/>
              <a:gd name="T112" fmla="*/ 64 w 281"/>
              <a:gd name="T113" fmla="*/ 126 h 892"/>
              <a:gd name="T114" fmla="*/ 52 w 281"/>
              <a:gd name="T115" fmla="*/ 93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1" h="892">
                <a:moveTo>
                  <a:pt x="230" y="826"/>
                </a:moveTo>
                <a:lnTo>
                  <a:pt x="216" y="823"/>
                </a:lnTo>
                <a:lnTo>
                  <a:pt x="203" y="832"/>
                </a:lnTo>
                <a:lnTo>
                  <a:pt x="203" y="847"/>
                </a:lnTo>
                <a:lnTo>
                  <a:pt x="200" y="859"/>
                </a:lnTo>
                <a:lnTo>
                  <a:pt x="173" y="850"/>
                </a:lnTo>
                <a:lnTo>
                  <a:pt x="140" y="835"/>
                </a:lnTo>
                <a:lnTo>
                  <a:pt x="123" y="831"/>
                </a:lnTo>
                <a:lnTo>
                  <a:pt x="160" y="856"/>
                </a:lnTo>
                <a:lnTo>
                  <a:pt x="183" y="868"/>
                </a:lnTo>
                <a:lnTo>
                  <a:pt x="211" y="880"/>
                </a:lnTo>
                <a:lnTo>
                  <a:pt x="231" y="884"/>
                </a:lnTo>
                <a:lnTo>
                  <a:pt x="247" y="890"/>
                </a:lnTo>
                <a:lnTo>
                  <a:pt x="258" y="892"/>
                </a:lnTo>
                <a:lnTo>
                  <a:pt x="267" y="892"/>
                </a:lnTo>
                <a:lnTo>
                  <a:pt x="279" y="886"/>
                </a:lnTo>
                <a:lnTo>
                  <a:pt x="281" y="877"/>
                </a:lnTo>
                <a:lnTo>
                  <a:pt x="270" y="876"/>
                </a:lnTo>
                <a:lnTo>
                  <a:pt x="251" y="876"/>
                </a:lnTo>
                <a:lnTo>
                  <a:pt x="230" y="826"/>
                </a:lnTo>
                <a:lnTo>
                  <a:pt x="230" y="826"/>
                </a:lnTo>
                <a:close/>
                <a:moveTo>
                  <a:pt x="52" y="93"/>
                </a:moveTo>
                <a:lnTo>
                  <a:pt x="39" y="66"/>
                </a:lnTo>
                <a:lnTo>
                  <a:pt x="43" y="43"/>
                </a:lnTo>
                <a:lnTo>
                  <a:pt x="31" y="33"/>
                </a:lnTo>
                <a:lnTo>
                  <a:pt x="26" y="16"/>
                </a:lnTo>
                <a:lnTo>
                  <a:pt x="15" y="0"/>
                </a:lnTo>
                <a:lnTo>
                  <a:pt x="10" y="12"/>
                </a:lnTo>
                <a:lnTo>
                  <a:pt x="0" y="18"/>
                </a:lnTo>
                <a:lnTo>
                  <a:pt x="8" y="52"/>
                </a:lnTo>
                <a:lnTo>
                  <a:pt x="14" y="90"/>
                </a:lnTo>
                <a:lnTo>
                  <a:pt x="13" y="143"/>
                </a:lnTo>
                <a:lnTo>
                  <a:pt x="13" y="193"/>
                </a:lnTo>
                <a:lnTo>
                  <a:pt x="17" y="239"/>
                </a:lnTo>
                <a:lnTo>
                  <a:pt x="9" y="268"/>
                </a:lnTo>
                <a:lnTo>
                  <a:pt x="18" y="297"/>
                </a:lnTo>
                <a:lnTo>
                  <a:pt x="16" y="317"/>
                </a:lnTo>
                <a:lnTo>
                  <a:pt x="28" y="353"/>
                </a:lnTo>
                <a:lnTo>
                  <a:pt x="27" y="388"/>
                </a:lnTo>
                <a:lnTo>
                  <a:pt x="22" y="425"/>
                </a:lnTo>
                <a:lnTo>
                  <a:pt x="20" y="465"/>
                </a:lnTo>
                <a:lnTo>
                  <a:pt x="13" y="466"/>
                </a:lnTo>
                <a:lnTo>
                  <a:pt x="21" y="493"/>
                </a:lnTo>
                <a:lnTo>
                  <a:pt x="33" y="517"/>
                </a:lnTo>
                <a:lnTo>
                  <a:pt x="30" y="533"/>
                </a:lnTo>
                <a:lnTo>
                  <a:pt x="37" y="576"/>
                </a:lnTo>
                <a:lnTo>
                  <a:pt x="43" y="608"/>
                </a:lnTo>
                <a:lnTo>
                  <a:pt x="56" y="612"/>
                </a:lnTo>
                <a:lnTo>
                  <a:pt x="51" y="583"/>
                </a:lnTo>
                <a:lnTo>
                  <a:pt x="66" y="590"/>
                </a:lnTo>
                <a:lnTo>
                  <a:pt x="73" y="636"/>
                </a:lnTo>
                <a:lnTo>
                  <a:pt x="49" y="629"/>
                </a:lnTo>
                <a:lnTo>
                  <a:pt x="57" y="667"/>
                </a:lnTo>
                <a:lnTo>
                  <a:pt x="47" y="688"/>
                </a:lnTo>
                <a:lnTo>
                  <a:pt x="77" y="694"/>
                </a:lnTo>
                <a:lnTo>
                  <a:pt x="64" y="712"/>
                </a:lnTo>
                <a:lnTo>
                  <a:pt x="65" y="734"/>
                </a:lnTo>
                <a:lnTo>
                  <a:pt x="84" y="775"/>
                </a:lnTo>
                <a:lnTo>
                  <a:pt x="100" y="790"/>
                </a:lnTo>
                <a:lnTo>
                  <a:pt x="101" y="803"/>
                </a:lnTo>
                <a:lnTo>
                  <a:pt x="113" y="818"/>
                </a:lnTo>
                <a:lnTo>
                  <a:pt x="141" y="831"/>
                </a:lnTo>
                <a:lnTo>
                  <a:pt x="141" y="831"/>
                </a:lnTo>
                <a:lnTo>
                  <a:pt x="168" y="846"/>
                </a:lnTo>
                <a:lnTo>
                  <a:pt x="191" y="853"/>
                </a:lnTo>
                <a:lnTo>
                  <a:pt x="199" y="853"/>
                </a:lnTo>
                <a:lnTo>
                  <a:pt x="192" y="832"/>
                </a:lnTo>
                <a:lnTo>
                  <a:pt x="205" y="823"/>
                </a:lnTo>
                <a:lnTo>
                  <a:pt x="211" y="818"/>
                </a:lnTo>
                <a:lnTo>
                  <a:pt x="227" y="818"/>
                </a:lnTo>
                <a:lnTo>
                  <a:pt x="209" y="815"/>
                </a:lnTo>
                <a:lnTo>
                  <a:pt x="164" y="812"/>
                </a:lnTo>
                <a:lnTo>
                  <a:pt x="151" y="798"/>
                </a:lnTo>
                <a:lnTo>
                  <a:pt x="145" y="781"/>
                </a:lnTo>
                <a:lnTo>
                  <a:pt x="132" y="782"/>
                </a:lnTo>
                <a:lnTo>
                  <a:pt x="123" y="775"/>
                </a:lnTo>
                <a:lnTo>
                  <a:pt x="112" y="749"/>
                </a:lnTo>
                <a:lnTo>
                  <a:pt x="121" y="739"/>
                </a:lnTo>
                <a:lnTo>
                  <a:pt x="122" y="725"/>
                </a:lnTo>
                <a:lnTo>
                  <a:pt x="116" y="713"/>
                </a:lnTo>
                <a:lnTo>
                  <a:pt x="118" y="693"/>
                </a:lnTo>
                <a:lnTo>
                  <a:pt x="114" y="663"/>
                </a:lnTo>
                <a:lnTo>
                  <a:pt x="107" y="649"/>
                </a:lnTo>
                <a:lnTo>
                  <a:pt x="114" y="645"/>
                </a:lnTo>
                <a:lnTo>
                  <a:pt x="109" y="636"/>
                </a:lnTo>
                <a:lnTo>
                  <a:pt x="99" y="631"/>
                </a:lnTo>
                <a:lnTo>
                  <a:pt x="102" y="621"/>
                </a:lnTo>
                <a:lnTo>
                  <a:pt x="89" y="613"/>
                </a:lnTo>
                <a:lnTo>
                  <a:pt x="76" y="586"/>
                </a:lnTo>
                <a:lnTo>
                  <a:pt x="82" y="582"/>
                </a:lnTo>
                <a:lnTo>
                  <a:pt x="70" y="553"/>
                </a:lnTo>
                <a:lnTo>
                  <a:pt x="67" y="530"/>
                </a:lnTo>
                <a:lnTo>
                  <a:pt x="66" y="509"/>
                </a:lnTo>
                <a:lnTo>
                  <a:pt x="75" y="499"/>
                </a:lnTo>
                <a:lnTo>
                  <a:pt x="63" y="476"/>
                </a:lnTo>
                <a:lnTo>
                  <a:pt x="58" y="453"/>
                </a:lnTo>
                <a:lnTo>
                  <a:pt x="69" y="438"/>
                </a:lnTo>
                <a:lnTo>
                  <a:pt x="63" y="418"/>
                </a:lnTo>
                <a:lnTo>
                  <a:pt x="69" y="395"/>
                </a:lnTo>
                <a:lnTo>
                  <a:pt x="64" y="372"/>
                </a:lnTo>
                <a:lnTo>
                  <a:pt x="59" y="368"/>
                </a:lnTo>
                <a:lnTo>
                  <a:pt x="40" y="327"/>
                </a:lnTo>
                <a:lnTo>
                  <a:pt x="48" y="303"/>
                </a:lnTo>
                <a:lnTo>
                  <a:pt x="42" y="280"/>
                </a:lnTo>
                <a:lnTo>
                  <a:pt x="45" y="258"/>
                </a:lnTo>
                <a:lnTo>
                  <a:pt x="55" y="236"/>
                </a:lnTo>
                <a:lnTo>
                  <a:pt x="67" y="221"/>
                </a:lnTo>
                <a:lnTo>
                  <a:pt x="60" y="212"/>
                </a:lnTo>
                <a:lnTo>
                  <a:pt x="62" y="204"/>
                </a:lnTo>
                <a:lnTo>
                  <a:pt x="57" y="165"/>
                </a:lnTo>
                <a:lnTo>
                  <a:pt x="77" y="153"/>
                </a:lnTo>
                <a:lnTo>
                  <a:pt x="82" y="129"/>
                </a:lnTo>
                <a:lnTo>
                  <a:pt x="78" y="122"/>
                </a:lnTo>
                <a:lnTo>
                  <a:pt x="64" y="126"/>
                </a:lnTo>
                <a:lnTo>
                  <a:pt x="52" y="93"/>
                </a:lnTo>
                <a:lnTo>
                  <a:pt x="52" y="9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46" name="China">
            <a:extLst>
              <a:ext uri="{FF2B5EF4-FFF2-40B4-BE49-F238E27FC236}">
                <a16:creationId xmlns:a16="http://schemas.microsoft.com/office/drawing/2014/main" id="{20F91323-9543-4BA3-96D8-4D89CCA61B12}"/>
              </a:ext>
            </a:extLst>
          </p:cNvPr>
          <p:cNvSpPr>
            <a:spLocks noEditPoints="1"/>
          </p:cNvSpPr>
          <p:nvPr/>
        </p:nvSpPr>
        <p:spPr bwMode="auto">
          <a:xfrm>
            <a:off x="7630919" y="2191654"/>
            <a:ext cx="1825403" cy="1413710"/>
          </a:xfrm>
          <a:custGeom>
            <a:avLst/>
            <a:gdLst>
              <a:gd name="T0" fmla="*/ 855 w 1073"/>
              <a:gd name="T1" fmla="*/ 786 h 831"/>
              <a:gd name="T2" fmla="*/ 817 w 1073"/>
              <a:gd name="T3" fmla="*/ 824 h 831"/>
              <a:gd name="T4" fmla="*/ 901 w 1073"/>
              <a:gd name="T5" fmla="*/ 85 h 831"/>
              <a:gd name="T6" fmla="*/ 819 w 1073"/>
              <a:gd name="T7" fmla="*/ 16 h 831"/>
              <a:gd name="T8" fmla="*/ 723 w 1073"/>
              <a:gd name="T9" fmla="*/ 6 h 831"/>
              <a:gd name="T10" fmla="*/ 735 w 1073"/>
              <a:gd name="T11" fmla="*/ 42 h 831"/>
              <a:gd name="T12" fmla="*/ 698 w 1073"/>
              <a:gd name="T13" fmla="*/ 82 h 831"/>
              <a:gd name="T14" fmla="*/ 721 w 1073"/>
              <a:gd name="T15" fmla="*/ 129 h 831"/>
              <a:gd name="T16" fmla="*/ 796 w 1073"/>
              <a:gd name="T17" fmla="*/ 148 h 831"/>
              <a:gd name="T18" fmla="*/ 749 w 1073"/>
              <a:gd name="T19" fmla="*/ 163 h 831"/>
              <a:gd name="T20" fmla="*/ 686 w 1073"/>
              <a:gd name="T21" fmla="*/ 195 h 831"/>
              <a:gd name="T22" fmla="*/ 691 w 1073"/>
              <a:gd name="T23" fmla="*/ 224 h 831"/>
              <a:gd name="T24" fmla="*/ 628 w 1073"/>
              <a:gd name="T25" fmla="*/ 253 h 831"/>
              <a:gd name="T26" fmla="*/ 550 w 1073"/>
              <a:gd name="T27" fmla="*/ 267 h 831"/>
              <a:gd name="T28" fmla="*/ 428 w 1073"/>
              <a:gd name="T29" fmla="*/ 247 h 831"/>
              <a:gd name="T30" fmla="*/ 359 w 1073"/>
              <a:gd name="T31" fmla="*/ 210 h 831"/>
              <a:gd name="T32" fmla="*/ 268 w 1073"/>
              <a:gd name="T33" fmla="*/ 179 h 831"/>
              <a:gd name="T34" fmla="*/ 189 w 1073"/>
              <a:gd name="T35" fmla="*/ 112 h 831"/>
              <a:gd name="T36" fmla="*/ 150 w 1073"/>
              <a:gd name="T37" fmla="*/ 116 h 831"/>
              <a:gd name="T38" fmla="*/ 118 w 1073"/>
              <a:gd name="T39" fmla="*/ 183 h 831"/>
              <a:gd name="T40" fmla="*/ 98 w 1073"/>
              <a:gd name="T41" fmla="*/ 243 h 831"/>
              <a:gd name="T42" fmla="*/ 75 w 1073"/>
              <a:gd name="T43" fmla="*/ 283 h 831"/>
              <a:gd name="T44" fmla="*/ 15 w 1073"/>
              <a:gd name="T45" fmla="*/ 303 h 831"/>
              <a:gd name="T46" fmla="*/ 12 w 1073"/>
              <a:gd name="T47" fmla="*/ 346 h 831"/>
              <a:gd name="T48" fmla="*/ 40 w 1073"/>
              <a:gd name="T49" fmla="*/ 373 h 831"/>
              <a:gd name="T50" fmla="*/ 108 w 1073"/>
              <a:gd name="T51" fmla="*/ 419 h 831"/>
              <a:gd name="T52" fmla="*/ 153 w 1073"/>
              <a:gd name="T53" fmla="*/ 491 h 831"/>
              <a:gd name="T54" fmla="*/ 204 w 1073"/>
              <a:gd name="T55" fmla="*/ 545 h 831"/>
              <a:gd name="T56" fmla="*/ 265 w 1073"/>
              <a:gd name="T57" fmla="*/ 566 h 831"/>
              <a:gd name="T58" fmla="*/ 334 w 1073"/>
              <a:gd name="T59" fmla="*/ 599 h 831"/>
              <a:gd name="T60" fmla="*/ 385 w 1073"/>
              <a:gd name="T61" fmla="*/ 597 h 831"/>
              <a:gd name="T62" fmla="*/ 431 w 1073"/>
              <a:gd name="T63" fmla="*/ 603 h 831"/>
              <a:gd name="T64" fmla="*/ 499 w 1073"/>
              <a:gd name="T65" fmla="*/ 573 h 831"/>
              <a:gd name="T66" fmla="*/ 542 w 1073"/>
              <a:gd name="T67" fmla="*/ 591 h 831"/>
              <a:gd name="T68" fmla="*/ 579 w 1073"/>
              <a:gd name="T69" fmla="*/ 627 h 831"/>
              <a:gd name="T70" fmla="*/ 590 w 1073"/>
              <a:gd name="T71" fmla="*/ 691 h 831"/>
              <a:gd name="T72" fmla="*/ 626 w 1073"/>
              <a:gd name="T73" fmla="*/ 746 h 831"/>
              <a:gd name="T74" fmla="*/ 654 w 1073"/>
              <a:gd name="T75" fmla="*/ 759 h 831"/>
              <a:gd name="T76" fmla="*/ 679 w 1073"/>
              <a:gd name="T77" fmla="*/ 724 h 831"/>
              <a:gd name="T78" fmla="*/ 741 w 1073"/>
              <a:gd name="T79" fmla="*/ 717 h 831"/>
              <a:gd name="T80" fmla="*/ 793 w 1073"/>
              <a:gd name="T81" fmla="*/ 751 h 831"/>
              <a:gd name="T82" fmla="*/ 836 w 1073"/>
              <a:gd name="T83" fmla="*/ 781 h 831"/>
              <a:gd name="T84" fmla="*/ 897 w 1073"/>
              <a:gd name="T85" fmla="*/ 740 h 831"/>
              <a:gd name="T86" fmla="*/ 949 w 1073"/>
              <a:gd name="T87" fmla="*/ 722 h 831"/>
              <a:gd name="T88" fmla="*/ 1018 w 1073"/>
              <a:gd name="T89" fmla="*/ 620 h 831"/>
              <a:gd name="T90" fmla="*/ 1033 w 1073"/>
              <a:gd name="T91" fmla="*/ 555 h 831"/>
              <a:gd name="T92" fmla="*/ 1014 w 1073"/>
              <a:gd name="T93" fmla="*/ 510 h 831"/>
              <a:gd name="T94" fmla="*/ 930 w 1073"/>
              <a:gd name="T95" fmla="*/ 433 h 831"/>
              <a:gd name="T96" fmla="*/ 976 w 1073"/>
              <a:gd name="T97" fmla="*/ 385 h 831"/>
              <a:gd name="T98" fmla="*/ 918 w 1073"/>
              <a:gd name="T99" fmla="*/ 379 h 831"/>
              <a:gd name="T100" fmla="*/ 859 w 1073"/>
              <a:gd name="T101" fmla="*/ 341 h 831"/>
              <a:gd name="T102" fmla="*/ 900 w 1073"/>
              <a:gd name="T103" fmla="*/ 297 h 831"/>
              <a:gd name="T104" fmla="*/ 931 w 1073"/>
              <a:gd name="T105" fmla="*/ 326 h 831"/>
              <a:gd name="T106" fmla="*/ 976 w 1073"/>
              <a:gd name="T107" fmla="*/ 313 h 831"/>
              <a:gd name="T108" fmla="*/ 1015 w 1073"/>
              <a:gd name="T109" fmla="*/ 276 h 831"/>
              <a:gd name="T110" fmla="*/ 1046 w 1073"/>
              <a:gd name="T111" fmla="*/ 242 h 831"/>
              <a:gd name="T112" fmla="*/ 1068 w 1073"/>
              <a:gd name="T113" fmla="*/ 243 h 831"/>
              <a:gd name="T114" fmla="*/ 1073 w 1073"/>
              <a:gd name="T115" fmla="*/ 192 h 831"/>
              <a:gd name="T116" fmla="*/ 1057 w 1073"/>
              <a:gd name="T117" fmla="*/ 115 h 831"/>
              <a:gd name="T118" fmla="*/ 971 w 1073"/>
              <a:gd name="T119" fmla="*/ 109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73" h="831">
                <a:moveTo>
                  <a:pt x="851" y="819"/>
                </a:moveTo>
                <a:lnTo>
                  <a:pt x="853" y="806"/>
                </a:lnTo>
                <a:lnTo>
                  <a:pt x="861" y="796"/>
                </a:lnTo>
                <a:lnTo>
                  <a:pt x="855" y="786"/>
                </a:lnTo>
                <a:lnTo>
                  <a:pt x="843" y="785"/>
                </a:lnTo>
                <a:lnTo>
                  <a:pt x="822" y="792"/>
                </a:lnTo>
                <a:lnTo>
                  <a:pt x="813" y="803"/>
                </a:lnTo>
                <a:lnTo>
                  <a:pt x="817" y="824"/>
                </a:lnTo>
                <a:lnTo>
                  <a:pt x="836" y="831"/>
                </a:lnTo>
                <a:lnTo>
                  <a:pt x="851" y="819"/>
                </a:lnTo>
                <a:lnTo>
                  <a:pt x="851" y="819"/>
                </a:lnTo>
                <a:close/>
                <a:moveTo>
                  <a:pt x="901" y="85"/>
                </a:moveTo>
                <a:lnTo>
                  <a:pt x="878" y="63"/>
                </a:lnTo>
                <a:lnTo>
                  <a:pt x="862" y="49"/>
                </a:lnTo>
                <a:lnTo>
                  <a:pt x="847" y="38"/>
                </a:lnTo>
                <a:lnTo>
                  <a:pt x="819" y="16"/>
                </a:lnTo>
                <a:lnTo>
                  <a:pt x="796" y="8"/>
                </a:lnTo>
                <a:lnTo>
                  <a:pt x="765" y="0"/>
                </a:lnTo>
                <a:lnTo>
                  <a:pt x="741" y="1"/>
                </a:lnTo>
                <a:lnTo>
                  <a:pt x="723" y="6"/>
                </a:lnTo>
                <a:lnTo>
                  <a:pt x="716" y="17"/>
                </a:lnTo>
                <a:lnTo>
                  <a:pt x="730" y="22"/>
                </a:lnTo>
                <a:lnTo>
                  <a:pt x="739" y="35"/>
                </a:lnTo>
                <a:lnTo>
                  <a:pt x="735" y="42"/>
                </a:lnTo>
                <a:lnTo>
                  <a:pt x="735" y="66"/>
                </a:lnTo>
                <a:lnTo>
                  <a:pt x="742" y="77"/>
                </a:lnTo>
                <a:lnTo>
                  <a:pt x="725" y="91"/>
                </a:lnTo>
                <a:lnTo>
                  <a:pt x="698" y="82"/>
                </a:lnTo>
                <a:lnTo>
                  <a:pt x="701" y="99"/>
                </a:lnTo>
                <a:lnTo>
                  <a:pt x="702" y="122"/>
                </a:lnTo>
                <a:lnTo>
                  <a:pt x="712" y="133"/>
                </a:lnTo>
                <a:lnTo>
                  <a:pt x="721" y="129"/>
                </a:lnTo>
                <a:lnTo>
                  <a:pt x="741" y="133"/>
                </a:lnTo>
                <a:lnTo>
                  <a:pt x="751" y="124"/>
                </a:lnTo>
                <a:lnTo>
                  <a:pt x="769" y="132"/>
                </a:lnTo>
                <a:lnTo>
                  <a:pt x="796" y="148"/>
                </a:lnTo>
                <a:lnTo>
                  <a:pt x="799" y="156"/>
                </a:lnTo>
                <a:lnTo>
                  <a:pt x="783" y="153"/>
                </a:lnTo>
                <a:lnTo>
                  <a:pt x="757" y="157"/>
                </a:lnTo>
                <a:lnTo>
                  <a:pt x="749" y="163"/>
                </a:lnTo>
                <a:lnTo>
                  <a:pt x="743" y="178"/>
                </a:lnTo>
                <a:lnTo>
                  <a:pt x="720" y="188"/>
                </a:lnTo>
                <a:lnTo>
                  <a:pt x="709" y="200"/>
                </a:lnTo>
                <a:lnTo>
                  <a:pt x="686" y="195"/>
                </a:lnTo>
                <a:lnTo>
                  <a:pt x="674" y="193"/>
                </a:lnTo>
                <a:lnTo>
                  <a:pt x="673" y="208"/>
                </a:lnTo>
                <a:lnTo>
                  <a:pt x="683" y="217"/>
                </a:lnTo>
                <a:lnTo>
                  <a:pt x="691" y="224"/>
                </a:lnTo>
                <a:lnTo>
                  <a:pt x="682" y="232"/>
                </a:lnTo>
                <a:lnTo>
                  <a:pt x="674" y="245"/>
                </a:lnTo>
                <a:lnTo>
                  <a:pt x="656" y="252"/>
                </a:lnTo>
                <a:lnTo>
                  <a:pt x="628" y="253"/>
                </a:lnTo>
                <a:lnTo>
                  <a:pt x="601" y="261"/>
                </a:lnTo>
                <a:lnTo>
                  <a:pt x="584" y="274"/>
                </a:lnTo>
                <a:lnTo>
                  <a:pt x="572" y="266"/>
                </a:lnTo>
                <a:lnTo>
                  <a:pt x="550" y="267"/>
                </a:lnTo>
                <a:lnTo>
                  <a:pt x="514" y="252"/>
                </a:lnTo>
                <a:lnTo>
                  <a:pt x="494" y="249"/>
                </a:lnTo>
                <a:lnTo>
                  <a:pt x="471" y="252"/>
                </a:lnTo>
                <a:lnTo>
                  <a:pt x="428" y="247"/>
                </a:lnTo>
                <a:lnTo>
                  <a:pt x="408" y="247"/>
                </a:lnTo>
                <a:lnTo>
                  <a:pt x="390" y="234"/>
                </a:lnTo>
                <a:lnTo>
                  <a:pt x="372" y="213"/>
                </a:lnTo>
                <a:lnTo>
                  <a:pt x="359" y="210"/>
                </a:lnTo>
                <a:lnTo>
                  <a:pt x="330" y="196"/>
                </a:lnTo>
                <a:lnTo>
                  <a:pt x="303" y="192"/>
                </a:lnTo>
                <a:lnTo>
                  <a:pt x="279" y="189"/>
                </a:lnTo>
                <a:lnTo>
                  <a:pt x="268" y="179"/>
                </a:lnTo>
                <a:lnTo>
                  <a:pt x="263" y="151"/>
                </a:lnTo>
                <a:lnTo>
                  <a:pt x="242" y="133"/>
                </a:lnTo>
                <a:lnTo>
                  <a:pt x="211" y="124"/>
                </a:lnTo>
                <a:lnTo>
                  <a:pt x="189" y="112"/>
                </a:lnTo>
                <a:lnTo>
                  <a:pt x="177" y="95"/>
                </a:lnTo>
                <a:lnTo>
                  <a:pt x="171" y="97"/>
                </a:lnTo>
                <a:lnTo>
                  <a:pt x="164" y="113"/>
                </a:lnTo>
                <a:lnTo>
                  <a:pt x="150" y="116"/>
                </a:lnTo>
                <a:lnTo>
                  <a:pt x="160" y="138"/>
                </a:lnTo>
                <a:lnTo>
                  <a:pt x="154" y="149"/>
                </a:lnTo>
                <a:lnTo>
                  <a:pt x="114" y="142"/>
                </a:lnTo>
                <a:lnTo>
                  <a:pt x="118" y="183"/>
                </a:lnTo>
                <a:lnTo>
                  <a:pt x="110" y="189"/>
                </a:lnTo>
                <a:lnTo>
                  <a:pt x="76" y="197"/>
                </a:lnTo>
                <a:lnTo>
                  <a:pt x="109" y="237"/>
                </a:lnTo>
                <a:lnTo>
                  <a:pt x="98" y="243"/>
                </a:lnTo>
                <a:lnTo>
                  <a:pt x="105" y="256"/>
                </a:lnTo>
                <a:lnTo>
                  <a:pt x="104" y="261"/>
                </a:lnTo>
                <a:lnTo>
                  <a:pt x="78" y="275"/>
                </a:lnTo>
                <a:lnTo>
                  <a:pt x="75" y="283"/>
                </a:lnTo>
                <a:lnTo>
                  <a:pt x="50" y="286"/>
                </a:lnTo>
                <a:lnTo>
                  <a:pt x="48" y="301"/>
                </a:lnTo>
                <a:lnTo>
                  <a:pt x="27" y="298"/>
                </a:lnTo>
                <a:lnTo>
                  <a:pt x="15" y="303"/>
                </a:lnTo>
                <a:lnTo>
                  <a:pt x="0" y="314"/>
                </a:lnTo>
                <a:lnTo>
                  <a:pt x="5" y="319"/>
                </a:lnTo>
                <a:lnTo>
                  <a:pt x="1" y="325"/>
                </a:lnTo>
                <a:lnTo>
                  <a:pt x="12" y="346"/>
                </a:lnTo>
                <a:lnTo>
                  <a:pt x="18" y="345"/>
                </a:lnTo>
                <a:lnTo>
                  <a:pt x="31" y="349"/>
                </a:lnTo>
                <a:lnTo>
                  <a:pt x="33" y="359"/>
                </a:lnTo>
                <a:lnTo>
                  <a:pt x="40" y="373"/>
                </a:lnTo>
                <a:lnTo>
                  <a:pt x="45" y="380"/>
                </a:lnTo>
                <a:lnTo>
                  <a:pt x="62" y="391"/>
                </a:lnTo>
                <a:lnTo>
                  <a:pt x="74" y="410"/>
                </a:lnTo>
                <a:lnTo>
                  <a:pt x="108" y="419"/>
                </a:lnTo>
                <a:lnTo>
                  <a:pt x="137" y="447"/>
                </a:lnTo>
                <a:lnTo>
                  <a:pt x="140" y="467"/>
                </a:lnTo>
                <a:lnTo>
                  <a:pt x="151" y="479"/>
                </a:lnTo>
                <a:lnTo>
                  <a:pt x="153" y="491"/>
                </a:lnTo>
                <a:lnTo>
                  <a:pt x="138" y="488"/>
                </a:lnTo>
                <a:lnTo>
                  <a:pt x="150" y="514"/>
                </a:lnTo>
                <a:lnTo>
                  <a:pt x="173" y="529"/>
                </a:lnTo>
                <a:lnTo>
                  <a:pt x="204" y="545"/>
                </a:lnTo>
                <a:lnTo>
                  <a:pt x="212" y="540"/>
                </a:lnTo>
                <a:lnTo>
                  <a:pt x="230" y="547"/>
                </a:lnTo>
                <a:lnTo>
                  <a:pt x="253" y="563"/>
                </a:lnTo>
                <a:lnTo>
                  <a:pt x="265" y="566"/>
                </a:lnTo>
                <a:lnTo>
                  <a:pt x="274" y="578"/>
                </a:lnTo>
                <a:lnTo>
                  <a:pt x="291" y="583"/>
                </a:lnTo>
                <a:lnTo>
                  <a:pt x="310" y="593"/>
                </a:lnTo>
                <a:lnTo>
                  <a:pt x="334" y="599"/>
                </a:lnTo>
                <a:lnTo>
                  <a:pt x="358" y="600"/>
                </a:lnTo>
                <a:lnTo>
                  <a:pt x="370" y="596"/>
                </a:lnTo>
                <a:lnTo>
                  <a:pt x="375" y="614"/>
                </a:lnTo>
                <a:lnTo>
                  <a:pt x="385" y="597"/>
                </a:lnTo>
                <a:lnTo>
                  <a:pt x="395" y="590"/>
                </a:lnTo>
                <a:lnTo>
                  <a:pt x="410" y="596"/>
                </a:lnTo>
                <a:lnTo>
                  <a:pt x="421" y="597"/>
                </a:lnTo>
                <a:lnTo>
                  <a:pt x="431" y="603"/>
                </a:lnTo>
                <a:lnTo>
                  <a:pt x="447" y="600"/>
                </a:lnTo>
                <a:lnTo>
                  <a:pt x="461" y="583"/>
                </a:lnTo>
                <a:lnTo>
                  <a:pt x="481" y="568"/>
                </a:lnTo>
                <a:lnTo>
                  <a:pt x="499" y="573"/>
                </a:lnTo>
                <a:lnTo>
                  <a:pt x="512" y="563"/>
                </a:lnTo>
                <a:lnTo>
                  <a:pt x="525" y="578"/>
                </a:lnTo>
                <a:lnTo>
                  <a:pt x="520" y="588"/>
                </a:lnTo>
                <a:lnTo>
                  <a:pt x="542" y="591"/>
                </a:lnTo>
                <a:lnTo>
                  <a:pt x="554" y="590"/>
                </a:lnTo>
                <a:lnTo>
                  <a:pt x="564" y="603"/>
                </a:lnTo>
                <a:lnTo>
                  <a:pt x="574" y="609"/>
                </a:lnTo>
                <a:lnTo>
                  <a:pt x="579" y="627"/>
                </a:lnTo>
                <a:lnTo>
                  <a:pt x="582" y="647"/>
                </a:lnTo>
                <a:lnTo>
                  <a:pt x="567" y="667"/>
                </a:lnTo>
                <a:lnTo>
                  <a:pt x="569" y="695"/>
                </a:lnTo>
                <a:lnTo>
                  <a:pt x="590" y="691"/>
                </a:lnTo>
                <a:lnTo>
                  <a:pt x="598" y="713"/>
                </a:lnTo>
                <a:lnTo>
                  <a:pt x="612" y="718"/>
                </a:lnTo>
                <a:lnTo>
                  <a:pt x="610" y="738"/>
                </a:lnTo>
                <a:lnTo>
                  <a:pt x="626" y="746"/>
                </a:lnTo>
                <a:lnTo>
                  <a:pt x="636" y="751"/>
                </a:lnTo>
                <a:lnTo>
                  <a:pt x="650" y="744"/>
                </a:lnTo>
                <a:lnTo>
                  <a:pt x="653" y="754"/>
                </a:lnTo>
                <a:lnTo>
                  <a:pt x="654" y="759"/>
                </a:lnTo>
                <a:lnTo>
                  <a:pt x="666" y="760"/>
                </a:lnTo>
                <a:lnTo>
                  <a:pt x="658" y="733"/>
                </a:lnTo>
                <a:lnTo>
                  <a:pt x="668" y="729"/>
                </a:lnTo>
                <a:lnTo>
                  <a:pt x="679" y="724"/>
                </a:lnTo>
                <a:lnTo>
                  <a:pt x="695" y="724"/>
                </a:lnTo>
                <a:lnTo>
                  <a:pt x="714" y="721"/>
                </a:lnTo>
                <a:lnTo>
                  <a:pt x="730" y="708"/>
                </a:lnTo>
                <a:lnTo>
                  <a:pt x="741" y="717"/>
                </a:lnTo>
                <a:lnTo>
                  <a:pt x="761" y="721"/>
                </a:lnTo>
                <a:lnTo>
                  <a:pt x="760" y="735"/>
                </a:lnTo>
                <a:lnTo>
                  <a:pt x="771" y="745"/>
                </a:lnTo>
                <a:lnTo>
                  <a:pt x="793" y="751"/>
                </a:lnTo>
                <a:lnTo>
                  <a:pt x="802" y="747"/>
                </a:lnTo>
                <a:lnTo>
                  <a:pt x="831" y="754"/>
                </a:lnTo>
                <a:lnTo>
                  <a:pt x="827" y="764"/>
                </a:lnTo>
                <a:lnTo>
                  <a:pt x="836" y="781"/>
                </a:lnTo>
                <a:lnTo>
                  <a:pt x="847" y="780"/>
                </a:lnTo>
                <a:lnTo>
                  <a:pt x="850" y="754"/>
                </a:lnTo>
                <a:lnTo>
                  <a:pt x="871" y="751"/>
                </a:lnTo>
                <a:lnTo>
                  <a:pt x="897" y="740"/>
                </a:lnTo>
                <a:lnTo>
                  <a:pt x="907" y="727"/>
                </a:lnTo>
                <a:lnTo>
                  <a:pt x="916" y="735"/>
                </a:lnTo>
                <a:lnTo>
                  <a:pt x="926" y="725"/>
                </a:lnTo>
                <a:lnTo>
                  <a:pt x="949" y="722"/>
                </a:lnTo>
                <a:lnTo>
                  <a:pt x="974" y="702"/>
                </a:lnTo>
                <a:lnTo>
                  <a:pt x="997" y="680"/>
                </a:lnTo>
                <a:lnTo>
                  <a:pt x="1009" y="652"/>
                </a:lnTo>
                <a:lnTo>
                  <a:pt x="1018" y="620"/>
                </a:lnTo>
                <a:lnTo>
                  <a:pt x="1026" y="594"/>
                </a:lnTo>
                <a:lnTo>
                  <a:pt x="1036" y="592"/>
                </a:lnTo>
                <a:lnTo>
                  <a:pt x="1035" y="573"/>
                </a:lnTo>
                <a:lnTo>
                  <a:pt x="1033" y="555"/>
                </a:lnTo>
                <a:lnTo>
                  <a:pt x="1019" y="547"/>
                </a:lnTo>
                <a:lnTo>
                  <a:pt x="1009" y="534"/>
                </a:lnTo>
                <a:lnTo>
                  <a:pt x="1019" y="528"/>
                </a:lnTo>
                <a:lnTo>
                  <a:pt x="1014" y="510"/>
                </a:lnTo>
                <a:lnTo>
                  <a:pt x="993" y="492"/>
                </a:lnTo>
                <a:lnTo>
                  <a:pt x="974" y="471"/>
                </a:lnTo>
                <a:lnTo>
                  <a:pt x="956" y="446"/>
                </a:lnTo>
                <a:lnTo>
                  <a:pt x="930" y="433"/>
                </a:lnTo>
                <a:lnTo>
                  <a:pt x="933" y="416"/>
                </a:lnTo>
                <a:lnTo>
                  <a:pt x="948" y="404"/>
                </a:lnTo>
                <a:lnTo>
                  <a:pt x="951" y="391"/>
                </a:lnTo>
                <a:lnTo>
                  <a:pt x="976" y="385"/>
                </a:lnTo>
                <a:lnTo>
                  <a:pt x="967" y="372"/>
                </a:lnTo>
                <a:lnTo>
                  <a:pt x="954" y="372"/>
                </a:lnTo>
                <a:lnTo>
                  <a:pt x="933" y="362"/>
                </a:lnTo>
                <a:lnTo>
                  <a:pt x="918" y="379"/>
                </a:lnTo>
                <a:lnTo>
                  <a:pt x="900" y="372"/>
                </a:lnTo>
                <a:lnTo>
                  <a:pt x="894" y="361"/>
                </a:lnTo>
                <a:lnTo>
                  <a:pt x="877" y="358"/>
                </a:lnTo>
                <a:lnTo>
                  <a:pt x="859" y="341"/>
                </a:lnTo>
                <a:lnTo>
                  <a:pt x="864" y="330"/>
                </a:lnTo>
                <a:lnTo>
                  <a:pt x="882" y="329"/>
                </a:lnTo>
                <a:lnTo>
                  <a:pt x="887" y="314"/>
                </a:lnTo>
                <a:lnTo>
                  <a:pt x="900" y="297"/>
                </a:lnTo>
                <a:lnTo>
                  <a:pt x="913" y="289"/>
                </a:lnTo>
                <a:lnTo>
                  <a:pt x="929" y="301"/>
                </a:lnTo>
                <a:lnTo>
                  <a:pt x="922" y="317"/>
                </a:lnTo>
                <a:lnTo>
                  <a:pt x="931" y="326"/>
                </a:lnTo>
                <a:lnTo>
                  <a:pt x="925" y="337"/>
                </a:lnTo>
                <a:lnTo>
                  <a:pt x="944" y="331"/>
                </a:lnTo>
                <a:lnTo>
                  <a:pt x="952" y="319"/>
                </a:lnTo>
                <a:lnTo>
                  <a:pt x="976" y="313"/>
                </a:lnTo>
                <a:lnTo>
                  <a:pt x="984" y="298"/>
                </a:lnTo>
                <a:lnTo>
                  <a:pt x="998" y="285"/>
                </a:lnTo>
                <a:lnTo>
                  <a:pt x="1002" y="269"/>
                </a:lnTo>
                <a:lnTo>
                  <a:pt x="1015" y="276"/>
                </a:lnTo>
                <a:lnTo>
                  <a:pt x="1033" y="276"/>
                </a:lnTo>
                <a:lnTo>
                  <a:pt x="1022" y="264"/>
                </a:lnTo>
                <a:lnTo>
                  <a:pt x="1046" y="255"/>
                </a:lnTo>
                <a:lnTo>
                  <a:pt x="1046" y="242"/>
                </a:lnTo>
                <a:lnTo>
                  <a:pt x="1066" y="255"/>
                </a:lnTo>
                <a:lnTo>
                  <a:pt x="1066" y="255"/>
                </a:lnTo>
                <a:lnTo>
                  <a:pt x="1059" y="244"/>
                </a:lnTo>
                <a:lnTo>
                  <a:pt x="1068" y="243"/>
                </a:lnTo>
                <a:lnTo>
                  <a:pt x="1054" y="216"/>
                </a:lnTo>
                <a:lnTo>
                  <a:pt x="1036" y="196"/>
                </a:lnTo>
                <a:lnTo>
                  <a:pt x="1048" y="188"/>
                </a:lnTo>
                <a:lnTo>
                  <a:pt x="1073" y="192"/>
                </a:lnTo>
                <a:lnTo>
                  <a:pt x="1071" y="170"/>
                </a:lnTo>
                <a:lnTo>
                  <a:pt x="1060" y="144"/>
                </a:lnTo>
                <a:lnTo>
                  <a:pt x="1062" y="135"/>
                </a:lnTo>
                <a:lnTo>
                  <a:pt x="1057" y="115"/>
                </a:lnTo>
                <a:lnTo>
                  <a:pt x="1031" y="121"/>
                </a:lnTo>
                <a:lnTo>
                  <a:pt x="1021" y="131"/>
                </a:lnTo>
                <a:lnTo>
                  <a:pt x="993" y="131"/>
                </a:lnTo>
                <a:lnTo>
                  <a:pt x="971" y="109"/>
                </a:lnTo>
                <a:lnTo>
                  <a:pt x="937" y="92"/>
                </a:lnTo>
                <a:lnTo>
                  <a:pt x="901" y="85"/>
                </a:lnTo>
                <a:lnTo>
                  <a:pt x="901" y="8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47" name="Côte d'Ivoire">
            <a:extLst>
              <a:ext uri="{FF2B5EF4-FFF2-40B4-BE49-F238E27FC236}">
                <a16:creationId xmlns:a16="http://schemas.microsoft.com/office/drawing/2014/main" id="{CA3566CB-0AD9-4258-8134-C1A5CE2349EF}"/>
              </a:ext>
            </a:extLst>
          </p:cNvPr>
          <p:cNvSpPr>
            <a:spLocks/>
          </p:cNvSpPr>
          <p:nvPr/>
        </p:nvSpPr>
        <p:spPr bwMode="auto">
          <a:xfrm>
            <a:off x="4893666" y="3914985"/>
            <a:ext cx="214353" cy="250079"/>
          </a:xfrm>
          <a:custGeom>
            <a:avLst/>
            <a:gdLst>
              <a:gd name="T0" fmla="*/ 67 w 126"/>
              <a:gd name="T1" fmla="*/ 4 h 147"/>
              <a:gd name="T2" fmla="*/ 59 w 126"/>
              <a:gd name="T3" fmla="*/ 7 h 147"/>
              <a:gd name="T4" fmla="*/ 54 w 126"/>
              <a:gd name="T5" fmla="*/ 10 h 147"/>
              <a:gd name="T6" fmla="*/ 51 w 126"/>
              <a:gd name="T7" fmla="*/ 0 h 147"/>
              <a:gd name="T8" fmla="*/ 45 w 126"/>
              <a:gd name="T9" fmla="*/ 3 h 147"/>
              <a:gd name="T10" fmla="*/ 41 w 126"/>
              <a:gd name="T11" fmla="*/ 2 h 147"/>
              <a:gd name="T12" fmla="*/ 38 w 126"/>
              <a:gd name="T13" fmla="*/ 9 h 147"/>
              <a:gd name="T14" fmla="*/ 21 w 126"/>
              <a:gd name="T15" fmla="*/ 8 h 147"/>
              <a:gd name="T16" fmla="*/ 15 w 126"/>
              <a:gd name="T17" fmla="*/ 5 h 147"/>
              <a:gd name="T18" fmla="*/ 12 w 126"/>
              <a:gd name="T19" fmla="*/ 8 h 147"/>
              <a:gd name="T20" fmla="*/ 9 w 126"/>
              <a:gd name="T21" fmla="*/ 9 h 147"/>
              <a:gd name="T22" fmla="*/ 7 w 126"/>
              <a:gd name="T23" fmla="*/ 18 h 147"/>
              <a:gd name="T24" fmla="*/ 11 w 126"/>
              <a:gd name="T25" fmla="*/ 27 h 147"/>
              <a:gd name="T26" fmla="*/ 16 w 126"/>
              <a:gd name="T27" fmla="*/ 46 h 147"/>
              <a:gd name="T28" fmla="*/ 9 w 126"/>
              <a:gd name="T29" fmla="*/ 50 h 147"/>
              <a:gd name="T30" fmla="*/ 7 w 126"/>
              <a:gd name="T31" fmla="*/ 52 h 147"/>
              <a:gd name="T32" fmla="*/ 8 w 126"/>
              <a:gd name="T33" fmla="*/ 57 h 147"/>
              <a:gd name="T34" fmla="*/ 7 w 126"/>
              <a:gd name="T35" fmla="*/ 67 h 147"/>
              <a:gd name="T36" fmla="*/ 4 w 126"/>
              <a:gd name="T37" fmla="*/ 67 h 147"/>
              <a:gd name="T38" fmla="*/ 2 w 126"/>
              <a:gd name="T39" fmla="*/ 74 h 147"/>
              <a:gd name="T40" fmla="*/ 5 w 126"/>
              <a:gd name="T41" fmla="*/ 86 h 147"/>
              <a:gd name="T42" fmla="*/ 0 w 126"/>
              <a:gd name="T43" fmla="*/ 96 h 147"/>
              <a:gd name="T44" fmla="*/ 6 w 126"/>
              <a:gd name="T45" fmla="*/ 103 h 147"/>
              <a:gd name="T46" fmla="*/ 13 w 126"/>
              <a:gd name="T47" fmla="*/ 105 h 147"/>
              <a:gd name="T48" fmla="*/ 22 w 126"/>
              <a:gd name="T49" fmla="*/ 115 h 147"/>
              <a:gd name="T50" fmla="*/ 23 w 126"/>
              <a:gd name="T51" fmla="*/ 124 h 147"/>
              <a:gd name="T52" fmla="*/ 21 w 126"/>
              <a:gd name="T53" fmla="*/ 127 h 147"/>
              <a:gd name="T54" fmla="*/ 19 w 126"/>
              <a:gd name="T55" fmla="*/ 147 h 147"/>
              <a:gd name="T56" fmla="*/ 23 w 126"/>
              <a:gd name="T57" fmla="*/ 147 h 147"/>
              <a:gd name="T58" fmla="*/ 43 w 126"/>
              <a:gd name="T59" fmla="*/ 138 h 147"/>
              <a:gd name="T60" fmla="*/ 58 w 126"/>
              <a:gd name="T61" fmla="*/ 132 h 147"/>
              <a:gd name="T62" fmla="*/ 82 w 126"/>
              <a:gd name="T63" fmla="*/ 127 h 147"/>
              <a:gd name="T64" fmla="*/ 96 w 126"/>
              <a:gd name="T65" fmla="*/ 127 h 147"/>
              <a:gd name="T66" fmla="*/ 110 w 126"/>
              <a:gd name="T67" fmla="*/ 132 h 147"/>
              <a:gd name="T68" fmla="*/ 121 w 126"/>
              <a:gd name="T69" fmla="*/ 132 h 147"/>
              <a:gd name="T70" fmla="*/ 122 w 126"/>
              <a:gd name="T71" fmla="*/ 122 h 147"/>
              <a:gd name="T72" fmla="*/ 112 w 126"/>
              <a:gd name="T73" fmla="*/ 102 h 147"/>
              <a:gd name="T74" fmla="*/ 118 w 126"/>
              <a:gd name="T75" fmla="*/ 75 h 147"/>
              <a:gd name="T76" fmla="*/ 126 w 126"/>
              <a:gd name="T77" fmla="*/ 55 h 147"/>
              <a:gd name="T78" fmla="*/ 122 w 126"/>
              <a:gd name="T79" fmla="*/ 21 h 147"/>
              <a:gd name="T80" fmla="*/ 107 w 126"/>
              <a:gd name="T81" fmla="*/ 15 h 147"/>
              <a:gd name="T82" fmla="*/ 97 w 126"/>
              <a:gd name="T83" fmla="*/ 16 h 147"/>
              <a:gd name="T84" fmla="*/ 90 w 126"/>
              <a:gd name="T85" fmla="*/ 22 h 147"/>
              <a:gd name="T86" fmla="*/ 81 w 126"/>
              <a:gd name="T87" fmla="*/ 17 h 147"/>
              <a:gd name="T88" fmla="*/ 77 w 126"/>
              <a:gd name="T89" fmla="*/ 8 h 147"/>
              <a:gd name="T90" fmla="*/ 67 w 126"/>
              <a:gd name="T91" fmla="*/ 4 h 147"/>
              <a:gd name="T92" fmla="*/ 67 w 126"/>
              <a:gd name="T93" fmla="*/ 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 h="147">
                <a:moveTo>
                  <a:pt x="67" y="4"/>
                </a:moveTo>
                <a:lnTo>
                  <a:pt x="59" y="7"/>
                </a:lnTo>
                <a:lnTo>
                  <a:pt x="54" y="10"/>
                </a:lnTo>
                <a:lnTo>
                  <a:pt x="51" y="0"/>
                </a:lnTo>
                <a:lnTo>
                  <a:pt x="45" y="3"/>
                </a:lnTo>
                <a:lnTo>
                  <a:pt x="41" y="2"/>
                </a:lnTo>
                <a:lnTo>
                  <a:pt x="38" y="9"/>
                </a:lnTo>
                <a:lnTo>
                  <a:pt x="21" y="8"/>
                </a:lnTo>
                <a:lnTo>
                  <a:pt x="15" y="5"/>
                </a:lnTo>
                <a:lnTo>
                  <a:pt x="12" y="8"/>
                </a:lnTo>
                <a:lnTo>
                  <a:pt x="9" y="9"/>
                </a:lnTo>
                <a:lnTo>
                  <a:pt x="7" y="18"/>
                </a:lnTo>
                <a:lnTo>
                  <a:pt x="11" y="27"/>
                </a:lnTo>
                <a:lnTo>
                  <a:pt x="16" y="46"/>
                </a:lnTo>
                <a:lnTo>
                  <a:pt x="9" y="50"/>
                </a:lnTo>
                <a:lnTo>
                  <a:pt x="7" y="52"/>
                </a:lnTo>
                <a:lnTo>
                  <a:pt x="8" y="57"/>
                </a:lnTo>
                <a:lnTo>
                  <a:pt x="7" y="67"/>
                </a:lnTo>
                <a:lnTo>
                  <a:pt x="4" y="67"/>
                </a:lnTo>
                <a:lnTo>
                  <a:pt x="2" y="74"/>
                </a:lnTo>
                <a:lnTo>
                  <a:pt x="5" y="86"/>
                </a:lnTo>
                <a:lnTo>
                  <a:pt x="0" y="96"/>
                </a:lnTo>
                <a:lnTo>
                  <a:pt x="6" y="103"/>
                </a:lnTo>
                <a:lnTo>
                  <a:pt x="13" y="105"/>
                </a:lnTo>
                <a:lnTo>
                  <a:pt x="22" y="115"/>
                </a:lnTo>
                <a:lnTo>
                  <a:pt x="23" y="124"/>
                </a:lnTo>
                <a:lnTo>
                  <a:pt x="21" y="127"/>
                </a:lnTo>
                <a:lnTo>
                  <a:pt x="19" y="147"/>
                </a:lnTo>
                <a:lnTo>
                  <a:pt x="23" y="147"/>
                </a:lnTo>
                <a:lnTo>
                  <a:pt x="43" y="138"/>
                </a:lnTo>
                <a:lnTo>
                  <a:pt x="58" y="132"/>
                </a:lnTo>
                <a:lnTo>
                  <a:pt x="82" y="127"/>
                </a:lnTo>
                <a:lnTo>
                  <a:pt x="96" y="127"/>
                </a:lnTo>
                <a:lnTo>
                  <a:pt x="110" y="132"/>
                </a:lnTo>
                <a:lnTo>
                  <a:pt x="121" y="132"/>
                </a:lnTo>
                <a:lnTo>
                  <a:pt x="122" y="122"/>
                </a:lnTo>
                <a:lnTo>
                  <a:pt x="112" y="102"/>
                </a:lnTo>
                <a:lnTo>
                  <a:pt x="118" y="75"/>
                </a:lnTo>
                <a:lnTo>
                  <a:pt x="126" y="55"/>
                </a:lnTo>
                <a:lnTo>
                  <a:pt x="122" y="21"/>
                </a:lnTo>
                <a:lnTo>
                  <a:pt x="107" y="15"/>
                </a:lnTo>
                <a:lnTo>
                  <a:pt x="97" y="16"/>
                </a:lnTo>
                <a:lnTo>
                  <a:pt x="90" y="22"/>
                </a:lnTo>
                <a:lnTo>
                  <a:pt x="81" y="17"/>
                </a:lnTo>
                <a:lnTo>
                  <a:pt x="77" y="8"/>
                </a:lnTo>
                <a:lnTo>
                  <a:pt x="67" y="4"/>
                </a:lnTo>
                <a:lnTo>
                  <a:pt x="67" y="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48" name="Cameroon">
            <a:extLst>
              <a:ext uri="{FF2B5EF4-FFF2-40B4-BE49-F238E27FC236}">
                <a16:creationId xmlns:a16="http://schemas.microsoft.com/office/drawing/2014/main" id="{F672A866-FC4A-4FDB-83EC-B29B4F634A99}"/>
              </a:ext>
            </a:extLst>
          </p:cNvPr>
          <p:cNvSpPr>
            <a:spLocks/>
          </p:cNvSpPr>
          <p:nvPr/>
        </p:nvSpPr>
        <p:spPr bwMode="auto">
          <a:xfrm>
            <a:off x="5504401" y="3819716"/>
            <a:ext cx="268793" cy="450822"/>
          </a:xfrm>
          <a:custGeom>
            <a:avLst/>
            <a:gdLst>
              <a:gd name="T0" fmla="*/ 132 w 158"/>
              <a:gd name="T1" fmla="*/ 48 h 265"/>
              <a:gd name="T2" fmla="*/ 133 w 158"/>
              <a:gd name="T3" fmla="*/ 31 h 265"/>
              <a:gd name="T4" fmla="*/ 131 w 158"/>
              <a:gd name="T5" fmla="*/ 16 h 265"/>
              <a:gd name="T6" fmla="*/ 123 w 158"/>
              <a:gd name="T7" fmla="*/ 0 h 265"/>
              <a:gd name="T8" fmla="*/ 117 w 158"/>
              <a:gd name="T9" fmla="*/ 2 h 265"/>
              <a:gd name="T10" fmla="*/ 116 w 158"/>
              <a:gd name="T11" fmla="*/ 9 h 265"/>
              <a:gd name="T12" fmla="*/ 125 w 158"/>
              <a:gd name="T13" fmla="*/ 19 h 265"/>
              <a:gd name="T14" fmla="*/ 123 w 158"/>
              <a:gd name="T15" fmla="*/ 23 h 265"/>
              <a:gd name="T16" fmla="*/ 122 w 158"/>
              <a:gd name="T17" fmla="*/ 31 h 265"/>
              <a:gd name="T18" fmla="*/ 104 w 158"/>
              <a:gd name="T19" fmla="*/ 50 h 265"/>
              <a:gd name="T20" fmla="*/ 99 w 158"/>
              <a:gd name="T21" fmla="*/ 64 h 265"/>
              <a:gd name="T22" fmla="*/ 97 w 158"/>
              <a:gd name="T23" fmla="*/ 77 h 265"/>
              <a:gd name="T24" fmla="*/ 92 w 158"/>
              <a:gd name="T25" fmla="*/ 82 h 265"/>
              <a:gd name="T26" fmla="*/ 88 w 158"/>
              <a:gd name="T27" fmla="*/ 99 h 265"/>
              <a:gd name="T28" fmla="*/ 76 w 158"/>
              <a:gd name="T29" fmla="*/ 108 h 265"/>
              <a:gd name="T30" fmla="*/ 74 w 158"/>
              <a:gd name="T31" fmla="*/ 120 h 265"/>
              <a:gd name="T32" fmla="*/ 69 w 158"/>
              <a:gd name="T33" fmla="*/ 130 h 265"/>
              <a:gd name="T34" fmla="*/ 67 w 158"/>
              <a:gd name="T35" fmla="*/ 140 h 265"/>
              <a:gd name="T36" fmla="*/ 53 w 158"/>
              <a:gd name="T37" fmla="*/ 149 h 265"/>
              <a:gd name="T38" fmla="*/ 41 w 158"/>
              <a:gd name="T39" fmla="*/ 138 h 265"/>
              <a:gd name="T40" fmla="*/ 33 w 158"/>
              <a:gd name="T41" fmla="*/ 139 h 265"/>
              <a:gd name="T42" fmla="*/ 20 w 158"/>
              <a:gd name="T43" fmla="*/ 152 h 265"/>
              <a:gd name="T44" fmla="*/ 15 w 158"/>
              <a:gd name="T45" fmla="*/ 153 h 265"/>
              <a:gd name="T46" fmla="*/ 4 w 158"/>
              <a:gd name="T47" fmla="*/ 176 h 265"/>
              <a:gd name="T48" fmla="*/ 0 w 158"/>
              <a:gd name="T49" fmla="*/ 192 h 265"/>
              <a:gd name="T50" fmla="*/ 0 w 158"/>
              <a:gd name="T51" fmla="*/ 199 h 265"/>
              <a:gd name="T52" fmla="*/ 4 w 158"/>
              <a:gd name="T53" fmla="*/ 203 h 265"/>
              <a:gd name="T54" fmla="*/ 9 w 158"/>
              <a:gd name="T55" fmla="*/ 213 h 265"/>
              <a:gd name="T56" fmla="*/ 18 w 158"/>
              <a:gd name="T57" fmla="*/ 218 h 265"/>
              <a:gd name="T58" fmla="*/ 27 w 158"/>
              <a:gd name="T59" fmla="*/ 233 h 265"/>
              <a:gd name="T60" fmla="*/ 24 w 158"/>
              <a:gd name="T61" fmla="*/ 251 h 265"/>
              <a:gd name="T62" fmla="*/ 58 w 158"/>
              <a:gd name="T63" fmla="*/ 252 h 265"/>
              <a:gd name="T64" fmla="*/ 68 w 158"/>
              <a:gd name="T65" fmla="*/ 251 h 265"/>
              <a:gd name="T66" fmla="*/ 80 w 158"/>
              <a:gd name="T67" fmla="*/ 254 h 265"/>
              <a:gd name="T68" fmla="*/ 93 w 158"/>
              <a:gd name="T69" fmla="*/ 251 h 265"/>
              <a:gd name="T70" fmla="*/ 96 w 158"/>
              <a:gd name="T71" fmla="*/ 252 h 265"/>
              <a:gd name="T72" fmla="*/ 122 w 158"/>
              <a:gd name="T73" fmla="*/ 253 h 265"/>
              <a:gd name="T74" fmla="*/ 139 w 158"/>
              <a:gd name="T75" fmla="*/ 260 h 265"/>
              <a:gd name="T76" fmla="*/ 156 w 158"/>
              <a:gd name="T77" fmla="*/ 265 h 265"/>
              <a:gd name="T78" fmla="*/ 158 w 158"/>
              <a:gd name="T79" fmla="*/ 252 h 265"/>
              <a:gd name="T80" fmla="*/ 155 w 158"/>
              <a:gd name="T81" fmla="*/ 246 h 265"/>
              <a:gd name="T82" fmla="*/ 154 w 158"/>
              <a:gd name="T83" fmla="*/ 234 h 265"/>
              <a:gd name="T84" fmla="*/ 144 w 158"/>
              <a:gd name="T85" fmla="*/ 227 h 265"/>
              <a:gd name="T86" fmla="*/ 136 w 158"/>
              <a:gd name="T87" fmla="*/ 215 h 265"/>
              <a:gd name="T88" fmla="*/ 134 w 158"/>
              <a:gd name="T89" fmla="*/ 206 h 265"/>
              <a:gd name="T90" fmla="*/ 125 w 158"/>
              <a:gd name="T91" fmla="*/ 193 h 265"/>
              <a:gd name="T92" fmla="*/ 127 w 158"/>
              <a:gd name="T93" fmla="*/ 187 h 265"/>
              <a:gd name="T94" fmla="*/ 124 w 158"/>
              <a:gd name="T95" fmla="*/ 177 h 265"/>
              <a:gd name="T96" fmla="*/ 126 w 158"/>
              <a:gd name="T97" fmla="*/ 158 h 265"/>
              <a:gd name="T98" fmla="*/ 130 w 158"/>
              <a:gd name="T99" fmla="*/ 154 h 265"/>
              <a:gd name="T100" fmla="*/ 141 w 158"/>
              <a:gd name="T101" fmla="*/ 130 h 265"/>
              <a:gd name="T102" fmla="*/ 144 w 158"/>
              <a:gd name="T103" fmla="*/ 123 h 265"/>
              <a:gd name="T104" fmla="*/ 138 w 158"/>
              <a:gd name="T105" fmla="*/ 106 h 265"/>
              <a:gd name="T106" fmla="*/ 134 w 158"/>
              <a:gd name="T107" fmla="*/ 97 h 265"/>
              <a:gd name="T108" fmla="*/ 125 w 158"/>
              <a:gd name="T109" fmla="*/ 92 h 265"/>
              <a:gd name="T110" fmla="*/ 113 w 158"/>
              <a:gd name="T111" fmla="*/ 79 h 265"/>
              <a:gd name="T112" fmla="*/ 117 w 158"/>
              <a:gd name="T113" fmla="*/ 68 h 265"/>
              <a:gd name="T114" fmla="*/ 127 w 158"/>
              <a:gd name="T115" fmla="*/ 70 h 265"/>
              <a:gd name="T116" fmla="*/ 132 w 158"/>
              <a:gd name="T117" fmla="*/ 68 h 265"/>
              <a:gd name="T118" fmla="*/ 144 w 158"/>
              <a:gd name="T119" fmla="*/ 69 h 265"/>
              <a:gd name="T120" fmla="*/ 132 w 158"/>
              <a:gd name="T121" fmla="*/ 48 h 265"/>
              <a:gd name="T122" fmla="*/ 132 w 158"/>
              <a:gd name="T123" fmla="*/ 4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265">
                <a:moveTo>
                  <a:pt x="132" y="48"/>
                </a:moveTo>
                <a:lnTo>
                  <a:pt x="133" y="31"/>
                </a:lnTo>
                <a:lnTo>
                  <a:pt x="131" y="16"/>
                </a:lnTo>
                <a:lnTo>
                  <a:pt x="123" y="0"/>
                </a:lnTo>
                <a:lnTo>
                  <a:pt x="117" y="2"/>
                </a:lnTo>
                <a:lnTo>
                  <a:pt x="116" y="9"/>
                </a:lnTo>
                <a:lnTo>
                  <a:pt x="125" y="19"/>
                </a:lnTo>
                <a:lnTo>
                  <a:pt x="123" y="23"/>
                </a:lnTo>
                <a:lnTo>
                  <a:pt x="122" y="31"/>
                </a:lnTo>
                <a:lnTo>
                  <a:pt x="104" y="50"/>
                </a:lnTo>
                <a:lnTo>
                  <a:pt x="99" y="64"/>
                </a:lnTo>
                <a:lnTo>
                  <a:pt x="97" y="77"/>
                </a:lnTo>
                <a:lnTo>
                  <a:pt x="92" y="82"/>
                </a:lnTo>
                <a:lnTo>
                  <a:pt x="88" y="99"/>
                </a:lnTo>
                <a:lnTo>
                  <a:pt x="76" y="108"/>
                </a:lnTo>
                <a:lnTo>
                  <a:pt x="74" y="120"/>
                </a:lnTo>
                <a:lnTo>
                  <a:pt x="69" y="130"/>
                </a:lnTo>
                <a:lnTo>
                  <a:pt x="67" y="140"/>
                </a:lnTo>
                <a:lnTo>
                  <a:pt x="53" y="149"/>
                </a:lnTo>
                <a:lnTo>
                  <a:pt x="41" y="138"/>
                </a:lnTo>
                <a:lnTo>
                  <a:pt x="33" y="139"/>
                </a:lnTo>
                <a:lnTo>
                  <a:pt x="20" y="152"/>
                </a:lnTo>
                <a:lnTo>
                  <a:pt x="15" y="153"/>
                </a:lnTo>
                <a:lnTo>
                  <a:pt x="4" y="176"/>
                </a:lnTo>
                <a:lnTo>
                  <a:pt x="0" y="192"/>
                </a:lnTo>
                <a:lnTo>
                  <a:pt x="0" y="199"/>
                </a:lnTo>
                <a:lnTo>
                  <a:pt x="4" y="203"/>
                </a:lnTo>
                <a:lnTo>
                  <a:pt x="9" y="213"/>
                </a:lnTo>
                <a:lnTo>
                  <a:pt x="18" y="218"/>
                </a:lnTo>
                <a:lnTo>
                  <a:pt x="27" y="233"/>
                </a:lnTo>
                <a:lnTo>
                  <a:pt x="24" y="251"/>
                </a:lnTo>
                <a:lnTo>
                  <a:pt x="58" y="252"/>
                </a:lnTo>
                <a:lnTo>
                  <a:pt x="68" y="251"/>
                </a:lnTo>
                <a:lnTo>
                  <a:pt x="80" y="254"/>
                </a:lnTo>
                <a:lnTo>
                  <a:pt x="93" y="251"/>
                </a:lnTo>
                <a:lnTo>
                  <a:pt x="96" y="252"/>
                </a:lnTo>
                <a:lnTo>
                  <a:pt x="122" y="253"/>
                </a:lnTo>
                <a:lnTo>
                  <a:pt x="139" y="260"/>
                </a:lnTo>
                <a:lnTo>
                  <a:pt x="156" y="265"/>
                </a:lnTo>
                <a:lnTo>
                  <a:pt x="158" y="252"/>
                </a:lnTo>
                <a:lnTo>
                  <a:pt x="155" y="246"/>
                </a:lnTo>
                <a:lnTo>
                  <a:pt x="154" y="234"/>
                </a:lnTo>
                <a:lnTo>
                  <a:pt x="144" y="227"/>
                </a:lnTo>
                <a:lnTo>
                  <a:pt x="136" y="215"/>
                </a:lnTo>
                <a:lnTo>
                  <a:pt x="134" y="206"/>
                </a:lnTo>
                <a:lnTo>
                  <a:pt x="125" y="193"/>
                </a:lnTo>
                <a:lnTo>
                  <a:pt x="127" y="187"/>
                </a:lnTo>
                <a:lnTo>
                  <a:pt x="124" y="177"/>
                </a:lnTo>
                <a:lnTo>
                  <a:pt x="126" y="158"/>
                </a:lnTo>
                <a:lnTo>
                  <a:pt x="130" y="154"/>
                </a:lnTo>
                <a:lnTo>
                  <a:pt x="141" y="130"/>
                </a:lnTo>
                <a:lnTo>
                  <a:pt x="144" y="123"/>
                </a:lnTo>
                <a:lnTo>
                  <a:pt x="138" y="106"/>
                </a:lnTo>
                <a:lnTo>
                  <a:pt x="134" y="97"/>
                </a:lnTo>
                <a:lnTo>
                  <a:pt x="125" y="92"/>
                </a:lnTo>
                <a:lnTo>
                  <a:pt x="113" y="79"/>
                </a:lnTo>
                <a:lnTo>
                  <a:pt x="117" y="68"/>
                </a:lnTo>
                <a:lnTo>
                  <a:pt x="127" y="70"/>
                </a:lnTo>
                <a:lnTo>
                  <a:pt x="132" y="68"/>
                </a:lnTo>
                <a:lnTo>
                  <a:pt x="144" y="69"/>
                </a:lnTo>
                <a:lnTo>
                  <a:pt x="132" y="48"/>
                </a:lnTo>
                <a:lnTo>
                  <a:pt x="132" y="4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49" name="Democratic Republic of Congo">
            <a:extLst>
              <a:ext uri="{FF2B5EF4-FFF2-40B4-BE49-F238E27FC236}">
                <a16:creationId xmlns:a16="http://schemas.microsoft.com/office/drawing/2014/main" id="{E6DBC9BC-2061-457F-B4CC-DF762A7B6E85}"/>
              </a:ext>
            </a:extLst>
          </p:cNvPr>
          <p:cNvSpPr>
            <a:spLocks/>
          </p:cNvSpPr>
          <p:nvPr/>
        </p:nvSpPr>
        <p:spPr bwMode="auto">
          <a:xfrm>
            <a:off x="5633693" y="4127637"/>
            <a:ext cx="680486" cy="748534"/>
          </a:xfrm>
          <a:custGeom>
            <a:avLst/>
            <a:gdLst>
              <a:gd name="T0" fmla="*/ 275 w 400"/>
              <a:gd name="T1" fmla="*/ 2 h 440"/>
              <a:gd name="T2" fmla="*/ 257 w 400"/>
              <a:gd name="T3" fmla="*/ 4 h 440"/>
              <a:gd name="T4" fmla="*/ 221 w 400"/>
              <a:gd name="T5" fmla="*/ 15 h 440"/>
              <a:gd name="T6" fmla="*/ 184 w 400"/>
              <a:gd name="T7" fmla="*/ 23 h 440"/>
              <a:gd name="T8" fmla="*/ 142 w 400"/>
              <a:gd name="T9" fmla="*/ 13 h 440"/>
              <a:gd name="T10" fmla="*/ 131 w 400"/>
              <a:gd name="T11" fmla="*/ 56 h 440"/>
              <a:gd name="T12" fmla="*/ 118 w 400"/>
              <a:gd name="T13" fmla="*/ 105 h 440"/>
              <a:gd name="T14" fmla="*/ 115 w 400"/>
              <a:gd name="T15" fmla="*/ 136 h 440"/>
              <a:gd name="T16" fmla="*/ 90 w 400"/>
              <a:gd name="T17" fmla="*/ 166 h 440"/>
              <a:gd name="T18" fmla="*/ 76 w 400"/>
              <a:gd name="T19" fmla="*/ 217 h 440"/>
              <a:gd name="T20" fmla="*/ 43 w 400"/>
              <a:gd name="T21" fmla="*/ 239 h 440"/>
              <a:gd name="T22" fmla="*/ 23 w 400"/>
              <a:gd name="T23" fmla="*/ 241 h 440"/>
              <a:gd name="T24" fmla="*/ 7 w 400"/>
              <a:gd name="T25" fmla="*/ 249 h 440"/>
              <a:gd name="T26" fmla="*/ 3 w 400"/>
              <a:gd name="T27" fmla="*/ 270 h 440"/>
              <a:gd name="T28" fmla="*/ 26 w 400"/>
              <a:gd name="T29" fmla="*/ 264 h 440"/>
              <a:gd name="T30" fmla="*/ 98 w 400"/>
              <a:gd name="T31" fmla="*/ 296 h 440"/>
              <a:gd name="T32" fmla="*/ 125 w 400"/>
              <a:gd name="T33" fmla="*/ 315 h 440"/>
              <a:gd name="T34" fmla="*/ 146 w 400"/>
              <a:gd name="T35" fmla="*/ 309 h 440"/>
              <a:gd name="T36" fmla="*/ 166 w 400"/>
              <a:gd name="T37" fmla="*/ 290 h 440"/>
              <a:gd name="T38" fmla="*/ 200 w 400"/>
              <a:gd name="T39" fmla="*/ 298 h 440"/>
              <a:gd name="T40" fmla="*/ 201 w 400"/>
              <a:gd name="T41" fmla="*/ 336 h 440"/>
              <a:gd name="T42" fmla="*/ 208 w 400"/>
              <a:gd name="T43" fmla="*/ 389 h 440"/>
              <a:gd name="T44" fmla="*/ 235 w 400"/>
              <a:gd name="T45" fmla="*/ 383 h 440"/>
              <a:gd name="T46" fmla="*/ 252 w 400"/>
              <a:gd name="T47" fmla="*/ 392 h 440"/>
              <a:gd name="T48" fmla="*/ 282 w 400"/>
              <a:gd name="T49" fmla="*/ 404 h 440"/>
              <a:gd name="T50" fmla="*/ 316 w 400"/>
              <a:gd name="T51" fmla="*/ 414 h 440"/>
              <a:gd name="T52" fmla="*/ 348 w 400"/>
              <a:gd name="T53" fmla="*/ 440 h 440"/>
              <a:gd name="T54" fmla="*/ 357 w 400"/>
              <a:gd name="T55" fmla="*/ 418 h 440"/>
              <a:gd name="T56" fmla="*/ 340 w 400"/>
              <a:gd name="T57" fmla="*/ 381 h 440"/>
              <a:gd name="T58" fmla="*/ 346 w 400"/>
              <a:gd name="T59" fmla="*/ 328 h 440"/>
              <a:gd name="T60" fmla="*/ 384 w 400"/>
              <a:gd name="T61" fmla="*/ 322 h 440"/>
              <a:gd name="T62" fmla="*/ 377 w 400"/>
              <a:gd name="T63" fmla="*/ 298 h 440"/>
              <a:gd name="T64" fmla="*/ 361 w 400"/>
              <a:gd name="T65" fmla="*/ 259 h 440"/>
              <a:gd name="T66" fmla="*/ 360 w 400"/>
              <a:gd name="T67" fmla="*/ 207 h 440"/>
              <a:gd name="T68" fmla="*/ 356 w 400"/>
              <a:gd name="T69" fmla="*/ 179 h 440"/>
              <a:gd name="T70" fmla="*/ 366 w 400"/>
              <a:gd name="T71" fmla="*/ 157 h 440"/>
              <a:gd name="T72" fmla="*/ 372 w 400"/>
              <a:gd name="T73" fmla="*/ 111 h 440"/>
              <a:gd name="T74" fmla="*/ 392 w 400"/>
              <a:gd name="T75" fmla="*/ 81 h 440"/>
              <a:gd name="T76" fmla="*/ 392 w 400"/>
              <a:gd name="T77" fmla="*/ 41 h 440"/>
              <a:gd name="T78" fmla="*/ 368 w 400"/>
              <a:gd name="T79" fmla="*/ 16 h 440"/>
              <a:gd name="T80" fmla="*/ 341 w 400"/>
              <a:gd name="T81" fmla="*/ 24 h 440"/>
              <a:gd name="T82" fmla="*/ 312 w 400"/>
              <a:gd name="T83" fmla="*/ 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440">
                <a:moveTo>
                  <a:pt x="299" y="3"/>
                </a:moveTo>
                <a:lnTo>
                  <a:pt x="282" y="0"/>
                </a:lnTo>
                <a:lnTo>
                  <a:pt x="275" y="2"/>
                </a:lnTo>
                <a:lnTo>
                  <a:pt x="272" y="8"/>
                </a:lnTo>
                <a:lnTo>
                  <a:pt x="265" y="9"/>
                </a:lnTo>
                <a:lnTo>
                  <a:pt x="257" y="4"/>
                </a:lnTo>
                <a:lnTo>
                  <a:pt x="234" y="15"/>
                </a:lnTo>
                <a:lnTo>
                  <a:pt x="224" y="13"/>
                </a:lnTo>
                <a:lnTo>
                  <a:pt x="221" y="15"/>
                </a:lnTo>
                <a:lnTo>
                  <a:pt x="215" y="29"/>
                </a:lnTo>
                <a:lnTo>
                  <a:pt x="199" y="24"/>
                </a:lnTo>
                <a:lnTo>
                  <a:pt x="184" y="23"/>
                </a:lnTo>
                <a:lnTo>
                  <a:pt x="170" y="13"/>
                </a:lnTo>
                <a:lnTo>
                  <a:pt x="153" y="6"/>
                </a:lnTo>
                <a:lnTo>
                  <a:pt x="142" y="13"/>
                </a:lnTo>
                <a:lnTo>
                  <a:pt x="134" y="25"/>
                </a:lnTo>
                <a:lnTo>
                  <a:pt x="132" y="42"/>
                </a:lnTo>
                <a:lnTo>
                  <a:pt x="131" y="56"/>
                </a:lnTo>
                <a:lnTo>
                  <a:pt x="125" y="68"/>
                </a:lnTo>
                <a:lnTo>
                  <a:pt x="121" y="83"/>
                </a:lnTo>
                <a:lnTo>
                  <a:pt x="118" y="105"/>
                </a:lnTo>
                <a:lnTo>
                  <a:pt x="120" y="118"/>
                </a:lnTo>
                <a:lnTo>
                  <a:pt x="116" y="126"/>
                </a:lnTo>
                <a:lnTo>
                  <a:pt x="115" y="136"/>
                </a:lnTo>
                <a:lnTo>
                  <a:pt x="113" y="143"/>
                </a:lnTo>
                <a:lnTo>
                  <a:pt x="99" y="154"/>
                </a:lnTo>
                <a:lnTo>
                  <a:pt x="90" y="166"/>
                </a:lnTo>
                <a:lnTo>
                  <a:pt x="81" y="190"/>
                </a:lnTo>
                <a:lnTo>
                  <a:pt x="81" y="209"/>
                </a:lnTo>
                <a:lnTo>
                  <a:pt x="76" y="217"/>
                </a:lnTo>
                <a:lnTo>
                  <a:pt x="64" y="228"/>
                </a:lnTo>
                <a:lnTo>
                  <a:pt x="51" y="243"/>
                </a:lnTo>
                <a:lnTo>
                  <a:pt x="43" y="239"/>
                </a:lnTo>
                <a:lnTo>
                  <a:pt x="41" y="233"/>
                </a:lnTo>
                <a:lnTo>
                  <a:pt x="30" y="232"/>
                </a:lnTo>
                <a:lnTo>
                  <a:pt x="23" y="241"/>
                </a:lnTo>
                <a:lnTo>
                  <a:pt x="17" y="238"/>
                </a:lnTo>
                <a:lnTo>
                  <a:pt x="10" y="244"/>
                </a:lnTo>
                <a:lnTo>
                  <a:pt x="7" y="249"/>
                </a:lnTo>
                <a:lnTo>
                  <a:pt x="6" y="260"/>
                </a:lnTo>
                <a:lnTo>
                  <a:pt x="0" y="263"/>
                </a:lnTo>
                <a:lnTo>
                  <a:pt x="3" y="270"/>
                </a:lnTo>
                <a:lnTo>
                  <a:pt x="12" y="266"/>
                </a:lnTo>
                <a:lnTo>
                  <a:pt x="18" y="267"/>
                </a:lnTo>
                <a:lnTo>
                  <a:pt x="26" y="264"/>
                </a:lnTo>
                <a:lnTo>
                  <a:pt x="87" y="264"/>
                </a:lnTo>
                <a:lnTo>
                  <a:pt x="92" y="282"/>
                </a:lnTo>
                <a:lnTo>
                  <a:pt x="98" y="296"/>
                </a:lnTo>
                <a:lnTo>
                  <a:pt x="103" y="305"/>
                </a:lnTo>
                <a:lnTo>
                  <a:pt x="110" y="317"/>
                </a:lnTo>
                <a:lnTo>
                  <a:pt x="125" y="315"/>
                </a:lnTo>
                <a:lnTo>
                  <a:pt x="132" y="311"/>
                </a:lnTo>
                <a:lnTo>
                  <a:pt x="143" y="315"/>
                </a:lnTo>
                <a:lnTo>
                  <a:pt x="146" y="309"/>
                </a:lnTo>
                <a:lnTo>
                  <a:pt x="152" y="295"/>
                </a:lnTo>
                <a:lnTo>
                  <a:pt x="165" y="294"/>
                </a:lnTo>
                <a:lnTo>
                  <a:pt x="166" y="290"/>
                </a:lnTo>
                <a:lnTo>
                  <a:pt x="177" y="290"/>
                </a:lnTo>
                <a:lnTo>
                  <a:pt x="175" y="298"/>
                </a:lnTo>
                <a:lnTo>
                  <a:pt x="200" y="298"/>
                </a:lnTo>
                <a:lnTo>
                  <a:pt x="200" y="313"/>
                </a:lnTo>
                <a:lnTo>
                  <a:pt x="205" y="322"/>
                </a:lnTo>
                <a:lnTo>
                  <a:pt x="201" y="336"/>
                </a:lnTo>
                <a:lnTo>
                  <a:pt x="202" y="351"/>
                </a:lnTo>
                <a:lnTo>
                  <a:pt x="209" y="360"/>
                </a:lnTo>
                <a:lnTo>
                  <a:pt x="208" y="389"/>
                </a:lnTo>
                <a:lnTo>
                  <a:pt x="213" y="386"/>
                </a:lnTo>
                <a:lnTo>
                  <a:pt x="222" y="387"/>
                </a:lnTo>
                <a:lnTo>
                  <a:pt x="235" y="383"/>
                </a:lnTo>
                <a:lnTo>
                  <a:pt x="245" y="385"/>
                </a:lnTo>
                <a:lnTo>
                  <a:pt x="251" y="385"/>
                </a:lnTo>
                <a:lnTo>
                  <a:pt x="252" y="392"/>
                </a:lnTo>
                <a:lnTo>
                  <a:pt x="263" y="392"/>
                </a:lnTo>
                <a:lnTo>
                  <a:pt x="276" y="394"/>
                </a:lnTo>
                <a:lnTo>
                  <a:pt x="282" y="404"/>
                </a:lnTo>
                <a:lnTo>
                  <a:pt x="299" y="408"/>
                </a:lnTo>
                <a:lnTo>
                  <a:pt x="312" y="401"/>
                </a:lnTo>
                <a:lnTo>
                  <a:pt x="316" y="414"/>
                </a:lnTo>
                <a:lnTo>
                  <a:pt x="333" y="417"/>
                </a:lnTo>
                <a:lnTo>
                  <a:pt x="340" y="427"/>
                </a:lnTo>
                <a:lnTo>
                  <a:pt x="348" y="440"/>
                </a:lnTo>
                <a:lnTo>
                  <a:pt x="364" y="440"/>
                </a:lnTo>
                <a:lnTo>
                  <a:pt x="363" y="414"/>
                </a:lnTo>
                <a:lnTo>
                  <a:pt x="357" y="418"/>
                </a:lnTo>
                <a:lnTo>
                  <a:pt x="342" y="409"/>
                </a:lnTo>
                <a:lnTo>
                  <a:pt x="337" y="405"/>
                </a:lnTo>
                <a:lnTo>
                  <a:pt x="340" y="381"/>
                </a:lnTo>
                <a:lnTo>
                  <a:pt x="345" y="353"/>
                </a:lnTo>
                <a:lnTo>
                  <a:pt x="340" y="343"/>
                </a:lnTo>
                <a:lnTo>
                  <a:pt x="346" y="328"/>
                </a:lnTo>
                <a:lnTo>
                  <a:pt x="352" y="325"/>
                </a:lnTo>
                <a:lnTo>
                  <a:pt x="380" y="320"/>
                </a:lnTo>
                <a:lnTo>
                  <a:pt x="384" y="322"/>
                </a:lnTo>
                <a:lnTo>
                  <a:pt x="385" y="318"/>
                </a:lnTo>
                <a:lnTo>
                  <a:pt x="379" y="311"/>
                </a:lnTo>
                <a:lnTo>
                  <a:pt x="377" y="298"/>
                </a:lnTo>
                <a:lnTo>
                  <a:pt x="364" y="285"/>
                </a:lnTo>
                <a:lnTo>
                  <a:pt x="357" y="268"/>
                </a:lnTo>
                <a:lnTo>
                  <a:pt x="361" y="259"/>
                </a:lnTo>
                <a:lnTo>
                  <a:pt x="355" y="245"/>
                </a:lnTo>
                <a:lnTo>
                  <a:pt x="359" y="207"/>
                </a:lnTo>
                <a:lnTo>
                  <a:pt x="360" y="207"/>
                </a:lnTo>
                <a:lnTo>
                  <a:pt x="359" y="203"/>
                </a:lnTo>
                <a:lnTo>
                  <a:pt x="354" y="193"/>
                </a:lnTo>
                <a:lnTo>
                  <a:pt x="356" y="179"/>
                </a:lnTo>
                <a:lnTo>
                  <a:pt x="359" y="178"/>
                </a:lnTo>
                <a:lnTo>
                  <a:pt x="360" y="164"/>
                </a:lnTo>
                <a:lnTo>
                  <a:pt x="366" y="157"/>
                </a:lnTo>
                <a:lnTo>
                  <a:pt x="366" y="139"/>
                </a:lnTo>
                <a:lnTo>
                  <a:pt x="371" y="130"/>
                </a:lnTo>
                <a:lnTo>
                  <a:pt x="372" y="111"/>
                </a:lnTo>
                <a:lnTo>
                  <a:pt x="377" y="100"/>
                </a:lnTo>
                <a:lnTo>
                  <a:pt x="385" y="87"/>
                </a:lnTo>
                <a:lnTo>
                  <a:pt x="392" y="81"/>
                </a:lnTo>
                <a:lnTo>
                  <a:pt x="400" y="72"/>
                </a:lnTo>
                <a:lnTo>
                  <a:pt x="391" y="69"/>
                </a:lnTo>
                <a:lnTo>
                  <a:pt x="392" y="41"/>
                </a:lnTo>
                <a:lnTo>
                  <a:pt x="392" y="41"/>
                </a:lnTo>
                <a:lnTo>
                  <a:pt x="374" y="25"/>
                </a:lnTo>
                <a:lnTo>
                  <a:pt x="368" y="16"/>
                </a:lnTo>
                <a:lnTo>
                  <a:pt x="357" y="21"/>
                </a:lnTo>
                <a:lnTo>
                  <a:pt x="347" y="19"/>
                </a:lnTo>
                <a:lnTo>
                  <a:pt x="341" y="24"/>
                </a:lnTo>
                <a:lnTo>
                  <a:pt x="332" y="20"/>
                </a:lnTo>
                <a:lnTo>
                  <a:pt x="319" y="1"/>
                </a:lnTo>
                <a:lnTo>
                  <a:pt x="312" y="3"/>
                </a:lnTo>
                <a:lnTo>
                  <a:pt x="299" y="3"/>
                </a:lnTo>
                <a:lnTo>
                  <a:pt x="299" y="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50" name="Congo">
            <a:extLst>
              <a:ext uri="{FF2B5EF4-FFF2-40B4-BE49-F238E27FC236}">
                <a16:creationId xmlns:a16="http://schemas.microsoft.com/office/drawing/2014/main" id="{9F9ABEB3-38D1-4245-A7A9-F93FE0117377}"/>
              </a:ext>
            </a:extLst>
          </p:cNvPr>
          <p:cNvSpPr>
            <a:spLocks/>
          </p:cNvSpPr>
          <p:nvPr/>
        </p:nvSpPr>
        <p:spPr bwMode="auto">
          <a:xfrm>
            <a:off x="5596266" y="4190581"/>
            <a:ext cx="261987" cy="353853"/>
          </a:xfrm>
          <a:custGeom>
            <a:avLst/>
            <a:gdLst>
              <a:gd name="T0" fmla="*/ 154 w 154"/>
              <a:gd name="T1" fmla="*/ 5 h 208"/>
              <a:gd name="T2" fmla="*/ 141 w 154"/>
              <a:gd name="T3" fmla="*/ 3 h 208"/>
              <a:gd name="T4" fmla="*/ 127 w 154"/>
              <a:gd name="T5" fmla="*/ 0 h 208"/>
              <a:gd name="T6" fmla="*/ 114 w 154"/>
              <a:gd name="T7" fmla="*/ 12 h 208"/>
              <a:gd name="T8" fmla="*/ 104 w 154"/>
              <a:gd name="T9" fmla="*/ 34 h 208"/>
              <a:gd name="T10" fmla="*/ 102 w 154"/>
              <a:gd name="T11" fmla="*/ 47 h 208"/>
              <a:gd name="T12" fmla="*/ 85 w 154"/>
              <a:gd name="T13" fmla="*/ 42 h 208"/>
              <a:gd name="T14" fmla="*/ 68 w 154"/>
              <a:gd name="T15" fmla="*/ 35 h 208"/>
              <a:gd name="T16" fmla="*/ 42 w 154"/>
              <a:gd name="T17" fmla="*/ 34 h 208"/>
              <a:gd name="T18" fmla="*/ 40 w 154"/>
              <a:gd name="T19" fmla="*/ 44 h 208"/>
              <a:gd name="T20" fmla="*/ 46 w 154"/>
              <a:gd name="T21" fmla="*/ 57 h 208"/>
              <a:gd name="T22" fmla="*/ 62 w 154"/>
              <a:gd name="T23" fmla="*/ 55 h 208"/>
              <a:gd name="T24" fmla="*/ 67 w 154"/>
              <a:gd name="T25" fmla="*/ 59 h 208"/>
              <a:gd name="T26" fmla="*/ 58 w 154"/>
              <a:gd name="T27" fmla="*/ 87 h 208"/>
              <a:gd name="T28" fmla="*/ 68 w 154"/>
              <a:gd name="T29" fmla="*/ 101 h 208"/>
              <a:gd name="T30" fmla="*/ 70 w 154"/>
              <a:gd name="T31" fmla="*/ 119 h 208"/>
              <a:gd name="T32" fmla="*/ 67 w 154"/>
              <a:gd name="T33" fmla="*/ 136 h 208"/>
              <a:gd name="T34" fmla="*/ 61 w 154"/>
              <a:gd name="T35" fmla="*/ 147 h 208"/>
              <a:gd name="T36" fmla="*/ 43 w 154"/>
              <a:gd name="T37" fmla="*/ 145 h 208"/>
              <a:gd name="T38" fmla="*/ 32 w 154"/>
              <a:gd name="T39" fmla="*/ 134 h 208"/>
              <a:gd name="T40" fmla="*/ 30 w 154"/>
              <a:gd name="T41" fmla="*/ 145 h 208"/>
              <a:gd name="T42" fmla="*/ 15 w 154"/>
              <a:gd name="T43" fmla="*/ 148 h 208"/>
              <a:gd name="T44" fmla="*/ 8 w 154"/>
              <a:gd name="T45" fmla="*/ 154 h 208"/>
              <a:gd name="T46" fmla="*/ 16 w 154"/>
              <a:gd name="T47" fmla="*/ 170 h 208"/>
              <a:gd name="T48" fmla="*/ 0 w 154"/>
              <a:gd name="T49" fmla="*/ 183 h 208"/>
              <a:gd name="T50" fmla="*/ 17 w 154"/>
              <a:gd name="T51" fmla="*/ 208 h 208"/>
              <a:gd name="T52" fmla="*/ 25 w 154"/>
              <a:gd name="T53" fmla="*/ 198 h 208"/>
              <a:gd name="T54" fmla="*/ 32 w 154"/>
              <a:gd name="T55" fmla="*/ 194 h 208"/>
              <a:gd name="T56" fmla="*/ 39 w 154"/>
              <a:gd name="T57" fmla="*/ 201 h 208"/>
              <a:gd name="T58" fmla="*/ 45 w 154"/>
              <a:gd name="T59" fmla="*/ 204 h 208"/>
              <a:gd name="T60" fmla="*/ 52 w 154"/>
              <a:gd name="T61" fmla="*/ 195 h 208"/>
              <a:gd name="T62" fmla="*/ 63 w 154"/>
              <a:gd name="T63" fmla="*/ 196 h 208"/>
              <a:gd name="T64" fmla="*/ 65 w 154"/>
              <a:gd name="T65" fmla="*/ 202 h 208"/>
              <a:gd name="T66" fmla="*/ 73 w 154"/>
              <a:gd name="T67" fmla="*/ 206 h 208"/>
              <a:gd name="T68" fmla="*/ 86 w 154"/>
              <a:gd name="T69" fmla="*/ 191 h 208"/>
              <a:gd name="T70" fmla="*/ 98 w 154"/>
              <a:gd name="T71" fmla="*/ 180 h 208"/>
              <a:gd name="T72" fmla="*/ 103 w 154"/>
              <a:gd name="T73" fmla="*/ 172 h 208"/>
              <a:gd name="T74" fmla="*/ 103 w 154"/>
              <a:gd name="T75" fmla="*/ 153 h 208"/>
              <a:gd name="T76" fmla="*/ 112 w 154"/>
              <a:gd name="T77" fmla="*/ 129 h 208"/>
              <a:gd name="T78" fmla="*/ 121 w 154"/>
              <a:gd name="T79" fmla="*/ 117 h 208"/>
              <a:gd name="T80" fmla="*/ 135 w 154"/>
              <a:gd name="T81" fmla="*/ 106 h 208"/>
              <a:gd name="T82" fmla="*/ 137 w 154"/>
              <a:gd name="T83" fmla="*/ 99 h 208"/>
              <a:gd name="T84" fmla="*/ 138 w 154"/>
              <a:gd name="T85" fmla="*/ 89 h 208"/>
              <a:gd name="T86" fmla="*/ 142 w 154"/>
              <a:gd name="T87" fmla="*/ 81 h 208"/>
              <a:gd name="T88" fmla="*/ 140 w 154"/>
              <a:gd name="T89" fmla="*/ 68 h 208"/>
              <a:gd name="T90" fmla="*/ 143 w 154"/>
              <a:gd name="T91" fmla="*/ 46 h 208"/>
              <a:gd name="T92" fmla="*/ 147 w 154"/>
              <a:gd name="T93" fmla="*/ 31 h 208"/>
              <a:gd name="T94" fmla="*/ 153 w 154"/>
              <a:gd name="T95" fmla="*/ 19 h 208"/>
              <a:gd name="T96" fmla="*/ 154 w 154"/>
              <a:gd name="T97" fmla="*/ 5 h 208"/>
              <a:gd name="T98" fmla="*/ 154 w 154"/>
              <a:gd name="T99" fmla="*/ 5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208">
                <a:moveTo>
                  <a:pt x="154" y="5"/>
                </a:moveTo>
                <a:lnTo>
                  <a:pt x="141" y="3"/>
                </a:lnTo>
                <a:lnTo>
                  <a:pt x="127" y="0"/>
                </a:lnTo>
                <a:lnTo>
                  <a:pt x="114" y="12"/>
                </a:lnTo>
                <a:lnTo>
                  <a:pt x="104" y="34"/>
                </a:lnTo>
                <a:lnTo>
                  <a:pt x="102" y="47"/>
                </a:lnTo>
                <a:lnTo>
                  <a:pt x="85" y="42"/>
                </a:lnTo>
                <a:lnTo>
                  <a:pt x="68" y="35"/>
                </a:lnTo>
                <a:lnTo>
                  <a:pt x="42" y="34"/>
                </a:lnTo>
                <a:lnTo>
                  <a:pt x="40" y="44"/>
                </a:lnTo>
                <a:lnTo>
                  <a:pt x="46" y="57"/>
                </a:lnTo>
                <a:lnTo>
                  <a:pt x="62" y="55"/>
                </a:lnTo>
                <a:lnTo>
                  <a:pt x="67" y="59"/>
                </a:lnTo>
                <a:lnTo>
                  <a:pt x="58" y="87"/>
                </a:lnTo>
                <a:lnTo>
                  <a:pt x="68" y="101"/>
                </a:lnTo>
                <a:lnTo>
                  <a:pt x="70" y="119"/>
                </a:lnTo>
                <a:lnTo>
                  <a:pt x="67" y="136"/>
                </a:lnTo>
                <a:lnTo>
                  <a:pt x="61" y="147"/>
                </a:lnTo>
                <a:lnTo>
                  <a:pt x="43" y="145"/>
                </a:lnTo>
                <a:lnTo>
                  <a:pt x="32" y="134"/>
                </a:lnTo>
                <a:lnTo>
                  <a:pt x="30" y="145"/>
                </a:lnTo>
                <a:lnTo>
                  <a:pt x="15" y="148"/>
                </a:lnTo>
                <a:lnTo>
                  <a:pt x="8" y="154"/>
                </a:lnTo>
                <a:lnTo>
                  <a:pt x="16" y="170"/>
                </a:lnTo>
                <a:lnTo>
                  <a:pt x="0" y="183"/>
                </a:lnTo>
                <a:lnTo>
                  <a:pt x="17" y="208"/>
                </a:lnTo>
                <a:lnTo>
                  <a:pt x="25" y="198"/>
                </a:lnTo>
                <a:lnTo>
                  <a:pt x="32" y="194"/>
                </a:lnTo>
                <a:lnTo>
                  <a:pt x="39" y="201"/>
                </a:lnTo>
                <a:lnTo>
                  <a:pt x="45" y="204"/>
                </a:lnTo>
                <a:lnTo>
                  <a:pt x="52" y="195"/>
                </a:lnTo>
                <a:lnTo>
                  <a:pt x="63" y="196"/>
                </a:lnTo>
                <a:lnTo>
                  <a:pt x="65" y="202"/>
                </a:lnTo>
                <a:lnTo>
                  <a:pt x="73" y="206"/>
                </a:lnTo>
                <a:lnTo>
                  <a:pt x="86" y="191"/>
                </a:lnTo>
                <a:lnTo>
                  <a:pt x="98" y="180"/>
                </a:lnTo>
                <a:lnTo>
                  <a:pt x="103" y="172"/>
                </a:lnTo>
                <a:lnTo>
                  <a:pt x="103" y="153"/>
                </a:lnTo>
                <a:lnTo>
                  <a:pt x="112" y="129"/>
                </a:lnTo>
                <a:lnTo>
                  <a:pt x="121" y="117"/>
                </a:lnTo>
                <a:lnTo>
                  <a:pt x="135" y="106"/>
                </a:lnTo>
                <a:lnTo>
                  <a:pt x="137" y="99"/>
                </a:lnTo>
                <a:lnTo>
                  <a:pt x="138" y="89"/>
                </a:lnTo>
                <a:lnTo>
                  <a:pt x="142" y="81"/>
                </a:lnTo>
                <a:lnTo>
                  <a:pt x="140" y="68"/>
                </a:lnTo>
                <a:lnTo>
                  <a:pt x="143" y="46"/>
                </a:lnTo>
                <a:lnTo>
                  <a:pt x="147" y="31"/>
                </a:lnTo>
                <a:lnTo>
                  <a:pt x="153" y="19"/>
                </a:lnTo>
                <a:lnTo>
                  <a:pt x="154" y="5"/>
                </a:lnTo>
                <a:lnTo>
                  <a:pt x="154" y="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51" name="Colombia">
            <a:extLst>
              <a:ext uri="{FF2B5EF4-FFF2-40B4-BE49-F238E27FC236}">
                <a16:creationId xmlns:a16="http://schemas.microsoft.com/office/drawing/2014/main" id="{D1684C92-CA2B-44C2-9F4F-2C5EB918758D}"/>
              </a:ext>
            </a:extLst>
          </p:cNvPr>
          <p:cNvSpPr>
            <a:spLocks/>
          </p:cNvSpPr>
          <p:nvPr/>
        </p:nvSpPr>
        <p:spPr bwMode="auto">
          <a:xfrm>
            <a:off x="2379271" y="3836728"/>
            <a:ext cx="433808" cy="677083"/>
          </a:xfrm>
          <a:custGeom>
            <a:avLst/>
            <a:gdLst>
              <a:gd name="T0" fmla="*/ 175 w 255"/>
              <a:gd name="T1" fmla="*/ 8 h 398"/>
              <a:gd name="T2" fmla="*/ 163 w 255"/>
              <a:gd name="T3" fmla="*/ 0 h 398"/>
              <a:gd name="T4" fmla="*/ 143 w 255"/>
              <a:gd name="T5" fmla="*/ 17 h 398"/>
              <a:gd name="T6" fmla="*/ 109 w 255"/>
              <a:gd name="T7" fmla="*/ 27 h 398"/>
              <a:gd name="T8" fmla="*/ 95 w 255"/>
              <a:gd name="T9" fmla="*/ 32 h 398"/>
              <a:gd name="T10" fmla="*/ 77 w 255"/>
              <a:gd name="T11" fmla="*/ 64 h 398"/>
              <a:gd name="T12" fmla="*/ 67 w 255"/>
              <a:gd name="T13" fmla="*/ 74 h 398"/>
              <a:gd name="T14" fmla="*/ 40 w 255"/>
              <a:gd name="T15" fmla="*/ 90 h 398"/>
              <a:gd name="T16" fmla="*/ 42 w 255"/>
              <a:gd name="T17" fmla="*/ 108 h 398"/>
              <a:gd name="T18" fmla="*/ 31 w 255"/>
              <a:gd name="T19" fmla="*/ 112 h 398"/>
              <a:gd name="T20" fmla="*/ 36 w 255"/>
              <a:gd name="T21" fmla="*/ 137 h 398"/>
              <a:gd name="T22" fmla="*/ 34 w 255"/>
              <a:gd name="T23" fmla="*/ 163 h 398"/>
              <a:gd name="T24" fmla="*/ 33 w 255"/>
              <a:gd name="T25" fmla="*/ 199 h 398"/>
              <a:gd name="T26" fmla="*/ 33 w 255"/>
              <a:gd name="T27" fmla="*/ 217 h 398"/>
              <a:gd name="T28" fmla="*/ 12 w 255"/>
              <a:gd name="T29" fmla="*/ 234 h 398"/>
              <a:gd name="T30" fmla="*/ 9 w 255"/>
              <a:gd name="T31" fmla="*/ 254 h 398"/>
              <a:gd name="T32" fmla="*/ 3 w 255"/>
              <a:gd name="T33" fmla="*/ 264 h 398"/>
              <a:gd name="T34" fmla="*/ 28 w 255"/>
              <a:gd name="T35" fmla="*/ 277 h 398"/>
              <a:gd name="T36" fmla="*/ 51 w 255"/>
              <a:gd name="T37" fmla="*/ 290 h 398"/>
              <a:gd name="T38" fmla="*/ 67 w 255"/>
              <a:gd name="T39" fmla="*/ 293 h 398"/>
              <a:gd name="T40" fmla="*/ 81 w 255"/>
              <a:gd name="T41" fmla="*/ 297 h 398"/>
              <a:gd name="T42" fmla="*/ 102 w 255"/>
              <a:gd name="T43" fmla="*/ 320 h 398"/>
              <a:gd name="T44" fmla="*/ 125 w 255"/>
              <a:gd name="T45" fmla="*/ 351 h 398"/>
              <a:gd name="T46" fmla="*/ 152 w 255"/>
              <a:gd name="T47" fmla="*/ 348 h 398"/>
              <a:gd name="T48" fmla="*/ 172 w 255"/>
              <a:gd name="T49" fmla="*/ 350 h 398"/>
              <a:gd name="T50" fmla="*/ 176 w 255"/>
              <a:gd name="T51" fmla="*/ 385 h 398"/>
              <a:gd name="T52" fmla="*/ 193 w 255"/>
              <a:gd name="T53" fmla="*/ 398 h 398"/>
              <a:gd name="T54" fmla="*/ 201 w 255"/>
              <a:gd name="T55" fmla="*/ 322 h 398"/>
              <a:gd name="T56" fmla="*/ 189 w 255"/>
              <a:gd name="T57" fmla="*/ 300 h 398"/>
              <a:gd name="T58" fmla="*/ 201 w 255"/>
              <a:gd name="T59" fmla="*/ 279 h 398"/>
              <a:gd name="T60" fmla="*/ 206 w 255"/>
              <a:gd name="T61" fmla="*/ 273 h 398"/>
              <a:gd name="T62" fmla="*/ 194 w 255"/>
              <a:gd name="T63" fmla="*/ 255 h 398"/>
              <a:gd name="T64" fmla="*/ 241 w 255"/>
              <a:gd name="T65" fmla="*/ 248 h 398"/>
              <a:gd name="T66" fmla="*/ 250 w 255"/>
              <a:gd name="T67" fmla="*/ 269 h 398"/>
              <a:gd name="T68" fmla="*/ 249 w 255"/>
              <a:gd name="T69" fmla="*/ 242 h 398"/>
              <a:gd name="T70" fmla="*/ 236 w 255"/>
              <a:gd name="T71" fmla="*/ 229 h 398"/>
              <a:gd name="T72" fmla="*/ 246 w 255"/>
              <a:gd name="T73" fmla="*/ 211 h 398"/>
              <a:gd name="T74" fmla="*/ 236 w 255"/>
              <a:gd name="T75" fmla="*/ 189 h 398"/>
              <a:gd name="T76" fmla="*/ 243 w 255"/>
              <a:gd name="T77" fmla="*/ 164 h 398"/>
              <a:gd name="T78" fmla="*/ 240 w 255"/>
              <a:gd name="T79" fmla="*/ 147 h 398"/>
              <a:gd name="T80" fmla="*/ 213 w 255"/>
              <a:gd name="T81" fmla="*/ 149 h 398"/>
              <a:gd name="T82" fmla="*/ 191 w 255"/>
              <a:gd name="T83" fmla="*/ 131 h 398"/>
              <a:gd name="T84" fmla="*/ 152 w 255"/>
              <a:gd name="T85" fmla="*/ 130 h 398"/>
              <a:gd name="T86" fmla="*/ 142 w 255"/>
              <a:gd name="T87" fmla="*/ 120 h 398"/>
              <a:gd name="T88" fmla="*/ 144 w 255"/>
              <a:gd name="T89" fmla="*/ 106 h 398"/>
              <a:gd name="T90" fmla="*/ 138 w 255"/>
              <a:gd name="T91" fmla="*/ 91 h 398"/>
              <a:gd name="T92" fmla="*/ 125 w 255"/>
              <a:gd name="T93" fmla="*/ 79 h 398"/>
              <a:gd name="T94" fmla="*/ 136 w 255"/>
              <a:gd name="T95" fmla="*/ 48 h 398"/>
              <a:gd name="T96" fmla="*/ 151 w 255"/>
              <a:gd name="T97" fmla="*/ 32 h 398"/>
              <a:gd name="T98" fmla="*/ 170 w 255"/>
              <a:gd name="T99" fmla="*/ 1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5" h="398">
                <a:moveTo>
                  <a:pt x="170" y="16"/>
                </a:moveTo>
                <a:lnTo>
                  <a:pt x="175" y="8"/>
                </a:lnTo>
                <a:lnTo>
                  <a:pt x="170" y="2"/>
                </a:lnTo>
                <a:lnTo>
                  <a:pt x="163" y="0"/>
                </a:lnTo>
                <a:lnTo>
                  <a:pt x="152" y="12"/>
                </a:lnTo>
                <a:lnTo>
                  <a:pt x="143" y="17"/>
                </a:lnTo>
                <a:lnTo>
                  <a:pt x="126" y="29"/>
                </a:lnTo>
                <a:lnTo>
                  <a:pt x="109" y="27"/>
                </a:lnTo>
                <a:lnTo>
                  <a:pt x="108" y="32"/>
                </a:lnTo>
                <a:lnTo>
                  <a:pt x="95" y="32"/>
                </a:lnTo>
                <a:lnTo>
                  <a:pt x="82" y="43"/>
                </a:lnTo>
                <a:lnTo>
                  <a:pt x="77" y="64"/>
                </a:lnTo>
                <a:lnTo>
                  <a:pt x="77" y="71"/>
                </a:lnTo>
                <a:lnTo>
                  <a:pt x="67" y="74"/>
                </a:lnTo>
                <a:lnTo>
                  <a:pt x="52" y="91"/>
                </a:lnTo>
                <a:lnTo>
                  <a:pt x="40" y="90"/>
                </a:lnTo>
                <a:lnTo>
                  <a:pt x="38" y="94"/>
                </a:lnTo>
                <a:lnTo>
                  <a:pt x="42" y="108"/>
                </a:lnTo>
                <a:lnTo>
                  <a:pt x="38" y="114"/>
                </a:lnTo>
                <a:lnTo>
                  <a:pt x="31" y="112"/>
                </a:lnTo>
                <a:lnTo>
                  <a:pt x="27" y="125"/>
                </a:lnTo>
                <a:lnTo>
                  <a:pt x="36" y="137"/>
                </a:lnTo>
                <a:lnTo>
                  <a:pt x="39" y="157"/>
                </a:lnTo>
                <a:lnTo>
                  <a:pt x="34" y="163"/>
                </a:lnTo>
                <a:lnTo>
                  <a:pt x="38" y="185"/>
                </a:lnTo>
                <a:lnTo>
                  <a:pt x="33" y="199"/>
                </a:lnTo>
                <a:lnTo>
                  <a:pt x="40" y="205"/>
                </a:lnTo>
                <a:lnTo>
                  <a:pt x="33" y="217"/>
                </a:lnTo>
                <a:lnTo>
                  <a:pt x="24" y="232"/>
                </a:lnTo>
                <a:lnTo>
                  <a:pt x="12" y="234"/>
                </a:lnTo>
                <a:lnTo>
                  <a:pt x="8" y="242"/>
                </a:lnTo>
                <a:lnTo>
                  <a:pt x="9" y="254"/>
                </a:lnTo>
                <a:lnTo>
                  <a:pt x="0" y="256"/>
                </a:lnTo>
                <a:lnTo>
                  <a:pt x="3" y="264"/>
                </a:lnTo>
                <a:lnTo>
                  <a:pt x="25" y="277"/>
                </a:lnTo>
                <a:lnTo>
                  <a:pt x="28" y="277"/>
                </a:lnTo>
                <a:lnTo>
                  <a:pt x="33" y="286"/>
                </a:lnTo>
                <a:lnTo>
                  <a:pt x="51" y="290"/>
                </a:lnTo>
                <a:lnTo>
                  <a:pt x="57" y="286"/>
                </a:lnTo>
                <a:lnTo>
                  <a:pt x="67" y="293"/>
                </a:lnTo>
                <a:lnTo>
                  <a:pt x="76" y="299"/>
                </a:lnTo>
                <a:lnTo>
                  <a:pt x="81" y="297"/>
                </a:lnTo>
                <a:lnTo>
                  <a:pt x="95" y="308"/>
                </a:lnTo>
                <a:lnTo>
                  <a:pt x="102" y="320"/>
                </a:lnTo>
                <a:lnTo>
                  <a:pt x="112" y="326"/>
                </a:lnTo>
                <a:lnTo>
                  <a:pt x="125" y="351"/>
                </a:lnTo>
                <a:lnTo>
                  <a:pt x="141" y="354"/>
                </a:lnTo>
                <a:lnTo>
                  <a:pt x="152" y="348"/>
                </a:lnTo>
                <a:lnTo>
                  <a:pt x="160" y="351"/>
                </a:lnTo>
                <a:lnTo>
                  <a:pt x="172" y="350"/>
                </a:lnTo>
                <a:lnTo>
                  <a:pt x="189" y="361"/>
                </a:lnTo>
                <a:lnTo>
                  <a:pt x="176" y="385"/>
                </a:lnTo>
                <a:lnTo>
                  <a:pt x="182" y="385"/>
                </a:lnTo>
                <a:lnTo>
                  <a:pt x="193" y="398"/>
                </a:lnTo>
                <a:lnTo>
                  <a:pt x="201" y="333"/>
                </a:lnTo>
                <a:lnTo>
                  <a:pt x="201" y="322"/>
                </a:lnTo>
                <a:lnTo>
                  <a:pt x="198" y="309"/>
                </a:lnTo>
                <a:lnTo>
                  <a:pt x="189" y="300"/>
                </a:lnTo>
                <a:lnTo>
                  <a:pt x="189" y="283"/>
                </a:lnTo>
                <a:lnTo>
                  <a:pt x="201" y="279"/>
                </a:lnTo>
                <a:lnTo>
                  <a:pt x="205" y="281"/>
                </a:lnTo>
                <a:lnTo>
                  <a:pt x="206" y="273"/>
                </a:lnTo>
                <a:lnTo>
                  <a:pt x="194" y="270"/>
                </a:lnTo>
                <a:lnTo>
                  <a:pt x="194" y="255"/>
                </a:lnTo>
                <a:lnTo>
                  <a:pt x="234" y="256"/>
                </a:lnTo>
                <a:lnTo>
                  <a:pt x="241" y="248"/>
                </a:lnTo>
                <a:lnTo>
                  <a:pt x="247" y="255"/>
                </a:lnTo>
                <a:lnTo>
                  <a:pt x="250" y="269"/>
                </a:lnTo>
                <a:lnTo>
                  <a:pt x="255" y="266"/>
                </a:lnTo>
                <a:lnTo>
                  <a:pt x="249" y="242"/>
                </a:lnTo>
                <a:lnTo>
                  <a:pt x="243" y="234"/>
                </a:lnTo>
                <a:lnTo>
                  <a:pt x="236" y="229"/>
                </a:lnTo>
                <a:lnTo>
                  <a:pt x="247" y="217"/>
                </a:lnTo>
                <a:lnTo>
                  <a:pt x="246" y="211"/>
                </a:lnTo>
                <a:lnTo>
                  <a:pt x="240" y="205"/>
                </a:lnTo>
                <a:lnTo>
                  <a:pt x="236" y="189"/>
                </a:lnTo>
                <a:lnTo>
                  <a:pt x="238" y="172"/>
                </a:lnTo>
                <a:lnTo>
                  <a:pt x="243" y="164"/>
                </a:lnTo>
                <a:lnTo>
                  <a:pt x="248" y="152"/>
                </a:lnTo>
                <a:lnTo>
                  <a:pt x="240" y="147"/>
                </a:lnTo>
                <a:lnTo>
                  <a:pt x="228" y="150"/>
                </a:lnTo>
                <a:lnTo>
                  <a:pt x="213" y="149"/>
                </a:lnTo>
                <a:lnTo>
                  <a:pt x="205" y="152"/>
                </a:lnTo>
                <a:lnTo>
                  <a:pt x="191" y="131"/>
                </a:lnTo>
                <a:lnTo>
                  <a:pt x="179" y="127"/>
                </a:lnTo>
                <a:lnTo>
                  <a:pt x="152" y="130"/>
                </a:lnTo>
                <a:lnTo>
                  <a:pt x="147" y="122"/>
                </a:lnTo>
                <a:lnTo>
                  <a:pt x="142" y="120"/>
                </a:lnTo>
                <a:lnTo>
                  <a:pt x="141" y="114"/>
                </a:lnTo>
                <a:lnTo>
                  <a:pt x="144" y="106"/>
                </a:lnTo>
                <a:lnTo>
                  <a:pt x="143" y="96"/>
                </a:lnTo>
                <a:lnTo>
                  <a:pt x="138" y="91"/>
                </a:lnTo>
                <a:lnTo>
                  <a:pt x="137" y="81"/>
                </a:lnTo>
                <a:lnTo>
                  <a:pt x="125" y="79"/>
                </a:lnTo>
                <a:lnTo>
                  <a:pt x="132" y="65"/>
                </a:lnTo>
                <a:lnTo>
                  <a:pt x="136" y="48"/>
                </a:lnTo>
                <a:lnTo>
                  <a:pt x="142" y="39"/>
                </a:lnTo>
                <a:lnTo>
                  <a:pt x="151" y="32"/>
                </a:lnTo>
                <a:lnTo>
                  <a:pt x="156" y="20"/>
                </a:lnTo>
                <a:lnTo>
                  <a:pt x="170" y="16"/>
                </a:lnTo>
                <a:lnTo>
                  <a:pt x="170" y="1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52" name="Costa Rica">
            <a:extLst>
              <a:ext uri="{FF2B5EF4-FFF2-40B4-BE49-F238E27FC236}">
                <a16:creationId xmlns:a16="http://schemas.microsoft.com/office/drawing/2014/main" id="{DB6CDFC0-E10A-428D-93E9-E61C148CDC60}"/>
              </a:ext>
            </a:extLst>
          </p:cNvPr>
          <p:cNvSpPr>
            <a:spLocks/>
          </p:cNvSpPr>
          <p:nvPr/>
        </p:nvSpPr>
        <p:spPr bwMode="auto">
          <a:xfrm>
            <a:off x="2147905" y="3886064"/>
            <a:ext cx="117383" cy="120787"/>
          </a:xfrm>
          <a:custGeom>
            <a:avLst/>
            <a:gdLst>
              <a:gd name="T0" fmla="*/ 48 w 69"/>
              <a:gd name="T1" fmla="*/ 7 h 71"/>
              <a:gd name="T2" fmla="*/ 43 w 69"/>
              <a:gd name="T3" fmla="*/ 12 h 71"/>
              <a:gd name="T4" fmla="*/ 36 w 69"/>
              <a:gd name="T5" fmla="*/ 11 h 71"/>
              <a:gd name="T6" fmla="*/ 34 w 69"/>
              <a:gd name="T7" fmla="*/ 6 h 71"/>
              <a:gd name="T8" fmla="*/ 27 w 69"/>
              <a:gd name="T9" fmla="*/ 4 h 71"/>
              <a:gd name="T10" fmla="*/ 21 w 69"/>
              <a:gd name="T11" fmla="*/ 7 h 71"/>
              <a:gd name="T12" fmla="*/ 8 w 69"/>
              <a:gd name="T13" fmla="*/ 0 h 71"/>
              <a:gd name="T14" fmla="*/ 6 w 69"/>
              <a:gd name="T15" fmla="*/ 3 h 71"/>
              <a:gd name="T16" fmla="*/ 0 w 69"/>
              <a:gd name="T17" fmla="*/ 8 h 71"/>
              <a:gd name="T18" fmla="*/ 6 w 69"/>
              <a:gd name="T19" fmla="*/ 11 h 71"/>
              <a:gd name="T20" fmla="*/ 3 w 69"/>
              <a:gd name="T21" fmla="*/ 19 h 71"/>
              <a:gd name="T22" fmla="*/ 2 w 69"/>
              <a:gd name="T23" fmla="*/ 26 h 71"/>
              <a:gd name="T24" fmla="*/ 5 w 69"/>
              <a:gd name="T25" fmla="*/ 31 h 71"/>
              <a:gd name="T26" fmla="*/ 11 w 69"/>
              <a:gd name="T27" fmla="*/ 33 h 71"/>
              <a:gd name="T28" fmla="*/ 16 w 69"/>
              <a:gd name="T29" fmla="*/ 40 h 71"/>
              <a:gd name="T30" fmla="*/ 20 w 69"/>
              <a:gd name="T31" fmla="*/ 34 h 71"/>
              <a:gd name="T32" fmla="*/ 19 w 69"/>
              <a:gd name="T33" fmla="*/ 27 h 71"/>
              <a:gd name="T34" fmla="*/ 24 w 69"/>
              <a:gd name="T35" fmla="*/ 31 h 71"/>
              <a:gd name="T36" fmla="*/ 25 w 69"/>
              <a:gd name="T37" fmla="*/ 39 h 71"/>
              <a:gd name="T38" fmla="*/ 33 w 69"/>
              <a:gd name="T39" fmla="*/ 41 h 71"/>
              <a:gd name="T40" fmla="*/ 40 w 69"/>
              <a:gd name="T41" fmla="*/ 46 h 71"/>
              <a:gd name="T42" fmla="*/ 46 w 69"/>
              <a:gd name="T43" fmla="*/ 52 h 71"/>
              <a:gd name="T44" fmla="*/ 46 w 69"/>
              <a:gd name="T45" fmla="*/ 57 h 71"/>
              <a:gd name="T46" fmla="*/ 44 w 69"/>
              <a:gd name="T47" fmla="*/ 61 h 71"/>
              <a:gd name="T48" fmla="*/ 48 w 69"/>
              <a:gd name="T49" fmla="*/ 67 h 71"/>
              <a:gd name="T50" fmla="*/ 59 w 69"/>
              <a:gd name="T51" fmla="*/ 71 h 71"/>
              <a:gd name="T52" fmla="*/ 60 w 69"/>
              <a:gd name="T53" fmla="*/ 67 h 71"/>
              <a:gd name="T54" fmla="*/ 62 w 69"/>
              <a:gd name="T55" fmla="*/ 62 h 71"/>
              <a:gd name="T56" fmla="*/ 62 w 69"/>
              <a:gd name="T57" fmla="*/ 57 h 71"/>
              <a:gd name="T58" fmla="*/ 64 w 69"/>
              <a:gd name="T59" fmla="*/ 55 h 71"/>
              <a:gd name="T60" fmla="*/ 61 w 69"/>
              <a:gd name="T61" fmla="*/ 52 h 71"/>
              <a:gd name="T62" fmla="*/ 61 w 69"/>
              <a:gd name="T63" fmla="*/ 42 h 71"/>
              <a:gd name="T64" fmla="*/ 69 w 69"/>
              <a:gd name="T65" fmla="*/ 39 h 71"/>
              <a:gd name="T66" fmla="*/ 60 w 69"/>
              <a:gd name="T67" fmla="*/ 29 h 71"/>
              <a:gd name="T68" fmla="*/ 52 w 69"/>
              <a:gd name="T69" fmla="*/ 20 h 71"/>
              <a:gd name="T70" fmla="*/ 48 w 69"/>
              <a:gd name="T71" fmla="*/ 7 h 71"/>
              <a:gd name="T72" fmla="*/ 48 w 69"/>
              <a:gd name="T73"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 h="71">
                <a:moveTo>
                  <a:pt x="48" y="7"/>
                </a:moveTo>
                <a:lnTo>
                  <a:pt x="43" y="12"/>
                </a:lnTo>
                <a:lnTo>
                  <a:pt x="36" y="11"/>
                </a:lnTo>
                <a:lnTo>
                  <a:pt x="34" y="6"/>
                </a:lnTo>
                <a:lnTo>
                  <a:pt x="27" y="4"/>
                </a:lnTo>
                <a:lnTo>
                  <a:pt x="21" y="7"/>
                </a:lnTo>
                <a:lnTo>
                  <a:pt x="8" y="0"/>
                </a:lnTo>
                <a:lnTo>
                  <a:pt x="6" y="3"/>
                </a:lnTo>
                <a:lnTo>
                  <a:pt x="0" y="8"/>
                </a:lnTo>
                <a:lnTo>
                  <a:pt x="6" y="11"/>
                </a:lnTo>
                <a:lnTo>
                  <a:pt x="3" y="19"/>
                </a:lnTo>
                <a:lnTo>
                  <a:pt x="2" y="26"/>
                </a:lnTo>
                <a:lnTo>
                  <a:pt x="5" y="31"/>
                </a:lnTo>
                <a:lnTo>
                  <a:pt x="11" y="33"/>
                </a:lnTo>
                <a:lnTo>
                  <a:pt x="16" y="40"/>
                </a:lnTo>
                <a:lnTo>
                  <a:pt x="20" y="34"/>
                </a:lnTo>
                <a:lnTo>
                  <a:pt x="19" y="27"/>
                </a:lnTo>
                <a:lnTo>
                  <a:pt x="24" y="31"/>
                </a:lnTo>
                <a:lnTo>
                  <a:pt x="25" y="39"/>
                </a:lnTo>
                <a:lnTo>
                  <a:pt x="33" y="41"/>
                </a:lnTo>
                <a:lnTo>
                  <a:pt x="40" y="46"/>
                </a:lnTo>
                <a:lnTo>
                  <a:pt x="46" y="52"/>
                </a:lnTo>
                <a:lnTo>
                  <a:pt x="46" y="57"/>
                </a:lnTo>
                <a:lnTo>
                  <a:pt x="44" y="61"/>
                </a:lnTo>
                <a:lnTo>
                  <a:pt x="48" y="67"/>
                </a:lnTo>
                <a:lnTo>
                  <a:pt x="59" y="71"/>
                </a:lnTo>
                <a:lnTo>
                  <a:pt x="60" y="67"/>
                </a:lnTo>
                <a:lnTo>
                  <a:pt x="62" y="62"/>
                </a:lnTo>
                <a:lnTo>
                  <a:pt x="62" y="57"/>
                </a:lnTo>
                <a:lnTo>
                  <a:pt x="64" y="55"/>
                </a:lnTo>
                <a:lnTo>
                  <a:pt x="61" y="52"/>
                </a:lnTo>
                <a:lnTo>
                  <a:pt x="61" y="42"/>
                </a:lnTo>
                <a:lnTo>
                  <a:pt x="69" y="39"/>
                </a:lnTo>
                <a:lnTo>
                  <a:pt x="60" y="29"/>
                </a:lnTo>
                <a:lnTo>
                  <a:pt x="52" y="20"/>
                </a:lnTo>
                <a:lnTo>
                  <a:pt x="48" y="7"/>
                </a:lnTo>
                <a:lnTo>
                  <a:pt x="48" y="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53" name="Cuba">
            <a:extLst>
              <a:ext uri="{FF2B5EF4-FFF2-40B4-BE49-F238E27FC236}">
                <a16:creationId xmlns:a16="http://schemas.microsoft.com/office/drawing/2014/main" id="{B8CE8801-8AE4-4F0D-8D18-BD0B22CC6077}"/>
              </a:ext>
            </a:extLst>
          </p:cNvPr>
          <p:cNvSpPr>
            <a:spLocks/>
          </p:cNvSpPr>
          <p:nvPr/>
        </p:nvSpPr>
        <p:spPr bwMode="auto">
          <a:xfrm>
            <a:off x="2229563" y="3401218"/>
            <a:ext cx="370864" cy="136097"/>
          </a:xfrm>
          <a:custGeom>
            <a:avLst/>
            <a:gdLst>
              <a:gd name="T0" fmla="*/ 112 w 218"/>
              <a:gd name="T1" fmla="*/ 11 h 80"/>
              <a:gd name="T2" fmla="*/ 93 w 218"/>
              <a:gd name="T3" fmla="*/ 3 h 80"/>
              <a:gd name="T4" fmla="*/ 77 w 218"/>
              <a:gd name="T5" fmla="*/ 2 h 80"/>
              <a:gd name="T6" fmla="*/ 59 w 218"/>
              <a:gd name="T7" fmla="*/ 0 h 80"/>
              <a:gd name="T8" fmla="*/ 55 w 218"/>
              <a:gd name="T9" fmla="*/ 3 h 80"/>
              <a:gd name="T10" fmla="*/ 39 w 218"/>
              <a:gd name="T11" fmla="*/ 6 h 80"/>
              <a:gd name="T12" fmla="*/ 28 w 218"/>
              <a:gd name="T13" fmla="*/ 11 h 80"/>
              <a:gd name="T14" fmla="*/ 17 w 218"/>
              <a:gd name="T15" fmla="*/ 15 h 80"/>
              <a:gd name="T16" fmla="*/ 12 w 218"/>
              <a:gd name="T17" fmla="*/ 25 h 80"/>
              <a:gd name="T18" fmla="*/ 0 w 218"/>
              <a:gd name="T19" fmla="*/ 32 h 80"/>
              <a:gd name="T20" fmla="*/ 9 w 218"/>
              <a:gd name="T21" fmla="*/ 34 h 80"/>
              <a:gd name="T22" fmla="*/ 19 w 218"/>
              <a:gd name="T23" fmla="*/ 31 h 80"/>
              <a:gd name="T24" fmla="*/ 23 w 218"/>
              <a:gd name="T25" fmla="*/ 26 h 80"/>
              <a:gd name="T26" fmla="*/ 31 w 218"/>
              <a:gd name="T27" fmla="*/ 25 h 80"/>
              <a:gd name="T28" fmla="*/ 48 w 218"/>
              <a:gd name="T29" fmla="*/ 13 h 80"/>
              <a:gd name="T30" fmla="*/ 68 w 218"/>
              <a:gd name="T31" fmla="*/ 14 h 80"/>
              <a:gd name="T32" fmla="*/ 59 w 218"/>
              <a:gd name="T33" fmla="*/ 20 h 80"/>
              <a:gd name="T34" fmla="*/ 66 w 218"/>
              <a:gd name="T35" fmla="*/ 25 h 80"/>
              <a:gd name="T36" fmla="*/ 92 w 218"/>
              <a:gd name="T37" fmla="*/ 29 h 80"/>
              <a:gd name="T38" fmla="*/ 98 w 218"/>
              <a:gd name="T39" fmla="*/ 33 h 80"/>
              <a:gd name="T40" fmla="*/ 116 w 218"/>
              <a:gd name="T41" fmla="*/ 40 h 80"/>
              <a:gd name="T42" fmla="*/ 128 w 218"/>
              <a:gd name="T43" fmla="*/ 39 h 80"/>
              <a:gd name="T44" fmla="*/ 131 w 218"/>
              <a:gd name="T45" fmla="*/ 53 h 80"/>
              <a:gd name="T46" fmla="*/ 138 w 218"/>
              <a:gd name="T47" fmla="*/ 59 h 80"/>
              <a:gd name="T48" fmla="*/ 151 w 218"/>
              <a:gd name="T49" fmla="*/ 60 h 80"/>
              <a:gd name="T50" fmla="*/ 158 w 218"/>
              <a:gd name="T51" fmla="*/ 67 h 80"/>
              <a:gd name="T52" fmla="*/ 143 w 218"/>
              <a:gd name="T53" fmla="*/ 80 h 80"/>
              <a:gd name="T54" fmla="*/ 172 w 218"/>
              <a:gd name="T55" fmla="*/ 78 h 80"/>
              <a:gd name="T56" fmla="*/ 186 w 218"/>
              <a:gd name="T57" fmla="*/ 80 h 80"/>
              <a:gd name="T58" fmla="*/ 200 w 218"/>
              <a:gd name="T59" fmla="*/ 79 h 80"/>
              <a:gd name="T60" fmla="*/ 214 w 218"/>
              <a:gd name="T61" fmla="*/ 75 h 80"/>
              <a:gd name="T62" fmla="*/ 218 w 218"/>
              <a:gd name="T63" fmla="*/ 70 h 80"/>
              <a:gd name="T64" fmla="*/ 203 w 218"/>
              <a:gd name="T65" fmla="*/ 60 h 80"/>
              <a:gd name="T66" fmla="*/ 188 w 218"/>
              <a:gd name="T67" fmla="*/ 59 h 80"/>
              <a:gd name="T68" fmla="*/ 190 w 218"/>
              <a:gd name="T69" fmla="*/ 53 h 80"/>
              <a:gd name="T70" fmla="*/ 179 w 218"/>
              <a:gd name="T71" fmla="*/ 48 h 80"/>
              <a:gd name="T72" fmla="*/ 171 w 218"/>
              <a:gd name="T73" fmla="*/ 48 h 80"/>
              <a:gd name="T74" fmla="*/ 160 w 218"/>
              <a:gd name="T75" fmla="*/ 38 h 80"/>
              <a:gd name="T76" fmla="*/ 145 w 218"/>
              <a:gd name="T77" fmla="*/ 23 h 80"/>
              <a:gd name="T78" fmla="*/ 138 w 218"/>
              <a:gd name="T79" fmla="*/ 17 h 80"/>
              <a:gd name="T80" fmla="*/ 119 w 218"/>
              <a:gd name="T81" fmla="*/ 20 h 80"/>
              <a:gd name="T82" fmla="*/ 112 w 218"/>
              <a:gd name="T83" fmla="*/ 11 h 80"/>
              <a:gd name="T84" fmla="*/ 112 w 218"/>
              <a:gd name="T85"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8" h="80">
                <a:moveTo>
                  <a:pt x="112" y="11"/>
                </a:moveTo>
                <a:lnTo>
                  <a:pt x="93" y="3"/>
                </a:lnTo>
                <a:lnTo>
                  <a:pt x="77" y="2"/>
                </a:lnTo>
                <a:lnTo>
                  <a:pt x="59" y="0"/>
                </a:lnTo>
                <a:lnTo>
                  <a:pt x="55" y="3"/>
                </a:lnTo>
                <a:lnTo>
                  <a:pt x="39" y="6"/>
                </a:lnTo>
                <a:lnTo>
                  <a:pt x="28" y="11"/>
                </a:lnTo>
                <a:lnTo>
                  <a:pt x="17" y="15"/>
                </a:lnTo>
                <a:lnTo>
                  <a:pt x="12" y="25"/>
                </a:lnTo>
                <a:lnTo>
                  <a:pt x="0" y="32"/>
                </a:lnTo>
                <a:lnTo>
                  <a:pt x="9" y="34"/>
                </a:lnTo>
                <a:lnTo>
                  <a:pt x="19" y="31"/>
                </a:lnTo>
                <a:lnTo>
                  <a:pt x="23" y="26"/>
                </a:lnTo>
                <a:lnTo>
                  <a:pt x="31" y="25"/>
                </a:lnTo>
                <a:lnTo>
                  <a:pt x="48" y="13"/>
                </a:lnTo>
                <a:lnTo>
                  <a:pt x="68" y="14"/>
                </a:lnTo>
                <a:lnTo>
                  <a:pt x="59" y="20"/>
                </a:lnTo>
                <a:lnTo>
                  <a:pt x="66" y="25"/>
                </a:lnTo>
                <a:lnTo>
                  <a:pt x="92" y="29"/>
                </a:lnTo>
                <a:lnTo>
                  <a:pt x="98" y="33"/>
                </a:lnTo>
                <a:lnTo>
                  <a:pt x="116" y="40"/>
                </a:lnTo>
                <a:lnTo>
                  <a:pt x="128" y="39"/>
                </a:lnTo>
                <a:lnTo>
                  <a:pt x="131" y="53"/>
                </a:lnTo>
                <a:lnTo>
                  <a:pt x="138" y="59"/>
                </a:lnTo>
                <a:lnTo>
                  <a:pt x="151" y="60"/>
                </a:lnTo>
                <a:lnTo>
                  <a:pt x="158" y="67"/>
                </a:lnTo>
                <a:lnTo>
                  <a:pt x="143" y="80"/>
                </a:lnTo>
                <a:lnTo>
                  <a:pt x="172" y="78"/>
                </a:lnTo>
                <a:lnTo>
                  <a:pt x="186" y="80"/>
                </a:lnTo>
                <a:lnTo>
                  <a:pt x="200" y="79"/>
                </a:lnTo>
                <a:lnTo>
                  <a:pt x="214" y="75"/>
                </a:lnTo>
                <a:lnTo>
                  <a:pt x="218" y="70"/>
                </a:lnTo>
                <a:lnTo>
                  <a:pt x="203" y="60"/>
                </a:lnTo>
                <a:lnTo>
                  <a:pt x="188" y="59"/>
                </a:lnTo>
                <a:lnTo>
                  <a:pt x="190" y="53"/>
                </a:lnTo>
                <a:lnTo>
                  <a:pt x="179" y="48"/>
                </a:lnTo>
                <a:lnTo>
                  <a:pt x="171" y="48"/>
                </a:lnTo>
                <a:lnTo>
                  <a:pt x="160" y="38"/>
                </a:lnTo>
                <a:lnTo>
                  <a:pt x="145" y="23"/>
                </a:lnTo>
                <a:lnTo>
                  <a:pt x="138" y="17"/>
                </a:lnTo>
                <a:lnTo>
                  <a:pt x="119" y="20"/>
                </a:lnTo>
                <a:lnTo>
                  <a:pt x="112" y="11"/>
                </a:lnTo>
                <a:lnTo>
                  <a:pt x="112" y="1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54" name="Czech Republic">
            <a:extLst>
              <a:ext uri="{FF2B5EF4-FFF2-40B4-BE49-F238E27FC236}">
                <a16:creationId xmlns:a16="http://schemas.microsoft.com/office/drawing/2014/main" id="{94D1AD70-164F-4577-B698-6F986DB4F554}"/>
              </a:ext>
            </a:extLst>
          </p:cNvPr>
          <p:cNvSpPr>
            <a:spLocks/>
          </p:cNvSpPr>
          <p:nvPr/>
        </p:nvSpPr>
        <p:spPr bwMode="auto">
          <a:xfrm>
            <a:off x="5579254" y="2283520"/>
            <a:ext cx="207548" cy="100372"/>
          </a:xfrm>
          <a:custGeom>
            <a:avLst/>
            <a:gdLst>
              <a:gd name="T0" fmla="*/ 49 w 122"/>
              <a:gd name="T1" fmla="*/ 0 h 59"/>
              <a:gd name="T2" fmla="*/ 41 w 122"/>
              <a:gd name="T3" fmla="*/ 2 h 59"/>
              <a:gd name="T4" fmla="*/ 36 w 122"/>
              <a:gd name="T5" fmla="*/ 0 h 59"/>
              <a:gd name="T6" fmla="*/ 31 w 122"/>
              <a:gd name="T7" fmla="*/ 4 h 59"/>
              <a:gd name="T8" fmla="*/ 19 w 122"/>
              <a:gd name="T9" fmla="*/ 9 h 59"/>
              <a:gd name="T10" fmla="*/ 13 w 122"/>
              <a:gd name="T11" fmla="*/ 14 h 59"/>
              <a:gd name="T12" fmla="*/ 0 w 122"/>
              <a:gd name="T13" fmla="*/ 19 h 59"/>
              <a:gd name="T14" fmla="*/ 3 w 122"/>
              <a:gd name="T15" fmla="*/ 26 h 59"/>
              <a:gd name="T16" fmla="*/ 6 w 122"/>
              <a:gd name="T17" fmla="*/ 36 h 59"/>
              <a:gd name="T18" fmla="*/ 16 w 122"/>
              <a:gd name="T19" fmla="*/ 41 h 59"/>
              <a:gd name="T20" fmla="*/ 27 w 122"/>
              <a:gd name="T21" fmla="*/ 52 h 59"/>
              <a:gd name="T22" fmla="*/ 41 w 122"/>
              <a:gd name="T23" fmla="*/ 59 h 59"/>
              <a:gd name="T24" fmla="*/ 51 w 122"/>
              <a:gd name="T25" fmla="*/ 50 h 59"/>
              <a:gd name="T26" fmla="*/ 57 w 122"/>
              <a:gd name="T27" fmla="*/ 48 h 59"/>
              <a:gd name="T28" fmla="*/ 72 w 122"/>
              <a:gd name="T29" fmla="*/ 54 h 59"/>
              <a:gd name="T30" fmla="*/ 81 w 122"/>
              <a:gd name="T31" fmla="*/ 53 h 59"/>
              <a:gd name="T32" fmla="*/ 89 w 122"/>
              <a:gd name="T33" fmla="*/ 58 h 59"/>
              <a:gd name="T34" fmla="*/ 91 w 122"/>
              <a:gd name="T35" fmla="*/ 52 h 59"/>
              <a:gd name="T36" fmla="*/ 100 w 122"/>
              <a:gd name="T37" fmla="*/ 53 h 59"/>
              <a:gd name="T38" fmla="*/ 105 w 122"/>
              <a:gd name="T39" fmla="*/ 51 h 59"/>
              <a:gd name="T40" fmla="*/ 106 w 122"/>
              <a:gd name="T41" fmla="*/ 49 h 59"/>
              <a:gd name="T42" fmla="*/ 109 w 122"/>
              <a:gd name="T43" fmla="*/ 48 h 59"/>
              <a:gd name="T44" fmla="*/ 110 w 122"/>
              <a:gd name="T45" fmla="*/ 42 h 59"/>
              <a:gd name="T46" fmla="*/ 114 w 122"/>
              <a:gd name="T47" fmla="*/ 41 h 59"/>
              <a:gd name="T48" fmla="*/ 116 w 122"/>
              <a:gd name="T49" fmla="*/ 38 h 59"/>
              <a:gd name="T50" fmla="*/ 122 w 122"/>
              <a:gd name="T51" fmla="*/ 38 h 59"/>
              <a:gd name="T52" fmla="*/ 113 w 122"/>
              <a:gd name="T53" fmla="*/ 25 h 59"/>
              <a:gd name="T54" fmla="*/ 99 w 122"/>
              <a:gd name="T55" fmla="*/ 24 h 59"/>
              <a:gd name="T56" fmla="*/ 96 w 122"/>
              <a:gd name="T57" fmla="*/ 17 h 59"/>
              <a:gd name="T58" fmla="*/ 84 w 122"/>
              <a:gd name="T59" fmla="*/ 15 h 59"/>
              <a:gd name="T60" fmla="*/ 81 w 122"/>
              <a:gd name="T61" fmla="*/ 21 h 59"/>
              <a:gd name="T62" fmla="*/ 72 w 122"/>
              <a:gd name="T63" fmla="*/ 16 h 59"/>
              <a:gd name="T64" fmla="*/ 72 w 122"/>
              <a:gd name="T65" fmla="*/ 10 h 59"/>
              <a:gd name="T66" fmla="*/ 58 w 122"/>
              <a:gd name="T67" fmla="*/ 8 h 59"/>
              <a:gd name="T68" fmla="*/ 49 w 122"/>
              <a:gd name="T69" fmla="*/ 0 h 59"/>
              <a:gd name="T70" fmla="*/ 49 w 122"/>
              <a:gd name="T7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2" h="59">
                <a:moveTo>
                  <a:pt x="49" y="0"/>
                </a:moveTo>
                <a:lnTo>
                  <a:pt x="41" y="2"/>
                </a:lnTo>
                <a:lnTo>
                  <a:pt x="36" y="0"/>
                </a:lnTo>
                <a:lnTo>
                  <a:pt x="31" y="4"/>
                </a:lnTo>
                <a:lnTo>
                  <a:pt x="19" y="9"/>
                </a:lnTo>
                <a:lnTo>
                  <a:pt x="13" y="14"/>
                </a:lnTo>
                <a:lnTo>
                  <a:pt x="0" y="19"/>
                </a:lnTo>
                <a:lnTo>
                  <a:pt x="3" y="26"/>
                </a:lnTo>
                <a:lnTo>
                  <a:pt x="6" y="36"/>
                </a:lnTo>
                <a:lnTo>
                  <a:pt x="16" y="41"/>
                </a:lnTo>
                <a:lnTo>
                  <a:pt x="27" y="52"/>
                </a:lnTo>
                <a:lnTo>
                  <a:pt x="41" y="59"/>
                </a:lnTo>
                <a:lnTo>
                  <a:pt x="51" y="50"/>
                </a:lnTo>
                <a:lnTo>
                  <a:pt x="57" y="48"/>
                </a:lnTo>
                <a:lnTo>
                  <a:pt x="72" y="54"/>
                </a:lnTo>
                <a:lnTo>
                  <a:pt x="81" y="53"/>
                </a:lnTo>
                <a:lnTo>
                  <a:pt x="89" y="58"/>
                </a:lnTo>
                <a:lnTo>
                  <a:pt x="91" y="52"/>
                </a:lnTo>
                <a:lnTo>
                  <a:pt x="100" y="53"/>
                </a:lnTo>
                <a:lnTo>
                  <a:pt x="105" y="51"/>
                </a:lnTo>
                <a:lnTo>
                  <a:pt x="106" y="49"/>
                </a:lnTo>
                <a:lnTo>
                  <a:pt x="109" y="48"/>
                </a:lnTo>
                <a:lnTo>
                  <a:pt x="110" y="42"/>
                </a:lnTo>
                <a:lnTo>
                  <a:pt x="114" y="41"/>
                </a:lnTo>
                <a:lnTo>
                  <a:pt x="116" y="38"/>
                </a:lnTo>
                <a:lnTo>
                  <a:pt x="122" y="38"/>
                </a:lnTo>
                <a:lnTo>
                  <a:pt x="113" y="25"/>
                </a:lnTo>
                <a:lnTo>
                  <a:pt x="99" y="24"/>
                </a:lnTo>
                <a:lnTo>
                  <a:pt x="96" y="17"/>
                </a:lnTo>
                <a:lnTo>
                  <a:pt x="84" y="15"/>
                </a:lnTo>
                <a:lnTo>
                  <a:pt x="81" y="21"/>
                </a:lnTo>
                <a:lnTo>
                  <a:pt x="72" y="16"/>
                </a:lnTo>
                <a:lnTo>
                  <a:pt x="72" y="10"/>
                </a:lnTo>
                <a:lnTo>
                  <a:pt x="58" y="8"/>
                </a:lnTo>
                <a:lnTo>
                  <a:pt x="49" y="0"/>
                </a:lnTo>
                <a:lnTo>
                  <a:pt x="49"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55" name="Germany">
            <a:extLst>
              <a:ext uri="{FF2B5EF4-FFF2-40B4-BE49-F238E27FC236}">
                <a16:creationId xmlns:a16="http://schemas.microsoft.com/office/drawing/2014/main" id="{D7A8B9F3-C74C-4103-ADBE-A7FEE616657C}"/>
              </a:ext>
            </a:extLst>
          </p:cNvPr>
          <p:cNvSpPr>
            <a:spLocks/>
          </p:cNvSpPr>
          <p:nvPr/>
        </p:nvSpPr>
        <p:spPr bwMode="auto">
          <a:xfrm>
            <a:off x="5383615" y="2133813"/>
            <a:ext cx="278999" cy="299414"/>
          </a:xfrm>
          <a:custGeom>
            <a:avLst/>
            <a:gdLst>
              <a:gd name="T0" fmla="*/ 142 w 164"/>
              <a:gd name="T1" fmla="*/ 27 h 176"/>
              <a:gd name="T2" fmla="*/ 133 w 164"/>
              <a:gd name="T3" fmla="*/ 21 h 176"/>
              <a:gd name="T4" fmla="*/ 113 w 164"/>
              <a:gd name="T5" fmla="*/ 12 h 176"/>
              <a:gd name="T6" fmla="*/ 103 w 164"/>
              <a:gd name="T7" fmla="*/ 18 h 176"/>
              <a:gd name="T8" fmla="*/ 86 w 164"/>
              <a:gd name="T9" fmla="*/ 22 h 176"/>
              <a:gd name="T10" fmla="*/ 86 w 164"/>
              <a:gd name="T11" fmla="*/ 14 h 176"/>
              <a:gd name="T12" fmla="*/ 67 w 164"/>
              <a:gd name="T13" fmla="*/ 9 h 176"/>
              <a:gd name="T14" fmla="*/ 66 w 164"/>
              <a:gd name="T15" fmla="*/ 0 h 176"/>
              <a:gd name="T16" fmla="*/ 55 w 164"/>
              <a:gd name="T17" fmla="*/ 4 h 176"/>
              <a:gd name="T18" fmla="*/ 42 w 164"/>
              <a:gd name="T19" fmla="*/ 0 h 176"/>
              <a:gd name="T20" fmla="*/ 43 w 164"/>
              <a:gd name="T21" fmla="*/ 13 h 176"/>
              <a:gd name="T22" fmla="*/ 47 w 164"/>
              <a:gd name="T23" fmla="*/ 22 h 176"/>
              <a:gd name="T24" fmla="*/ 36 w 164"/>
              <a:gd name="T25" fmla="*/ 33 h 176"/>
              <a:gd name="T26" fmla="*/ 32 w 164"/>
              <a:gd name="T27" fmla="*/ 28 h 176"/>
              <a:gd name="T28" fmla="*/ 18 w 164"/>
              <a:gd name="T29" fmla="*/ 29 h 176"/>
              <a:gd name="T30" fmla="*/ 15 w 164"/>
              <a:gd name="T31" fmla="*/ 34 h 176"/>
              <a:gd name="T32" fmla="*/ 18 w 164"/>
              <a:gd name="T33" fmla="*/ 42 h 176"/>
              <a:gd name="T34" fmla="*/ 15 w 164"/>
              <a:gd name="T35" fmla="*/ 62 h 176"/>
              <a:gd name="T36" fmla="*/ 11 w 164"/>
              <a:gd name="T37" fmla="*/ 71 h 176"/>
              <a:gd name="T38" fmla="*/ 0 w 164"/>
              <a:gd name="T39" fmla="*/ 71 h 176"/>
              <a:gd name="T40" fmla="*/ 4 w 164"/>
              <a:gd name="T41" fmla="*/ 95 h 176"/>
              <a:gd name="T42" fmla="*/ 3 w 164"/>
              <a:gd name="T43" fmla="*/ 111 h 176"/>
              <a:gd name="T44" fmla="*/ 6 w 164"/>
              <a:gd name="T45" fmla="*/ 116 h 176"/>
              <a:gd name="T46" fmla="*/ 5 w 164"/>
              <a:gd name="T47" fmla="*/ 126 h 176"/>
              <a:gd name="T48" fmla="*/ 15 w 164"/>
              <a:gd name="T49" fmla="*/ 132 h 176"/>
              <a:gd name="T50" fmla="*/ 41 w 164"/>
              <a:gd name="T51" fmla="*/ 137 h 176"/>
              <a:gd name="T52" fmla="*/ 32 w 164"/>
              <a:gd name="T53" fmla="*/ 152 h 176"/>
              <a:gd name="T54" fmla="*/ 31 w 164"/>
              <a:gd name="T55" fmla="*/ 168 h 176"/>
              <a:gd name="T56" fmla="*/ 46 w 164"/>
              <a:gd name="T57" fmla="*/ 168 h 176"/>
              <a:gd name="T58" fmla="*/ 50 w 164"/>
              <a:gd name="T59" fmla="*/ 164 h 176"/>
              <a:gd name="T60" fmla="*/ 70 w 164"/>
              <a:gd name="T61" fmla="*/ 170 h 176"/>
              <a:gd name="T62" fmla="*/ 75 w 164"/>
              <a:gd name="T63" fmla="*/ 169 h 176"/>
              <a:gd name="T64" fmla="*/ 86 w 164"/>
              <a:gd name="T65" fmla="*/ 176 h 176"/>
              <a:gd name="T66" fmla="*/ 88 w 164"/>
              <a:gd name="T67" fmla="*/ 170 h 176"/>
              <a:gd name="T68" fmla="*/ 104 w 164"/>
              <a:gd name="T69" fmla="*/ 171 h 176"/>
              <a:gd name="T70" fmla="*/ 117 w 164"/>
              <a:gd name="T71" fmla="*/ 167 h 176"/>
              <a:gd name="T72" fmla="*/ 126 w 164"/>
              <a:gd name="T73" fmla="*/ 168 h 176"/>
              <a:gd name="T74" fmla="*/ 132 w 164"/>
              <a:gd name="T75" fmla="*/ 172 h 176"/>
              <a:gd name="T76" fmla="*/ 133 w 164"/>
              <a:gd name="T77" fmla="*/ 168 h 176"/>
              <a:gd name="T78" fmla="*/ 130 w 164"/>
              <a:gd name="T79" fmla="*/ 154 h 176"/>
              <a:gd name="T80" fmla="*/ 136 w 164"/>
              <a:gd name="T81" fmla="*/ 150 h 176"/>
              <a:gd name="T82" fmla="*/ 142 w 164"/>
              <a:gd name="T83" fmla="*/ 140 h 176"/>
              <a:gd name="T84" fmla="*/ 131 w 164"/>
              <a:gd name="T85" fmla="*/ 129 h 176"/>
              <a:gd name="T86" fmla="*/ 121 w 164"/>
              <a:gd name="T87" fmla="*/ 124 h 176"/>
              <a:gd name="T88" fmla="*/ 118 w 164"/>
              <a:gd name="T89" fmla="*/ 114 h 176"/>
              <a:gd name="T90" fmla="*/ 115 w 164"/>
              <a:gd name="T91" fmla="*/ 107 h 176"/>
              <a:gd name="T92" fmla="*/ 128 w 164"/>
              <a:gd name="T93" fmla="*/ 102 h 176"/>
              <a:gd name="T94" fmla="*/ 134 w 164"/>
              <a:gd name="T95" fmla="*/ 97 h 176"/>
              <a:gd name="T96" fmla="*/ 146 w 164"/>
              <a:gd name="T97" fmla="*/ 92 h 176"/>
              <a:gd name="T98" fmla="*/ 151 w 164"/>
              <a:gd name="T99" fmla="*/ 88 h 176"/>
              <a:gd name="T100" fmla="*/ 156 w 164"/>
              <a:gd name="T101" fmla="*/ 90 h 176"/>
              <a:gd name="T102" fmla="*/ 164 w 164"/>
              <a:gd name="T103" fmla="*/ 88 h 176"/>
              <a:gd name="T104" fmla="*/ 155 w 164"/>
              <a:gd name="T105" fmla="*/ 73 h 176"/>
              <a:gd name="T106" fmla="*/ 156 w 164"/>
              <a:gd name="T107" fmla="*/ 66 h 176"/>
              <a:gd name="T108" fmla="*/ 150 w 164"/>
              <a:gd name="T109" fmla="*/ 54 h 176"/>
              <a:gd name="T110" fmla="*/ 143 w 164"/>
              <a:gd name="T111" fmla="*/ 45 h 176"/>
              <a:gd name="T112" fmla="*/ 147 w 164"/>
              <a:gd name="T113" fmla="*/ 40 h 176"/>
              <a:gd name="T114" fmla="*/ 142 w 164"/>
              <a:gd name="T115" fmla="*/ 27 h 176"/>
              <a:gd name="T116" fmla="*/ 142 w 164"/>
              <a:gd name="T117" fmla="*/ 2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 h="176">
                <a:moveTo>
                  <a:pt x="142" y="27"/>
                </a:moveTo>
                <a:lnTo>
                  <a:pt x="133" y="21"/>
                </a:lnTo>
                <a:lnTo>
                  <a:pt x="113" y="12"/>
                </a:lnTo>
                <a:lnTo>
                  <a:pt x="103" y="18"/>
                </a:lnTo>
                <a:lnTo>
                  <a:pt x="86" y="22"/>
                </a:lnTo>
                <a:lnTo>
                  <a:pt x="86" y="14"/>
                </a:lnTo>
                <a:lnTo>
                  <a:pt x="67" y="9"/>
                </a:lnTo>
                <a:lnTo>
                  <a:pt x="66" y="0"/>
                </a:lnTo>
                <a:lnTo>
                  <a:pt x="55" y="4"/>
                </a:lnTo>
                <a:lnTo>
                  <a:pt x="42" y="0"/>
                </a:lnTo>
                <a:lnTo>
                  <a:pt x="43" y="13"/>
                </a:lnTo>
                <a:lnTo>
                  <a:pt x="47" y="22"/>
                </a:lnTo>
                <a:lnTo>
                  <a:pt x="36" y="33"/>
                </a:lnTo>
                <a:lnTo>
                  <a:pt x="32" y="28"/>
                </a:lnTo>
                <a:lnTo>
                  <a:pt x="18" y="29"/>
                </a:lnTo>
                <a:lnTo>
                  <a:pt x="15" y="34"/>
                </a:lnTo>
                <a:lnTo>
                  <a:pt x="18" y="42"/>
                </a:lnTo>
                <a:lnTo>
                  <a:pt x="15" y="62"/>
                </a:lnTo>
                <a:lnTo>
                  <a:pt x="11" y="71"/>
                </a:lnTo>
                <a:lnTo>
                  <a:pt x="0" y="71"/>
                </a:lnTo>
                <a:lnTo>
                  <a:pt x="4" y="95"/>
                </a:lnTo>
                <a:lnTo>
                  <a:pt x="3" y="111"/>
                </a:lnTo>
                <a:lnTo>
                  <a:pt x="6" y="116"/>
                </a:lnTo>
                <a:lnTo>
                  <a:pt x="5" y="126"/>
                </a:lnTo>
                <a:lnTo>
                  <a:pt x="15" y="132"/>
                </a:lnTo>
                <a:lnTo>
                  <a:pt x="41" y="137"/>
                </a:lnTo>
                <a:lnTo>
                  <a:pt x="32" y="152"/>
                </a:lnTo>
                <a:lnTo>
                  <a:pt x="31" y="168"/>
                </a:lnTo>
                <a:lnTo>
                  <a:pt x="46" y="168"/>
                </a:lnTo>
                <a:lnTo>
                  <a:pt x="50" y="164"/>
                </a:lnTo>
                <a:lnTo>
                  <a:pt x="70" y="170"/>
                </a:lnTo>
                <a:lnTo>
                  <a:pt x="75" y="169"/>
                </a:lnTo>
                <a:lnTo>
                  <a:pt x="86" y="176"/>
                </a:lnTo>
                <a:lnTo>
                  <a:pt x="88" y="170"/>
                </a:lnTo>
                <a:lnTo>
                  <a:pt x="104" y="171"/>
                </a:lnTo>
                <a:lnTo>
                  <a:pt x="117" y="167"/>
                </a:lnTo>
                <a:lnTo>
                  <a:pt x="126" y="168"/>
                </a:lnTo>
                <a:lnTo>
                  <a:pt x="132" y="172"/>
                </a:lnTo>
                <a:lnTo>
                  <a:pt x="133" y="168"/>
                </a:lnTo>
                <a:lnTo>
                  <a:pt x="130" y="154"/>
                </a:lnTo>
                <a:lnTo>
                  <a:pt x="136" y="150"/>
                </a:lnTo>
                <a:lnTo>
                  <a:pt x="142" y="140"/>
                </a:lnTo>
                <a:lnTo>
                  <a:pt x="131" y="129"/>
                </a:lnTo>
                <a:lnTo>
                  <a:pt x="121" y="124"/>
                </a:lnTo>
                <a:lnTo>
                  <a:pt x="118" y="114"/>
                </a:lnTo>
                <a:lnTo>
                  <a:pt x="115" y="107"/>
                </a:lnTo>
                <a:lnTo>
                  <a:pt x="128" y="102"/>
                </a:lnTo>
                <a:lnTo>
                  <a:pt x="134" y="97"/>
                </a:lnTo>
                <a:lnTo>
                  <a:pt x="146" y="92"/>
                </a:lnTo>
                <a:lnTo>
                  <a:pt x="151" y="88"/>
                </a:lnTo>
                <a:lnTo>
                  <a:pt x="156" y="90"/>
                </a:lnTo>
                <a:lnTo>
                  <a:pt x="164" y="88"/>
                </a:lnTo>
                <a:lnTo>
                  <a:pt x="155" y="73"/>
                </a:lnTo>
                <a:lnTo>
                  <a:pt x="156" y="66"/>
                </a:lnTo>
                <a:lnTo>
                  <a:pt x="150" y="54"/>
                </a:lnTo>
                <a:lnTo>
                  <a:pt x="143" y="45"/>
                </a:lnTo>
                <a:lnTo>
                  <a:pt x="147" y="40"/>
                </a:lnTo>
                <a:lnTo>
                  <a:pt x="142" y="27"/>
                </a:lnTo>
                <a:lnTo>
                  <a:pt x="142" y="2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56" name="Djibouti">
            <a:extLst>
              <a:ext uri="{FF2B5EF4-FFF2-40B4-BE49-F238E27FC236}">
                <a16:creationId xmlns:a16="http://schemas.microsoft.com/office/drawing/2014/main" id="{1D777084-D044-4E96-9F5D-B7C067F160CD}"/>
              </a:ext>
            </a:extLst>
          </p:cNvPr>
          <p:cNvSpPr>
            <a:spLocks/>
          </p:cNvSpPr>
          <p:nvPr/>
        </p:nvSpPr>
        <p:spPr bwMode="auto">
          <a:xfrm>
            <a:off x="6679940" y="3828222"/>
            <a:ext cx="56139" cy="69749"/>
          </a:xfrm>
          <a:custGeom>
            <a:avLst/>
            <a:gdLst>
              <a:gd name="T0" fmla="*/ 30 w 33"/>
              <a:gd name="T1" fmla="*/ 29 h 41"/>
              <a:gd name="T2" fmla="*/ 21 w 33"/>
              <a:gd name="T3" fmla="*/ 22 h 41"/>
              <a:gd name="T4" fmla="*/ 33 w 33"/>
              <a:gd name="T5" fmla="*/ 17 h 41"/>
              <a:gd name="T6" fmla="*/ 33 w 33"/>
              <a:gd name="T7" fmla="*/ 6 h 41"/>
              <a:gd name="T8" fmla="*/ 28 w 33"/>
              <a:gd name="T9" fmla="*/ 0 h 41"/>
              <a:gd name="T10" fmla="*/ 22 w 33"/>
              <a:gd name="T11" fmla="*/ 5 h 41"/>
              <a:gd name="T12" fmla="*/ 13 w 33"/>
              <a:gd name="T13" fmla="*/ 3 h 41"/>
              <a:gd name="T14" fmla="*/ 6 w 33"/>
              <a:gd name="T15" fmla="*/ 14 h 41"/>
              <a:gd name="T16" fmla="*/ 0 w 33"/>
              <a:gd name="T17" fmla="*/ 25 h 41"/>
              <a:gd name="T18" fmla="*/ 2 w 33"/>
              <a:gd name="T19" fmla="*/ 31 h 41"/>
              <a:gd name="T20" fmla="*/ 2 w 33"/>
              <a:gd name="T21" fmla="*/ 39 h 41"/>
              <a:gd name="T22" fmla="*/ 14 w 33"/>
              <a:gd name="T23" fmla="*/ 39 h 41"/>
              <a:gd name="T24" fmla="*/ 18 w 33"/>
              <a:gd name="T25" fmla="*/ 37 h 41"/>
              <a:gd name="T26" fmla="*/ 23 w 33"/>
              <a:gd name="T27" fmla="*/ 41 h 41"/>
              <a:gd name="T28" fmla="*/ 30 w 33"/>
              <a:gd name="T29" fmla="*/ 29 h 41"/>
              <a:gd name="T30" fmla="*/ 30 w 33"/>
              <a:gd name="T3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41">
                <a:moveTo>
                  <a:pt x="30" y="29"/>
                </a:moveTo>
                <a:lnTo>
                  <a:pt x="21" y="22"/>
                </a:lnTo>
                <a:lnTo>
                  <a:pt x="33" y="17"/>
                </a:lnTo>
                <a:lnTo>
                  <a:pt x="33" y="6"/>
                </a:lnTo>
                <a:lnTo>
                  <a:pt x="28" y="0"/>
                </a:lnTo>
                <a:lnTo>
                  <a:pt x="22" y="5"/>
                </a:lnTo>
                <a:lnTo>
                  <a:pt x="13" y="3"/>
                </a:lnTo>
                <a:lnTo>
                  <a:pt x="6" y="14"/>
                </a:lnTo>
                <a:lnTo>
                  <a:pt x="0" y="25"/>
                </a:lnTo>
                <a:lnTo>
                  <a:pt x="2" y="31"/>
                </a:lnTo>
                <a:lnTo>
                  <a:pt x="2" y="39"/>
                </a:lnTo>
                <a:lnTo>
                  <a:pt x="14" y="39"/>
                </a:lnTo>
                <a:lnTo>
                  <a:pt x="18" y="37"/>
                </a:lnTo>
                <a:lnTo>
                  <a:pt x="23" y="41"/>
                </a:lnTo>
                <a:lnTo>
                  <a:pt x="30" y="29"/>
                </a:lnTo>
                <a:lnTo>
                  <a:pt x="30" y="2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57" name="Denmark">
            <a:extLst>
              <a:ext uri="{FF2B5EF4-FFF2-40B4-BE49-F238E27FC236}">
                <a16:creationId xmlns:a16="http://schemas.microsoft.com/office/drawing/2014/main" id="{DA3D17F3-7614-4C48-B0A2-2E41C56E9A4F}"/>
              </a:ext>
            </a:extLst>
          </p:cNvPr>
          <p:cNvSpPr>
            <a:spLocks noEditPoints="1"/>
          </p:cNvSpPr>
          <p:nvPr/>
        </p:nvSpPr>
        <p:spPr bwMode="auto">
          <a:xfrm>
            <a:off x="5438054" y="2030040"/>
            <a:ext cx="139500" cy="110580"/>
          </a:xfrm>
          <a:custGeom>
            <a:avLst/>
            <a:gdLst>
              <a:gd name="T0" fmla="*/ 82 w 82"/>
              <a:gd name="T1" fmla="*/ 47 h 65"/>
              <a:gd name="T2" fmla="*/ 75 w 82"/>
              <a:gd name="T3" fmla="*/ 36 h 65"/>
              <a:gd name="T4" fmla="*/ 50 w 82"/>
              <a:gd name="T5" fmla="*/ 44 h 65"/>
              <a:gd name="T6" fmla="*/ 54 w 82"/>
              <a:gd name="T7" fmla="*/ 53 h 65"/>
              <a:gd name="T8" fmla="*/ 72 w 82"/>
              <a:gd name="T9" fmla="*/ 65 h 65"/>
              <a:gd name="T10" fmla="*/ 82 w 82"/>
              <a:gd name="T11" fmla="*/ 47 h 65"/>
              <a:gd name="T12" fmla="*/ 82 w 82"/>
              <a:gd name="T13" fmla="*/ 47 h 65"/>
              <a:gd name="T14" fmla="*/ 49 w 82"/>
              <a:gd name="T15" fmla="*/ 28 h 65"/>
              <a:gd name="T16" fmla="*/ 40 w 82"/>
              <a:gd name="T17" fmla="*/ 25 h 65"/>
              <a:gd name="T18" fmla="*/ 37 w 82"/>
              <a:gd name="T19" fmla="*/ 18 h 65"/>
              <a:gd name="T20" fmla="*/ 42 w 82"/>
              <a:gd name="T21" fmla="*/ 11 h 65"/>
              <a:gd name="T22" fmla="*/ 42 w 82"/>
              <a:gd name="T23" fmla="*/ 0 h 65"/>
              <a:gd name="T24" fmla="*/ 28 w 82"/>
              <a:gd name="T25" fmla="*/ 6 h 65"/>
              <a:gd name="T26" fmla="*/ 22 w 82"/>
              <a:gd name="T27" fmla="*/ 13 h 65"/>
              <a:gd name="T28" fmla="*/ 7 w 82"/>
              <a:gd name="T29" fmla="*/ 14 h 65"/>
              <a:gd name="T30" fmla="*/ 3 w 82"/>
              <a:gd name="T31" fmla="*/ 20 h 65"/>
              <a:gd name="T32" fmla="*/ 0 w 82"/>
              <a:gd name="T33" fmla="*/ 26 h 65"/>
              <a:gd name="T34" fmla="*/ 1 w 82"/>
              <a:gd name="T35" fmla="*/ 49 h 65"/>
              <a:gd name="T36" fmla="*/ 10 w 82"/>
              <a:gd name="T37" fmla="*/ 61 h 65"/>
              <a:gd name="T38" fmla="*/ 23 w 82"/>
              <a:gd name="T39" fmla="*/ 65 h 65"/>
              <a:gd name="T40" fmla="*/ 34 w 82"/>
              <a:gd name="T41" fmla="*/ 61 h 65"/>
              <a:gd name="T42" fmla="*/ 28 w 82"/>
              <a:gd name="T43" fmla="*/ 50 h 65"/>
              <a:gd name="T44" fmla="*/ 41 w 82"/>
              <a:gd name="T45" fmla="*/ 34 h 65"/>
              <a:gd name="T46" fmla="*/ 45 w 82"/>
              <a:gd name="T47" fmla="*/ 37 h 65"/>
              <a:gd name="T48" fmla="*/ 49 w 82"/>
              <a:gd name="T49" fmla="*/ 28 h 65"/>
              <a:gd name="T50" fmla="*/ 49 w 82"/>
              <a:gd name="T51" fmla="*/ 2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65">
                <a:moveTo>
                  <a:pt x="82" y="47"/>
                </a:moveTo>
                <a:lnTo>
                  <a:pt x="75" y="36"/>
                </a:lnTo>
                <a:lnTo>
                  <a:pt x="50" y="44"/>
                </a:lnTo>
                <a:lnTo>
                  <a:pt x="54" y="53"/>
                </a:lnTo>
                <a:lnTo>
                  <a:pt x="72" y="65"/>
                </a:lnTo>
                <a:lnTo>
                  <a:pt x="82" y="47"/>
                </a:lnTo>
                <a:lnTo>
                  <a:pt x="82" y="47"/>
                </a:lnTo>
                <a:close/>
                <a:moveTo>
                  <a:pt x="49" y="28"/>
                </a:moveTo>
                <a:lnTo>
                  <a:pt x="40" y="25"/>
                </a:lnTo>
                <a:lnTo>
                  <a:pt x="37" y="18"/>
                </a:lnTo>
                <a:lnTo>
                  <a:pt x="42" y="11"/>
                </a:lnTo>
                <a:lnTo>
                  <a:pt x="42" y="0"/>
                </a:lnTo>
                <a:lnTo>
                  <a:pt x="28" y="6"/>
                </a:lnTo>
                <a:lnTo>
                  <a:pt x="22" y="13"/>
                </a:lnTo>
                <a:lnTo>
                  <a:pt x="7" y="14"/>
                </a:lnTo>
                <a:lnTo>
                  <a:pt x="3" y="20"/>
                </a:lnTo>
                <a:lnTo>
                  <a:pt x="0" y="26"/>
                </a:lnTo>
                <a:lnTo>
                  <a:pt x="1" y="49"/>
                </a:lnTo>
                <a:lnTo>
                  <a:pt x="10" y="61"/>
                </a:lnTo>
                <a:lnTo>
                  <a:pt x="23" y="65"/>
                </a:lnTo>
                <a:lnTo>
                  <a:pt x="34" y="61"/>
                </a:lnTo>
                <a:lnTo>
                  <a:pt x="28" y="50"/>
                </a:lnTo>
                <a:lnTo>
                  <a:pt x="41" y="34"/>
                </a:lnTo>
                <a:lnTo>
                  <a:pt x="45" y="37"/>
                </a:lnTo>
                <a:lnTo>
                  <a:pt x="49" y="28"/>
                </a:lnTo>
                <a:lnTo>
                  <a:pt x="49" y="2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58" name="Dominican Republic">
            <a:extLst>
              <a:ext uri="{FF2B5EF4-FFF2-40B4-BE49-F238E27FC236}">
                <a16:creationId xmlns:a16="http://schemas.microsoft.com/office/drawing/2014/main" id="{8A1E57F9-7247-4248-BB3B-51C890A60A92}"/>
              </a:ext>
            </a:extLst>
          </p:cNvPr>
          <p:cNvSpPr>
            <a:spLocks/>
          </p:cNvSpPr>
          <p:nvPr/>
        </p:nvSpPr>
        <p:spPr bwMode="auto">
          <a:xfrm>
            <a:off x="2670178" y="3535614"/>
            <a:ext cx="129292" cy="93568"/>
          </a:xfrm>
          <a:custGeom>
            <a:avLst/>
            <a:gdLst>
              <a:gd name="T0" fmla="*/ 4 w 76"/>
              <a:gd name="T1" fmla="*/ 45 h 55"/>
              <a:gd name="T2" fmla="*/ 4 w 76"/>
              <a:gd name="T3" fmla="*/ 51 h 55"/>
              <a:gd name="T4" fmla="*/ 9 w 76"/>
              <a:gd name="T5" fmla="*/ 55 h 55"/>
              <a:gd name="T6" fmla="*/ 19 w 76"/>
              <a:gd name="T7" fmla="*/ 38 h 55"/>
              <a:gd name="T8" fmla="*/ 26 w 76"/>
              <a:gd name="T9" fmla="*/ 35 h 55"/>
              <a:gd name="T10" fmla="*/ 29 w 76"/>
              <a:gd name="T11" fmla="*/ 41 h 55"/>
              <a:gd name="T12" fmla="*/ 37 w 76"/>
              <a:gd name="T13" fmla="*/ 39 h 55"/>
              <a:gd name="T14" fmla="*/ 41 w 76"/>
              <a:gd name="T15" fmla="*/ 35 h 55"/>
              <a:gd name="T16" fmla="*/ 48 w 76"/>
              <a:gd name="T17" fmla="*/ 36 h 55"/>
              <a:gd name="T18" fmla="*/ 58 w 76"/>
              <a:gd name="T19" fmla="*/ 35 h 55"/>
              <a:gd name="T20" fmla="*/ 67 w 76"/>
              <a:gd name="T21" fmla="*/ 40 h 55"/>
              <a:gd name="T22" fmla="*/ 76 w 76"/>
              <a:gd name="T23" fmla="*/ 31 h 55"/>
              <a:gd name="T24" fmla="*/ 66 w 76"/>
              <a:gd name="T25" fmla="*/ 22 h 55"/>
              <a:gd name="T26" fmla="*/ 57 w 76"/>
              <a:gd name="T27" fmla="*/ 21 h 55"/>
              <a:gd name="T28" fmla="*/ 58 w 76"/>
              <a:gd name="T29" fmla="*/ 14 h 55"/>
              <a:gd name="T30" fmla="*/ 47 w 76"/>
              <a:gd name="T31" fmla="*/ 15 h 55"/>
              <a:gd name="T32" fmla="*/ 44 w 76"/>
              <a:gd name="T33" fmla="*/ 6 h 55"/>
              <a:gd name="T34" fmla="*/ 39 w 76"/>
              <a:gd name="T35" fmla="*/ 6 h 55"/>
              <a:gd name="T36" fmla="*/ 27 w 76"/>
              <a:gd name="T37" fmla="*/ 1 h 55"/>
              <a:gd name="T38" fmla="*/ 11 w 76"/>
              <a:gd name="T39" fmla="*/ 0 h 55"/>
              <a:gd name="T40" fmla="*/ 8 w 76"/>
              <a:gd name="T41" fmla="*/ 5 h 55"/>
              <a:gd name="T42" fmla="*/ 9 w 76"/>
              <a:gd name="T43" fmla="*/ 18 h 55"/>
              <a:gd name="T44" fmla="*/ 6 w 76"/>
              <a:gd name="T45" fmla="*/ 26 h 55"/>
              <a:gd name="T46" fmla="*/ 0 w 76"/>
              <a:gd name="T47" fmla="*/ 31 h 55"/>
              <a:gd name="T48" fmla="*/ 5 w 76"/>
              <a:gd name="T49" fmla="*/ 37 h 55"/>
              <a:gd name="T50" fmla="*/ 4 w 76"/>
              <a:gd name="T51" fmla="*/ 45 h 55"/>
              <a:gd name="T52" fmla="*/ 4 w 76"/>
              <a:gd name="T5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6" h="55">
                <a:moveTo>
                  <a:pt x="4" y="45"/>
                </a:moveTo>
                <a:lnTo>
                  <a:pt x="4" y="51"/>
                </a:lnTo>
                <a:lnTo>
                  <a:pt x="9" y="55"/>
                </a:lnTo>
                <a:lnTo>
                  <a:pt x="19" y="38"/>
                </a:lnTo>
                <a:lnTo>
                  <a:pt x="26" y="35"/>
                </a:lnTo>
                <a:lnTo>
                  <a:pt x="29" y="41"/>
                </a:lnTo>
                <a:lnTo>
                  <a:pt x="37" y="39"/>
                </a:lnTo>
                <a:lnTo>
                  <a:pt x="41" y="35"/>
                </a:lnTo>
                <a:lnTo>
                  <a:pt x="48" y="36"/>
                </a:lnTo>
                <a:lnTo>
                  <a:pt x="58" y="35"/>
                </a:lnTo>
                <a:lnTo>
                  <a:pt x="67" y="40"/>
                </a:lnTo>
                <a:lnTo>
                  <a:pt x="76" y="31"/>
                </a:lnTo>
                <a:lnTo>
                  <a:pt x="66" y="22"/>
                </a:lnTo>
                <a:lnTo>
                  <a:pt x="57" y="21"/>
                </a:lnTo>
                <a:lnTo>
                  <a:pt x="58" y="14"/>
                </a:lnTo>
                <a:lnTo>
                  <a:pt x="47" y="15"/>
                </a:lnTo>
                <a:lnTo>
                  <a:pt x="44" y="6"/>
                </a:lnTo>
                <a:lnTo>
                  <a:pt x="39" y="6"/>
                </a:lnTo>
                <a:lnTo>
                  <a:pt x="27" y="1"/>
                </a:lnTo>
                <a:lnTo>
                  <a:pt x="11" y="0"/>
                </a:lnTo>
                <a:lnTo>
                  <a:pt x="8" y="5"/>
                </a:lnTo>
                <a:lnTo>
                  <a:pt x="9" y="18"/>
                </a:lnTo>
                <a:lnTo>
                  <a:pt x="6" y="26"/>
                </a:lnTo>
                <a:lnTo>
                  <a:pt x="0" y="31"/>
                </a:lnTo>
                <a:lnTo>
                  <a:pt x="5" y="37"/>
                </a:lnTo>
                <a:lnTo>
                  <a:pt x="4" y="45"/>
                </a:lnTo>
                <a:lnTo>
                  <a:pt x="4" y="4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59" name="Algeria">
            <a:extLst>
              <a:ext uri="{FF2B5EF4-FFF2-40B4-BE49-F238E27FC236}">
                <a16:creationId xmlns:a16="http://schemas.microsoft.com/office/drawing/2014/main" id="{AA4A5E3D-66D7-40CD-BB84-CF30B313F89F}"/>
              </a:ext>
            </a:extLst>
          </p:cNvPr>
          <p:cNvSpPr>
            <a:spLocks/>
          </p:cNvSpPr>
          <p:nvPr/>
        </p:nvSpPr>
        <p:spPr bwMode="auto">
          <a:xfrm>
            <a:off x="4900470" y="2838116"/>
            <a:ext cx="717912" cy="731522"/>
          </a:xfrm>
          <a:custGeom>
            <a:avLst/>
            <a:gdLst>
              <a:gd name="T0" fmla="*/ 342 w 422"/>
              <a:gd name="T1" fmla="*/ 5 h 430"/>
              <a:gd name="T2" fmla="*/ 329 w 422"/>
              <a:gd name="T3" fmla="*/ 6 h 430"/>
              <a:gd name="T4" fmla="*/ 320 w 422"/>
              <a:gd name="T5" fmla="*/ 0 h 430"/>
              <a:gd name="T6" fmla="*/ 299 w 422"/>
              <a:gd name="T7" fmla="*/ 0 h 430"/>
              <a:gd name="T8" fmla="*/ 281 w 422"/>
              <a:gd name="T9" fmla="*/ 10 h 430"/>
              <a:gd name="T10" fmla="*/ 271 w 422"/>
              <a:gd name="T11" fmla="*/ 7 h 430"/>
              <a:gd name="T12" fmla="*/ 238 w 422"/>
              <a:gd name="T13" fmla="*/ 8 h 430"/>
              <a:gd name="T14" fmla="*/ 205 w 422"/>
              <a:gd name="T15" fmla="*/ 12 h 430"/>
              <a:gd name="T16" fmla="*/ 187 w 422"/>
              <a:gd name="T17" fmla="*/ 20 h 430"/>
              <a:gd name="T18" fmla="*/ 174 w 422"/>
              <a:gd name="T19" fmla="*/ 30 h 430"/>
              <a:gd name="T20" fmla="*/ 152 w 422"/>
              <a:gd name="T21" fmla="*/ 35 h 430"/>
              <a:gd name="T22" fmla="*/ 133 w 422"/>
              <a:gd name="T23" fmla="*/ 48 h 430"/>
              <a:gd name="T24" fmla="*/ 141 w 422"/>
              <a:gd name="T25" fmla="*/ 63 h 430"/>
              <a:gd name="T26" fmla="*/ 142 w 422"/>
              <a:gd name="T27" fmla="*/ 78 h 430"/>
              <a:gd name="T28" fmla="*/ 148 w 422"/>
              <a:gd name="T29" fmla="*/ 102 h 430"/>
              <a:gd name="T30" fmla="*/ 154 w 422"/>
              <a:gd name="T31" fmla="*/ 107 h 430"/>
              <a:gd name="T32" fmla="*/ 150 w 422"/>
              <a:gd name="T33" fmla="*/ 117 h 430"/>
              <a:gd name="T34" fmla="*/ 124 w 422"/>
              <a:gd name="T35" fmla="*/ 120 h 430"/>
              <a:gd name="T36" fmla="*/ 115 w 422"/>
              <a:gd name="T37" fmla="*/ 130 h 430"/>
              <a:gd name="T38" fmla="*/ 103 w 422"/>
              <a:gd name="T39" fmla="*/ 132 h 430"/>
              <a:gd name="T40" fmla="*/ 102 w 422"/>
              <a:gd name="T41" fmla="*/ 148 h 430"/>
              <a:gd name="T42" fmla="*/ 78 w 422"/>
              <a:gd name="T43" fmla="*/ 158 h 430"/>
              <a:gd name="T44" fmla="*/ 71 w 422"/>
              <a:gd name="T45" fmla="*/ 170 h 430"/>
              <a:gd name="T46" fmla="*/ 54 w 422"/>
              <a:gd name="T47" fmla="*/ 177 h 430"/>
              <a:gd name="T48" fmla="*/ 34 w 422"/>
              <a:gd name="T49" fmla="*/ 180 h 430"/>
              <a:gd name="T50" fmla="*/ 1 w 422"/>
              <a:gd name="T51" fmla="*/ 198 h 430"/>
              <a:gd name="T52" fmla="*/ 0 w 422"/>
              <a:gd name="T53" fmla="*/ 226 h 430"/>
              <a:gd name="T54" fmla="*/ 0 w 422"/>
              <a:gd name="T55" fmla="*/ 227 h 430"/>
              <a:gd name="T56" fmla="*/ 0 w 422"/>
              <a:gd name="T57" fmla="*/ 232 h 430"/>
              <a:gd name="T58" fmla="*/ 76 w 422"/>
              <a:gd name="T59" fmla="*/ 289 h 430"/>
              <a:gd name="T60" fmla="*/ 145 w 422"/>
              <a:gd name="T61" fmla="*/ 342 h 430"/>
              <a:gd name="T62" fmla="*/ 214 w 422"/>
              <a:gd name="T63" fmla="*/ 393 h 430"/>
              <a:gd name="T64" fmla="*/ 218 w 422"/>
              <a:gd name="T65" fmla="*/ 404 h 430"/>
              <a:gd name="T66" fmla="*/ 232 w 422"/>
              <a:gd name="T67" fmla="*/ 411 h 430"/>
              <a:gd name="T68" fmla="*/ 241 w 422"/>
              <a:gd name="T69" fmla="*/ 416 h 430"/>
              <a:gd name="T70" fmla="*/ 242 w 422"/>
              <a:gd name="T71" fmla="*/ 430 h 430"/>
              <a:gd name="T72" fmla="*/ 264 w 422"/>
              <a:gd name="T73" fmla="*/ 428 h 430"/>
              <a:gd name="T74" fmla="*/ 293 w 422"/>
              <a:gd name="T75" fmla="*/ 417 h 430"/>
              <a:gd name="T76" fmla="*/ 353 w 422"/>
              <a:gd name="T77" fmla="*/ 371 h 430"/>
              <a:gd name="T78" fmla="*/ 422 w 422"/>
              <a:gd name="T79" fmla="*/ 325 h 430"/>
              <a:gd name="T80" fmla="*/ 413 w 422"/>
              <a:gd name="T81" fmla="*/ 310 h 430"/>
              <a:gd name="T82" fmla="*/ 397 w 422"/>
              <a:gd name="T83" fmla="*/ 300 h 430"/>
              <a:gd name="T84" fmla="*/ 387 w 422"/>
              <a:gd name="T85" fmla="*/ 303 h 430"/>
              <a:gd name="T86" fmla="*/ 379 w 422"/>
              <a:gd name="T87" fmla="*/ 290 h 430"/>
              <a:gd name="T88" fmla="*/ 379 w 422"/>
              <a:gd name="T89" fmla="*/ 280 h 430"/>
              <a:gd name="T90" fmla="*/ 366 w 422"/>
              <a:gd name="T91" fmla="*/ 262 h 430"/>
              <a:gd name="T92" fmla="*/ 373 w 422"/>
              <a:gd name="T93" fmla="*/ 253 h 430"/>
              <a:gd name="T94" fmla="*/ 372 w 422"/>
              <a:gd name="T95" fmla="*/ 238 h 430"/>
              <a:gd name="T96" fmla="*/ 374 w 422"/>
              <a:gd name="T97" fmla="*/ 225 h 430"/>
              <a:gd name="T98" fmla="*/ 373 w 422"/>
              <a:gd name="T99" fmla="*/ 214 h 430"/>
              <a:gd name="T100" fmla="*/ 375 w 422"/>
              <a:gd name="T101" fmla="*/ 195 h 430"/>
              <a:gd name="T102" fmla="*/ 374 w 422"/>
              <a:gd name="T103" fmla="*/ 184 h 430"/>
              <a:gd name="T104" fmla="*/ 367 w 422"/>
              <a:gd name="T105" fmla="*/ 162 h 430"/>
              <a:gd name="T106" fmla="*/ 358 w 422"/>
              <a:gd name="T107" fmla="*/ 120 h 430"/>
              <a:gd name="T108" fmla="*/ 344 w 422"/>
              <a:gd name="T109" fmla="*/ 111 h 430"/>
              <a:gd name="T110" fmla="*/ 344 w 422"/>
              <a:gd name="T111" fmla="*/ 106 h 430"/>
              <a:gd name="T112" fmla="*/ 328 w 422"/>
              <a:gd name="T113" fmla="*/ 91 h 430"/>
              <a:gd name="T114" fmla="*/ 326 w 422"/>
              <a:gd name="T115" fmla="*/ 73 h 430"/>
              <a:gd name="T116" fmla="*/ 338 w 422"/>
              <a:gd name="T117" fmla="*/ 60 h 430"/>
              <a:gd name="T118" fmla="*/ 342 w 422"/>
              <a:gd name="T119" fmla="*/ 40 h 430"/>
              <a:gd name="T120" fmla="*/ 338 w 422"/>
              <a:gd name="T121" fmla="*/ 17 h 430"/>
              <a:gd name="T122" fmla="*/ 342 w 422"/>
              <a:gd name="T123" fmla="*/ 5 h 430"/>
              <a:gd name="T124" fmla="*/ 342 w 422"/>
              <a:gd name="T125" fmla="*/ 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2" h="430">
                <a:moveTo>
                  <a:pt x="342" y="5"/>
                </a:moveTo>
                <a:lnTo>
                  <a:pt x="329" y="6"/>
                </a:lnTo>
                <a:lnTo>
                  <a:pt x="320" y="0"/>
                </a:lnTo>
                <a:lnTo>
                  <a:pt x="299" y="0"/>
                </a:lnTo>
                <a:lnTo>
                  <a:pt x="281" y="10"/>
                </a:lnTo>
                <a:lnTo>
                  <a:pt x="271" y="7"/>
                </a:lnTo>
                <a:lnTo>
                  <a:pt x="238" y="8"/>
                </a:lnTo>
                <a:lnTo>
                  <a:pt x="205" y="12"/>
                </a:lnTo>
                <a:lnTo>
                  <a:pt x="187" y="20"/>
                </a:lnTo>
                <a:lnTo>
                  <a:pt x="174" y="30"/>
                </a:lnTo>
                <a:lnTo>
                  <a:pt x="152" y="35"/>
                </a:lnTo>
                <a:lnTo>
                  <a:pt x="133" y="48"/>
                </a:lnTo>
                <a:lnTo>
                  <a:pt x="141" y="63"/>
                </a:lnTo>
                <a:lnTo>
                  <a:pt x="142" y="78"/>
                </a:lnTo>
                <a:lnTo>
                  <a:pt x="148" y="102"/>
                </a:lnTo>
                <a:lnTo>
                  <a:pt x="154" y="107"/>
                </a:lnTo>
                <a:lnTo>
                  <a:pt x="150" y="117"/>
                </a:lnTo>
                <a:lnTo>
                  <a:pt x="124" y="120"/>
                </a:lnTo>
                <a:lnTo>
                  <a:pt x="115" y="130"/>
                </a:lnTo>
                <a:lnTo>
                  <a:pt x="103" y="132"/>
                </a:lnTo>
                <a:lnTo>
                  <a:pt x="102" y="148"/>
                </a:lnTo>
                <a:lnTo>
                  <a:pt x="78" y="158"/>
                </a:lnTo>
                <a:lnTo>
                  <a:pt x="71" y="170"/>
                </a:lnTo>
                <a:lnTo>
                  <a:pt x="54" y="177"/>
                </a:lnTo>
                <a:lnTo>
                  <a:pt x="34" y="180"/>
                </a:lnTo>
                <a:lnTo>
                  <a:pt x="1" y="198"/>
                </a:lnTo>
                <a:lnTo>
                  <a:pt x="0" y="226"/>
                </a:lnTo>
                <a:lnTo>
                  <a:pt x="0" y="227"/>
                </a:lnTo>
                <a:lnTo>
                  <a:pt x="0" y="232"/>
                </a:lnTo>
                <a:lnTo>
                  <a:pt x="76" y="289"/>
                </a:lnTo>
                <a:lnTo>
                  <a:pt x="145" y="342"/>
                </a:lnTo>
                <a:lnTo>
                  <a:pt x="214" y="393"/>
                </a:lnTo>
                <a:lnTo>
                  <a:pt x="218" y="404"/>
                </a:lnTo>
                <a:lnTo>
                  <a:pt x="232" y="411"/>
                </a:lnTo>
                <a:lnTo>
                  <a:pt x="241" y="416"/>
                </a:lnTo>
                <a:lnTo>
                  <a:pt x="242" y="430"/>
                </a:lnTo>
                <a:lnTo>
                  <a:pt x="264" y="428"/>
                </a:lnTo>
                <a:lnTo>
                  <a:pt x="293" y="417"/>
                </a:lnTo>
                <a:lnTo>
                  <a:pt x="353" y="371"/>
                </a:lnTo>
                <a:lnTo>
                  <a:pt x="422" y="325"/>
                </a:lnTo>
                <a:lnTo>
                  <a:pt x="413" y="310"/>
                </a:lnTo>
                <a:lnTo>
                  <a:pt x="397" y="300"/>
                </a:lnTo>
                <a:lnTo>
                  <a:pt x="387" y="303"/>
                </a:lnTo>
                <a:lnTo>
                  <a:pt x="379" y="290"/>
                </a:lnTo>
                <a:lnTo>
                  <a:pt x="379" y="280"/>
                </a:lnTo>
                <a:lnTo>
                  <a:pt x="366" y="262"/>
                </a:lnTo>
                <a:lnTo>
                  <a:pt x="373" y="253"/>
                </a:lnTo>
                <a:lnTo>
                  <a:pt x="372" y="238"/>
                </a:lnTo>
                <a:lnTo>
                  <a:pt x="374" y="225"/>
                </a:lnTo>
                <a:lnTo>
                  <a:pt x="373" y="214"/>
                </a:lnTo>
                <a:lnTo>
                  <a:pt x="375" y="195"/>
                </a:lnTo>
                <a:lnTo>
                  <a:pt x="374" y="184"/>
                </a:lnTo>
                <a:lnTo>
                  <a:pt x="367" y="162"/>
                </a:lnTo>
                <a:lnTo>
                  <a:pt x="358" y="120"/>
                </a:lnTo>
                <a:lnTo>
                  <a:pt x="344" y="111"/>
                </a:lnTo>
                <a:lnTo>
                  <a:pt x="344" y="106"/>
                </a:lnTo>
                <a:lnTo>
                  <a:pt x="328" y="91"/>
                </a:lnTo>
                <a:lnTo>
                  <a:pt x="326" y="73"/>
                </a:lnTo>
                <a:lnTo>
                  <a:pt x="338" y="60"/>
                </a:lnTo>
                <a:lnTo>
                  <a:pt x="342" y="40"/>
                </a:lnTo>
                <a:lnTo>
                  <a:pt x="338" y="17"/>
                </a:lnTo>
                <a:lnTo>
                  <a:pt x="342" y="5"/>
                </a:lnTo>
                <a:lnTo>
                  <a:pt x="342" y="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60" name="Ecuador">
            <a:extLst>
              <a:ext uri="{FF2B5EF4-FFF2-40B4-BE49-F238E27FC236}">
                <a16:creationId xmlns:a16="http://schemas.microsoft.com/office/drawing/2014/main" id="{EC1E4BD2-3C7F-4E00-8D3F-3C334C4ED6B4}"/>
              </a:ext>
            </a:extLst>
          </p:cNvPr>
          <p:cNvSpPr>
            <a:spLocks/>
          </p:cNvSpPr>
          <p:nvPr/>
        </p:nvSpPr>
        <p:spPr bwMode="auto">
          <a:xfrm>
            <a:off x="2309520" y="4285851"/>
            <a:ext cx="205846" cy="255182"/>
          </a:xfrm>
          <a:custGeom>
            <a:avLst/>
            <a:gdLst>
              <a:gd name="T0" fmla="*/ 117 w 121"/>
              <a:gd name="T1" fmla="*/ 35 h 150"/>
              <a:gd name="T2" fmla="*/ 108 w 121"/>
              <a:gd name="T3" fmla="*/ 29 h 150"/>
              <a:gd name="T4" fmla="*/ 98 w 121"/>
              <a:gd name="T5" fmla="*/ 22 h 150"/>
              <a:gd name="T6" fmla="*/ 92 w 121"/>
              <a:gd name="T7" fmla="*/ 26 h 150"/>
              <a:gd name="T8" fmla="*/ 74 w 121"/>
              <a:gd name="T9" fmla="*/ 22 h 150"/>
              <a:gd name="T10" fmla="*/ 69 w 121"/>
              <a:gd name="T11" fmla="*/ 13 h 150"/>
              <a:gd name="T12" fmla="*/ 66 w 121"/>
              <a:gd name="T13" fmla="*/ 13 h 150"/>
              <a:gd name="T14" fmla="*/ 44 w 121"/>
              <a:gd name="T15" fmla="*/ 0 h 150"/>
              <a:gd name="T16" fmla="*/ 30 w 121"/>
              <a:gd name="T17" fmla="*/ 9 h 150"/>
              <a:gd name="T18" fmla="*/ 18 w 121"/>
              <a:gd name="T19" fmla="*/ 14 h 150"/>
              <a:gd name="T20" fmla="*/ 20 w 121"/>
              <a:gd name="T21" fmla="*/ 24 h 150"/>
              <a:gd name="T22" fmla="*/ 11 w 121"/>
              <a:gd name="T23" fmla="*/ 39 h 150"/>
              <a:gd name="T24" fmla="*/ 8 w 121"/>
              <a:gd name="T25" fmla="*/ 54 h 150"/>
              <a:gd name="T26" fmla="*/ 1 w 121"/>
              <a:gd name="T27" fmla="*/ 58 h 150"/>
              <a:gd name="T28" fmla="*/ 5 w 121"/>
              <a:gd name="T29" fmla="*/ 79 h 150"/>
              <a:gd name="T30" fmla="*/ 0 w 121"/>
              <a:gd name="T31" fmla="*/ 86 h 150"/>
              <a:gd name="T32" fmla="*/ 13 w 121"/>
              <a:gd name="T33" fmla="*/ 96 h 150"/>
              <a:gd name="T34" fmla="*/ 21 w 121"/>
              <a:gd name="T35" fmla="*/ 85 h 150"/>
              <a:gd name="T36" fmla="*/ 25 w 121"/>
              <a:gd name="T37" fmla="*/ 95 h 150"/>
              <a:gd name="T38" fmla="*/ 15 w 121"/>
              <a:gd name="T39" fmla="*/ 113 h 150"/>
              <a:gd name="T40" fmla="*/ 18 w 121"/>
              <a:gd name="T41" fmla="*/ 123 h 150"/>
              <a:gd name="T42" fmla="*/ 12 w 121"/>
              <a:gd name="T43" fmla="*/ 128 h 150"/>
              <a:gd name="T44" fmla="*/ 12 w 121"/>
              <a:gd name="T45" fmla="*/ 137 h 150"/>
              <a:gd name="T46" fmla="*/ 22 w 121"/>
              <a:gd name="T47" fmla="*/ 135 h 150"/>
              <a:gd name="T48" fmla="*/ 30 w 121"/>
              <a:gd name="T49" fmla="*/ 138 h 150"/>
              <a:gd name="T50" fmla="*/ 39 w 121"/>
              <a:gd name="T51" fmla="*/ 150 h 150"/>
              <a:gd name="T52" fmla="*/ 51 w 121"/>
              <a:gd name="T53" fmla="*/ 140 h 150"/>
              <a:gd name="T54" fmla="*/ 54 w 121"/>
              <a:gd name="T55" fmla="*/ 124 h 150"/>
              <a:gd name="T56" fmla="*/ 66 w 121"/>
              <a:gd name="T57" fmla="*/ 103 h 150"/>
              <a:gd name="T58" fmla="*/ 92 w 121"/>
              <a:gd name="T59" fmla="*/ 94 h 150"/>
              <a:gd name="T60" fmla="*/ 114 w 121"/>
              <a:gd name="T61" fmla="*/ 69 h 150"/>
              <a:gd name="T62" fmla="*/ 121 w 121"/>
              <a:gd name="T63" fmla="*/ 54 h 150"/>
              <a:gd name="T64" fmla="*/ 117 w 121"/>
              <a:gd name="T65" fmla="*/ 3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1" h="150">
                <a:moveTo>
                  <a:pt x="117" y="35"/>
                </a:moveTo>
                <a:lnTo>
                  <a:pt x="108" y="29"/>
                </a:lnTo>
                <a:lnTo>
                  <a:pt x="98" y="22"/>
                </a:lnTo>
                <a:lnTo>
                  <a:pt x="92" y="26"/>
                </a:lnTo>
                <a:lnTo>
                  <a:pt x="74" y="22"/>
                </a:lnTo>
                <a:lnTo>
                  <a:pt x="69" y="13"/>
                </a:lnTo>
                <a:lnTo>
                  <a:pt x="66" y="13"/>
                </a:lnTo>
                <a:lnTo>
                  <a:pt x="44" y="0"/>
                </a:lnTo>
                <a:lnTo>
                  <a:pt x="30" y="9"/>
                </a:lnTo>
                <a:lnTo>
                  <a:pt x="18" y="14"/>
                </a:lnTo>
                <a:lnTo>
                  <a:pt x="20" y="24"/>
                </a:lnTo>
                <a:lnTo>
                  <a:pt x="11" y="39"/>
                </a:lnTo>
                <a:lnTo>
                  <a:pt x="8" y="54"/>
                </a:lnTo>
                <a:lnTo>
                  <a:pt x="1" y="58"/>
                </a:lnTo>
                <a:lnTo>
                  <a:pt x="5" y="79"/>
                </a:lnTo>
                <a:lnTo>
                  <a:pt x="0" y="86"/>
                </a:lnTo>
                <a:lnTo>
                  <a:pt x="13" y="96"/>
                </a:lnTo>
                <a:lnTo>
                  <a:pt x="21" y="85"/>
                </a:lnTo>
                <a:lnTo>
                  <a:pt x="25" y="95"/>
                </a:lnTo>
                <a:lnTo>
                  <a:pt x="15" y="113"/>
                </a:lnTo>
                <a:lnTo>
                  <a:pt x="18" y="123"/>
                </a:lnTo>
                <a:lnTo>
                  <a:pt x="12" y="128"/>
                </a:lnTo>
                <a:lnTo>
                  <a:pt x="12" y="137"/>
                </a:lnTo>
                <a:lnTo>
                  <a:pt x="22" y="135"/>
                </a:lnTo>
                <a:lnTo>
                  <a:pt x="30" y="138"/>
                </a:lnTo>
                <a:lnTo>
                  <a:pt x="39" y="150"/>
                </a:lnTo>
                <a:lnTo>
                  <a:pt x="51" y="140"/>
                </a:lnTo>
                <a:lnTo>
                  <a:pt x="54" y="124"/>
                </a:lnTo>
                <a:lnTo>
                  <a:pt x="66" y="103"/>
                </a:lnTo>
                <a:lnTo>
                  <a:pt x="92" y="94"/>
                </a:lnTo>
                <a:lnTo>
                  <a:pt x="114" y="69"/>
                </a:lnTo>
                <a:lnTo>
                  <a:pt x="121" y="54"/>
                </a:lnTo>
                <a:lnTo>
                  <a:pt x="117" y="3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61" name="Egypt">
            <a:extLst>
              <a:ext uri="{FF2B5EF4-FFF2-40B4-BE49-F238E27FC236}">
                <a16:creationId xmlns:a16="http://schemas.microsoft.com/office/drawing/2014/main" id="{EE3ED5FE-D3EC-4451-8EEC-579819B0AAB4}"/>
              </a:ext>
            </a:extLst>
          </p:cNvPr>
          <p:cNvSpPr>
            <a:spLocks/>
          </p:cNvSpPr>
          <p:nvPr/>
        </p:nvSpPr>
        <p:spPr bwMode="auto">
          <a:xfrm>
            <a:off x="6047089" y="3064379"/>
            <a:ext cx="442316" cy="386176"/>
          </a:xfrm>
          <a:custGeom>
            <a:avLst/>
            <a:gdLst>
              <a:gd name="T0" fmla="*/ 74 w 260"/>
              <a:gd name="T1" fmla="*/ 13 h 227"/>
              <a:gd name="T2" fmla="*/ 53 w 260"/>
              <a:gd name="T3" fmla="*/ 6 h 227"/>
              <a:gd name="T4" fmla="*/ 34 w 260"/>
              <a:gd name="T5" fmla="*/ 0 h 227"/>
              <a:gd name="T6" fmla="*/ 7 w 260"/>
              <a:gd name="T7" fmla="*/ 1 h 227"/>
              <a:gd name="T8" fmla="*/ 0 w 260"/>
              <a:gd name="T9" fmla="*/ 12 h 227"/>
              <a:gd name="T10" fmla="*/ 4 w 260"/>
              <a:gd name="T11" fmla="*/ 21 h 227"/>
              <a:gd name="T12" fmla="*/ 0 w 260"/>
              <a:gd name="T13" fmla="*/ 36 h 227"/>
              <a:gd name="T14" fmla="*/ 8 w 260"/>
              <a:gd name="T15" fmla="*/ 55 h 227"/>
              <a:gd name="T16" fmla="*/ 12 w 260"/>
              <a:gd name="T17" fmla="*/ 140 h 227"/>
              <a:gd name="T18" fmla="*/ 16 w 260"/>
              <a:gd name="T19" fmla="*/ 227 h 227"/>
              <a:gd name="T20" fmla="*/ 98 w 260"/>
              <a:gd name="T21" fmla="*/ 227 h 227"/>
              <a:gd name="T22" fmla="*/ 178 w 260"/>
              <a:gd name="T23" fmla="*/ 227 h 227"/>
              <a:gd name="T24" fmla="*/ 260 w 260"/>
              <a:gd name="T25" fmla="*/ 227 h 227"/>
              <a:gd name="T26" fmla="*/ 256 w 260"/>
              <a:gd name="T27" fmla="*/ 223 h 227"/>
              <a:gd name="T28" fmla="*/ 231 w 260"/>
              <a:gd name="T29" fmla="*/ 201 h 227"/>
              <a:gd name="T30" fmla="*/ 229 w 260"/>
              <a:gd name="T31" fmla="*/ 185 h 227"/>
              <a:gd name="T32" fmla="*/ 233 w 260"/>
              <a:gd name="T33" fmla="*/ 182 h 227"/>
              <a:gd name="T34" fmla="*/ 213 w 260"/>
              <a:gd name="T35" fmla="*/ 156 h 227"/>
              <a:gd name="T36" fmla="*/ 205 w 260"/>
              <a:gd name="T37" fmla="*/ 142 h 227"/>
              <a:gd name="T38" fmla="*/ 197 w 260"/>
              <a:gd name="T39" fmla="*/ 128 h 227"/>
              <a:gd name="T40" fmla="*/ 179 w 260"/>
              <a:gd name="T41" fmla="*/ 92 h 227"/>
              <a:gd name="T42" fmla="*/ 164 w 260"/>
              <a:gd name="T43" fmla="*/ 68 h 227"/>
              <a:gd name="T44" fmla="*/ 154 w 260"/>
              <a:gd name="T45" fmla="*/ 43 h 227"/>
              <a:gd name="T46" fmla="*/ 156 w 260"/>
              <a:gd name="T47" fmla="*/ 41 h 227"/>
              <a:gd name="T48" fmla="*/ 173 w 260"/>
              <a:gd name="T49" fmla="*/ 74 h 227"/>
              <a:gd name="T50" fmla="*/ 183 w 260"/>
              <a:gd name="T51" fmla="*/ 86 h 227"/>
              <a:gd name="T52" fmla="*/ 191 w 260"/>
              <a:gd name="T53" fmla="*/ 93 h 227"/>
              <a:gd name="T54" fmla="*/ 195 w 260"/>
              <a:gd name="T55" fmla="*/ 88 h 227"/>
              <a:gd name="T56" fmla="*/ 200 w 260"/>
              <a:gd name="T57" fmla="*/ 76 h 227"/>
              <a:gd name="T58" fmla="*/ 202 w 260"/>
              <a:gd name="T59" fmla="*/ 58 h 227"/>
              <a:gd name="T60" fmla="*/ 207 w 260"/>
              <a:gd name="T61" fmla="*/ 49 h 227"/>
              <a:gd name="T62" fmla="*/ 205 w 260"/>
              <a:gd name="T63" fmla="*/ 43 h 227"/>
              <a:gd name="T64" fmla="*/ 190 w 260"/>
              <a:gd name="T65" fmla="*/ 8 h 227"/>
              <a:gd name="T66" fmla="*/ 190 w 260"/>
              <a:gd name="T67" fmla="*/ 8 h 227"/>
              <a:gd name="T68" fmla="*/ 180 w 260"/>
              <a:gd name="T69" fmla="*/ 15 h 227"/>
              <a:gd name="T70" fmla="*/ 164 w 260"/>
              <a:gd name="T71" fmla="*/ 13 h 227"/>
              <a:gd name="T72" fmla="*/ 149 w 260"/>
              <a:gd name="T73" fmla="*/ 7 h 227"/>
              <a:gd name="T74" fmla="*/ 144 w 260"/>
              <a:gd name="T75" fmla="*/ 15 h 227"/>
              <a:gd name="T76" fmla="*/ 138 w 260"/>
              <a:gd name="T77" fmla="*/ 3 h 227"/>
              <a:gd name="T78" fmla="*/ 123 w 260"/>
              <a:gd name="T79" fmla="*/ 1 h 227"/>
              <a:gd name="T80" fmla="*/ 106 w 260"/>
              <a:gd name="T81" fmla="*/ 2 h 227"/>
              <a:gd name="T82" fmla="*/ 98 w 260"/>
              <a:gd name="T83" fmla="*/ 9 h 227"/>
              <a:gd name="T84" fmla="*/ 83 w 260"/>
              <a:gd name="T85" fmla="*/ 16 h 227"/>
              <a:gd name="T86" fmla="*/ 74 w 260"/>
              <a:gd name="T87" fmla="*/ 13 h 227"/>
              <a:gd name="T88" fmla="*/ 74 w 260"/>
              <a:gd name="T89" fmla="*/ 1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 h="227">
                <a:moveTo>
                  <a:pt x="74" y="13"/>
                </a:moveTo>
                <a:lnTo>
                  <a:pt x="53" y="6"/>
                </a:lnTo>
                <a:lnTo>
                  <a:pt x="34" y="0"/>
                </a:lnTo>
                <a:lnTo>
                  <a:pt x="7" y="1"/>
                </a:lnTo>
                <a:lnTo>
                  <a:pt x="0" y="12"/>
                </a:lnTo>
                <a:lnTo>
                  <a:pt x="4" y="21"/>
                </a:lnTo>
                <a:lnTo>
                  <a:pt x="0" y="36"/>
                </a:lnTo>
                <a:lnTo>
                  <a:pt x="8" y="55"/>
                </a:lnTo>
                <a:lnTo>
                  <a:pt x="12" y="140"/>
                </a:lnTo>
                <a:lnTo>
                  <a:pt x="16" y="227"/>
                </a:lnTo>
                <a:lnTo>
                  <a:pt x="98" y="227"/>
                </a:lnTo>
                <a:lnTo>
                  <a:pt x="178" y="227"/>
                </a:lnTo>
                <a:lnTo>
                  <a:pt x="260" y="227"/>
                </a:lnTo>
                <a:lnTo>
                  <a:pt x="256" y="223"/>
                </a:lnTo>
                <a:lnTo>
                  <a:pt x="231" y="201"/>
                </a:lnTo>
                <a:lnTo>
                  <a:pt x="229" y="185"/>
                </a:lnTo>
                <a:lnTo>
                  <a:pt x="233" y="182"/>
                </a:lnTo>
                <a:lnTo>
                  <a:pt x="213" y="156"/>
                </a:lnTo>
                <a:lnTo>
                  <a:pt x="205" y="142"/>
                </a:lnTo>
                <a:lnTo>
                  <a:pt x="197" y="128"/>
                </a:lnTo>
                <a:lnTo>
                  <a:pt x="179" y="92"/>
                </a:lnTo>
                <a:lnTo>
                  <a:pt x="164" y="68"/>
                </a:lnTo>
                <a:lnTo>
                  <a:pt x="154" y="43"/>
                </a:lnTo>
                <a:lnTo>
                  <a:pt x="156" y="41"/>
                </a:lnTo>
                <a:lnTo>
                  <a:pt x="173" y="74"/>
                </a:lnTo>
                <a:lnTo>
                  <a:pt x="183" y="86"/>
                </a:lnTo>
                <a:lnTo>
                  <a:pt x="191" y="93"/>
                </a:lnTo>
                <a:lnTo>
                  <a:pt x="195" y="88"/>
                </a:lnTo>
                <a:lnTo>
                  <a:pt x="200" y="76"/>
                </a:lnTo>
                <a:lnTo>
                  <a:pt x="202" y="58"/>
                </a:lnTo>
                <a:lnTo>
                  <a:pt x="207" y="49"/>
                </a:lnTo>
                <a:lnTo>
                  <a:pt x="205" y="43"/>
                </a:lnTo>
                <a:lnTo>
                  <a:pt x="190" y="8"/>
                </a:lnTo>
                <a:lnTo>
                  <a:pt x="190" y="8"/>
                </a:lnTo>
                <a:lnTo>
                  <a:pt x="180" y="15"/>
                </a:lnTo>
                <a:lnTo>
                  <a:pt x="164" y="13"/>
                </a:lnTo>
                <a:lnTo>
                  <a:pt x="149" y="7"/>
                </a:lnTo>
                <a:lnTo>
                  <a:pt x="144" y="15"/>
                </a:lnTo>
                <a:lnTo>
                  <a:pt x="138" y="3"/>
                </a:lnTo>
                <a:lnTo>
                  <a:pt x="123" y="1"/>
                </a:lnTo>
                <a:lnTo>
                  <a:pt x="106" y="2"/>
                </a:lnTo>
                <a:lnTo>
                  <a:pt x="98" y="9"/>
                </a:lnTo>
                <a:lnTo>
                  <a:pt x="83" y="16"/>
                </a:lnTo>
                <a:lnTo>
                  <a:pt x="74" y="13"/>
                </a:lnTo>
                <a:lnTo>
                  <a:pt x="74" y="1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62" name="Eritrea">
            <a:extLst>
              <a:ext uri="{FF2B5EF4-FFF2-40B4-BE49-F238E27FC236}">
                <a16:creationId xmlns:a16="http://schemas.microsoft.com/office/drawing/2014/main" id="{012A7A0F-465E-406E-8AE1-9B61C263E394}"/>
              </a:ext>
            </a:extLst>
          </p:cNvPr>
          <p:cNvSpPr>
            <a:spLocks/>
          </p:cNvSpPr>
          <p:nvPr/>
        </p:nvSpPr>
        <p:spPr bwMode="auto">
          <a:xfrm>
            <a:off x="6486002" y="3613870"/>
            <a:ext cx="241572" cy="222859"/>
          </a:xfrm>
          <a:custGeom>
            <a:avLst/>
            <a:gdLst>
              <a:gd name="T0" fmla="*/ 71 w 142"/>
              <a:gd name="T1" fmla="*/ 60 h 131"/>
              <a:gd name="T2" fmla="*/ 60 w 142"/>
              <a:gd name="T3" fmla="*/ 49 h 131"/>
              <a:gd name="T4" fmla="*/ 52 w 142"/>
              <a:gd name="T5" fmla="*/ 27 h 131"/>
              <a:gd name="T6" fmla="*/ 39 w 142"/>
              <a:gd name="T7" fmla="*/ 0 h 131"/>
              <a:gd name="T8" fmla="*/ 29 w 142"/>
              <a:gd name="T9" fmla="*/ 13 h 131"/>
              <a:gd name="T10" fmla="*/ 14 w 142"/>
              <a:gd name="T11" fmla="*/ 16 h 131"/>
              <a:gd name="T12" fmla="*/ 8 w 142"/>
              <a:gd name="T13" fmla="*/ 24 h 131"/>
              <a:gd name="T14" fmla="*/ 6 w 142"/>
              <a:gd name="T15" fmla="*/ 40 h 131"/>
              <a:gd name="T16" fmla="*/ 0 w 142"/>
              <a:gd name="T17" fmla="*/ 75 h 131"/>
              <a:gd name="T18" fmla="*/ 2 w 142"/>
              <a:gd name="T19" fmla="*/ 85 h 131"/>
              <a:gd name="T20" fmla="*/ 26 w 142"/>
              <a:gd name="T21" fmla="*/ 89 h 131"/>
              <a:gd name="T22" fmla="*/ 32 w 142"/>
              <a:gd name="T23" fmla="*/ 72 h 131"/>
              <a:gd name="T24" fmla="*/ 45 w 142"/>
              <a:gd name="T25" fmla="*/ 83 h 131"/>
              <a:gd name="T26" fmla="*/ 57 w 142"/>
              <a:gd name="T27" fmla="*/ 77 h 131"/>
              <a:gd name="T28" fmla="*/ 62 w 142"/>
              <a:gd name="T29" fmla="*/ 82 h 131"/>
              <a:gd name="T30" fmla="*/ 76 w 142"/>
              <a:gd name="T31" fmla="*/ 82 h 131"/>
              <a:gd name="T32" fmla="*/ 95 w 142"/>
              <a:gd name="T33" fmla="*/ 91 h 131"/>
              <a:gd name="T34" fmla="*/ 101 w 142"/>
              <a:gd name="T35" fmla="*/ 100 h 131"/>
              <a:gd name="T36" fmla="*/ 110 w 142"/>
              <a:gd name="T37" fmla="*/ 107 h 131"/>
              <a:gd name="T38" fmla="*/ 119 w 142"/>
              <a:gd name="T39" fmla="*/ 121 h 131"/>
              <a:gd name="T40" fmla="*/ 127 w 142"/>
              <a:gd name="T41" fmla="*/ 129 h 131"/>
              <a:gd name="T42" fmla="*/ 136 w 142"/>
              <a:gd name="T43" fmla="*/ 131 h 131"/>
              <a:gd name="T44" fmla="*/ 142 w 142"/>
              <a:gd name="T45" fmla="*/ 126 h 131"/>
              <a:gd name="T46" fmla="*/ 131 w 142"/>
              <a:gd name="T47" fmla="*/ 118 h 131"/>
              <a:gd name="T48" fmla="*/ 125 w 142"/>
              <a:gd name="T49" fmla="*/ 110 h 131"/>
              <a:gd name="T50" fmla="*/ 113 w 142"/>
              <a:gd name="T51" fmla="*/ 96 h 131"/>
              <a:gd name="T52" fmla="*/ 101 w 142"/>
              <a:gd name="T53" fmla="*/ 83 h 131"/>
              <a:gd name="T54" fmla="*/ 71 w 142"/>
              <a:gd name="T55" fmla="*/ 6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2" h="131">
                <a:moveTo>
                  <a:pt x="71" y="60"/>
                </a:moveTo>
                <a:lnTo>
                  <a:pt x="60" y="49"/>
                </a:lnTo>
                <a:lnTo>
                  <a:pt x="52" y="27"/>
                </a:lnTo>
                <a:lnTo>
                  <a:pt x="39" y="0"/>
                </a:lnTo>
                <a:lnTo>
                  <a:pt x="29" y="13"/>
                </a:lnTo>
                <a:lnTo>
                  <a:pt x="14" y="16"/>
                </a:lnTo>
                <a:lnTo>
                  <a:pt x="8" y="24"/>
                </a:lnTo>
                <a:lnTo>
                  <a:pt x="6" y="40"/>
                </a:lnTo>
                <a:lnTo>
                  <a:pt x="0" y="75"/>
                </a:lnTo>
                <a:lnTo>
                  <a:pt x="2" y="85"/>
                </a:lnTo>
                <a:lnTo>
                  <a:pt x="26" y="89"/>
                </a:lnTo>
                <a:lnTo>
                  <a:pt x="32" y="72"/>
                </a:lnTo>
                <a:lnTo>
                  <a:pt x="45" y="83"/>
                </a:lnTo>
                <a:lnTo>
                  <a:pt x="57" y="77"/>
                </a:lnTo>
                <a:lnTo>
                  <a:pt x="62" y="82"/>
                </a:lnTo>
                <a:lnTo>
                  <a:pt x="76" y="82"/>
                </a:lnTo>
                <a:lnTo>
                  <a:pt x="95" y="91"/>
                </a:lnTo>
                <a:lnTo>
                  <a:pt x="101" y="100"/>
                </a:lnTo>
                <a:lnTo>
                  <a:pt x="110" y="107"/>
                </a:lnTo>
                <a:lnTo>
                  <a:pt x="119" y="121"/>
                </a:lnTo>
                <a:lnTo>
                  <a:pt x="127" y="129"/>
                </a:lnTo>
                <a:lnTo>
                  <a:pt x="136" y="131"/>
                </a:lnTo>
                <a:lnTo>
                  <a:pt x="142" y="126"/>
                </a:lnTo>
                <a:lnTo>
                  <a:pt x="131" y="118"/>
                </a:lnTo>
                <a:lnTo>
                  <a:pt x="125" y="110"/>
                </a:lnTo>
                <a:lnTo>
                  <a:pt x="113" y="96"/>
                </a:lnTo>
                <a:lnTo>
                  <a:pt x="101" y="83"/>
                </a:lnTo>
                <a:lnTo>
                  <a:pt x="71" y="6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63" name="Estonia">
            <a:extLst>
              <a:ext uri="{FF2B5EF4-FFF2-40B4-BE49-F238E27FC236}">
                <a16:creationId xmlns:a16="http://schemas.microsoft.com/office/drawing/2014/main" id="{269CAD1C-CA5A-49FF-ADD3-A4DB2D45EC11}"/>
              </a:ext>
            </a:extLst>
          </p:cNvPr>
          <p:cNvSpPr>
            <a:spLocks/>
          </p:cNvSpPr>
          <p:nvPr/>
        </p:nvSpPr>
        <p:spPr bwMode="auto">
          <a:xfrm>
            <a:off x="5870162" y="1960289"/>
            <a:ext cx="137798" cy="78255"/>
          </a:xfrm>
          <a:custGeom>
            <a:avLst/>
            <a:gdLst>
              <a:gd name="T0" fmla="*/ 42 w 81"/>
              <a:gd name="T1" fmla="*/ 0 h 46"/>
              <a:gd name="T2" fmla="*/ 21 w 81"/>
              <a:gd name="T3" fmla="*/ 3 h 46"/>
              <a:gd name="T4" fmla="*/ 0 w 81"/>
              <a:gd name="T5" fmla="*/ 9 h 46"/>
              <a:gd name="T6" fmla="*/ 4 w 81"/>
              <a:gd name="T7" fmla="*/ 22 h 46"/>
              <a:gd name="T8" fmla="*/ 16 w 81"/>
              <a:gd name="T9" fmla="*/ 30 h 46"/>
              <a:gd name="T10" fmla="*/ 22 w 81"/>
              <a:gd name="T11" fmla="*/ 27 h 46"/>
              <a:gd name="T12" fmla="*/ 22 w 81"/>
              <a:gd name="T13" fmla="*/ 40 h 46"/>
              <a:gd name="T14" fmla="*/ 36 w 81"/>
              <a:gd name="T15" fmla="*/ 36 h 46"/>
              <a:gd name="T16" fmla="*/ 44 w 81"/>
              <a:gd name="T17" fmla="*/ 39 h 46"/>
              <a:gd name="T18" fmla="*/ 60 w 81"/>
              <a:gd name="T19" fmla="*/ 46 h 46"/>
              <a:gd name="T20" fmla="*/ 74 w 81"/>
              <a:gd name="T21" fmla="*/ 46 h 46"/>
              <a:gd name="T22" fmla="*/ 81 w 81"/>
              <a:gd name="T23" fmla="*/ 40 h 46"/>
              <a:gd name="T24" fmla="*/ 71 w 81"/>
              <a:gd name="T25" fmla="*/ 19 h 46"/>
              <a:gd name="T26" fmla="*/ 81 w 81"/>
              <a:gd name="T27" fmla="*/ 6 h 46"/>
              <a:gd name="T28" fmla="*/ 78 w 81"/>
              <a:gd name="T29" fmla="*/ 3 h 46"/>
              <a:gd name="T30" fmla="*/ 78 w 81"/>
              <a:gd name="T31" fmla="*/ 3 h 46"/>
              <a:gd name="T32" fmla="*/ 60 w 81"/>
              <a:gd name="T33" fmla="*/ 3 h 46"/>
              <a:gd name="T34" fmla="*/ 42 w 81"/>
              <a:gd name="T3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 h="46">
                <a:moveTo>
                  <a:pt x="42" y="0"/>
                </a:moveTo>
                <a:lnTo>
                  <a:pt x="21" y="3"/>
                </a:lnTo>
                <a:lnTo>
                  <a:pt x="0" y="9"/>
                </a:lnTo>
                <a:lnTo>
                  <a:pt x="4" y="22"/>
                </a:lnTo>
                <a:lnTo>
                  <a:pt x="16" y="30"/>
                </a:lnTo>
                <a:lnTo>
                  <a:pt x="22" y="27"/>
                </a:lnTo>
                <a:lnTo>
                  <a:pt x="22" y="40"/>
                </a:lnTo>
                <a:lnTo>
                  <a:pt x="36" y="36"/>
                </a:lnTo>
                <a:lnTo>
                  <a:pt x="44" y="39"/>
                </a:lnTo>
                <a:lnTo>
                  <a:pt x="60" y="46"/>
                </a:lnTo>
                <a:lnTo>
                  <a:pt x="74" y="46"/>
                </a:lnTo>
                <a:lnTo>
                  <a:pt x="81" y="40"/>
                </a:lnTo>
                <a:lnTo>
                  <a:pt x="71" y="19"/>
                </a:lnTo>
                <a:lnTo>
                  <a:pt x="81" y="6"/>
                </a:lnTo>
                <a:lnTo>
                  <a:pt x="78" y="3"/>
                </a:lnTo>
                <a:lnTo>
                  <a:pt x="78" y="3"/>
                </a:lnTo>
                <a:lnTo>
                  <a:pt x="60" y="3"/>
                </a:lnTo>
                <a:lnTo>
                  <a:pt x="42"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64" name="Ethipia">
            <a:extLst>
              <a:ext uri="{FF2B5EF4-FFF2-40B4-BE49-F238E27FC236}">
                <a16:creationId xmlns:a16="http://schemas.microsoft.com/office/drawing/2014/main" id="{9C0C121F-95D5-4C43-9E2C-615008792E79}"/>
              </a:ext>
            </a:extLst>
          </p:cNvPr>
          <p:cNvSpPr>
            <a:spLocks/>
          </p:cNvSpPr>
          <p:nvPr/>
        </p:nvSpPr>
        <p:spPr bwMode="auto">
          <a:xfrm>
            <a:off x="6373721" y="3736357"/>
            <a:ext cx="527377" cy="466133"/>
          </a:xfrm>
          <a:custGeom>
            <a:avLst/>
            <a:gdLst>
              <a:gd name="T0" fmla="*/ 98 w 310"/>
              <a:gd name="T1" fmla="*/ 0 h 274"/>
              <a:gd name="T2" fmla="*/ 92 w 310"/>
              <a:gd name="T3" fmla="*/ 17 h 274"/>
              <a:gd name="T4" fmla="*/ 68 w 310"/>
              <a:gd name="T5" fmla="*/ 13 h 274"/>
              <a:gd name="T6" fmla="*/ 66 w 310"/>
              <a:gd name="T7" fmla="*/ 33 h 274"/>
              <a:gd name="T8" fmla="*/ 57 w 310"/>
              <a:gd name="T9" fmla="*/ 56 h 274"/>
              <a:gd name="T10" fmla="*/ 45 w 310"/>
              <a:gd name="T11" fmla="*/ 68 h 274"/>
              <a:gd name="T12" fmla="*/ 37 w 310"/>
              <a:gd name="T13" fmla="*/ 85 h 274"/>
              <a:gd name="T14" fmla="*/ 35 w 310"/>
              <a:gd name="T15" fmla="*/ 96 h 274"/>
              <a:gd name="T16" fmla="*/ 26 w 310"/>
              <a:gd name="T17" fmla="*/ 102 h 274"/>
              <a:gd name="T18" fmla="*/ 20 w 310"/>
              <a:gd name="T19" fmla="*/ 127 h 274"/>
              <a:gd name="T20" fmla="*/ 20 w 310"/>
              <a:gd name="T21" fmla="*/ 130 h 274"/>
              <a:gd name="T22" fmla="*/ 21 w 310"/>
              <a:gd name="T23" fmla="*/ 149 h 274"/>
              <a:gd name="T24" fmla="*/ 18 w 310"/>
              <a:gd name="T25" fmla="*/ 156 h 274"/>
              <a:gd name="T26" fmla="*/ 7 w 310"/>
              <a:gd name="T27" fmla="*/ 156 h 274"/>
              <a:gd name="T28" fmla="*/ 0 w 310"/>
              <a:gd name="T29" fmla="*/ 169 h 274"/>
              <a:gd name="T30" fmla="*/ 13 w 310"/>
              <a:gd name="T31" fmla="*/ 171 h 274"/>
              <a:gd name="T32" fmla="*/ 24 w 310"/>
              <a:gd name="T33" fmla="*/ 184 h 274"/>
              <a:gd name="T34" fmla="*/ 27 w 310"/>
              <a:gd name="T35" fmla="*/ 193 h 274"/>
              <a:gd name="T36" fmla="*/ 37 w 310"/>
              <a:gd name="T37" fmla="*/ 198 h 274"/>
              <a:gd name="T38" fmla="*/ 50 w 310"/>
              <a:gd name="T39" fmla="*/ 224 h 274"/>
              <a:gd name="T40" fmla="*/ 61 w 310"/>
              <a:gd name="T41" fmla="*/ 228 h 274"/>
              <a:gd name="T42" fmla="*/ 61 w 310"/>
              <a:gd name="T43" fmla="*/ 241 h 274"/>
              <a:gd name="T44" fmla="*/ 69 w 310"/>
              <a:gd name="T45" fmla="*/ 250 h 274"/>
              <a:gd name="T46" fmla="*/ 83 w 310"/>
              <a:gd name="T47" fmla="*/ 250 h 274"/>
              <a:gd name="T48" fmla="*/ 110 w 310"/>
              <a:gd name="T49" fmla="*/ 269 h 274"/>
              <a:gd name="T50" fmla="*/ 116 w 310"/>
              <a:gd name="T51" fmla="*/ 269 h 274"/>
              <a:gd name="T52" fmla="*/ 122 w 310"/>
              <a:gd name="T53" fmla="*/ 269 h 274"/>
              <a:gd name="T54" fmla="*/ 126 w 310"/>
              <a:gd name="T55" fmla="*/ 272 h 274"/>
              <a:gd name="T56" fmla="*/ 140 w 310"/>
              <a:gd name="T57" fmla="*/ 274 h 274"/>
              <a:gd name="T58" fmla="*/ 146 w 310"/>
              <a:gd name="T59" fmla="*/ 264 h 274"/>
              <a:gd name="T60" fmla="*/ 165 w 310"/>
              <a:gd name="T61" fmla="*/ 254 h 274"/>
              <a:gd name="T62" fmla="*/ 174 w 310"/>
              <a:gd name="T63" fmla="*/ 262 h 274"/>
              <a:gd name="T64" fmla="*/ 188 w 310"/>
              <a:gd name="T65" fmla="*/ 262 h 274"/>
              <a:gd name="T66" fmla="*/ 194 w 310"/>
              <a:gd name="T67" fmla="*/ 254 h 274"/>
              <a:gd name="T68" fmla="*/ 207 w 310"/>
              <a:gd name="T69" fmla="*/ 254 h 274"/>
              <a:gd name="T70" fmla="*/ 225 w 310"/>
              <a:gd name="T71" fmla="*/ 237 h 274"/>
              <a:gd name="T72" fmla="*/ 253 w 310"/>
              <a:gd name="T73" fmla="*/ 236 h 274"/>
              <a:gd name="T74" fmla="*/ 310 w 310"/>
              <a:gd name="T75" fmla="*/ 165 h 274"/>
              <a:gd name="T76" fmla="*/ 293 w 310"/>
              <a:gd name="T77" fmla="*/ 165 h 274"/>
              <a:gd name="T78" fmla="*/ 224 w 310"/>
              <a:gd name="T79" fmla="*/ 137 h 274"/>
              <a:gd name="T80" fmla="*/ 215 w 310"/>
              <a:gd name="T81" fmla="*/ 128 h 274"/>
              <a:gd name="T82" fmla="*/ 208 w 310"/>
              <a:gd name="T83" fmla="*/ 117 h 274"/>
              <a:gd name="T84" fmla="*/ 199 w 310"/>
              <a:gd name="T85" fmla="*/ 104 h 274"/>
              <a:gd name="T86" fmla="*/ 203 w 310"/>
              <a:gd name="T87" fmla="*/ 95 h 274"/>
              <a:gd name="T88" fmla="*/ 198 w 310"/>
              <a:gd name="T89" fmla="*/ 91 h 274"/>
              <a:gd name="T90" fmla="*/ 194 w 310"/>
              <a:gd name="T91" fmla="*/ 93 h 274"/>
              <a:gd name="T92" fmla="*/ 182 w 310"/>
              <a:gd name="T93" fmla="*/ 93 h 274"/>
              <a:gd name="T94" fmla="*/ 182 w 310"/>
              <a:gd name="T95" fmla="*/ 85 h 274"/>
              <a:gd name="T96" fmla="*/ 180 w 310"/>
              <a:gd name="T97" fmla="*/ 79 h 274"/>
              <a:gd name="T98" fmla="*/ 186 w 310"/>
              <a:gd name="T99" fmla="*/ 68 h 274"/>
              <a:gd name="T100" fmla="*/ 193 w 310"/>
              <a:gd name="T101" fmla="*/ 57 h 274"/>
              <a:gd name="T102" fmla="*/ 185 w 310"/>
              <a:gd name="T103" fmla="*/ 49 h 274"/>
              <a:gd name="T104" fmla="*/ 176 w 310"/>
              <a:gd name="T105" fmla="*/ 35 h 274"/>
              <a:gd name="T106" fmla="*/ 167 w 310"/>
              <a:gd name="T107" fmla="*/ 28 h 274"/>
              <a:gd name="T108" fmla="*/ 161 w 310"/>
              <a:gd name="T109" fmla="*/ 19 h 274"/>
              <a:gd name="T110" fmla="*/ 142 w 310"/>
              <a:gd name="T111" fmla="*/ 10 h 274"/>
              <a:gd name="T112" fmla="*/ 128 w 310"/>
              <a:gd name="T113" fmla="*/ 10 h 274"/>
              <a:gd name="T114" fmla="*/ 123 w 310"/>
              <a:gd name="T115" fmla="*/ 5 h 274"/>
              <a:gd name="T116" fmla="*/ 111 w 310"/>
              <a:gd name="T117" fmla="*/ 11 h 274"/>
              <a:gd name="T118" fmla="*/ 98 w 310"/>
              <a:gd name="T119" fmla="*/ 0 h 274"/>
              <a:gd name="T120" fmla="*/ 98 w 310"/>
              <a:gd name="T121"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0" h="274">
                <a:moveTo>
                  <a:pt x="98" y="0"/>
                </a:moveTo>
                <a:lnTo>
                  <a:pt x="92" y="17"/>
                </a:lnTo>
                <a:lnTo>
                  <a:pt x="68" y="13"/>
                </a:lnTo>
                <a:lnTo>
                  <a:pt x="66" y="33"/>
                </a:lnTo>
                <a:lnTo>
                  <a:pt x="57" y="56"/>
                </a:lnTo>
                <a:lnTo>
                  <a:pt x="45" y="68"/>
                </a:lnTo>
                <a:lnTo>
                  <a:pt x="37" y="85"/>
                </a:lnTo>
                <a:lnTo>
                  <a:pt x="35" y="96"/>
                </a:lnTo>
                <a:lnTo>
                  <a:pt x="26" y="102"/>
                </a:lnTo>
                <a:lnTo>
                  <a:pt x="20" y="127"/>
                </a:lnTo>
                <a:lnTo>
                  <a:pt x="20" y="130"/>
                </a:lnTo>
                <a:lnTo>
                  <a:pt x="21" y="149"/>
                </a:lnTo>
                <a:lnTo>
                  <a:pt x="18" y="156"/>
                </a:lnTo>
                <a:lnTo>
                  <a:pt x="7" y="156"/>
                </a:lnTo>
                <a:lnTo>
                  <a:pt x="0" y="169"/>
                </a:lnTo>
                <a:lnTo>
                  <a:pt x="13" y="171"/>
                </a:lnTo>
                <a:lnTo>
                  <a:pt x="24" y="184"/>
                </a:lnTo>
                <a:lnTo>
                  <a:pt x="27" y="193"/>
                </a:lnTo>
                <a:lnTo>
                  <a:pt x="37" y="198"/>
                </a:lnTo>
                <a:lnTo>
                  <a:pt x="50" y="224"/>
                </a:lnTo>
                <a:lnTo>
                  <a:pt x="61" y="228"/>
                </a:lnTo>
                <a:lnTo>
                  <a:pt x="61" y="241"/>
                </a:lnTo>
                <a:lnTo>
                  <a:pt x="69" y="250"/>
                </a:lnTo>
                <a:lnTo>
                  <a:pt x="83" y="250"/>
                </a:lnTo>
                <a:lnTo>
                  <a:pt x="110" y="269"/>
                </a:lnTo>
                <a:lnTo>
                  <a:pt x="116" y="269"/>
                </a:lnTo>
                <a:lnTo>
                  <a:pt x="122" y="269"/>
                </a:lnTo>
                <a:lnTo>
                  <a:pt x="126" y="272"/>
                </a:lnTo>
                <a:lnTo>
                  <a:pt x="140" y="274"/>
                </a:lnTo>
                <a:lnTo>
                  <a:pt x="146" y="264"/>
                </a:lnTo>
                <a:lnTo>
                  <a:pt x="165" y="254"/>
                </a:lnTo>
                <a:lnTo>
                  <a:pt x="174" y="262"/>
                </a:lnTo>
                <a:lnTo>
                  <a:pt x="188" y="262"/>
                </a:lnTo>
                <a:lnTo>
                  <a:pt x="194" y="254"/>
                </a:lnTo>
                <a:lnTo>
                  <a:pt x="207" y="254"/>
                </a:lnTo>
                <a:lnTo>
                  <a:pt x="225" y="237"/>
                </a:lnTo>
                <a:lnTo>
                  <a:pt x="253" y="236"/>
                </a:lnTo>
                <a:lnTo>
                  <a:pt x="310" y="165"/>
                </a:lnTo>
                <a:lnTo>
                  <a:pt x="293" y="165"/>
                </a:lnTo>
                <a:lnTo>
                  <a:pt x="224" y="137"/>
                </a:lnTo>
                <a:lnTo>
                  <a:pt x="215" y="128"/>
                </a:lnTo>
                <a:lnTo>
                  <a:pt x="208" y="117"/>
                </a:lnTo>
                <a:lnTo>
                  <a:pt x="199" y="104"/>
                </a:lnTo>
                <a:lnTo>
                  <a:pt x="203" y="95"/>
                </a:lnTo>
                <a:lnTo>
                  <a:pt x="198" y="91"/>
                </a:lnTo>
                <a:lnTo>
                  <a:pt x="194" y="93"/>
                </a:lnTo>
                <a:lnTo>
                  <a:pt x="182" y="93"/>
                </a:lnTo>
                <a:lnTo>
                  <a:pt x="182" y="85"/>
                </a:lnTo>
                <a:lnTo>
                  <a:pt x="180" y="79"/>
                </a:lnTo>
                <a:lnTo>
                  <a:pt x="186" y="68"/>
                </a:lnTo>
                <a:lnTo>
                  <a:pt x="193" y="57"/>
                </a:lnTo>
                <a:lnTo>
                  <a:pt x="185" y="49"/>
                </a:lnTo>
                <a:lnTo>
                  <a:pt x="176" y="35"/>
                </a:lnTo>
                <a:lnTo>
                  <a:pt x="167" y="28"/>
                </a:lnTo>
                <a:lnTo>
                  <a:pt x="161" y="19"/>
                </a:lnTo>
                <a:lnTo>
                  <a:pt x="142" y="10"/>
                </a:lnTo>
                <a:lnTo>
                  <a:pt x="128" y="10"/>
                </a:lnTo>
                <a:lnTo>
                  <a:pt x="123" y="5"/>
                </a:lnTo>
                <a:lnTo>
                  <a:pt x="111" y="11"/>
                </a:lnTo>
                <a:lnTo>
                  <a:pt x="98" y="0"/>
                </a:lnTo>
                <a:lnTo>
                  <a:pt x="98"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65" name="Finland">
            <a:extLst>
              <a:ext uri="{FF2B5EF4-FFF2-40B4-BE49-F238E27FC236}">
                <a16:creationId xmlns:a16="http://schemas.microsoft.com/office/drawing/2014/main" id="{F69CBB0E-1F02-4FF6-A867-FC5DFE92FD82}"/>
              </a:ext>
            </a:extLst>
          </p:cNvPr>
          <p:cNvSpPr>
            <a:spLocks/>
          </p:cNvSpPr>
          <p:nvPr/>
        </p:nvSpPr>
        <p:spPr bwMode="auto">
          <a:xfrm>
            <a:off x="5735765" y="1584322"/>
            <a:ext cx="338542" cy="365761"/>
          </a:xfrm>
          <a:custGeom>
            <a:avLst/>
            <a:gdLst>
              <a:gd name="T0" fmla="*/ 121 w 199"/>
              <a:gd name="T1" fmla="*/ 23 h 215"/>
              <a:gd name="T2" fmla="*/ 124 w 199"/>
              <a:gd name="T3" fmla="*/ 8 h 215"/>
              <a:gd name="T4" fmla="*/ 103 w 199"/>
              <a:gd name="T5" fmla="*/ 0 h 215"/>
              <a:gd name="T6" fmla="*/ 81 w 199"/>
              <a:gd name="T7" fmla="*/ 7 h 215"/>
              <a:gd name="T8" fmla="*/ 77 w 199"/>
              <a:gd name="T9" fmla="*/ 22 h 215"/>
              <a:gd name="T10" fmla="*/ 65 w 199"/>
              <a:gd name="T11" fmla="*/ 30 h 215"/>
              <a:gd name="T12" fmla="*/ 47 w 199"/>
              <a:gd name="T13" fmla="*/ 26 h 215"/>
              <a:gd name="T14" fmla="*/ 27 w 199"/>
              <a:gd name="T15" fmla="*/ 27 h 215"/>
              <a:gd name="T16" fmla="*/ 8 w 199"/>
              <a:gd name="T17" fmla="*/ 16 h 215"/>
              <a:gd name="T18" fmla="*/ 0 w 199"/>
              <a:gd name="T19" fmla="*/ 21 h 215"/>
              <a:gd name="T20" fmla="*/ 22 w 199"/>
              <a:gd name="T21" fmla="*/ 31 h 215"/>
              <a:gd name="T22" fmla="*/ 49 w 199"/>
              <a:gd name="T23" fmla="*/ 45 h 215"/>
              <a:gd name="T24" fmla="*/ 55 w 199"/>
              <a:gd name="T25" fmla="*/ 77 h 215"/>
              <a:gd name="T26" fmla="*/ 63 w 199"/>
              <a:gd name="T27" fmla="*/ 84 h 215"/>
              <a:gd name="T28" fmla="*/ 86 w 199"/>
              <a:gd name="T29" fmla="*/ 95 h 215"/>
              <a:gd name="T30" fmla="*/ 90 w 199"/>
              <a:gd name="T31" fmla="*/ 103 h 215"/>
              <a:gd name="T32" fmla="*/ 80 w 199"/>
              <a:gd name="T33" fmla="*/ 108 h 215"/>
              <a:gd name="T34" fmla="*/ 48 w 199"/>
              <a:gd name="T35" fmla="*/ 130 h 215"/>
              <a:gd name="T36" fmla="*/ 36 w 199"/>
              <a:gd name="T37" fmla="*/ 144 h 215"/>
              <a:gd name="T38" fmla="*/ 30 w 199"/>
              <a:gd name="T39" fmla="*/ 156 h 215"/>
              <a:gd name="T40" fmla="*/ 40 w 199"/>
              <a:gd name="T41" fmla="*/ 176 h 215"/>
              <a:gd name="T42" fmla="*/ 40 w 199"/>
              <a:gd name="T43" fmla="*/ 196 h 215"/>
              <a:gd name="T44" fmla="*/ 58 w 199"/>
              <a:gd name="T45" fmla="*/ 204 h 215"/>
              <a:gd name="T46" fmla="*/ 69 w 199"/>
              <a:gd name="T47" fmla="*/ 215 h 215"/>
              <a:gd name="T48" fmla="*/ 95 w 199"/>
              <a:gd name="T49" fmla="*/ 211 h 215"/>
              <a:gd name="T50" fmla="*/ 123 w 199"/>
              <a:gd name="T51" fmla="*/ 203 h 215"/>
              <a:gd name="T52" fmla="*/ 153 w 199"/>
              <a:gd name="T53" fmla="*/ 201 h 215"/>
              <a:gd name="T54" fmla="*/ 153 w 199"/>
              <a:gd name="T55" fmla="*/ 201 h 215"/>
              <a:gd name="T56" fmla="*/ 183 w 199"/>
              <a:gd name="T57" fmla="*/ 174 h 215"/>
              <a:gd name="T58" fmla="*/ 195 w 199"/>
              <a:gd name="T59" fmla="*/ 161 h 215"/>
              <a:gd name="T60" fmla="*/ 199 w 199"/>
              <a:gd name="T61" fmla="*/ 151 h 215"/>
              <a:gd name="T62" fmla="*/ 172 w 199"/>
              <a:gd name="T63" fmla="*/ 136 h 215"/>
              <a:gd name="T64" fmla="*/ 175 w 199"/>
              <a:gd name="T65" fmla="*/ 122 h 215"/>
              <a:gd name="T66" fmla="*/ 157 w 199"/>
              <a:gd name="T67" fmla="*/ 107 h 215"/>
              <a:gd name="T68" fmla="*/ 163 w 199"/>
              <a:gd name="T69" fmla="*/ 89 h 215"/>
              <a:gd name="T70" fmla="*/ 139 w 199"/>
              <a:gd name="T71" fmla="*/ 66 h 215"/>
              <a:gd name="T72" fmla="*/ 149 w 199"/>
              <a:gd name="T73" fmla="*/ 50 h 215"/>
              <a:gd name="T74" fmla="*/ 122 w 199"/>
              <a:gd name="T75" fmla="*/ 36 h 215"/>
              <a:gd name="T76" fmla="*/ 121 w 199"/>
              <a:gd name="T77" fmla="*/ 23 h 215"/>
              <a:gd name="T78" fmla="*/ 121 w 199"/>
              <a:gd name="T79" fmla="*/ 2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9" h="215">
                <a:moveTo>
                  <a:pt x="121" y="23"/>
                </a:moveTo>
                <a:lnTo>
                  <a:pt x="124" y="8"/>
                </a:lnTo>
                <a:lnTo>
                  <a:pt x="103" y="0"/>
                </a:lnTo>
                <a:lnTo>
                  <a:pt x="81" y="7"/>
                </a:lnTo>
                <a:lnTo>
                  <a:pt x="77" y="22"/>
                </a:lnTo>
                <a:lnTo>
                  <a:pt x="65" y="30"/>
                </a:lnTo>
                <a:lnTo>
                  <a:pt x="47" y="26"/>
                </a:lnTo>
                <a:lnTo>
                  <a:pt x="27" y="27"/>
                </a:lnTo>
                <a:lnTo>
                  <a:pt x="8" y="16"/>
                </a:lnTo>
                <a:lnTo>
                  <a:pt x="0" y="21"/>
                </a:lnTo>
                <a:lnTo>
                  <a:pt x="22" y="31"/>
                </a:lnTo>
                <a:lnTo>
                  <a:pt x="49" y="45"/>
                </a:lnTo>
                <a:lnTo>
                  <a:pt x="55" y="77"/>
                </a:lnTo>
                <a:lnTo>
                  <a:pt x="63" y="84"/>
                </a:lnTo>
                <a:lnTo>
                  <a:pt x="86" y="95"/>
                </a:lnTo>
                <a:lnTo>
                  <a:pt x="90" y="103"/>
                </a:lnTo>
                <a:lnTo>
                  <a:pt x="80" y="108"/>
                </a:lnTo>
                <a:lnTo>
                  <a:pt x="48" y="130"/>
                </a:lnTo>
                <a:lnTo>
                  <a:pt x="36" y="144"/>
                </a:lnTo>
                <a:lnTo>
                  <a:pt x="30" y="156"/>
                </a:lnTo>
                <a:lnTo>
                  <a:pt x="40" y="176"/>
                </a:lnTo>
                <a:lnTo>
                  <a:pt x="40" y="196"/>
                </a:lnTo>
                <a:lnTo>
                  <a:pt x="58" y="204"/>
                </a:lnTo>
                <a:lnTo>
                  <a:pt x="69" y="215"/>
                </a:lnTo>
                <a:lnTo>
                  <a:pt x="95" y="211"/>
                </a:lnTo>
                <a:lnTo>
                  <a:pt x="123" y="203"/>
                </a:lnTo>
                <a:lnTo>
                  <a:pt x="153" y="201"/>
                </a:lnTo>
                <a:lnTo>
                  <a:pt x="153" y="201"/>
                </a:lnTo>
                <a:lnTo>
                  <a:pt x="183" y="174"/>
                </a:lnTo>
                <a:lnTo>
                  <a:pt x="195" y="161"/>
                </a:lnTo>
                <a:lnTo>
                  <a:pt x="199" y="151"/>
                </a:lnTo>
                <a:lnTo>
                  <a:pt x="172" y="136"/>
                </a:lnTo>
                <a:lnTo>
                  <a:pt x="175" y="122"/>
                </a:lnTo>
                <a:lnTo>
                  <a:pt x="157" y="107"/>
                </a:lnTo>
                <a:lnTo>
                  <a:pt x="163" y="89"/>
                </a:lnTo>
                <a:lnTo>
                  <a:pt x="139" y="66"/>
                </a:lnTo>
                <a:lnTo>
                  <a:pt x="149" y="50"/>
                </a:lnTo>
                <a:lnTo>
                  <a:pt x="122" y="36"/>
                </a:lnTo>
                <a:lnTo>
                  <a:pt x="121" y="23"/>
                </a:lnTo>
                <a:lnTo>
                  <a:pt x="121" y="2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66" name="Fiji">
            <a:extLst>
              <a:ext uri="{FF2B5EF4-FFF2-40B4-BE49-F238E27FC236}">
                <a16:creationId xmlns:a16="http://schemas.microsoft.com/office/drawing/2014/main" id="{8E53059D-36DD-4E6D-8253-FF8A55F0C94F}"/>
              </a:ext>
            </a:extLst>
          </p:cNvPr>
          <p:cNvSpPr>
            <a:spLocks noEditPoints="1"/>
          </p:cNvSpPr>
          <p:nvPr/>
        </p:nvSpPr>
        <p:spPr bwMode="auto">
          <a:xfrm>
            <a:off x="11441640" y="4990153"/>
            <a:ext cx="112280" cy="88463"/>
          </a:xfrm>
          <a:custGeom>
            <a:avLst/>
            <a:gdLst>
              <a:gd name="T0" fmla="*/ 66 w 66"/>
              <a:gd name="T1" fmla="*/ 0 h 52"/>
              <a:gd name="T2" fmla="*/ 52 w 66"/>
              <a:gd name="T3" fmla="*/ 8 h 52"/>
              <a:gd name="T4" fmla="*/ 45 w 66"/>
              <a:gd name="T5" fmla="*/ 9 h 52"/>
              <a:gd name="T6" fmla="*/ 33 w 66"/>
              <a:gd name="T7" fmla="*/ 13 h 52"/>
              <a:gd name="T8" fmla="*/ 34 w 66"/>
              <a:gd name="T9" fmla="*/ 23 h 52"/>
              <a:gd name="T10" fmla="*/ 48 w 66"/>
              <a:gd name="T11" fmla="*/ 17 h 52"/>
              <a:gd name="T12" fmla="*/ 63 w 66"/>
              <a:gd name="T13" fmla="*/ 11 h 52"/>
              <a:gd name="T14" fmla="*/ 66 w 66"/>
              <a:gd name="T15" fmla="*/ 0 h 52"/>
              <a:gd name="T16" fmla="*/ 66 w 66"/>
              <a:gd name="T17" fmla="*/ 0 h 52"/>
              <a:gd name="T18" fmla="*/ 25 w 66"/>
              <a:gd name="T19" fmla="*/ 30 h 52"/>
              <a:gd name="T20" fmla="*/ 18 w 66"/>
              <a:gd name="T21" fmla="*/ 34 h 52"/>
              <a:gd name="T22" fmla="*/ 10 w 66"/>
              <a:gd name="T23" fmla="*/ 31 h 52"/>
              <a:gd name="T24" fmla="*/ 0 w 66"/>
              <a:gd name="T25" fmla="*/ 39 h 52"/>
              <a:gd name="T26" fmla="*/ 0 w 66"/>
              <a:gd name="T27" fmla="*/ 50 h 52"/>
              <a:gd name="T28" fmla="*/ 10 w 66"/>
              <a:gd name="T29" fmla="*/ 52 h 52"/>
              <a:gd name="T30" fmla="*/ 24 w 66"/>
              <a:gd name="T31" fmla="*/ 49 h 52"/>
              <a:gd name="T32" fmla="*/ 31 w 66"/>
              <a:gd name="T33" fmla="*/ 37 h 52"/>
              <a:gd name="T34" fmla="*/ 25 w 66"/>
              <a:gd name="T35" fmla="*/ 30 h 52"/>
              <a:gd name="T36" fmla="*/ 25 w 66"/>
              <a:gd name="T37" fmla="*/ 3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52">
                <a:moveTo>
                  <a:pt x="66" y="0"/>
                </a:moveTo>
                <a:lnTo>
                  <a:pt x="52" y="8"/>
                </a:lnTo>
                <a:lnTo>
                  <a:pt x="45" y="9"/>
                </a:lnTo>
                <a:lnTo>
                  <a:pt x="33" y="13"/>
                </a:lnTo>
                <a:lnTo>
                  <a:pt x="34" y="23"/>
                </a:lnTo>
                <a:lnTo>
                  <a:pt x="48" y="17"/>
                </a:lnTo>
                <a:lnTo>
                  <a:pt x="63" y="11"/>
                </a:lnTo>
                <a:lnTo>
                  <a:pt x="66" y="0"/>
                </a:lnTo>
                <a:lnTo>
                  <a:pt x="66" y="0"/>
                </a:lnTo>
                <a:close/>
                <a:moveTo>
                  <a:pt x="25" y="30"/>
                </a:moveTo>
                <a:lnTo>
                  <a:pt x="18" y="34"/>
                </a:lnTo>
                <a:lnTo>
                  <a:pt x="10" y="31"/>
                </a:lnTo>
                <a:lnTo>
                  <a:pt x="0" y="39"/>
                </a:lnTo>
                <a:lnTo>
                  <a:pt x="0" y="50"/>
                </a:lnTo>
                <a:lnTo>
                  <a:pt x="10" y="52"/>
                </a:lnTo>
                <a:lnTo>
                  <a:pt x="24" y="49"/>
                </a:lnTo>
                <a:lnTo>
                  <a:pt x="31" y="37"/>
                </a:lnTo>
                <a:lnTo>
                  <a:pt x="25" y="30"/>
                </a:lnTo>
                <a:lnTo>
                  <a:pt x="25" y="3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67" name="Gabon">
            <a:extLst>
              <a:ext uri="{FF2B5EF4-FFF2-40B4-BE49-F238E27FC236}">
                <a16:creationId xmlns:a16="http://schemas.microsoft.com/office/drawing/2014/main" id="{BAE2A4C4-9759-439C-9266-D314DAD1D358}"/>
              </a:ext>
            </a:extLst>
          </p:cNvPr>
          <p:cNvSpPr>
            <a:spLocks/>
          </p:cNvSpPr>
          <p:nvPr/>
        </p:nvSpPr>
        <p:spPr bwMode="auto">
          <a:xfrm>
            <a:off x="5512908" y="4246722"/>
            <a:ext cx="202444" cy="255182"/>
          </a:xfrm>
          <a:custGeom>
            <a:avLst/>
            <a:gdLst>
              <a:gd name="T0" fmla="*/ 91 w 119"/>
              <a:gd name="T1" fmla="*/ 1 h 150"/>
              <a:gd name="T2" fmla="*/ 88 w 119"/>
              <a:gd name="T3" fmla="*/ 0 h 150"/>
              <a:gd name="T4" fmla="*/ 75 w 119"/>
              <a:gd name="T5" fmla="*/ 3 h 150"/>
              <a:gd name="T6" fmla="*/ 63 w 119"/>
              <a:gd name="T7" fmla="*/ 0 h 150"/>
              <a:gd name="T8" fmla="*/ 53 w 119"/>
              <a:gd name="T9" fmla="*/ 1 h 150"/>
              <a:gd name="T10" fmla="*/ 53 w 119"/>
              <a:gd name="T11" fmla="*/ 30 h 150"/>
              <a:gd name="T12" fmla="*/ 23 w 119"/>
              <a:gd name="T13" fmla="*/ 30 h 150"/>
              <a:gd name="T14" fmla="*/ 15 w 119"/>
              <a:gd name="T15" fmla="*/ 31 h 150"/>
              <a:gd name="T16" fmla="*/ 12 w 119"/>
              <a:gd name="T17" fmla="*/ 49 h 150"/>
              <a:gd name="T18" fmla="*/ 6 w 119"/>
              <a:gd name="T19" fmla="*/ 66 h 150"/>
              <a:gd name="T20" fmla="*/ 1 w 119"/>
              <a:gd name="T21" fmla="*/ 73 h 150"/>
              <a:gd name="T22" fmla="*/ 0 w 119"/>
              <a:gd name="T23" fmla="*/ 81 h 150"/>
              <a:gd name="T24" fmla="*/ 13 w 119"/>
              <a:gd name="T25" fmla="*/ 106 h 150"/>
              <a:gd name="T26" fmla="*/ 27 w 119"/>
              <a:gd name="T27" fmla="*/ 125 h 150"/>
              <a:gd name="T28" fmla="*/ 49 w 119"/>
              <a:gd name="T29" fmla="*/ 150 h 150"/>
              <a:gd name="T30" fmla="*/ 65 w 119"/>
              <a:gd name="T31" fmla="*/ 137 h 150"/>
              <a:gd name="T32" fmla="*/ 57 w 119"/>
              <a:gd name="T33" fmla="*/ 121 h 150"/>
              <a:gd name="T34" fmla="*/ 64 w 119"/>
              <a:gd name="T35" fmla="*/ 115 h 150"/>
              <a:gd name="T36" fmla="*/ 79 w 119"/>
              <a:gd name="T37" fmla="*/ 112 h 150"/>
              <a:gd name="T38" fmla="*/ 81 w 119"/>
              <a:gd name="T39" fmla="*/ 101 h 150"/>
              <a:gd name="T40" fmla="*/ 92 w 119"/>
              <a:gd name="T41" fmla="*/ 112 h 150"/>
              <a:gd name="T42" fmla="*/ 110 w 119"/>
              <a:gd name="T43" fmla="*/ 114 h 150"/>
              <a:gd name="T44" fmla="*/ 116 w 119"/>
              <a:gd name="T45" fmla="*/ 103 h 150"/>
              <a:gd name="T46" fmla="*/ 119 w 119"/>
              <a:gd name="T47" fmla="*/ 86 h 150"/>
              <a:gd name="T48" fmla="*/ 117 w 119"/>
              <a:gd name="T49" fmla="*/ 68 h 150"/>
              <a:gd name="T50" fmla="*/ 107 w 119"/>
              <a:gd name="T51" fmla="*/ 54 h 150"/>
              <a:gd name="T52" fmla="*/ 116 w 119"/>
              <a:gd name="T53" fmla="*/ 26 h 150"/>
              <a:gd name="T54" fmla="*/ 111 w 119"/>
              <a:gd name="T55" fmla="*/ 22 h 150"/>
              <a:gd name="T56" fmla="*/ 95 w 119"/>
              <a:gd name="T57" fmla="*/ 24 h 150"/>
              <a:gd name="T58" fmla="*/ 89 w 119"/>
              <a:gd name="T59" fmla="*/ 11 h 150"/>
              <a:gd name="T60" fmla="*/ 91 w 119"/>
              <a:gd name="T61" fmla="*/ 1 h 150"/>
              <a:gd name="T62" fmla="*/ 91 w 119"/>
              <a:gd name="T63" fmla="*/ 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 h="150">
                <a:moveTo>
                  <a:pt x="91" y="1"/>
                </a:moveTo>
                <a:lnTo>
                  <a:pt x="88" y="0"/>
                </a:lnTo>
                <a:lnTo>
                  <a:pt x="75" y="3"/>
                </a:lnTo>
                <a:lnTo>
                  <a:pt x="63" y="0"/>
                </a:lnTo>
                <a:lnTo>
                  <a:pt x="53" y="1"/>
                </a:lnTo>
                <a:lnTo>
                  <a:pt x="53" y="30"/>
                </a:lnTo>
                <a:lnTo>
                  <a:pt x="23" y="30"/>
                </a:lnTo>
                <a:lnTo>
                  <a:pt x="15" y="31"/>
                </a:lnTo>
                <a:lnTo>
                  <a:pt x="12" y="49"/>
                </a:lnTo>
                <a:lnTo>
                  <a:pt x="6" y="66"/>
                </a:lnTo>
                <a:lnTo>
                  <a:pt x="1" y="73"/>
                </a:lnTo>
                <a:lnTo>
                  <a:pt x="0" y="81"/>
                </a:lnTo>
                <a:lnTo>
                  <a:pt x="13" y="106"/>
                </a:lnTo>
                <a:lnTo>
                  <a:pt x="27" y="125"/>
                </a:lnTo>
                <a:lnTo>
                  <a:pt x="49" y="150"/>
                </a:lnTo>
                <a:lnTo>
                  <a:pt x="65" y="137"/>
                </a:lnTo>
                <a:lnTo>
                  <a:pt x="57" y="121"/>
                </a:lnTo>
                <a:lnTo>
                  <a:pt x="64" y="115"/>
                </a:lnTo>
                <a:lnTo>
                  <a:pt x="79" y="112"/>
                </a:lnTo>
                <a:lnTo>
                  <a:pt x="81" y="101"/>
                </a:lnTo>
                <a:lnTo>
                  <a:pt x="92" y="112"/>
                </a:lnTo>
                <a:lnTo>
                  <a:pt x="110" y="114"/>
                </a:lnTo>
                <a:lnTo>
                  <a:pt x="116" y="103"/>
                </a:lnTo>
                <a:lnTo>
                  <a:pt x="119" y="86"/>
                </a:lnTo>
                <a:lnTo>
                  <a:pt x="117" y="68"/>
                </a:lnTo>
                <a:lnTo>
                  <a:pt x="107" y="54"/>
                </a:lnTo>
                <a:lnTo>
                  <a:pt x="116" y="26"/>
                </a:lnTo>
                <a:lnTo>
                  <a:pt x="111" y="22"/>
                </a:lnTo>
                <a:lnTo>
                  <a:pt x="95" y="24"/>
                </a:lnTo>
                <a:lnTo>
                  <a:pt x="89" y="11"/>
                </a:lnTo>
                <a:lnTo>
                  <a:pt x="91" y="1"/>
                </a:lnTo>
                <a:lnTo>
                  <a:pt x="91"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68" name="United Kingdom">
            <a:extLst>
              <a:ext uri="{FF2B5EF4-FFF2-40B4-BE49-F238E27FC236}">
                <a16:creationId xmlns:a16="http://schemas.microsoft.com/office/drawing/2014/main" id="{2487D22B-406F-4786-BA35-2A4460BC7DC3}"/>
              </a:ext>
            </a:extLst>
          </p:cNvPr>
          <p:cNvSpPr>
            <a:spLocks noEditPoints="1"/>
          </p:cNvSpPr>
          <p:nvPr/>
        </p:nvSpPr>
        <p:spPr bwMode="auto">
          <a:xfrm>
            <a:off x="4973621" y="1996016"/>
            <a:ext cx="277298" cy="331737"/>
          </a:xfrm>
          <a:custGeom>
            <a:avLst/>
            <a:gdLst>
              <a:gd name="T0" fmla="*/ 34 w 163"/>
              <a:gd name="T1" fmla="*/ 91 h 195"/>
              <a:gd name="T2" fmla="*/ 15 w 163"/>
              <a:gd name="T3" fmla="*/ 77 h 195"/>
              <a:gd name="T4" fmla="*/ 1 w 163"/>
              <a:gd name="T5" fmla="*/ 78 h 195"/>
              <a:gd name="T6" fmla="*/ 4 w 163"/>
              <a:gd name="T7" fmla="*/ 90 h 195"/>
              <a:gd name="T8" fmla="*/ 0 w 163"/>
              <a:gd name="T9" fmla="*/ 102 h 195"/>
              <a:gd name="T10" fmla="*/ 10 w 163"/>
              <a:gd name="T11" fmla="*/ 102 h 195"/>
              <a:gd name="T12" fmla="*/ 23 w 163"/>
              <a:gd name="T13" fmla="*/ 107 h 195"/>
              <a:gd name="T14" fmla="*/ 34 w 163"/>
              <a:gd name="T15" fmla="*/ 91 h 195"/>
              <a:gd name="T16" fmla="*/ 82 w 163"/>
              <a:gd name="T17" fmla="*/ 0 h 195"/>
              <a:gd name="T18" fmla="*/ 62 w 163"/>
              <a:gd name="T19" fmla="*/ 2 h 195"/>
              <a:gd name="T20" fmla="*/ 48 w 163"/>
              <a:gd name="T21" fmla="*/ 0 h 195"/>
              <a:gd name="T22" fmla="*/ 34 w 163"/>
              <a:gd name="T23" fmla="*/ 18 h 195"/>
              <a:gd name="T24" fmla="*/ 27 w 163"/>
              <a:gd name="T25" fmla="*/ 41 h 195"/>
              <a:gd name="T26" fmla="*/ 35 w 163"/>
              <a:gd name="T27" fmla="*/ 52 h 195"/>
              <a:gd name="T28" fmla="*/ 35 w 163"/>
              <a:gd name="T29" fmla="*/ 74 h 195"/>
              <a:gd name="T30" fmla="*/ 46 w 163"/>
              <a:gd name="T31" fmla="*/ 64 h 195"/>
              <a:gd name="T32" fmla="*/ 50 w 163"/>
              <a:gd name="T33" fmla="*/ 69 h 195"/>
              <a:gd name="T34" fmla="*/ 45 w 163"/>
              <a:gd name="T35" fmla="*/ 80 h 195"/>
              <a:gd name="T36" fmla="*/ 48 w 163"/>
              <a:gd name="T37" fmla="*/ 85 h 195"/>
              <a:gd name="T38" fmla="*/ 69 w 163"/>
              <a:gd name="T39" fmla="*/ 90 h 195"/>
              <a:gd name="T40" fmla="*/ 70 w 163"/>
              <a:gd name="T41" fmla="*/ 90 h 195"/>
              <a:gd name="T42" fmla="*/ 81 w 163"/>
              <a:gd name="T43" fmla="*/ 104 h 195"/>
              <a:gd name="T44" fmla="*/ 78 w 163"/>
              <a:gd name="T45" fmla="*/ 117 h 195"/>
              <a:gd name="T46" fmla="*/ 78 w 163"/>
              <a:gd name="T47" fmla="*/ 117 h 195"/>
              <a:gd name="T48" fmla="*/ 52 w 163"/>
              <a:gd name="T49" fmla="*/ 115 h 195"/>
              <a:gd name="T50" fmla="*/ 48 w 163"/>
              <a:gd name="T51" fmla="*/ 130 h 195"/>
              <a:gd name="T52" fmla="*/ 58 w 163"/>
              <a:gd name="T53" fmla="*/ 142 h 195"/>
              <a:gd name="T54" fmla="*/ 39 w 163"/>
              <a:gd name="T55" fmla="*/ 149 h 195"/>
              <a:gd name="T56" fmla="*/ 44 w 163"/>
              <a:gd name="T57" fmla="*/ 158 h 195"/>
              <a:gd name="T58" fmla="*/ 72 w 163"/>
              <a:gd name="T59" fmla="*/ 162 h 195"/>
              <a:gd name="T60" fmla="*/ 72 w 163"/>
              <a:gd name="T61" fmla="*/ 162 h 195"/>
              <a:gd name="T62" fmla="*/ 56 w 163"/>
              <a:gd name="T63" fmla="*/ 166 h 195"/>
              <a:gd name="T64" fmla="*/ 28 w 163"/>
              <a:gd name="T65" fmla="*/ 191 h 195"/>
              <a:gd name="T66" fmla="*/ 37 w 163"/>
              <a:gd name="T67" fmla="*/ 195 h 195"/>
              <a:gd name="T68" fmla="*/ 50 w 163"/>
              <a:gd name="T69" fmla="*/ 187 h 195"/>
              <a:gd name="T70" fmla="*/ 67 w 163"/>
              <a:gd name="T71" fmla="*/ 190 h 195"/>
              <a:gd name="T72" fmla="*/ 80 w 163"/>
              <a:gd name="T73" fmla="*/ 179 h 195"/>
              <a:gd name="T74" fmla="*/ 88 w 163"/>
              <a:gd name="T75" fmla="*/ 183 h 195"/>
              <a:gd name="T76" fmla="*/ 119 w 163"/>
              <a:gd name="T77" fmla="*/ 177 h 195"/>
              <a:gd name="T78" fmla="*/ 144 w 163"/>
              <a:gd name="T79" fmla="*/ 177 h 195"/>
              <a:gd name="T80" fmla="*/ 160 w 163"/>
              <a:gd name="T81" fmla="*/ 165 h 195"/>
              <a:gd name="T82" fmla="*/ 152 w 163"/>
              <a:gd name="T83" fmla="*/ 153 h 195"/>
              <a:gd name="T84" fmla="*/ 161 w 163"/>
              <a:gd name="T85" fmla="*/ 147 h 195"/>
              <a:gd name="T86" fmla="*/ 163 w 163"/>
              <a:gd name="T87" fmla="*/ 132 h 195"/>
              <a:gd name="T88" fmla="*/ 142 w 163"/>
              <a:gd name="T89" fmla="*/ 127 h 195"/>
              <a:gd name="T90" fmla="*/ 136 w 163"/>
              <a:gd name="T91" fmla="*/ 119 h 195"/>
              <a:gd name="T92" fmla="*/ 126 w 163"/>
              <a:gd name="T93" fmla="*/ 93 h 195"/>
              <a:gd name="T94" fmla="*/ 114 w 163"/>
              <a:gd name="T95" fmla="*/ 89 h 195"/>
              <a:gd name="T96" fmla="*/ 99 w 163"/>
              <a:gd name="T97" fmla="*/ 63 h 195"/>
              <a:gd name="T98" fmla="*/ 97 w 163"/>
              <a:gd name="T99" fmla="*/ 61 h 195"/>
              <a:gd name="T100" fmla="*/ 79 w 163"/>
              <a:gd name="T101" fmla="*/ 59 h 195"/>
              <a:gd name="T102" fmla="*/ 95 w 163"/>
              <a:gd name="T103" fmla="*/ 39 h 195"/>
              <a:gd name="T104" fmla="*/ 100 w 163"/>
              <a:gd name="T105" fmla="*/ 21 h 195"/>
              <a:gd name="T106" fmla="*/ 81 w 163"/>
              <a:gd name="T107" fmla="*/ 21 h 195"/>
              <a:gd name="T108" fmla="*/ 63 w 163"/>
              <a:gd name="T109" fmla="*/ 24 h 195"/>
              <a:gd name="T110" fmla="*/ 82 w 163"/>
              <a:gd name="T111" fmla="*/ 0 h 195"/>
              <a:gd name="T112" fmla="*/ 82 w 163"/>
              <a:gd name="T113"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3" h="195">
                <a:moveTo>
                  <a:pt x="34" y="91"/>
                </a:moveTo>
                <a:lnTo>
                  <a:pt x="15" y="77"/>
                </a:lnTo>
                <a:lnTo>
                  <a:pt x="1" y="78"/>
                </a:lnTo>
                <a:lnTo>
                  <a:pt x="4" y="90"/>
                </a:lnTo>
                <a:lnTo>
                  <a:pt x="0" y="102"/>
                </a:lnTo>
                <a:lnTo>
                  <a:pt x="10" y="102"/>
                </a:lnTo>
                <a:lnTo>
                  <a:pt x="23" y="107"/>
                </a:lnTo>
                <a:lnTo>
                  <a:pt x="34" y="91"/>
                </a:lnTo>
                <a:close/>
                <a:moveTo>
                  <a:pt x="82" y="0"/>
                </a:moveTo>
                <a:lnTo>
                  <a:pt x="62" y="2"/>
                </a:lnTo>
                <a:lnTo>
                  <a:pt x="48" y="0"/>
                </a:lnTo>
                <a:lnTo>
                  <a:pt x="34" y="18"/>
                </a:lnTo>
                <a:lnTo>
                  <a:pt x="27" y="41"/>
                </a:lnTo>
                <a:lnTo>
                  <a:pt x="35" y="52"/>
                </a:lnTo>
                <a:lnTo>
                  <a:pt x="35" y="74"/>
                </a:lnTo>
                <a:lnTo>
                  <a:pt x="46" y="64"/>
                </a:lnTo>
                <a:lnTo>
                  <a:pt x="50" y="69"/>
                </a:lnTo>
                <a:lnTo>
                  <a:pt x="45" y="80"/>
                </a:lnTo>
                <a:lnTo>
                  <a:pt x="48" y="85"/>
                </a:lnTo>
                <a:lnTo>
                  <a:pt x="69" y="90"/>
                </a:lnTo>
                <a:lnTo>
                  <a:pt x="70" y="90"/>
                </a:lnTo>
                <a:lnTo>
                  <a:pt x="81" y="104"/>
                </a:lnTo>
                <a:lnTo>
                  <a:pt x="78" y="117"/>
                </a:lnTo>
                <a:lnTo>
                  <a:pt x="78" y="117"/>
                </a:lnTo>
                <a:lnTo>
                  <a:pt x="52" y="115"/>
                </a:lnTo>
                <a:lnTo>
                  <a:pt x="48" y="130"/>
                </a:lnTo>
                <a:lnTo>
                  <a:pt x="58" y="142"/>
                </a:lnTo>
                <a:lnTo>
                  <a:pt x="39" y="149"/>
                </a:lnTo>
                <a:lnTo>
                  <a:pt x="44" y="158"/>
                </a:lnTo>
                <a:lnTo>
                  <a:pt x="72" y="162"/>
                </a:lnTo>
                <a:lnTo>
                  <a:pt x="72" y="162"/>
                </a:lnTo>
                <a:lnTo>
                  <a:pt x="56" y="166"/>
                </a:lnTo>
                <a:lnTo>
                  <a:pt x="28" y="191"/>
                </a:lnTo>
                <a:lnTo>
                  <a:pt x="37" y="195"/>
                </a:lnTo>
                <a:lnTo>
                  <a:pt x="50" y="187"/>
                </a:lnTo>
                <a:lnTo>
                  <a:pt x="67" y="190"/>
                </a:lnTo>
                <a:lnTo>
                  <a:pt x="80" y="179"/>
                </a:lnTo>
                <a:lnTo>
                  <a:pt x="88" y="183"/>
                </a:lnTo>
                <a:lnTo>
                  <a:pt x="119" y="177"/>
                </a:lnTo>
                <a:lnTo>
                  <a:pt x="144" y="177"/>
                </a:lnTo>
                <a:lnTo>
                  <a:pt x="160" y="165"/>
                </a:lnTo>
                <a:lnTo>
                  <a:pt x="152" y="153"/>
                </a:lnTo>
                <a:lnTo>
                  <a:pt x="161" y="147"/>
                </a:lnTo>
                <a:lnTo>
                  <a:pt x="163" y="132"/>
                </a:lnTo>
                <a:lnTo>
                  <a:pt x="142" y="127"/>
                </a:lnTo>
                <a:lnTo>
                  <a:pt x="136" y="119"/>
                </a:lnTo>
                <a:lnTo>
                  <a:pt x="126" y="93"/>
                </a:lnTo>
                <a:lnTo>
                  <a:pt x="114" y="89"/>
                </a:lnTo>
                <a:lnTo>
                  <a:pt x="99" y="63"/>
                </a:lnTo>
                <a:lnTo>
                  <a:pt x="97" y="61"/>
                </a:lnTo>
                <a:lnTo>
                  <a:pt x="79" y="59"/>
                </a:lnTo>
                <a:lnTo>
                  <a:pt x="95" y="39"/>
                </a:lnTo>
                <a:lnTo>
                  <a:pt x="100" y="21"/>
                </a:lnTo>
                <a:lnTo>
                  <a:pt x="81" y="21"/>
                </a:lnTo>
                <a:lnTo>
                  <a:pt x="63" y="24"/>
                </a:lnTo>
                <a:lnTo>
                  <a:pt x="82" y="0"/>
                </a:lnTo>
                <a:lnTo>
                  <a:pt x="82"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69" name="Georgia">
            <a:extLst>
              <a:ext uri="{FF2B5EF4-FFF2-40B4-BE49-F238E27FC236}">
                <a16:creationId xmlns:a16="http://schemas.microsoft.com/office/drawing/2014/main" id="{D909F429-ED81-4F47-AAEF-AA7FEB579566}"/>
              </a:ext>
            </a:extLst>
          </p:cNvPr>
          <p:cNvSpPr>
            <a:spLocks/>
          </p:cNvSpPr>
          <p:nvPr/>
        </p:nvSpPr>
        <p:spPr bwMode="auto">
          <a:xfrm>
            <a:off x="6491105" y="2581234"/>
            <a:ext cx="234767" cy="96969"/>
          </a:xfrm>
          <a:custGeom>
            <a:avLst/>
            <a:gdLst>
              <a:gd name="T0" fmla="*/ 75 w 138"/>
              <a:gd name="T1" fmla="*/ 18 h 57"/>
              <a:gd name="T2" fmla="*/ 47 w 138"/>
              <a:gd name="T3" fmla="*/ 7 h 57"/>
              <a:gd name="T4" fmla="*/ 18 w 138"/>
              <a:gd name="T5" fmla="*/ 4 h 57"/>
              <a:gd name="T6" fmla="*/ 1 w 138"/>
              <a:gd name="T7" fmla="*/ 0 h 57"/>
              <a:gd name="T8" fmla="*/ 0 w 138"/>
              <a:gd name="T9" fmla="*/ 3 h 57"/>
              <a:gd name="T10" fmla="*/ 8 w 138"/>
              <a:gd name="T11" fmla="*/ 9 h 57"/>
              <a:gd name="T12" fmla="*/ 19 w 138"/>
              <a:gd name="T13" fmla="*/ 12 h 57"/>
              <a:gd name="T14" fmla="*/ 32 w 138"/>
              <a:gd name="T15" fmla="*/ 20 h 57"/>
              <a:gd name="T16" fmla="*/ 40 w 138"/>
              <a:gd name="T17" fmla="*/ 36 h 57"/>
              <a:gd name="T18" fmla="*/ 39 w 138"/>
              <a:gd name="T19" fmla="*/ 46 h 57"/>
              <a:gd name="T20" fmla="*/ 58 w 138"/>
              <a:gd name="T21" fmla="*/ 46 h 57"/>
              <a:gd name="T22" fmla="*/ 80 w 138"/>
              <a:gd name="T23" fmla="*/ 57 h 57"/>
              <a:gd name="T24" fmla="*/ 105 w 138"/>
              <a:gd name="T25" fmla="*/ 53 h 57"/>
              <a:gd name="T26" fmla="*/ 110 w 138"/>
              <a:gd name="T27" fmla="*/ 49 h 57"/>
              <a:gd name="T28" fmla="*/ 126 w 138"/>
              <a:gd name="T29" fmla="*/ 56 h 57"/>
              <a:gd name="T30" fmla="*/ 136 w 138"/>
              <a:gd name="T31" fmla="*/ 57 h 57"/>
              <a:gd name="T32" fmla="*/ 138 w 138"/>
              <a:gd name="T33" fmla="*/ 55 h 57"/>
              <a:gd name="T34" fmla="*/ 126 w 138"/>
              <a:gd name="T35" fmla="*/ 42 h 57"/>
              <a:gd name="T36" fmla="*/ 130 w 138"/>
              <a:gd name="T37" fmla="*/ 38 h 57"/>
              <a:gd name="T38" fmla="*/ 117 w 138"/>
              <a:gd name="T39" fmla="*/ 33 h 57"/>
              <a:gd name="T40" fmla="*/ 109 w 138"/>
              <a:gd name="T41" fmla="*/ 24 h 57"/>
              <a:gd name="T42" fmla="*/ 90 w 138"/>
              <a:gd name="T43" fmla="*/ 19 h 57"/>
              <a:gd name="T44" fmla="*/ 79 w 138"/>
              <a:gd name="T45" fmla="*/ 23 h 57"/>
              <a:gd name="T46" fmla="*/ 75 w 138"/>
              <a:gd name="T47" fmla="*/ 18 h 57"/>
              <a:gd name="T48" fmla="*/ 75 w 138"/>
              <a:gd name="T49" fmla="*/ 1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8" h="57">
                <a:moveTo>
                  <a:pt x="75" y="18"/>
                </a:moveTo>
                <a:lnTo>
                  <a:pt x="47" y="7"/>
                </a:lnTo>
                <a:lnTo>
                  <a:pt x="18" y="4"/>
                </a:lnTo>
                <a:lnTo>
                  <a:pt x="1" y="0"/>
                </a:lnTo>
                <a:lnTo>
                  <a:pt x="0" y="3"/>
                </a:lnTo>
                <a:lnTo>
                  <a:pt x="8" y="9"/>
                </a:lnTo>
                <a:lnTo>
                  <a:pt x="19" y="12"/>
                </a:lnTo>
                <a:lnTo>
                  <a:pt x="32" y="20"/>
                </a:lnTo>
                <a:lnTo>
                  <a:pt x="40" y="36"/>
                </a:lnTo>
                <a:lnTo>
                  <a:pt x="39" y="46"/>
                </a:lnTo>
                <a:lnTo>
                  <a:pt x="58" y="46"/>
                </a:lnTo>
                <a:lnTo>
                  <a:pt x="80" y="57"/>
                </a:lnTo>
                <a:lnTo>
                  <a:pt x="105" y="53"/>
                </a:lnTo>
                <a:lnTo>
                  <a:pt x="110" y="49"/>
                </a:lnTo>
                <a:lnTo>
                  <a:pt x="126" y="56"/>
                </a:lnTo>
                <a:lnTo>
                  <a:pt x="136" y="57"/>
                </a:lnTo>
                <a:lnTo>
                  <a:pt x="138" y="55"/>
                </a:lnTo>
                <a:lnTo>
                  <a:pt x="126" y="42"/>
                </a:lnTo>
                <a:lnTo>
                  <a:pt x="130" y="38"/>
                </a:lnTo>
                <a:lnTo>
                  <a:pt x="117" y="33"/>
                </a:lnTo>
                <a:lnTo>
                  <a:pt x="109" y="24"/>
                </a:lnTo>
                <a:lnTo>
                  <a:pt x="90" y="19"/>
                </a:lnTo>
                <a:lnTo>
                  <a:pt x="79" y="23"/>
                </a:lnTo>
                <a:lnTo>
                  <a:pt x="75" y="18"/>
                </a:lnTo>
                <a:lnTo>
                  <a:pt x="75" y="1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70" name="Ghana">
            <a:extLst>
              <a:ext uri="{FF2B5EF4-FFF2-40B4-BE49-F238E27FC236}">
                <a16:creationId xmlns:a16="http://schemas.microsoft.com/office/drawing/2014/main" id="{2DA0B616-DC0E-4E24-AF9D-166CCD2E550C}"/>
              </a:ext>
            </a:extLst>
          </p:cNvPr>
          <p:cNvSpPr>
            <a:spLocks/>
          </p:cNvSpPr>
          <p:nvPr/>
        </p:nvSpPr>
        <p:spPr bwMode="auto">
          <a:xfrm>
            <a:off x="5084201" y="3891168"/>
            <a:ext cx="153109" cy="258585"/>
          </a:xfrm>
          <a:custGeom>
            <a:avLst/>
            <a:gdLst>
              <a:gd name="T0" fmla="*/ 68 w 90"/>
              <a:gd name="T1" fmla="*/ 2 h 152"/>
              <a:gd name="T2" fmla="*/ 59 w 90"/>
              <a:gd name="T3" fmla="*/ 0 h 152"/>
              <a:gd name="T4" fmla="*/ 53 w 90"/>
              <a:gd name="T5" fmla="*/ 4 h 152"/>
              <a:gd name="T6" fmla="*/ 43 w 90"/>
              <a:gd name="T7" fmla="*/ 2 h 152"/>
              <a:gd name="T8" fmla="*/ 7 w 90"/>
              <a:gd name="T9" fmla="*/ 4 h 152"/>
              <a:gd name="T10" fmla="*/ 6 w 90"/>
              <a:gd name="T11" fmla="*/ 17 h 152"/>
              <a:gd name="T12" fmla="*/ 10 w 90"/>
              <a:gd name="T13" fmla="*/ 35 h 152"/>
              <a:gd name="T14" fmla="*/ 14 w 90"/>
              <a:gd name="T15" fmla="*/ 69 h 152"/>
              <a:gd name="T16" fmla="*/ 6 w 90"/>
              <a:gd name="T17" fmla="*/ 89 h 152"/>
              <a:gd name="T18" fmla="*/ 0 w 90"/>
              <a:gd name="T19" fmla="*/ 116 h 152"/>
              <a:gd name="T20" fmla="*/ 10 w 90"/>
              <a:gd name="T21" fmla="*/ 136 h 152"/>
              <a:gd name="T22" fmla="*/ 9 w 90"/>
              <a:gd name="T23" fmla="*/ 146 h 152"/>
              <a:gd name="T24" fmla="*/ 27 w 90"/>
              <a:gd name="T25" fmla="*/ 152 h 152"/>
              <a:gd name="T26" fmla="*/ 46 w 90"/>
              <a:gd name="T27" fmla="*/ 145 h 152"/>
              <a:gd name="T28" fmla="*/ 58 w 90"/>
              <a:gd name="T29" fmla="*/ 137 h 152"/>
              <a:gd name="T30" fmla="*/ 90 w 90"/>
              <a:gd name="T31" fmla="*/ 123 h 152"/>
              <a:gd name="T32" fmla="*/ 86 w 90"/>
              <a:gd name="T33" fmla="*/ 115 h 152"/>
              <a:gd name="T34" fmla="*/ 81 w 90"/>
              <a:gd name="T35" fmla="*/ 100 h 152"/>
              <a:gd name="T36" fmla="*/ 79 w 90"/>
              <a:gd name="T37" fmla="*/ 88 h 152"/>
              <a:gd name="T38" fmla="*/ 83 w 90"/>
              <a:gd name="T39" fmla="*/ 66 h 152"/>
              <a:gd name="T40" fmla="*/ 78 w 90"/>
              <a:gd name="T41" fmla="*/ 58 h 152"/>
              <a:gd name="T42" fmla="*/ 76 w 90"/>
              <a:gd name="T43" fmla="*/ 39 h 152"/>
              <a:gd name="T44" fmla="*/ 76 w 90"/>
              <a:gd name="T45" fmla="*/ 22 h 152"/>
              <a:gd name="T46" fmla="*/ 68 w 90"/>
              <a:gd name="T47" fmla="*/ 9 h 152"/>
              <a:gd name="T48" fmla="*/ 68 w 90"/>
              <a:gd name="T49" fmla="*/ 2 h 152"/>
              <a:gd name="T50" fmla="*/ 68 w 90"/>
              <a:gd name="T51"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0" h="152">
                <a:moveTo>
                  <a:pt x="68" y="2"/>
                </a:moveTo>
                <a:lnTo>
                  <a:pt x="59" y="0"/>
                </a:lnTo>
                <a:lnTo>
                  <a:pt x="53" y="4"/>
                </a:lnTo>
                <a:lnTo>
                  <a:pt x="43" y="2"/>
                </a:lnTo>
                <a:lnTo>
                  <a:pt x="7" y="4"/>
                </a:lnTo>
                <a:lnTo>
                  <a:pt x="6" y="17"/>
                </a:lnTo>
                <a:lnTo>
                  <a:pt x="10" y="35"/>
                </a:lnTo>
                <a:lnTo>
                  <a:pt x="14" y="69"/>
                </a:lnTo>
                <a:lnTo>
                  <a:pt x="6" y="89"/>
                </a:lnTo>
                <a:lnTo>
                  <a:pt x="0" y="116"/>
                </a:lnTo>
                <a:lnTo>
                  <a:pt x="10" y="136"/>
                </a:lnTo>
                <a:lnTo>
                  <a:pt x="9" y="146"/>
                </a:lnTo>
                <a:lnTo>
                  <a:pt x="27" y="152"/>
                </a:lnTo>
                <a:lnTo>
                  <a:pt x="46" y="145"/>
                </a:lnTo>
                <a:lnTo>
                  <a:pt x="58" y="137"/>
                </a:lnTo>
                <a:lnTo>
                  <a:pt x="90" y="123"/>
                </a:lnTo>
                <a:lnTo>
                  <a:pt x="86" y="115"/>
                </a:lnTo>
                <a:lnTo>
                  <a:pt x="81" y="100"/>
                </a:lnTo>
                <a:lnTo>
                  <a:pt x="79" y="88"/>
                </a:lnTo>
                <a:lnTo>
                  <a:pt x="83" y="66"/>
                </a:lnTo>
                <a:lnTo>
                  <a:pt x="78" y="58"/>
                </a:lnTo>
                <a:lnTo>
                  <a:pt x="76" y="39"/>
                </a:lnTo>
                <a:lnTo>
                  <a:pt x="76" y="22"/>
                </a:lnTo>
                <a:lnTo>
                  <a:pt x="68" y="9"/>
                </a:lnTo>
                <a:lnTo>
                  <a:pt x="68" y="2"/>
                </a:lnTo>
                <a:lnTo>
                  <a:pt x="68" y="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71" name="Guinea">
            <a:extLst>
              <a:ext uri="{FF2B5EF4-FFF2-40B4-BE49-F238E27FC236}">
                <a16:creationId xmlns:a16="http://schemas.microsoft.com/office/drawing/2014/main" id="{59CDEB53-A259-45BC-BAD8-FB2527769FD4}"/>
              </a:ext>
            </a:extLst>
          </p:cNvPr>
          <p:cNvSpPr>
            <a:spLocks/>
          </p:cNvSpPr>
          <p:nvPr/>
        </p:nvSpPr>
        <p:spPr bwMode="auto">
          <a:xfrm>
            <a:off x="4662300" y="3831626"/>
            <a:ext cx="258584" cy="214353"/>
          </a:xfrm>
          <a:custGeom>
            <a:avLst/>
            <a:gdLst>
              <a:gd name="T0" fmla="*/ 73 w 152"/>
              <a:gd name="T1" fmla="*/ 5 h 126"/>
              <a:gd name="T2" fmla="*/ 61 w 152"/>
              <a:gd name="T3" fmla="*/ 5 h 126"/>
              <a:gd name="T4" fmla="*/ 41 w 152"/>
              <a:gd name="T5" fmla="*/ 1 h 126"/>
              <a:gd name="T6" fmla="*/ 30 w 152"/>
              <a:gd name="T7" fmla="*/ 8 h 126"/>
              <a:gd name="T8" fmla="*/ 30 w 152"/>
              <a:gd name="T9" fmla="*/ 18 h 126"/>
              <a:gd name="T10" fmla="*/ 21 w 152"/>
              <a:gd name="T11" fmla="*/ 22 h 126"/>
              <a:gd name="T12" fmla="*/ 10 w 152"/>
              <a:gd name="T13" fmla="*/ 25 h 126"/>
              <a:gd name="T14" fmla="*/ 6 w 152"/>
              <a:gd name="T15" fmla="*/ 41 h 126"/>
              <a:gd name="T16" fmla="*/ 12 w 152"/>
              <a:gd name="T17" fmla="*/ 57 h 126"/>
              <a:gd name="T18" fmla="*/ 22 w 152"/>
              <a:gd name="T19" fmla="*/ 64 h 126"/>
              <a:gd name="T20" fmla="*/ 39 w 152"/>
              <a:gd name="T21" fmla="*/ 87 h 126"/>
              <a:gd name="T22" fmla="*/ 53 w 152"/>
              <a:gd name="T23" fmla="*/ 71 h 126"/>
              <a:gd name="T24" fmla="*/ 62 w 152"/>
              <a:gd name="T25" fmla="*/ 65 h 126"/>
              <a:gd name="T26" fmla="*/ 84 w 152"/>
              <a:gd name="T27" fmla="*/ 60 h 126"/>
              <a:gd name="T28" fmla="*/ 94 w 152"/>
              <a:gd name="T29" fmla="*/ 79 h 126"/>
              <a:gd name="T30" fmla="*/ 97 w 152"/>
              <a:gd name="T31" fmla="*/ 92 h 126"/>
              <a:gd name="T32" fmla="*/ 103 w 152"/>
              <a:gd name="T33" fmla="*/ 99 h 126"/>
              <a:gd name="T34" fmla="*/ 112 w 152"/>
              <a:gd name="T35" fmla="*/ 96 h 126"/>
              <a:gd name="T36" fmla="*/ 119 w 152"/>
              <a:gd name="T37" fmla="*/ 120 h 126"/>
              <a:gd name="T38" fmla="*/ 130 w 152"/>
              <a:gd name="T39" fmla="*/ 126 h 126"/>
              <a:gd name="T40" fmla="*/ 140 w 152"/>
              <a:gd name="T41" fmla="*/ 116 h 126"/>
              <a:gd name="T42" fmla="*/ 144 w 152"/>
              <a:gd name="T43" fmla="*/ 106 h 126"/>
              <a:gd name="T44" fmla="*/ 145 w 152"/>
              <a:gd name="T45" fmla="*/ 99 h 126"/>
              <a:gd name="T46" fmla="*/ 147 w 152"/>
              <a:gd name="T47" fmla="*/ 76 h 126"/>
              <a:gd name="T48" fmla="*/ 145 w 152"/>
              <a:gd name="T49" fmla="*/ 58 h 126"/>
              <a:gd name="T50" fmla="*/ 142 w 152"/>
              <a:gd name="T51" fmla="*/ 50 h 126"/>
              <a:gd name="T52" fmla="*/ 141 w 152"/>
              <a:gd name="T53" fmla="*/ 40 h 126"/>
              <a:gd name="T54" fmla="*/ 137 w 152"/>
              <a:gd name="T55" fmla="*/ 34 h 126"/>
              <a:gd name="T56" fmla="*/ 133 w 152"/>
              <a:gd name="T57" fmla="*/ 18 h 126"/>
              <a:gd name="T58" fmla="*/ 126 w 152"/>
              <a:gd name="T59" fmla="*/ 7 h 126"/>
              <a:gd name="T60" fmla="*/ 117 w 152"/>
              <a:gd name="T61" fmla="*/ 9 h 126"/>
              <a:gd name="T62" fmla="*/ 104 w 152"/>
              <a:gd name="T63" fmla="*/ 17 h 126"/>
              <a:gd name="T64" fmla="*/ 90 w 152"/>
              <a:gd name="T65" fmla="*/ 10 h 126"/>
              <a:gd name="T66" fmla="*/ 80 w 152"/>
              <a:gd name="T67" fmla="*/ 12 h 126"/>
              <a:gd name="T68" fmla="*/ 76 w 152"/>
              <a:gd name="T69" fmla="*/ 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2" h="126">
                <a:moveTo>
                  <a:pt x="76" y="3"/>
                </a:moveTo>
                <a:lnTo>
                  <a:pt x="73" y="5"/>
                </a:lnTo>
                <a:lnTo>
                  <a:pt x="62" y="3"/>
                </a:lnTo>
                <a:lnTo>
                  <a:pt x="61" y="5"/>
                </a:lnTo>
                <a:lnTo>
                  <a:pt x="56" y="6"/>
                </a:lnTo>
                <a:lnTo>
                  <a:pt x="41" y="1"/>
                </a:lnTo>
                <a:lnTo>
                  <a:pt x="31" y="0"/>
                </a:lnTo>
                <a:lnTo>
                  <a:pt x="30" y="8"/>
                </a:lnTo>
                <a:lnTo>
                  <a:pt x="28" y="11"/>
                </a:lnTo>
                <a:lnTo>
                  <a:pt x="30" y="18"/>
                </a:lnTo>
                <a:lnTo>
                  <a:pt x="26" y="22"/>
                </a:lnTo>
                <a:lnTo>
                  <a:pt x="21" y="22"/>
                </a:lnTo>
                <a:lnTo>
                  <a:pt x="17" y="26"/>
                </a:lnTo>
                <a:lnTo>
                  <a:pt x="10" y="25"/>
                </a:lnTo>
                <a:lnTo>
                  <a:pt x="0" y="37"/>
                </a:lnTo>
                <a:lnTo>
                  <a:pt x="6" y="41"/>
                </a:lnTo>
                <a:lnTo>
                  <a:pt x="9" y="46"/>
                </a:lnTo>
                <a:lnTo>
                  <a:pt x="12" y="57"/>
                </a:lnTo>
                <a:lnTo>
                  <a:pt x="17" y="61"/>
                </a:lnTo>
                <a:lnTo>
                  <a:pt x="22" y="64"/>
                </a:lnTo>
                <a:lnTo>
                  <a:pt x="30" y="73"/>
                </a:lnTo>
                <a:lnTo>
                  <a:pt x="39" y="87"/>
                </a:lnTo>
                <a:lnTo>
                  <a:pt x="50" y="77"/>
                </a:lnTo>
                <a:lnTo>
                  <a:pt x="53" y="71"/>
                </a:lnTo>
                <a:lnTo>
                  <a:pt x="57" y="65"/>
                </a:lnTo>
                <a:lnTo>
                  <a:pt x="62" y="65"/>
                </a:lnTo>
                <a:lnTo>
                  <a:pt x="67" y="60"/>
                </a:lnTo>
                <a:lnTo>
                  <a:pt x="84" y="60"/>
                </a:lnTo>
                <a:lnTo>
                  <a:pt x="90" y="69"/>
                </a:lnTo>
                <a:lnTo>
                  <a:pt x="94" y="79"/>
                </a:lnTo>
                <a:lnTo>
                  <a:pt x="93" y="85"/>
                </a:lnTo>
                <a:lnTo>
                  <a:pt x="97" y="92"/>
                </a:lnTo>
                <a:lnTo>
                  <a:pt x="97" y="100"/>
                </a:lnTo>
                <a:lnTo>
                  <a:pt x="103" y="99"/>
                </a:lnTo>
                <a:lnTo>
                  <a:pt x="106" y="99"/>
                </a:lnTo>
                <a:lnTo>
                  <a:pt x="112" y="96"/>
                </a:lnTo>
                <a:lnTo>
                  <a:pt x="121" y="111"/>
                </a:lnTo>
                <a:lnTo>
                  <a:pt x="119" y="120"/>
                </a:lnTo>
                <a:lnTo>
                  <a:pt x="123" y="125"/>
                </a:lnTo>
                <a:lnTo>
                  <a:pt x="130" y="126"/>
                </a:lnTo>
                <a:lnTo>
                  <a:pt x="133" y="115"/>
                </a:lnTo>
                <a:lnTo>
                  <a:pt x="140" y="116"/>
                </a:lnTo>
                <a:lnTo>
                  <a:pt x="143" y="116"/>
                </a:lnTo>
                <a:lnTo>
                  <a:pt x="144" y="106"/>
                </a:lnTo>
                <a:lnTo>
                  <a:pt x="143" y="101"/>
                </a:lnTo>
                <a:lnTo>
                  <a:pt x="145" y="99"/>
                </a:lnTo>
                <a:lnTo>
                  <a:pt x="152" y="95"/>
                </a:lnTo>
                <a:lnTo>
                  <a:pt x="147" y="76"/>
                </a:lnTo>
                <a:lnTo>
                  <a:pt x="143" y="67"/>
                </a:lnTo>
                <a:lnTo>
                  <a:pt x="145" y="58"/>
                </a:lnTo>
                <a:lnTo>
                  <a:pt x="148" y="57"/>
                </a:lnTo>
                <a:lnTo>
                  <a:pt x="142" y="50"/>
                </a:lnTo>
                <a:lnTo>
                  <a:pt x="144" y="43"/>
                </a:lnTo>
                <a:lnTo>
                  <a:pt x="141" y="40"/>
                </a:lnTo>
                <a:lnTo>
                  <a:pt x="136" y="43"/>
                </a:lnTo>
                <a:lnTo>
                  <a:pt x="137" y="34"/>
                </a:lnTo>
                <a:lnTo>
                  <a:pt x="142" y="29"/>
                </a:lnTo>
                <a:lnTo>
                  <a:pt x="133" y="18"/>
                </a:lnTo>
                <a:lnTo>
                  <a:pt x="131" y="12"/>
                </a:lnTo>
                <a:lnTo>
                  <a:pt x="126" y="7"/>
                </a:lnTo>
                <a:lnTo>
                  <a:pt x="121" y="6"/>
                </a:lnTo>
                <a:lnTo>
                  <a:pt x="117" y="9"/>
                </a:lnTo>
                <a:lnTo>
                  <a:pt x="110" y="13"/>
                </a:lnTo>
                <a:lnTo>
                  <a:pt x="104" y="17"/>
                </a:lnTo>
                <a:lnTo>
                  <a:pt x="95" y="15"/>
                </a:lnTo>
                <a:lnTo>
                  <a:pt x="90" y="10"/>
                </a:lnTo>
                <a:lnTo>
                  <a:pt x="86" y="9"/>
                </a:lnTo>
                <a:lnTo>
                  <a:pt x="80" y="12"/>
                </a:lnTo>
                <a:lnTo>
                  <a:pt x="77" y="12"/>
                </a:lnTo>
                <a:lnTo>
                  <a:pt x="76" y="3"/>
                </a:lnTo>
                <a:lnTo>
                  <a:pt x="76" y="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72" name="Gambia">
            <a:extLst>
              <a:ext uri="{FF2B5EF4-FFF2-40B4-BE49-F238E27FC236}">
                <a16:creationId xmlns:a16="http://schemas.microsoft.com/office/drawing/2014/main" id="{28177BAF-A41B-465F-97A5-C2FA6509352C}"/>
              </a:ext>
            </a:extLst>
          </p:cNvPr>
          <p:cNvSpPr>
            <a:spLocks/>
          </p:cNvSpPr>
          <p:nvPr/>
        </p:nvSpPr>
        <p:spPr bwMode="auto">
          <a:xfrm>
            <a:off x="4602757" y="3780589"/>
            <a:ext cx="107176" cy="28921"/>
          </a:xfrm>
          <a:custGeom>
            <a:avLst/>
            <a:gdLst>
              <a:gd name="T0" fmla="*/ 0 w 63"/>
              <a:gd name="T1" fmla="*/ 17 h 17"/>
              <a:gd name="T2" fmla="*/ 19 w 63"/>
              <a:gd name="T3" fmla="*/ 17 h 17"/>
              <a:gd name="T4" fmla="*/ 25 w 63"/>
              <a:gd name="T5" fmla="*/ 14 h 17"/>
              <a:gd name="T6" fmla="*/ 28 w 63"/>
              <a:gd name="T7" fmla="*/ 14 h 17"/>
              <a:gd name="T8" fmla="*/ 36 w 63"/>
              <a:gd name="T9" fmla="*/ 8 h 17"/>
              <a:gd name="T10" fmla="*/ 45 w 63"/>
              <a:gd name="T11" fmla="*/ 13 h 17"/>
              <a:gd name="T12" fmla="*/ 54 w 63"/>
              <a:gd name="T13" fmla="*/ 14 h 17"/>
              <a:gd name="T14" fmla="*/ 63 w 63"/>
              <a:gd name="T15" fmla="*/ 8 h 17"/>
              <a:gd name="T16" fmla="*/ 59 w 63"/>
              <a:gd name="T17" fmla="*/ 2 h 17"/>
              <a:gd name="T18" fmla="*/ 52 w 63"/>
              <a:gd name="T19" fmla="*/ 5 h 17"/>
              <a:gd name="T20" fmla="*/ 45 w 63"/>
              <a:gd name="T21" fmla="*/ 5 h 17"/>
              <a:gd name="T22" fmla="*/ 38 w 63"/>
              <a:gd name="T23" fmla="*/ 0 h 17"/>
              <a:gd name="T24" fmla="*/ 31 w 63"/>
              <a:gd name="T25" fmla="*/ 0 h 17"/>
              <a:gd name="T26" fmla="*/ 26 w 63"/>
              <a:gd name="T27" fmla="*/ 5 h 17"/>
              <a:gd name="T28" fmla="*/ 3 w 63"/>
              <a:gd name="T29" fmla="*/ 6 h 17"/>
              <a:gd name="T30" fmla="*/ 0 w 63"/>
              <a:gd name="T31" fmla="*/ 17 h 17"/>
              <a:gd name="T32" fmla="*/ 0 w 63"/>
              <a:gd name="T33"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17">
                <a:moveTo>
                  <a:pt x="0" y="17"/>
                </a:moveTo>
                <a:lnTo>
                  <a:pt x="19" y="17"/>
                </a:lnTo>
                <a:lnTo>
                  <a:pt x="25" y="14"/>
                </a:lnTo>
                <a:lnTo>
                  <a:pt x="28" y="14"/>
                </a:lnTo>
                <a:lnTo>
                  <a:pt x="36" y="8"/>
                </a:lnTo>
                <a:lnTo>
                  <a:pt x="45" y="13"/>
                </a:lnTo>
                <a:lnTo>
                  <a:pt x="54" y="14"/>
                </a:lnTo>
                <a:lnTo>
                  <a:pt x="63" y="8"/>
                </a:lnTo>
                <a:lnTo>
                  <a:pt x="59" y="2"/>
                </a:lnTo>
                <a:lnTo>
                  <a:pt x="52" y="5"/>
                </a:lnTo>
                <a:lnTo>
                  <a:pt x="45" y="5"/>
                </a:lnTo>
                <a:lnTo>
                  <a:pt x="38" y="0"/>
                </a:lnTo>
                <a:lnTo>
                  <a:pt x="31" y="0"/>
                </a:lnTo>
                <a:lnTo>
                  <a:pt x="26" y="5"/>
                </a:lnTo>
                <a:lnTo>
                  <a:pt x="3" y="6"/>
                </a:lnTo>
                <a:lnTo>
                  <a:pt x="0" y="17"/>
                </a:lnTo>
                <a:lnTo>
                  <a:pt x="0" y="1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73" name="Guinea-Bissau">
            <a:extLst>
              <a:ext uri="{FF2B5EF4-FFF2-40B4-BE49-F238E27FC236}">
                <a16:creationId xmlns:a16="http://schemas.microsoft.com/office/drawing/2014/main" id="{ADA41175-4D28-4D0D-A49B-0FE45CBC1968}"/>
              </a:ext>
            </a:extLst>
          </p:cNvPr>
          <p:cNvSpPr>
            <a:spLocks/>
          </p:cNvSpPr>
          <p:nvPr/>
        </p:nvSpPr>
        <p:spPr bwMode="auto">
          <a:xfrm>
            <a:off x="4607862" y="3829924"/>
            <a:ext cx="107176" cy="64646"/>
          </a:xfrm>
          <a:custGeom>
            <a:avLst/>
            <a:gdLst>
              <a:gd name="T0" fmla="*/ 63 w 63"/>
              <a:gd name="T1" fmla="*/ 1 h 38"/>
              <a:gd name="T2" fmla="*/ 24 w 63"/>
              <a:gd name="T3" fmla="*/ 0 h 38"/>
              <a:gd name="T4" fmla="*/ 19 w 63"/>
              <a:gd name="T5" fmla="*/ 2 h 38"/>
              <a:gd name="T6" fmla="*/ 11 w 63"/>
              <a:gd name="T7" fmla="*/ 2 h 38"/>
              <a:gd name="T8" fmla="*/ 0 w 63"/>
              <a:gd name="T9" fmla="*/ 6 h 38"/>
              <a:gd name="T10" fmla="*/ 2 w 63"/>
              <a:gd name="T11" fmla="*/ 11 h 38"/>
              <a:gd name="T12" fmla="*/ 8 w 63"/>
              <a:gd name="T13" fmla="*/ 16 h 38"/>
              <a:gd name="T14" fmla="*/ 8 w 63"/>
              <a:gd name="T15" fmla="*/ 19 h 38"/>
              <a:gd name="T16" fmla="*/ 12 w 63"/>
              <a:gd name="T17" fmla="*/ 26 h 38"/>
              <a:gd name="T18" fmla="*/ 22 w 63"/>
              <a:gd name="T19" fmla="*/ 28 h 38"/>
              <a:gd name="T20" fmla="*/ 32 w 63"/>
              <a:gd name="T21" fmla="*/ 38 h 38"/>
              <a:gd name="T22" fmla="*/ 42 w 63"/>
              <a:gd name="T23" fmla="*/ 26 h 38"/>
              <a:gd name="T24" fmla="*/ 49 w 63"/>
              <a:gd name="T25" fmla="*/ 27 h 38"/>
              <a:gd name="T26" fmla="*/ 53 w 63"/>
              <a:gd name="T27" fmla="*/ 23 h 38"/>
              <a:gd name="T28" fmla="*/ 58 w 63"/>
              <a:gd name="T29" fmla="*/ 23 h 38"/>
              <a:gd name="T30" fmla="*/ 62 w 63"/>
              <a:gd name="T31" fmla="*/ 19 h 38"/>
              <a:gd name="T32" fmla="*/ 60 w 63"/>
              <a:gd name="T33" fmla="*/ 12 h 38"/>
              <a:gd name="T34" fmla="*/ 62 w 63"/>
              <a:gd name="T35" fmla="*/ 9 h 38"/>
              <a:gd name="T36" fmla="*/ 63 w 63"/>
              <a:gd name="T37" fmla="*/ 1 h 38"/>
              <a:gd name="T38" fmla="*/ 63 w 63"/>
              <a:gd name="T39"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 h="38">
                <a:moveTo>
                  <a:pt x="63" y="1"/>
                </a:moveTo>
                <a:lnTo>
                  <a:pt x="24" y="0"/>
                </a:lnTo>
                <a:lnTo>
                  <a:pt x="19" y="2"/>
                </a:lnTo>
                <a:lnTo>
                  <a:pt x="11" y="2"/>
                </a:lnTo>
                <a:lnTo>
                  <a:pt x="0" y="6"/>
                </a:lnTo>
                <a:lnTo>
                  <a:pt x="2" y="11"/>
                </a:lnTo>
                <a:lnTo>
                  <a:pt x="8" y="16"/>
                </a:lnTo>
                <a:lnTo>
                  <a:pt x="8" y="19"/>
                </a:lnTo>
                <a:lnTo>
                  <a:pt x="12" y="26"/>
                </a:lnTo>
                <a:lnTo>
                  <a:pt x="22" y="28"/>
                </a:lnTo>
                <a:lnTo>
                  <a:pt x="32" y="38"/>
                </a:lnTo>
                <a:lnTo>
                  <a:pt x="42" y="26"/>
                </a:lnTo>
                <a:lnTo>
                  <a:pt x="49" y="27"/>
                </a:lnTo>
                <a:lnTo>
                  <a:pt x="53" y="23"/>
                </a:lnTo>
                <a:lnTo>
                  <a:pt x="58" y="23"/>
                </a:lnTo>
                <a:lnTo>
                  <a:pt x="62" y="19"/>
                </a:lnTo>
                <a:lnTo>
                  <a:pt x="60" y="12"/>
                </a:lnTo>
                <a:lnTo>
                  <a:pt x="62" y="9"/>
                </a:lnTo>
                <a:lnTo>
                  <a:pt x="63" y="1"/>
                </a:lnTo>
                <a:lnTo>
                  <a:pt x="63"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74" name="Equatorial Guinea">
            <a:extLst>
              <a:ext uri="{FF2B5EF4-FFF2-40B4-BE49-F238E27FC236}">
                <a16:creationId xmlns:a16="http://schemas.microsoft.com/office/drawing/2014/main" id="{7241F8BC-86B8-499A-BB2E-8A1C2186F44F}"/>
              </a:ext>
            </a:extLst>
          </p:cNvPr>
          <p:cNvSpPr>
            <a:spLocks/>
          </p:cNvSpPr>
          <p:nvPr/>
        </p:nvSpPr>
        <p:spPr bwMode="auto">
          <a:xfrm>
            <a:off x="5533322" y="4246722"/>
            <a:ext cx="69749" cy="52738"/>
          </a:xfrm>
          <a:custGeom>
            <a:avLst/>
            <a:gdLst>
              <a:gd name="T0" fmla="*/ 41 w 41"/>
              <a:gd name="T1" fmla="*/ 1 h 31"/>
              <a:gd name="T2" fmla="*/ 7 w 41"/>
              <a:gd name="T3" fmla="*/ 0 h 31"/>
              <a:gd name="T4" fmla="*/ 0 w 41"/>
              <a:gd name="T5" fmla="*/ 27 h 31"/>
              <a:gd name="T6" fmla="*/ 3 w 41"/>
              <a:gd name="T7" fmla="*/ 31 h 31"/>
              <a:gd name="T8" fmla="*/ 11 w 41"/>
              <a:gd name="T9" fmla="*/ 30 h 31"/>
              <a:gd name="T10" fmla="*/ 41 w 41"/>
              <a:gd name="T11" fmla="*/ 30 h 31"/>
              <a:gd name="T12" fmla="*/ 41 w 41"/>
              <a:gd name="T13" fmla="*/ 1 h 31"/>
              <a:gd name="T14" fmla="*/ 41 w 41"/>
              <a:gd name="T15" fmla="*/ 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41" y="1"/>
                </a:moveTo>
                <a:lnTo>
                  <a:pt x="7" y="0"/>
                </a:lnTo>
                <a:lnTo>
                  <a:pt x="0" y="27"/>
                </a:lnTo>
                <a:lnTo>
                  <a:pt x="3" y="31"/>
                </a:lnTo>
                <a:lnTo>
                  <a:pt x="11" y="30"/>
                </a:lnTo>
                <a:lnTo>
                  <a:pt x="41" y="30"/>
                </a:lnTo>
                <a:lnTo>
                  <a:pt x="41" y="1"/>
                </a:lnTo>
                <a:lnTo>
                  <a:pt x="41"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75" name="Greece">
            <a:extLst>
              <a:ext uri="{FF2B5EF4-FFF2-40B4-BE49-F238E27FC236}">
                <a16:creationId xmlns:a16="http://schemas.microsoft.com/office/drawing/2014/main" id="{143B72B2-F9D7-46C7-9385-1B6EB64F4CD5}"/>
              </a:ext>
            </a:extLst>
          </p:cNvPr>
          <p:cNvSpPr>
            <a:spLocks noEditPoints="1"/>
          </p:cNvSpPr>
          <p:nvPr/>
        </p:nvSpPr>
        <p:spPr bwMode="auto">
          <a:xfrm>
            <a:off x="5865058" y="2649282"/>
            <a:ext cx="219457" cy="278999"/>
          </a:xfrm>
          <a:custGeom>
            <a:avLst/>
            <a:gdLst>
              <a:gd name="T0" fmla="*/ 77 w 129"/>
              <a:gd name="T1" fmla="*/ 146 h 164"/>
              <a:gd name="T2" fmla="*/ 73 w 129"/>
              <a:gd name="T3" fmla="*/ 156 h 164"/>
              <a:gd name="T4" fmla="*/ 99 w 129"/>
              <a:gd name="T5" fmla="*/ 161 h 164"/>
              <a:gd name="T6" fmla="*/ 99 w 129"/>
              <a:gd name="T7" fmla="*/ 164 h 164"/>
              <a:gd name="T8" fmla="*/ 127 w 129"/>
              <a:gd name="T9" fmla="*/ 162 h 164"/>
              <a:gd name="T10" fmla="*/ 129 w 129"/>
              <a:gd name="T11" fmla="*/ 155 h 164"/>
              <a:gd name="T12" fmla="*/ 118 w 129"/>
              <a:gd name="T13" fmla="*/ 158 h 164"/>
              <a:gd name="T14" fmla="*/ 118 w 129"/>
              <a:gd name="T15" fmla="*/ 154 h 164"/>
              <a:gd name="T16" fmla="*/ 103 w 129"/>
              <a:gd name="T17" fmla="*/ 152 h 164"/>
              <a:gd name="T18" fmla="*/ 88 w 129"/>
              <a:gd name="T19" fmla="*/ 153 h 164"/>
              <a:gd name="T20" fmla="*/ 77 w 129"/>
              <a:gd name="T21" fmla="*/ 146 h 164"/>
              <a:gd name="T22" fmla="*/ 77 w 129"/>
              <a:gd name="T23" fmla="*/ 146 h 164"/>
              <a:gd name="T24" fmla="*/ 120 w 129"/>
              <a:gd name="T25" fmla="*/ 6 h 164"/>
              <a:gd name="T26" fmla="*/ 110 w 129"/>
              <a:gd name="T27" fmla="*/ 0 h 164"/>
              <a:gd name="T28" fmla="*/ 111 w 129"/>
              <a:gd name="T29" fmla="*/ 11 h 164"/>
              <a:gd name="T30" fmla="*/ 94 w 129"/>
              <a:gd name="T31" fmla="*/ 13 h 164"/>
              <a:gd name="T32" fmla="*/ 79 w 129"/>
              <a:gd name="T33" fmla="*/ 6 h 164"/>
              <a:gd name="T34" fmla="*/ 64 w 129"/>
              <a:gd name="T35" fmla="*/ 11 h 164"/>
              <a:gd name="T36" fmla="*/ 50 w 129"/>
              <a:gd name="T37" fmla="*/ 11 h 164"/>
              <a:gd name="T38" fmla="*/ 46 w 129"/>
              <a:gd name="T39" fmla="*/ 11 h 164"/>
              <a:gd name="T40" fmla="*/ 44 w 129"/>
              <a:gd name="T41" fmla="*/ 16 h 164"/>
              <a:gd name="T42" fmla="*/ 33 w 129"/>
              <a:gd name="T43" fmla="*/ 15 h 164"/>
              <a:gd name="T44" fmla="*/ 27 w 129"/>
              <a:gd name="T45" fmla="*/ 20 h 164"/>
              <a:gd name="T46" fmla="*/ 14 w 129"/>
              <a:gd name="T47" fmla="*/ 22 h 164"/>
              <a:gd name="T48" fmla="*/ 14 w 129"/>
              <a:gd name="T49" fmla="*/ 28 h 164"/>
              <a:gd name="T50" fmla="*/ 8 w 129"/>
              <a:gd name="T51" fmla="*/ 32 h 164"/>
              <a:gd name="T52" fmla="*/ 8 w 129"/>
              <a:gd name="T53" fmla="*/ 39 h 164"/>
              <a:gd name="T54" fmla="*/ 0 w 129"/>
              <a:gd name="T55" fmla="*/ 50 h 164"/>
              <a:gd name="T56" fmla="*/ 2 w 129"/>
              <a:gd name="T57" fmla="*/ 58 h 164"/>
              <a:gd name="T58" fmla="*/ 13 w 129"/>
              <a:gd name="T59" fmla="*/ 71 h 164"/>
              <a:gd name="T60" fmla="*/ 21 w 129"/>
              <a:gd name="T61" fmla="*/ 82 h 164"/>
              <a:gd name="T62" fmla="*/ 26 w 129"/>
              <a:gd name="T63" fmla="*/ 99 h 164"/>
              <a:gd name="T64" fmla="*/ 34 w 129"/>
              <a:gd name="T65" fmla="*/ 118 h 164"/>
              <a:gd name="T66" fmla="*/ 52 w 129"/>
              <a:gd name="T67" fmla="*/ 129 h 164"/>
              <a:gd name="T68" fmla="*/ 64 w 129"/>
              <a:gd name="T69" fmla="*/ 128 h 164"/>
              <a:gd name="T70" fmla="*/ 56 w 129"/>
              <a:gd name="T71" fmla="*/ 106 h 164"/>
              <a:gd name="T72" fmla="*/ 68 w 129"/>
              <a:gd name="T73" fmla="*/ 105 h 164"/>
              <a:gd name="T74" fmla="*/ 60 w 129"/>
              <a:gd name="T75" fmla="*/ 91 h 164"/>
              <a:gd name="T76" fmla="*/ 79 w 129"/>
              <a:gd name="T77" fmla="*/ 98 h 164"/>
              <a:gd name="T78" fmla="*/ 78 w 129"/>
              <a:gd name="T79" fmla="*/ 84 h 164"/>
              <a:gd name="T80" fmla="*/ 68 w 129"/>
              <a:gd name="T81" fmla="*/ 77 h 164"/>
              <a:gd name="T82" fmla="*/ 56 w 129"/>
              <a:gd name="T83" fmla="*/ 66 h 164"/>
              <a:gd name="T84" fmla="*/ 62 w 129"/>
              <a:gd name="T85" fmla="*/ 62 h 164"/>
              <a:gd name="T86" fmla="*/ 52 w 129"/>
              <a:gd name="T87" fmla="*/ 50 h 164"/>
              <a:gd name="T88" fmla="*/ 46 w 129"/>
              <a:gd name="T89" fmla="*/ 35 h 164"/>
              <a:gd name="T90" fmla="*/ 49 w 129"/>
              <a:gd name="T91" fmla="*/ 31 h 164"/>
              <a:gd name="T92" fmla="*/ 60 w 129"/>
              <a:gd name="T93" fmla="*/ 43 h 164"/>
              <a:gd name="T94" fmla="*/ 72 w 129"/>
              <a:gd name="T95" fmla="*/ 43 h 164"/>
              <a:gd name="T96" fmla="*/ 81 w 129"/>
              <a:gd name="T97" fmla="*/ 39 h 164"/>
              <a:gd name="T98" fmla="*/ 66 w 129"/>
              <a:gd name="T99" fmla="*/ 26 h 164"/>
              <a:gd name="T100" fmla="*/ 89 w 129"/>
              <a:gd name="T101" fmla="*/ 20 h 164"/>
              <a:gd name="T102" fmla="*/ 100 w 129"/>
              <a:gd name="T103" fmla="*/ 22 h 164"/>
              <a:gd name="T104" fmla="*/ 111 w 129"/>
              <a:gd name="T105" fmla="*/ 22 h 164"/>
              <a:gd name="T106" fmla="*/ 115 w 129"/>
              <a:gd name="T107" fmla="*/ 20 h 164"/>
              <a:gd name="T108" fmla="*/ 120 w 129"/>
              <a:gd name="T109" fmla="*/ 6 h 164"/>
              <a:gd name="T110" fmla="*/ 120 w 129"/>
              <a:gd name="T111" fmla="*/ 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9" h="164">
                <a:moveTo>
                  <a:pt x="77" y="146"/>
                </a:moveTo>
                <a:lnTo>
                  <a:pt x="73" y="156"/>
                </a:lnTo>
                <a:lnTo>
                  <a:pt x="99" y="161"/>
                </a:lnTo>
                <a:lnTo>
                  <a:pt x="99" y="164"/>
                </a:lnTo>
                <a:lnTo>
                  <a:pt x="127" y="162"/>
                </a:lnTo>
                <a:lnTo>
                  <a:pt x="129" y="155"/>
                </a:lnTo>
                <a:lnTo>
                  <a:pt x="118" y="158"/>
                </a:lnTo>
                <a:lnTo>
                  <a:pt x="118" y="154"/>
                </a:lnTo>
                <a:lnTo>
                  <a:pt x="103" y="152"/>
                </a:lnTo>
                <a:lnTo>
                  <a:pt x="88" y="153"/>
                </a:lnTo>
                <a:lnTo>
                  <a:pt x="77" y="146"/>
                </a:lnTo>
                <a:lnTo>
                  <a:pt x="77" y="146"/>
                </a:lnTo>
                <a:close/>
                <a:moveTo>
                  <a:pt x="120" y="6"/>
                </a:moveTo>
                <a:lnTo>
                  <a:pt x="110" y="0"/>
                </a:lnTo>
                <a:lnTo>
                  <a:pt x="111" y="11"/>
                </a:lnTo>
                <a:lnTo>
                  <a:pt x="94" y="13"/>
                </a:lnTo>
                <a:lnTo>
                  <a:pt x="79" y="6"/>
                </a:lnTo>
                <a:lnTo>
                  <a:pt x="64" y="11"/>
                </a:lnTo>
                <a:lnTo>
                  <a:pt x="50" y="11"/>
                </a:lnTo>
                <a:lnTo>
                  <a:pt x="46" y="11"/>
                </a:lnTo>
                <a:lnTo>
                  <a:pt x="44" y="16"/>
                </a:lnTo>
                <a:lnTo>
                  <a:pt x="33" y="15"/>
                </a:lnTo>
                <a:lnTo>
                  <a:pt x="27" y="20"/>
                </a:lnTo>
                <a:lnTo>
                  <a:pt x="14" y="22"/>
                </a:lnTo>
                <a:lnTo>
                  <a:pt x="14" y="28"/>
                </a:lnTo>
                <a:lnTo>
                  <a:pt x="8" y="32"/>
                </a:lnTo>
                <a:lnTo>
                  <a:pt x="8" y="39"/>
                </a:lnTo>
                <a:lnTo>
                  <a:pt x="0" y="50"/>
                </a:lnTo>
                <a:lnTo>
                  <a:pt x="2" y="58"/>
                </a:lnTo>
                <a:lnTo>
                  <a:pt x="13" y="71"/>
                </a:lnTo>
                <a:lnTo>
                  <a:pt x="21" y="82"/>
                </a:lnTo>
                <a:lnTo>
                  <a:pt x="26" y="99"/>
                </a:lnTo>
                <a:lnTo>
                  <a:pt x="34" y="118"/>
                </a:lnTo>
                <a:lnTo>
                  <a:pt x="52" y="129"/>
                </a:lnTo>
                <a:lnTo>
                  <a:pt x="64" y="128"/>
                </a:lnTo>
                <a:lnTo>
                  <a:pt x="56" y="106"/>
                </a:lnTo>
                <a:lnTo>
                  <a:pt x="68" y="105"/>
                </a:lnTo>
                <a:lnTo>
                  <a:pt x="60" y="91"/>
                </a:lnTo>
                <a:lnTo>
                  <a:pt x="79" y="98"/>
                </a:lnTo>
                <a:lnTo>
                  <a:pt x="78" y="84"/>
                </a:lnTo>
                <a:lnTo>
                  <a:pt x="68" y="77"/>
                </a:lnTo>
                <a:lnTo>
                  <a:pt x="56" y="66"/>
                </a:lnTo>
                <a:lnTo>
                  <a:pt x="62" y="62"/>
                </a:lnTo>
                <a:lnTo>
                  <a:pt x="52" y="50"/>
                </a:lnTo>
                <a:lnTo>
                  <a:pt x="46" y="35"/>
                </a:lnTo>
                <a:lnTo>
                  <a:pt x="49" y="31"/>
                </a:lnTo>
                <a:lnTo>
                  <a:pt x="60" y="43"/>
                </a:lnTo>
                <a:lnTo>
                  <a:pt x="72" y="43"/>
                </a:lnTo>
                <a:lnTo>
                  <a:pt x="81" y="39"/>
                </a:lnTo>
                <a:lnTo>
                  <a:pt x="66" y="26"/>
                </a:lnTo>
                <a:lnTo>
                  <a:pt x="89" y="20"/>
                </a:lnTo>
                <a:lnTo>
                  <a:pt x="100" y="22"/>
                </a:lnTo>
                <a:lnTo>
                  <a:pt x="111" y="22"/>
                </a:lnTo>
                <a:lnTo>
                  <a:pt x="115" y="20"/>
                </a:lnTo>
                <a:lnTo>
                  <a:pt x="120" y="6"/>
                </a:lnTo>
                <a:lnTo>
                  <a:pt x="120" y="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76" name="Greenland">
            <a:extLst>
              <a:ext uri="{FF2B5EF4-FFF2-40B4-BE49-F238E27FC236}">
                <a16:creationId xmlns:a16="http://schemas.microsoft.com/office/drawing/2014/main" id="{58BAB6C5-F850-437E-8F11-A614A5A7A539}"/>
              </a:ext>
            </a:extLst>
          </p:cNvPr>
          <p:cNvSpPr>
            <a:spLocks/>
          </p:cNvSpPr>
          <p:nvPr/>
        </p:nvSpPr>
        <p:spPr bwMode="auto">
          <a:xfrm>
            <a:off x="3520784" y="1187938"/>
            <a:ext cx="1415410" cy="755339"/>
          </a:xfrm>
          <a:custGeom>
            <a:avLst/>
            <a:gdLst>
              <a:gd name="T0" fmla="*/ 512 w 832"/>
              <a:gd name="T1" fmla="*/ 1 h 444"/>
              <a:gd name="T2" fmla="*/ 404 w 832"/>
              <a:gd name="T3" fmla="*/ 13 h 444"/>
              <a:gd name="T4" fmla="*/ 399 w 832"/>
              <a:gd name="T5" fmla="*/ 22 h 444"/>
              <a:gd name="T6" fmla="*/ 317 w 832"/>
              <a:gd name="T7" fmla="*/ 24 h 444"/>
              <a:gd name="T8" fmla="*/ 227 w 832"/>
              <a:gd name="T9" fmla="*/ 21 h 444"/>
              <a:gd name="T10" fmla="*/ 173 w 832"/>
              <a:gd name="T11" fmla="*/ 34 h 444"/>
              <a:gd name="T12" fmla="*/ 132 w 832"/>
              <a:gd name="T13" fmla="*/ 57 h 444"/>
              <a:gd name="T14" fmla="*/ 8 w 832"/>
              <a:gd name="T15" fmla="*/ 79 h 444"/>
              <a:gd name="T16" fmla="*/ 78 w 832"/>
              <a:gd name="T17" fmla="*/ 97 h 444"/>
              <a:gd name="T18" fmla="*/ 23 w 832"/>
              <a:gd name="T19" fmla="*/ 116 h 444"/>
              <a:gd name="T20" fmla="*/ 107 w 832"/>
              <a:gd name="T21" fmla="*/ 119 h 444"/>
              <a:gd name="T22" fmla="*/ 160 w 832"/>
              <a:gd name="T23" fmla="*/ 139 h 444"/>
              <a:gd name="T24" fmla="*/ 183 w 832"/>
              <a:gd name="T25" fmla="*/ 179 h 444"/>
              <a:gd name="T26" fmla="*/ 171 w 832"/>
              <a:gd name="T27" fmla="*/ 209 h 444"/>
              <a:gd name="T28" fmla="*/ 217 w 832"/>
              <a:gd name="T29" fmla="*/ 226 h 444"/>
              <a:gd name="T30" fmla="*/ 164 w 832"/>
              <a:gd name="T31" fmla="*/ 231 h 444"/>
              <a:gd name="T32" fmla="*/ 189 w 832"/>
              <a:gd name="T33" fmla="*/ 248 h 444"/>
              <a:gd name="T34" fmla="*/ 209 w 832"/>
              <a:gd name="T35" fmla="*/ 254 h 444"/>
              <a:gd name="T36" fmla="*/ 146 w 832"/>
              <a:gd name="T37" fmla="*/ 293 h 444"/>
              <a:gd name="T38" fmla="*/ 156 w 832"/>
              <a:gd name="T39" fmla="*/ 335 h 444"/>
              <a:gd name="T40" fmla="*/ 170 w 832"/>
              <a:gd name="T41" fmla="*/ 394 h 444"/>
              <a:gd name="T42" fmla="*/ 218 w 832"/>
              <a:gd name="T43" fmla="*/ 427 h 444"/>
              <a:gd name="T44" fmla="*/ 276 w 832"/>
              <a:gd name="T45" fmla="*/ 422 h 444"/>
              <a:gd name="T46" fmla="*/ 320 w 832"/>
              <a:gd name="T47" fmla="*/ 371 h 444"/>
              <a:gd name="T48" fmla="*/ 355 w 832"/>
              <a:gd name="T49" fmla="*/ 329 h 444"/>
              <a:gd name="T50" fmla="*/ 413 w 832"/>
              <a:gd name="T51" fmla="*/ 318 h 444"/>
              <a:gd name="T52" fmla="*/ 497 w 832"/>
              <a:gd name="T53" fmla="*/ 274 h 444"/>
              <a:gd name="T54" fmla="*/ 607 w 832"/>
              <a:gd name="T55" fmla="*/ 251 h 444"/>
              <a:gd name="T56" fmla="*/ 591 w 832"/>
              <a:gd name="T57" fmla="*/ 232 h 444"/>
              <a:gd name="T58" fmla="*/ 624 w 832"/>
              <a:gd name="T59" fmla="*/ 219 h 444"/>
              <a:gd name="T60" fmla="*/ 660 w 832"/>
              <a:gd name="T61" fmla="*/ 207 h 444"/>
              <a:gd name="T62" fmla="*/ 633 w 832"/>
              <a:gd name="T63" fmla="*/ 186 h 444"/>
              <a:gd name="T64" fmla="*/ 647 w 832"/>
              <a:gd name="T65" fmla="*/ 173 h 444"/>
              <a:gd name="T66" fmla="*/ 693 w 832"/>
              <a:gd name="T67" fmla="*/ 162 h 444"/>
              <a:gd name="T68" fmla="*/ 696 w 832"/>
              <a:gd name="T69" fmla="*/ 138 h 444"/>
              <a:gd name="T70" fmla="*/ 689 w 832"/>
              <a:gd name="T71" fmla="*/ 111 h 444"/>
              <a:gd name="T72" fmla="*/ 720 w 832"/>
              <a:gd name="T73" fmla="*/ 92 h 444"/>
              <a:gd name="T74" fmla="*/ 757 w 832"/>
              <a:gd name="T75" fmla="*/ 50 h 444"/>
              <a:gd name="T76" fmla="*/ 777 w 832"/>
              <a:gd name="T77" fmla="*/ 44 h 444"/>
              <a:gd name="T78" fmla="*/ 789 w 832"/>
              <a:gd name="T79" fmla="*/ 23 h 444"/>
              <a:gd name="T80" fmla="*/ 707 w 832"/>
              <a:gd name="T81" fmla="*/ 26 h 444"/>
              <a:gd name="T82" fmla="*/ 636 w 832"/>
              <a:gd name="T83" fmla="*/ 20 h 444"/>
              <a:gd name="T84" fmla="*/ 654 w 832"/>
              <a:gd name="T85" fmla="*/ 18 h 444"/>
              <a:gd name="T86" fmla="*/ 654 w 832"/>
              <a:gd name="T87" fmla="*/ 1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32" h="444">
                <a:moveTo>
                  <a:pt x="654" y="1"/>
                </a:moveTo>
                <a:lnTo>
                  <a:pt x="557" y="0"/>
                </a:lnTo>
                <a:lnTo>
                  <a:pt x="512" y="1"/>
                </a:lnTo>
                <a:lnTo>
                  <a:pt x="494" y="6"/>
                </a:lnTo>
                <a:lnTo>
                  <a:pt x="451" y="6"/>
                </a:lnTo>
                <a:lnTo>
                  <a:pt x="404" y="13"/>
                </a:lnTo>
                <a:lnTo>
                  <a:pt x="397" y="20"/>
                </a:lnTo>
                <a:lnTo>
                  <a:pt x="423" y="27"/>
                </a:lnTo>
                <a:lnTo>
                  <a:pt x="399" y="22"/>
                </a:lnTo>
                <a:lnTo>
                  <a:pt x="382" y="21"/>
                </a:lnTo>
                <a:lnTo>
                  <a:pt x="356" y="16"/>
                </a:lnTo>
                <a:lnTo>
                  <a:pt x="317" y="24"/>
                </a:lnTo>
                <a:lnTo>
                  <a:pt x="307" y="20"/>
                </a:lnTo>
                <a:lnTo>
                  <a:pt x="268" y="20"/>
                </a:lnTo>
                <a:lnTo>
                  <a:pt x="227" y="21"/>
                </a:lnTo>
                <a:lnTo>
                  <a:pt x="194" y="25"/>
                </a:lnTo>
                <a:lnTo>
                  <a:pt x="193" y="32"/>
                </a:lnTo>
                <a:lnTo>
                  <a:pt x="173" y="34"/>
                </a:lnTo>
                <a:lnTo>
                  <a:pt x="119" y="45"/>
                </a:lnTo>
                <a:lnTo>
                  <a:pt x="101" y="51"/>
                </a:lnTo>
                <a:lnTo>
                  <a:pt x="132" y="57"/>
                </a:lnTo>
                <a:lnTo>
                  <a:pt x="122" y="63"/>
                </a:lnTo>
                <a:lnTo>
                  <a:pt x="66" y="71"/>
                </a:lnTo>
                <a:lnTo>
                  <a:pt x="8" y="79"/>
                </a:lnTo>
                <a:lnTo>
                  <a:pt x="0" y="86"/>
                </a:lnTo>
                <a:lnTo>
                  <a:pt x="24" y="93"/>
                </a:lnTo>
                <a:lnTo>
                  <a:pt x="78" y="97"/>
                </a:lnTo>
                <a:lnTo>
                  <a:pt x="50" y="98"/>
                </a:lnTo>
                <a:lnTo>
                  <a:pt x="9" y="104"/>
                </a:lnTo>
                <a:lnTo>
                  <a:pt x="23" y="116"/>
                </a:lnTo>
                <a:lnTo>
                  <a:pt x="34" y="121"/>
                </a:lnTo>
                <a:lnTo>
                  <a:pt x="70" y="119"/>
                </a:lnTo>
                <a:lnTo>
                  <a:pt x="107" y="119"/>
                </a:lnTo>
                <a:lnTo>
                  <a:pt x="136" y="120"/>
                </a:lnTo>
                <a:lnTo>
                  <a:pt x="166" y="131"/>
                </a:lnTo>
                <a:lnTo>
                  <a:pt x="160" y="139"/>
                </a:lnTo>
                <a:lnTo>
                  <a:pt x="174" y="146"/>
                </a:lnTo>
                <a:lnTo>
                  <a:pt x="179" y="166"/>
                </a:lnTo>
                <a:lnTo>
                  <a:pt x="183" y="179"/>
                </a:lnTo>
                <a:lnTo>
                  <a:pt x="188" y="187"/>
                </a:lnTo>
                <a:lnTo>
                  <a:pt x="162" y="204"/>
                </a:lnTo>
                <a:lnTo>
                  <a:pt x="171" y="209"/>
                </a:lnTo>
                <a:lnTo>
                  <a:pt x="188" y="206"/>
                </a:lnTo>
                <a:lnTo>
                  <a:pt x="198" y="213"/>
                </a:lnTo>
                <a:lnTo>
                  <a:pt x="217" y="226"/>
                </a:lnTo>
                <a:lnTo>
                  <a:pt x="189" y="220"/>
                </a:lnTo>
                <a:lnTo>
                  <a:pt x="175" y="220"/>
                </a:lnTo>
                <a:lnTo>
                  <a:pt x="164" y="231"/>
                </a:lnTo>
                <a:lnTo>
                  <a:pt x="158" y="245"/>
                </a:lnTo>
                <a:lnTo>
                  <a:pt x="174" y="251"/>
                </a:lnTo>
                <a:lnTo>
                  <a:pt x="189" y="248"/>
                </a:lnTo>
                <a:lnTo>
                  <a:pt x="198" y="245"/>
                </a:lnTo>
                <a:lnTo>
                  <a:pt x="219" y="238"/>
                </a:lnTo>
                <a:lnTo>
                  <a:pt x="209" y="254"/>
                </a:lnTo>
                <a:lnTo>
                  <a:pt x="199" y="262"/>
                </a:lnTo>
                <a:lnTo>
                  <a:pt x="172" y="270"/>
                </a:lnTo>
                <a:lnTo>
                  <a:pt x="146" y="293"/>
                </a:lnTo>
                <a:lnTo>
                  <a:pt x="154" y="301"/>
                </a:lnTo>
                <a:lnTo>
                  <a:pt x="142" y="316"/>
                </a:lnTo>
                <a:lnTo>
                  <a:pt x="156" y="335"/>
                </a:lnTo>
                <a:lnTo>
                  <a:pt x="150" y="354"/>
                </a:lnTo>
                <a:lnTo>
                  <a:pt x="152" y="368"/>
                </a:lnTo>
                <a:lnTo>
                  <a:pt x="170" y="394"/>
                </a:lnTo>
                <a:lnTo>
                  <a:pt x="173" y="414"/>
                </a:lnTo>
                <a:lnTo>
                  <a:pt x="184" y="427"/>
                </a:lnTo>
                <a:lnTo>
                  <a:pt x="218" y="427"/>
                </a:lnTo>
                <a:lnTo>
                  <a:pt x="237" y="444"/>
                </a:lnTo>
                <a:lnTo>
                  <a:pt x="261" y="443"/>
                </a:lnTo>
                <a:lnTo>
                  <a:pt x="276" y="422"/>
                </a:lnTo>
                <a:lnTo>
                  <a:pt x="289" y="404"/>
                </a:lnTo>
                <a:lnTo>
                  <a:pt x="288" y="387"/>
                </a:lnTo>
                <a:lnTo>
                  <a:pt x="320" y="371"/>
                </a:lnTo>
                <a:lnTo>
                  <a:pt x="333" y="357"/>
                </a:lnTo>
                <a:lnTo>
                  <a:pt x="338" y="342"/>
                </a:lnTo>
                <a:lnTo>
                  <a:pt x="355" y="329"/>
                </a:lnTo>
                <a:lnTo>
                  <a:pt x="380" y="324"/>
                </a:lnTo>
                <a:lnTo>
                  <a:pt x="402" y="319"/>
                </a:lnTo>
                <a:lnTo>
                  <a:pt x="413" y="318"/>
                </a:lnTo>
                <a:lnTo>
                  <a:pt x="452" y="303"/>
                </a:lnTo>
                <a:lnTo>
                  <a:pt x="480" y="282"/>
                </a:lnTo>
                <a:lnTo>
                  <a:pt x="497" y="274"/>
                </a:lnTo>
                <a:lnTo>
                  <a:pt x="514" y="274"/>
                </a:lnTo>
                <a:lnTo>
                  <a:pt x="561" y="267"/>
                </a:lnTo>
                <a:lnTo>
                  <a:pt x="607" y="251"/>
                </a:lnTo>
                <a:lnTo>
                  <a:pt x="650" y="234"/>
                </a:lnTo>
                <a:lnTo>
                  <a:pt x="630" y="233"/>
                </a:lnTo>
                <a:lnTo>
                  <a:pt x="591" y="232"/>
                </a:lnTo>
                <a:lnTo>
                  <a:pt x="610" y="222"/>
                </a:lnTo>
                <a:lnTo>
                  <a:pt x="608" y="208"/>
                </a:lnTo>
                <a:lnTo>
                  <a:pt x="624" y="219"/>
                </a:lnTo>
                <a:lnTo>
                  <a:pt x="635" y="228"/>
                </a:lnTo>
                <a:lnTo>
                  <a:pt x="662" y="224"/>
                </a:lnTo>
                <a:lnTo>
                  <a:pt x="660" y="207"/>
                </a:lnTo>
                <a:lnTo>
                  <a:pt x="643" y="196"/>
                </a:lnTo>
                <a:lnTo>
                  <a:pt x="624" y="191"/>
                </a:lnTo>
                <a:lnTo>
                  <a:pt x="633" y="186"/>
                </a:lnTo>
                <a:lnTo>
                  <a:pt x="660" y="194"/>
                </a:lnTo>
                <a:lnTo>
                  <a:pt x="662" y="185"/>
                </a:lnTo>
                <a:lnTo>
                  <a:pt x="647" y="173"/>
                </a:lnTo>
                <a:lnTo>
                  <a:pt x="666" y="173"/>
                </a:lnTo>
                <a:lnTo>
                  <a:pt x="688" y="170"/>
                </a:lnTo>
                <a:lnTo>
                  <a:pt x="693" y="162"/>
                </a:lnTo>
                <a:lnTo>
                  <a:pt x="678" y="155"/>
                </a:lnTo>
                <a:lnTo>
                  <a:pt x="711" y="154"/>
                </a:lnTo>
                <a:lnTo>
                  <a:pt x="696" y="138"/>
                </a:lnTo>
                <a:lnTo>
                  <a:pt x="711" y="136"/>
                </a:lnTo>
                <a:lnTo>
                  <a:pt x="712" y="120"/>
                </a:lnTo>
                <a:lnTo>
                  <a:pt x="689" y="111"/>
                </a:lnTo>
                <a:lnTo>
                  <a:pt x="712" y="105"/>
                </a:lnTo>
                <a:lnTo>
                  <a:pt x="734" y="105"/>
                </a:lnTo>
                <a:lnTo>
                  <a:pt x="720" y="92"/>
                </a:lnTo>
                <a:lnTo>
                  <a:pt x="725" y="74"/>
                </a:lnTo>
                <a:lnTo>
                  <a:pt x="738" y="63"/>
                </a:lnTo>
                <a:lnTo>
                  <a:pt x="757" y="50"/>
                </a:lnTo>
                <a:lnTo>
                  <a:pt x="727" y="50"/>
                </a:lnTo>
                <a:lnTo>
                  <a:pt x="769" y="48"/>
                </a:lnTo>
                <a:lnTo>
                  <a:pt x="777" y="44"/>
                </a:lnTo>
                <a:lnTo>
                  <a:pt x="832" y="33"/>
                </a:lnTo>
                <a:lnTo>
                  <a:pt x="826" y="26"/>
                </a:lnTo>
                <a:lnTo>
                  <a:pt x="789" y="23"/>
                </a:lnTo>
                <a:lnTo>
                  <a:pt x="725" y="29"/>
                </a:lnTo>
                <a:lnTo>
                  <a:pt x="691" y="34"/>
                </a:lnTo>
                <a:lnTo>
                  <a:pt x="707" y="26"/>
                </a:lnTo>
                <a:lnTo>
                  <a:pt x="699" y="20"/>
                </a:lnTo>
                <a:lnTo>
                  <a:pt x="673" y="25"/>
                </a:lnTo>
                <a:lnTo>
                  <a:pt x="636" y="20"/>
                </a:lnTo>
                <a:lnTo>
                  <a:pt x="592" y="22"/>
                </a:lnTo>
                <a:lnTo>
                  <a:pt x="586" y="20"/>
                </a:lnTo>
                <a:lnTo>
                  <a:pt x="654" y="18"/>
                </a:lnTo>
                <a:lnTo>
                  <a:pt x="703" y="17"/>
                </a:lnTo>
                <a:lnTo>
                  <a:pt x="727" y="12"/>
                </a:lnTo>
                <a:lnTo>
                  <a:pt x="654" y="1"/>
                </a:lnTo>
                <a:lnTo>
                  <a:pt x="654"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77" name="Guatemala">
            <a:extLst>
              <a:ext uri="{FF2B5EF4-FFF2-40B4-BE49-F238E27FC236}">
                <a16:creationId xmlns:a16="http://schemas.microsoft.com/office/drawing/2014/main" id="{06F233CE-FF91-4EA6-867F-3F033BBAE4DA}"/>
              </a:ext>
            </a:extLst>
          </p:cNvPr>
          <p:cNvSpPr>
            <a:spLocks/>
          </p:cNvSpPr>
          <p:nvPr/>
        </p:nvSpPr>
        <p:spPr bwMode="auto">
          <a:xfrm>
            <a:off x="1938655" y="3618974"/>
            <a:ext cx="146304" cy="166719"/>
          </a:xfrm>
          <a:custGeom>
            <a:avLst/>
            <a:gdLst>
              <a:gd name="T0" fmla="*/ 73 w 86"/>
              <a:gd name="T1" fmla="*/ 1 h 98"/>
              <a:gd name="T2" fmla="*/ 54 w 86"/>
              <a:gd name="T3" fmla="*/ 0 h 98"/>
              <a:gd name="T4" fmla="*/ 34 w 86"/>
              <a:gd name="T5" fmla="*/ 0 h 98"/>
              <a:gd name="T6" fmla="*/ 32 w 86"/>
              <a:gd name="T7" fmla="*/ 14 h 98"/>
              <a:gd name="T8" fmla="*/ 23 w 86"/>
              <a:gd name="T9" fmla="*/ 14 h 98"/>
              <a:gd name="T10" fmla="*/ 30 w 86"/>
              <a:gd name="T11" fmla="*/ 22 h 98"/>
              <a:gd name="T12" fmla="*/ 37 w 86"/>
              <a:gd name="T13" fmla="*/ 27 h 98"/>
              <a:gd name="T14" fmla="*/ 39 w 86"/>
              <a:gd name="T15" fmla="*/ 33 h 98"/>
              <a:gd name="T16" fmla="*/ 42 w 86"/>
              <a:gd name="T17" fmla="*/ 34 h 98"/>
              <a:gd name="T18" fmla="*/ 40 w 86"/>
              <a:gd name="T19" fmla="*/ 42 h 98"/>
              <a:gd name="T20" fmla="*/ 14 w 86"/>
              <a:gd name="T21" fmla="*/ 42 h 98"/>
              <a:gd name="T22" fmla="*/ 2 w 86"/>
              <a:gd name="T23" fmla="*/ 61 h 98"/>
              <a:gd name="T24" fmla="*/ 4 w 86"/>
              <a:gd name="T25" fmla="*/ 66 h 98"/>
              <a:gd name="T26" fmla="*/ 1 w 86"/>
              <a:gd name="T27" fmla="*/ 71 h 98"/>
              <a:gd name="T28" fmla="*/ 0 w 86"/>
              <a:gd name="T29" fmla="*/ 79 h 98"/>
              <a:gd name="T30" fmla="*/ 10 w 86"/>
              <a:gd name="T31" fmla="*/ 88 h 98"/>
              <a:gd name="T32" fmla="*/ 19 w 86"/>
              <a:gd name="T33" fmla="*/ 93 h 98"/>
              <a:gd name="T34" fmla="*/ 31 w 86"/>
              <a:gd name="T35" fmla="*/ 94 h 98"/>
              <a:gd name="T36" fmla="*/ 42 w 86"/>
              <a:gd name="T37" fmla="*/ 98 h 98"/>
              <a:gd name="T38" fmla="*/ 43 w 86"/>
              <a:gd name="T39" fmla="*/ 94 h 98"/>
              <a:gd name="T40" fmla="*/ 51 w 86"/>
              <a:gd name="T41" fmla="*/ 88 h 98"/>
              <a:gd name="T42" fmla="*/ 55 w 86"/>
              <a:gd name="T43" fmla="*/ 85 h 98"/>
              <a:gd name="T44" fmla="*/ 54 w 86"/>
              <a:gd name="T45" fmla="*/ 83 h 98"/>
              <a:gd name="T46" fmla="*/ 59 w 86"/>
              <a:gd name="T47" fmla="*/ 82 h 98"/>
              <a:gd name="T48" fmla="*/ 64 w 86"/>
              <a:gd name="T49" fmla="*/ 75 h 98"/>
              <a:gd name="T50" fmla="*/ 63 w 86"/>
              <a:gd name="T51" fmla="*/ 70 h 98"/>
              <a:gd name="T52" fmla="*/ 65 w 86"/>
              <a:gd name="T53" fmla="*/ 66 h 98"/>
              <a:gd name="T54" fmla="*/ 75 w 86"/>
              <a:gd name="T55" fmla="*/ 59 h 98"/>
              <a:gd name="T56" fmla="*/ 86 w 86"/>
              <a:gd name="T57" fmla="*/ 50 h 98"/>
              <a:gd name="T58" fmla="*/ 80 w 86"/>
              <a:gd name="T59" fmla="*/ 47 h 98"/>
              <a:gd name="T60" fmla="*/ 78 w 86"/>
              <a:gd name="T61" fmla="*/ 51 h 98"/>
              <a:gd name="T62" fmla="*/ 72 w 86"/>
              <a:gd name="T63" fmla="*/ 46 h 98"/>
              <a:gd name="T64" fmla="*/ 66 w 86"/>
              <a:gd name="T65" fmla="*/ 46 h 98"/>
              <a:gd name="T66" fmla="*/ 70 w 86"/>
              <a:gd name="T67" fmla="*/ 20 h 98"/>
              <a:gd name="T68" fmla="*/ 73 w 86"/>
              <a:gd name="T69" fmla="*/ 1 h 98"/>
              <a:gd name="T70" fmla="*/ 73 w 86"/>
              <a:gd name="T71" fmla="*/ 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 h="98">
                <a:moveTo>
                  <a:pt x="73" y="1"/>
                </a:moveTo>
                <a:lnTo>
                  <a:pt x="54" y="0"/>
                </a:lnTo>
                <a:lnTo>
                  <a:pt x="34" y="0"/>
                </a:lnTo>
                <a:lnTo>
                  <a:pt x="32" y="14"/>
                </a:lnTo>
                <a:lnTo>
                  <a:pt x="23" y="14"/>
                </a:lnTo>
                <a:lnTo>
                  <a:pt x="30" y="22"/>
                </a:lnTo>
                <a:lnTo>
                  <a:pt x="37" y="27"/>
                </a:lnTo>
                <a:lnTo>
                  <a:pt x="39" y="33"/>
                </a:lnTo>
                <a:lnTo>
                  <a:pt x="42" y="34"/>
                </a:lnTo>
                <a:lnTo>
                  <a:pt x="40" y="42"/>
                </a:lnTo>
                <a:lnTo>
                  <a:pt x="14" y="42"/>
                </a:lnTo>
                <a:lnTo>
                  <a:pt x="2" y="61"/>
                </a:lnTo>
                <a:lnTo>
                  <a:pt x="4" y="66"/>
                </a:lnTo>
                <a:lnTo>
                  <a:pt x="1" y="71"/>
                </a:lnTo>
                <a:lnTo>
                  <a:pt x="0" y="79"/>
                </a:lnTo>
                <a:lnTo>
                  <a:pt x="10" y="88"/>
                </a:lnTo>
                <a:lnTo>
                  <a:pt x="19" y="93"/>
                </a:lnTo>
                <a:lnTo>
                  <a:pt x="31" y="94"/>
                </a:lnTo>
                <a:lnTo>
                  <a:pt x="42" y="98"/>
                </a:lnTo>
                <a:lnTo>
                  <a:pt x="43" y="94"/>
                </a:lnTo>
                <a:lnTo>
                  <a:pt x="51" y="88"/>
                </a:lnTo>
                <a:lnTo>
                  <a:pt x="55" y="85"/>
                </a:lnTo>
                <a:lnTo>
                  <a:pt x="54" y="83"/>
                </a:lnTo>
                <a:lnTo>
                  <a:pt x="59" y="82"/>
                </a:lnTo>
                <a:lnTo>
                  <a:pt x="64" y="75"/>
                </a:lnTo>
                <a:lnTo>
                  <a:pt x="63" y="70"/>
                </a:lnTo>
                <a:lnTo>
                  <a:pt x="65" y="66"/>
                </a:lnTo>
                <a:lnTo>
                  <a:pt x="75" y="59"/>
                </a:lnTo>
                <a:lnTo>
                  <a:pt x="86" y="50"/>
                </a:lnTo>
                <a:lnTo>
                  <a:pt x="80" y="47"/>
                </a:lnTo>
                <a:lnTo>
                  <a:pt x="78" y="51"/>
                </a:lnTo>
                <a:lnTo>
                  <a:pt x="72" y="46"/>
                </a:lnTo>
                <a:lnTo>
                  <a:pt x="66" y="46"/>
                </a:lnTo>
                <a:lnTo>
                  <a:pt x="70" y="20"/>
                </a:lnTo>
                <a:lnTo>
                  <a:pt x="73" y="1"/>
                </a:lnTo>
                <a:lnTo>
                  <a:pt x="73"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78" name="Guyana">
            <a:extLst>
              <a:ext uri="{FF2B5EF4-FFF2-40B4-BE49-F238E27FC236}">
                <a16:creationId xmlns:a16="http://schemas.microsoft.com/office/drawing/2014/main" id="{E2A33BF9-F1B0-491D-BA97-DD8E293EE92D}"/>
              </a:ext>
            </a:extLst>
          </p:cNvPr>
          <p:cNvSpPr>
            <a:spLocks/>
          </p:cNvSpPr>
          <p:nvPr/>
        </p:nvSpPr>
        <p:spPr bwMode="auto">
          <a:xfrm>
            <a:off x="3012122" y="4001747"/>
            <a:ext cx="170122" cy="285804"/>
          </a:xfrm>
          <a:custGeom>
            <a:avLst/>
            <a:gdLst>
              <a:gd name="T0" fmla="*/ 89 w 100"/>
              <a:gd name="T1" fmla="*/ 57 h 168"/>
              <a:gd name="T2" fmla="*/ 81 w 100"/>
              <a:gd name="T3" fmla="*/ 49 h 168"/>
              <a:gd name="T4" fmla="*/ 70 w 100"/>
              <a:gd name="T5" fmla="*/ 37 h 168"/>
              <a:gd name="T6" fmla="*/ 62 w 100"/>
              <a:gd name="T7" fmla="*/ 37 h 168"/>
              <a:gd name="T8" fmla="*/ 62 w 100"/>
              <a:gd name="T9" fmla="*/ 25 h 168"/>
              <a:gd name="T10" fmla="*/ 49 w 100"/>
              <a:gd name="T11" fmla="*/ 9 h 168"/>
              <a:gd name="T12" fmla="*/ 36 w 100"/>
              <a:gd name="T13" fmla="*/ 0 h 168"/>
              <a:gd name="T14" fmla="*/ 19 w 100"/>
              <a:gd name="T15" fmla="*/ 14 h 168"/>
              <a:gd name="T16" fmla="*/ 17 w 100"/>
              <a:gd name="T17" fmla="*/ 23 h 168"/>
              <a:gd name="T18" fmla="*/ 24 w 100"/>
              <a:gd name="T19" fmla="*/ 31 h 168"/>
              <a:gd name="T20" fmla="*/ 19 w 100"/>
              <a:gd name="T21" fmla="*/ 36 h 168"/>
              <a:gd name="T22" fmla="*/ 5 w 100"/>
              <a:gd name="T23" fmla="*/ 40 h 168"/>
              <a:gd name="T24" fmla="*/ 5 w 100"/>
              <a:gd name="T25" fmla="*/ 51 h 168"/>
              <a:gd name="T26" fmla="*/ 0 w 100"/>
              <a:gd name="T27" fmla="*/ 57 h 168"/>
              <a:gd name="T28" fmla="*/ 14 w 100"/>
              <a:gd name="T29" fmla="*/ 75 h 168"/>
              <a:gd name="T30" fmla="*/ 24 w 100"/>
              <a:gd name="T31" fmla="*/ 74 h 168"/>
              <a:gd name="T32" fmla="*/ 29 w 100"/>
              <a:gd name="T33" fmla="*/ 80 h 168"/>
              <a:gd name="T34" fmla="*/ 26 w 100"/>
              <a:gd name="T35" fmla="*/ 90 h 168"/>
              <a:gd name="T36" fmla="*/ 33 w 100"/>
              <a:gd name="T37" fmla="*/ 94 h 168"/>
              <a:gd name="T38" fmla="*/ 38 w 100"/>
              <a:gd name="T39" fmla="*/ 105 h 168"/>
              <a:gd name="T40" fmla="*/ 32 w 100"/>
              <a:gd name="T41" fmla="*/ 113 h 168"/>
              <a:gd name="T42" fmla="*/ 28 w 100"/>
              <a:gd name="T43" fmla="*/ 133 h 168"/>
              <a:gd name="T44" fmla="*/ 33 w 100"/>
              <a:gd name="T45" fmla="*/ 146 h 168"/>
              <a:gd name="T46" fmla="*/ 34 w 100"/>
              <a:gd name="T47" fmla="*/ 156 h 168"/>
              <a:gd name="T48" fmla="*/ 47 w 100"/>
              <a:gd name="T49" fmla="*/ 168 h 168"/>
              <a:gd name="T50" fmla="*/ 58 w 100"/>
              <a:gd name="T51" fmla="*/ 168 h 168"/>
              <a:gd name="T52" fmla="*/ 61 w 100"/>
              <a:gd name="T53" fmla="*/ 164 h 168"/>
              <a:gd name="T54" fmla="*/ 66 w 100"/>
              <a:gd name="T55" fmla="*/ 163 h 168"/>
              <a:gd name="T56" fmla="*/ 76 w 100"/>
              <a:gd name="T57" fmla="*/ 159 h 168"/>
              <a:gd name="T58" fmla="*/ 83 w 100"/>
              <a:gd name="T59" fmla="*/ 153 h 168"/>
              <a:gd name="T60" fmla="*/ 94 w 100"/>
              <a:gd name="T61" fmla="*/ 154 h 168"/>
              <a:gd name="T62" fmla="*/ 100 w 100"/>
              <a:gd name="T63" fmla="*/ 154 h 168"/>
              <a:gd name="T64" fmla="*/ 88 w 100"/>
              <a:gd name="T65" fmla="*/ 133 h 168"/>
              <a:gd name="T66" fmla="*/ 85 w 100"/>
              <a:gd name="T67" fmla="*/ 120 h 168"/>
              <a:gd name="T68" fmla="*/ 78 w 100"/>
              <a:gd name="T69" fmla="*/ 120 h 168"/>
              <a:gd name="T70" fmla="*/ 69 w 100"/>
              <a:gd name="T71" fmla="*/ 102 h 168"/>
              <a:gd name="T72" fmla="*/ 74 w 100"/>
              <a:gd name="T73" fmla="*/ 90 h 168"/>
              <a:gd name="T74" fmla="*/ 72 w 100"/>
              <a:gd name="T75" fmla="*/ 84 h 168"/>
              <a:gd name="T76" fmla="*/ 85 w 100"/>
              <a:gd name="T77" fmla="*/ 79 h 168"/>
              <a:gd name="T78" fmla="*/ 89 w 100"/>
              <a:gd name="T79" fmla="*/ 57 h 168"/>
              <a:gd name="T80" fmla="*/ 89 w 100"/>
              <a:gd name="T81" fmla="*/ 5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68">
                <a:moveTo>
                  <a:pt x="89" y="57"/>
                </a:moveTo>
                <a:lnTo>
                  <a:pt x="81" y="49"/>
                </a:lnTo>
                <a:lnTo>
                  <a:pt x="70" y="37"/>
                </a:lnTo>
                <a:lnTo>
                  <a:pt x="62" y="37"/>
                </a:lnTo>
                <a:lnTo>
                  <a:pt x="62" y="25"/>
                </a:lnTo>
                <a:lnTo>
                  <a:pt x="49" y="9"/>
                </a:lnTo>
                <a:lnTo>
                  <a:pt x="36" y="0"/>
                </a:lnTo>
                <a:lnTo>
                  <a:pt x="19" y="14"/>
                </a:lnTo>
                <a:lnTo>
                  <a:pt x="17" y="23"/>
                </a:lnTo>
                <a:lnTo>
                  <a:pt x="24" y="31"/>
                </a:lnTo>
                <a:lnTo>
                  <a:pt x="19" y="36"/>
                </a:lnTo>
                <a:lnTo>
                  <a:pt x="5" y="40"/>
                </a:lnTo>
                <a:lnTo>
                  <a:pt x="5" y="51"/>
                </a:lnTo>
                <a:lnTo>
                  <a:pt x="0" y="57"/>
                </a:lnTo>
                <a:lnTo>
                  <a:pt x="14" y="75"/>
                </a:lnTo>
                <a:lnTo>
                  <a:pt x="24" y="74"/>
                </a:lnTo>
                <a:lnTo>
                  <a:pt x="29" y="80"/>
                </a:lnTo>
                <a:lnTo>
                  <a:pt x="26" y="90"/>
                </a:lnTo>
                <a:lnTo>
                  <a:pt x="33" y="94"/>
                </a:lnTo>
                <a:lnTo>
                  <a:pt x="38" y="105"/>
                </a:lnTo>
                <a:lnTo>
                  <a:pt x="32" y="113"/>
                </a:lnTo>
                <a:lnTo>
                  <a:pt x="28" y="133"/>
                </a:lnTo>
                <a:lnTo>
                  <a:pt x="33" y="146"/>
                </a:lnTo>
                <a:lnTo>
                  <a:pt x="34" y="156"/>
                </a:lnTo>
                <a:lnTo>
                  <a:pt x="47" y="168"/>
                </a:lnTo>
                <a:lnTo>
                  <a:pt x="58" y="168"/>
                </a:lnTo>
                <a:lnTo>
                  <a:pt x="61" y="164"/>
                </a:lnTo>
                <a:lnTo>
                  <a:pt x="66" y="163"/>
                </a:lnTo>
                <a:lnTo>
                  <a:pt x="76" y="159"/>
                </a:lnTo>
                <a:lnTo>
                  <a:pt x="83" y="153"/>
                </a:lnTo>
                <a:lnTo>
                  <a:pt x="94" y="154"/>
                </a:lnTo>
                <a:lnTo>
                  <a:pt x="100" y="154"/>
                </a:lnTo>
                <a:lnTo>
                  <a:pt x="88" y="133"/>
                </a:lnTo>
                <a:lnTo>
                  <a:pt x="85" y="120"/>
                </a:lnTo>
                <a:lnTo>
                  <a:pt x="78" y="120"/>
                </a:lnTo>
                <a:lnTo>
                  <a:pt x="69" y="102"/>
                </a:lnTo>
                <a:lnTo>
                  <a:pt x="74" y="90"/>
                </a:lnTo>
                <a:lnTo>
                  <a:pt x="72" y="84"/>
                </a:lnTo>
                <a:lnTo>
                  <a:pt x="85" y="79"/>
                </a:lnTo>
                <a:lnTo>
                  <a:pt x="89" y="57"/>
                </a:lnTo>
                <a:lnTo>
                  <a:pt x="89" y="5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79" name="Honduras">
            <a:extLst>
              <a:ext uri="{FF2B5EF4-FFF2-40B4-BE49-F238E27FC236}">
                <a16:creationId xmlns:a16="http://schemas.microsoft.com/office/drawing/2014/main" id="{D915C9C7-7AEE-4A6E-8AEF-51E6FABCAD49}"/>
              </a:ext>
            </a:extLst>
          </p:cNvPr>
          <p:cNvSpPr>
            <a:spLocks/>
          </p:cNvSpPr>
          <p:nvPr/>
        </p:nvSpPr>
        <p:spPr bwMode="auto">
          <a:xfrm>
            <a:off x="2039027" y="3692126"/>
            <a:ext cx="221158" cy="122488"/>
          </a:xfrm>
          <a:custGeom>
            <a:avLst/>
            <a:gdLst>
              <a:gd name="T0" fmla="*/ 130 w 130"/>
              <a:gd name="T1" fmla="*/ 25 h 72"/>
              <a:gd name="T2" fmla="*/ 126 w 130"/>
              <a:gd name="T3" fmla="*/ 18 h 72"/>
              <a:gd name="T4" fmla="*/ 119 w 130"/>
              <a:gd name="T5" fmla="*/ 14 h 72"/>
              <a:gd name="T6" fmla="*/ 113 w 130"/>
              <a:gd name="T7" fmla="*/ 9 h 72"/>
              <a:gd name="T8" fmla="*/ 107 w 130"/>
              <a:gd name="T9" fmla="*/ 5 h 72"/>
              <a:gd name="T10" fmla="*/ 104 w 130"/>
              <a:gd name="T11" fmla="*/ 4 h 72"/>
              <a:gd name="T12" fmla="*/ 95 w 130"/>
              <a:gd name="T13" fmla="*/ 1 h 72"/>
              <a:gd name="T14" fmla="*/ 91 w 130"/>
              <a:gd name="T15" fmla="*/ 3 h 72"/>
              <a:gd name="T16" fmla="*/ 85 w 130"/>
              <a:gd name="T17" fmla="*/ 3 h 72"/>
              <a:gd name="T18" fmla="*/ 80 w 130"/>
              <a:gd name="T19" fmla="*/ 2 h 72"/>
              <a:gd name="T20" fmla="*/ 74 w 130"/>
              <a:gd name="T21" fmla="*/ 0 h 72"/>
              <a:gd name="T22" fmla="*/ 70 w 130"/>
              <a:gd name="T23" fmla="*/ 3 h 72"/>
              <a:gd name="T24" fmla="*/ 64 w 130"/>
              <a:gd name="T25" fmla="*/ 6 h 72"/>
              <a:gd name="T26" fmla="*/ 55 w 130"/>
              <a:gd name="T27" fmla="*/ 7 h 72"/>
              <a:gd name="T28" fmla="*/ 45 w 130"/>
              <a:gd name="T29" fmla="*/ 4 h 72"/>
              <a:gd name="T30" fmla="*/ 42 w 130"/>
              <a:gd name="T31" fmla="*/ 6 h 72"/>
              <a:gd name="T32" fmla="*/ 40 w 130"/>
              <a:gd name="T33" fmla="*/ 3 h 72"/>
              <a:gd name="T34" fmla="*/ 34 w 130"/>
              <a:gd name="T35" fmla="*/ 4 h 72"/>
              <a:gd name="T36" fmla="*/ 29 w 130"/>
              <a:gd name="T37" fmla="*/ 8 h 72"/>
              <a:gd name="T38" fmla="*/ 27 w 130"/>
              <a:gd name="T39" fmla="*/ 7 h 72"/>
              <a:gd name="T40" fmla="*/ 16 w 130"/>
              <a:gd name="T41" fmla="*/ 16 h 72"/>
              <a:gd name="T42" fmla="*/ 6 w 130"/>
              <a:gd name="T43" fmla="*/ 23 h 72"/>
              <a:gd name="T44" fmla="*/ 4 w 130"/>
              <a:gd name="T45" fmla="*/ 27 h 72"/>
              <a:gd name="T46" fmla="*/ 5 w 130"/>
              <a:gd name="T47" fmla="*/ 32 h 72"/>
              <a:gd name="T48" fmla="*/ 0 w 130"/>
              <a:gd name="T49" fmla="*/ 39 h 72"/>
              <a:gd name="T50" fmla="*/ 6 w 130"/>
              <a:gd name="T51" fmla="*/ 41 h 72"/>
              <a:gd name="T52" fmla="*/ 10 w 130"/>
              <a:gd name="T53" fmla="*/ 45 h 72"/>
              <a:gd name="T54" fmla="*/ 16 w 130"/>
              <a:gd name="T55" fmla="*/ 49 h 72"/>
              <a:gd name="T56" fmla="*/ 16 w 130"/>
              <a:gd name="T57" fmla="*/ 52 h 72"/>
              <a:gd name="T58" fmla="*/ 26 w 130"/>
              <a:gd name="T59" fmla="*/ 49 h 72"/>
              <a:gd name="T60" fmla="*/ 29 w 130"/>
              <a:gd name="T61" fmla="*/ 51 h 72"/>
              <a:gd name="T62" fmla="*/ 32 w 130"/>
              <a:gd name="T63" fmla="*/ 54 h 72"/>
              <a:gd name="T64" fmla="*/ 30 w 130"/>
              <a:gd name="T65" fmla="*/ 63 h 72"/>
              <a:gd name="T66" fmla="*/ 37 w 130"/>
              <a:gd name="T67" fmla="*/ 65 h 72"/>
              <a:gd name="T68" fmla="*/ 39 w 130"/>
              <a:gd name="T69" fmla="*/ 72 h 72"/>
              <a:gd name="T70" fmla="*/ 46 w 130"/>
              <a:gd name="T71" fmla="*/ 71 h 72"/>
              <a:gd name="T72" fmla="*/ 49 w 130"/>
              <a:gd name="T73" fmla="*/ 66 h 72"/>
              <a:gd name="T74" fmla="*/ 52 w 130"/>
              <a:gd name="T75" fmla="*/ 66 h 72"/>
              <a:gd name="T76" fmla="*/ 53 w 130"/>
              <a:gd name="T77" fmla="*/ 55 h 72"/>
              <a:gd name="T78" fmla="*/ 57 w 130"/>
              <a:gd name="T79" fmla="*/ 54 h 72"/>
              <a:gd name="T80" fmla="*/ 62 w 130"/>
              <a:gd name="T81" fmla="*/ 54 h 72"/>
              <a:gd name="T82" fmla="*/ 67 w 130"/>
              <a:gd name="T83" fmla="*/ 47 h 72"/>
              <a:gd name="T84" fmla="*/ 72 w 130"/>
              <a:gd name="T85" fmla="*/ 52 h 72"/>
              <a:gd name="T86" fmla="*/ 75 w 130"/>
              <a:gd name="T87" fmla="*/ 49 h 72"/>
              <a:gd name="T88" fmla="*/ 79 w 130"/>
              <a:gd name="T89" fmla="*/ 46 h 72"/>
              <a:gd name="T90" fmla="*/ 87 w 130"/>
              <a:gd name="T91" fmla="*/ 40 h 72"/>
              <a:gd name="T92" fmla="*/ 88 w 130"/>
              <a:gd name="T93" fmla="*/ 35 h 72"/>
              <a:gd name="T94" fmla="*/ 90 w 130"/>
              <a:gd name="T95" fmla="*/ 35 h 72"/>
              <a:gd name="T96" fmla="*/ 93 w 130"/>
              <a:gd name="T97" fmla="*/ 29 h 72"/>
              <a:gd name="T98" fmla="*/ 95 w 130"/>
              <a:gd name="T99" fmla="*/ 29 h 72"/>
              <a:gd name="T100" fmla="*/ 98 w 130"/>
              <a:gd name="T101" fmla="*/ 32 h 72"/>
              <a:gd name="T102" fmla="*/ 102 w 130"/>
              <a:gd name="T103" fmla="*/ 33 h 72"/>
              <a:gd name="T104" fmla="*/ 108 w 130"/>
              <a:gd name="T105" fmla="*/ 30 h 72"/>
              <a:gd name="T106" fmla="*/ 112 w 130"/>
              <a:gd name="T107" fmla="*/ 30 h 72"/>
              <a:gd name="T108" fmla="*/ 120 w 130"/>
              <a:gd name="T109" fmla="*/ 27 h 72"/>
              <a:gd name="T110" fmla="*/ 124 w 130"/>
              <a:gd name="T111" fmla="*/ 24 h 72"/>
              <a:gd name="T112" fmla="*/ 130 w 130"/>
              <a:gd name="T113" fmla="*/ 25 h 72"/>
              <a:gd name="T114" fmla="*/ 130 w 130"/>
              <a:gd name="T115"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72">
                <a:moveTo>
                  <a:pt x="130" y="25"/>
                </a:moveTo>
                <a:lnTo>
                  <a:pt x="126" y="18"/>
                </a:lnTo>
                <a:lnTo>
                  <a:pt x="119" y="14"/>
                </a:lnTo>
                <a:lnTo>
                  <a:pt x="113" y="9"/>
                </a:lnTo>
                <a:lnTo>
                  <a:pt x="107" y="5"/>
                </a:lnTo>
                <a:lnTo>
                  <a:pt x="104" y="4"/>
                </a:lnTo>
                <a:lnTo>
                  <a:pt x="95" y="1"/>
                </a:lnTo>
                <a:lnTo>
                  <a:pt x="91" y="3"/>
                </a:lnTo>
                <a:lnTo>
                  <a:pt x="85" y="3"/>
                </a:lnTo>
                <a:lnTo>
                  <a:pt x="80" y="2"/>
                </a:lnTo>
                <a:lnTo>
                  <a:pt x="74" y="0"/>
                </a:lnTo>
                <a:lnTo>
                  <a:pt x="70" y="3"/>
                </a:lnTo>
                <a:lnTo>
                  <a:pt x="64" y="6"/>
                </a:lnTo>
                <a:lnTo>
                  <a:pt x="55" y="7"/>
                </a:lnTo>
                <a:lnTo>
                  <a:pt x="45" y="4"/>
                </a:lnTo>
                <a:lnTo>
                  <a:pt x="42" y="6"/>
                </a:lnTo>
                <a:lnTo>
                  <a:pt x="40" y="3"/>
                </a:lnTo>
                <a:lnTo>
                  <a:pt x="34" y="4"/>
                </a:lnTo>
                <a:lnTo>
                  <a:pt x="29" y="8"/>
                </a:lnTo>
                <a:lnTo>
                  <a:pt x="27" y="7"/>
                </a:lnTo>
                <a:lnTo>
                  <a:pt x="16" y="16"/>
                </a:lnTo>
                <a:lnTo>
                  <a:pt x="6" y="23"/>
                </a:lnTo>
                <a:lnTo>
                  <a:pt x="4" y="27"/>
                </a:lnTo>
                <a:lnTo>
                  <a:pt x="5" y="32"/>
                </a:lnTo>
                <a:lnTo>
                  <a:pt x="0" y="39"/>
                </a:lnTo>
                <a:lnTo>
                  <a:pt x="6" y="41"/>
                </a:lnTo>
                <a:lnTo>
                  <a:pt x="10" y="45"/>
                </a:lnTo>
                <a:lnTo>
                  <a:pt x="16" y="49"/>
                </a:lnTo>
                <a:lnTo>
                  <a:pt x="16" y="52"/>
                </a:lnTo>
                <a:lnTo>
                  <a:pt x="26" y="49"/>
                </a:lnTo>
                <a:lnTo>
                  <a:pt x="29" y="51"/>
                </a:lnTo>
                <a:lnTo>
                  <a:pt x="32" y="54"/>
                </a:lnTo>
                <a:lnTo>
                  <a:pt x="30" y="63"/>
                </a:lnTo>
                <a:lnTo>
                  <a:pt x="37" y="65"/>
                </a:lnTo>
                <a:lnTo>
                  <a:pt x="39" y="72"/>
                </a:lnTo>
                <a:lnTo>
                  <a:pt x="46" y="71"/>
                </a:lnTo>
                <a:lnTo>
                  <a:pt x="49" y="66"/>
                </a:lnTo>
                <a:lnTo>
                  <a:pt x="52" y="66"/>
                </a:lnTo>
                <a:lnTo>
                  <a:pt x="53" y="55"/>
                </a:lnTo>
                <a:lnTo>
                  <a:pt x="57" y="54"/>
                </a:lnTo>
                <a:lnTo>
                  <a:pt x="62" y="54"/>
                </a:lnTo>
                <a:lnTo>
                  <a:pt x="67" y="47"/>
                </a:lnTo>
                <a:lnTo>
                  <a:pt x="72" y="52"/>
                </a:lnTo>
                <a:lnTo>
                  <a:pt x="75" y="49"/>
                </a:lnTo>
                <a:lnTo>
                  <a:pt x="79" y="46"/>
                </a:lnTo>
                <a:lnTo>
                  <a:pt x="87" y="40"/>
                </a:lnTo>
                <a:lnTo>
                  <a:pt x="88" y="35"/>
                </a:lnTo>
                <a:lnTo>
                  <a:pt x="90" y="35"/>
                </a:lnTo>
                <a:lnTo>
                  <a:pt x="93" y="29"/>
                </a:lnTo>
                <a:lnTo>
                  <a:pt x="95" y="29"/>
                </a:lnTo>
                <a:lnTo>
                  <a:pt x="98" y="32"/>
                </a:lnTo>
                <a:lnTo>
                  <a:pt x="102" y="33"/>
                </a:lnTo>
                <a:lnTo>
                  <a:pt x="108" y="30"/>
                </a:lnTo>
                <a:lnTo>
                  <a:pt x="112" y="30"/>
                </a:lnTo>
                <a:lnTo>
                  <a:pt x="120" y="27"/>
                </a:lnTo>
                <a:lnTo>
                  <a:pt x="124" y="24"/>
                </a:lnTo>
                <a:lnTo>
                  <a:pt x="130" y="25"/>
                </a:lnTo>
                <a:lnTo>
                  <a:pt x="130" y="2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80" name="Croatia">
            <a:extLst>
              <a:ext uri="{FF2B5EF4-FFF2-40B4-BE49-F238E27FC236}">
                <a16:creationId xmlns:a16="http://schemas.microsoft.com/office/drawing/2014/main" id="{88EA8054-2967-4DB2-90C8-85889BD9A68B}"/>
              </a:ext>
            </a:extLst>
          </p:cNvPr>
          <p:cNvSpPr>
            <a:spLocks/>
          </p:cNvSpPr>
          <p:nvPr/>
        </p:nvSpPr>
        <p:spPr bwMode="auto">
          <a:xfrm>
            <a:off x="5637095" y="2465550"/>
            <a:ext cx="183731" cy="156512"/>
          </a:xfrm>
          <a:custGeom>
            <a:avLst/>
            <a:gdLst>
              <a:gd name="T0" fmla="*/ 73 w 108"/>
              <a:gd name="T1" fmla="*/ 13 h 92"/>
              <a:gd name="T2" fmla="*/ 58 w 108"/>
              <a:gd name="T3" fmla="*/ 2 h 92"/>
              <a:gd name="T4" fmla="*/ 52 w 108"/>
              <a:gd name="T5" fmla="*/ 0 h 92"/>
              <a:gd name="T6" fmla="*/ 38 w 108"/>
              <a:gd name="T7" fmla="*/ 6 h 92"/>
              <a:gd name="T8" fmla="*/ 37 w 108"/>
              <a:gd name="T9" fmla="*/ 15 h 92"/>
              <a:gd name="T10" fmla="*/ 30 w 108"/>
              <a:gd name="T11" fmla="*/ 17 h 92"/>
              <a:gd name="T12" fmla="*/ 31 w 108"/>
              <a:gd name="T13" fmla="*/ 24 h 92"/>
              <a:gd name="T14" fmla="*/ 24 w 108"/>
              <a:gd name="T15" fmla="*/ 24 h 92"/>
              <a:gd name="T16" fmla="*/ 17 w 108"/>
              <a:gd name="T17" fmla="*/ 20 h 92"/>
              <a:gd name="T18" fmla="*/ 13 w 108"/>
              <a:gd name="T19" fmla="*/ 24 h 92"/>
              <a:gd name="T20" fmla="*/ 0 w 108"/>
              <a:gd name="T21" fmla="*/ 23 h 92"/>
              <a:gd name="T22" fmla="*/ 0 w 108"/>
              <a:gd name="T23" fmla="*/ 23 h 92"/>
              <a:gd name="T24" fmla="*/ 0 w 108"/>
              <a:gd name="T25" fmla="*/ 31 h 92"/>
              <a:gd name="T26" fmla="*/ 6 w 108"/>
              <a:gd name="T27" fmla="*/ 39 h 92"/>
              <a:gd name="T28" fmla="*/ 11 w 108"/>
              <a:gd name="T29" fmla="*/ 30 h 92"/>
              <a:gd name="T30" fmla="*/ 24 w 108"/>
              <a:gd name="T31" fmla="*/ 33 h 92"/>
              <a:gd name="T32" fmla="*/ 24 w 108"/>
              <a:gd name="T33" fmla="*/ 41 h 92"/>
              <a:gd name="T34" fmla="*/ 34 w 108"/>
              <a:gd name="T35" fmla="*/ 50 h 92"/>
              <a:gd name="T36" fmla="*/ 30 w 108"/>
              <a:gd name="T37" fmla="*/ 52 h 92"/>
              <a:gd name="T38" fmla="*/ 47 w 108"/>
              <a:gd name="T39" fmla="*/ 69 h 92"/>
              <a:gd name="T40" fmla="*/ 66 w 108"/>
              <a:gd name="T41" fmla="*/ 75 h 92"/>
              <a:gd name="T42" fmla="*/ 77 w 108"/>
              <a:gd name="T43" fmla="*/ 84 h 92"/>
              <a:gd name="T44" fmla="*/ 95 w 108"/>
              <a:gd name="T45" fmla="*/ 92 h 92"/>
              <a:gd name="T46" fmla="*/ 95 w 108"/>
              <a:gd name="T47" fmla="*/ 92 h 92"/>
              <a:gd name="T48" fmla="*/ 97 w 108"/>
              <a:gd name="T49" fmla="*/ 88 h 92"/>
              <a:gd name="T50" fmla="*/ 80 w 108"/>
              <a:gd name="T51" fmla="*/ 80 h 92"/>
              <a:gd name="T52" fmla="*/ 71 w 108"/>
              <a:gd name="T53" fmla="*/ 71 h 92"/>
              <a:gd name="T54" fmla="*/ 64 w 108"/>
              <a:gd name="T55" fmla="*/ 65 h 92"/>
              <a:gd name="T56" fmla="*/ 54 w 108"/>
              <a:gd name="T57" fmla="*/ 57 h 92"/>
              <a:gd name="T58" fmla="*/ 50 w 108"/>
              <a:gd name="T59" fmla="*/ 49 h 92"/>
              <a:gd name="T60" fmla="*/ 39 w 108"/>
              <a:gd name="T61" fmla="*/ 39 h 92"/>
              <a:gd name="T62" fmla="*/ 43 w 108"/>
              <a:gd name="T63" fmla="*/ 30 h 92"/>
              <a:gd name="T64" fmla="*/ 51 w 108"/>
              <a:gd name="T65" fmla="*/ 34 h 92"/>
              <a:gd name="T66" fmla="*/ 54 w 108"/>
              <a:gd name="T67" fmla="*/ 30 h 92"/>
              <a:gd name="T68" fmla="*/ 63 w 108"/>
              <a:gd name="T69" fmla="*/ 30 h 92"/>
              <a:gd name="T70" fmla="*/ 79 w 108"/>
              <a:gd name="T71" fmla="*/ 33 h 92"/>
              <a:gd name="T72" fmla="*/ 92 w 108"/>
              <a:gd name="T73" fmla="*/ 32 h 92"/>
              <a:gd name="T74" fmla="*/ 101 w 108"/>
              <a:gd name="T75" fmla="*/ 38 h 92"/>
              <a:gd name="T76" fmla="*/ 101 w 108"/>
              <a:gd name="T77" fmla="*/ 38 h 92"/>
              <a:gd name="T78" fmla="*/ 108 w 108"/>
              <a:gd name="T79" fmla="*/ 30 h 92"/>
              <a:gd name="T80" fmla="*/ 101 w 108"/>
              <a:gd name="T81" fmla="*/ 22 h 92"/>
              <a:gd name="T82" fmla="*/ 95 w 108"/>
              <a:gd name="T83" fmla="*/ 14 h 92"/>
              <a:gd name="T84" fmla="*/ 95 w 108"/>
              <a:gd name="T85" fmla="*/ 14 h 92"/>
              <a:gd name="T86" fmla="*/ 89 w 108"/>
              <a:gd name="T87" fmla="*/ 16 h 92"/>
              <a:gd name="T88" fmla="*/ 73 w 108"/>
              <a:gd name="T89" fmla="*/ 13 h 92"/>
              <a:gd name="T90" fmla="*/ 73 w 108"/>
              <a:gd name="T91" fmla="*/ 1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8" h="92">
                <a:moveTo>
                  <a:pt x="73" y="13"/>
                </a:moveTo>
                <a:lnTo>
                  <a:pt x="58" y="2"/>
                </a:lnTo>
                <a:lnTo>
                  <a:pt x="52" y="0"/>
                </a:lnTo>
                <a:lnTo>
                  <a:pt x="38" y="6"/>
                </a:lnTo>
                <a:lnTo>
                  <a:pt x="37" y="15"/>
                </a:lnTo>
                <a:lnTo>
                  <a:pt x="30" y="17"/>
                </a:lnTo>
                <a:lnTo>
                  <a:pt x="31" y="24"/>
                </a:lnTo>
                <a:lnTo>
                  <a:pt x="24" y="24"/>
                </a:lnTo>
                <a:lnTo>
                  <a:pt x="17" y="20"/>
                </a:lnTo>
                <a:lnTo>
                  <a:pt x="13" y="24"/>
                </a:lnTo>
                <a:lnTo>
                  <a:pt x="0" y="23"/>
                </a:lnTo>
                <a:lnTo>
                  <a:pt x="0" y="23"/>
                </a:lnTo>
                <a:lnTo>
                  <a:pt x="0" y="31"/>
                </a:lnTo>
                <a:lnTo>
                  <a:pt x="6" y="39"/>
                </a:lnTo>
                <a:lnTo>
                  <a:pt x="11" y="30"/>
                </a:lnTo>
                <a:lnTo>
                  <a:pt x="24" y="33"/>
                </a:lnTo>
                <a:lnTo>
                  <a:pt x="24" y="41"/>
                </a:lnTo>
                <a:lnTo>
                  <a:pt x="34" y="50"/>
                </a:lnTo>
                <a:lnTo>
                  <a:pt x="30" y="52"/>
                </a:lnTo>
                <a:lnTo>
                  <a:pt x="47" y="69"/>
                </a:lnTo>
                <a:lnTo>
                  <a:pt x="66" y="75"/>
                </a:lnTo>
                <a:lnTo>
                  <a:pt x="77" y="84"/>
                </a:lnTo>
                <a:lnTo>
                  <a:pt x="95" y="92"/>
                </a:lnTo>
                <a:lnTo>
                  <a:pt x="95" y="92"/>
                </a:lnTo>
                <a:lnTo>
                  <a:pt x="97" y="88"/>
                </a:lnTo>
                <a:lnTo>
                  <a:pt x="80" y="80"/>
                </a:lnTo>
                <a:lnTo>
                  <a:pt x="71" y="71"/>
                </a:lnTo>
                <a:lnTo>
                  <a:pt x="64" y="65"/>
                </a:lnTo>
                <a:lnTo>
                  <a:pt x="54" y="57"/>
                </a:lnTo>
                <a:lnTo>
                  <a:pt x="50" y="49"/>
                </a:lnTo>
                <a:lnTo>
                  <a:pt x="39" y="39"/>
                </a:lnTo>
                <a:lnTo>
                  <a:pt x="43" y="30"/>
                </a:lnTo>
                <a:lnTo>
                  <a:pt x="51" y="34"/>
                </a:lnTo>
                <a:lnTo>
                  <a:pt x="54" y="30"/>
                </a:lnTo>
                <a:lnTo>
                  <a:pt x="63" y="30"/>
                </a:lnTo>
                <a:lnTo>
                  <a:pt x="79" y="33"/>
                </a:lnTo>
                <a:lnTo>
                  <a:pt x="92" y="32"/>
                </a:lnTo>
                <a:lnTo>
                  <a:pt x="101" y="38"/>
                </a:lnTo>
                <a:lnTo>
                  <a:pt x="101" y="38"/>
                </a:lnTo>
                <a:lnTo>
                  <a:pt x="108" y="30"/>
                </a:lnTo>
                <a:lnTo>
                  <a:pt x="101" y="22"/>
                </a:lnTo>
                <a:lnTo>
                  <a:pt x="95" y="14"/>
                </a:lnTo>
                <a:lnTo>
                  <a:pt x="95" y="14"/>
                </a:lnTo>
                <a:lnTo>
                  <a:pt x="89" y="16"/>
                </a:lnTo>
                <a:lnTo>
                  <a:pt x="73" y="13"/>
                </a:lnTo>
                <a:lnTo>
                  <a:pt x="73" y="1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81" name="Haiti">
            <a:extLst>
              <a:ext uri="{FF2B5EF4-FFF2-40B4-BE49-F238E27FC236}">
                <a16:creationId xmlns:a16="http://schemas.microsoft.com/office/drawing/2014/main" id="{54F18F9A-0627-4B92-8710-BE829D96F57D}"/>
              </a:ext>
            </a:extLst>
          </p:cNvPr>
          <p:cNvSpPr>
            <a:spLocks/>
          </p:cNvSpPr>
          <p:nvPr/>
        </p:nvSpPr>
        <p:spPr bwMode="auto">
          <a:xfrm>
            <a:off x="2581714" y="3535614"/>
            <a:ext cx="103773" cy="76555"/>
          </a:xfrm>
          <a:custGeom>
            <a:avLst/>
            <a:gdLst>
              <a:gd name="T0" fmla="*/ 60 w 61"/>
              <a:gd name="T1" fmla="*/ 5 h 45"/>
              <a:gd name="T2" fmla="*/ 43 w 61"/>
              <a:gd name="T3" fmla="*/ 1 h 45"/>
              <a:gd name="T4" fmla="*/ 30 w 61"/>
              <a:gd name="T5" fmla="*/ 0 h 45"/>
              <a:gd name="T6" fmla="*/ 25 w 61"/>
              <a:gd name="T7" fmla="*/ 6 h 45"/>
              <a:gd name="T8" fmla="*/ 37 w 61"/>
              <a:gd name="T9" fmla="*/ 10 h 45"/>
              <a:gd name="T10" fmla="*/ 36 w 61"/>
              <a:gd name="T11" fmla="*/ 19 h 45"/>
              <a:gd name="T12" fmla="*/ 45 w 61"/>
              <a:gd name="T13" fmla="*/ 30 h 45"/>
              <a:gd name="T14" fmla="*/ 37 w 61"/>
              <a:gd name="T15" fmla="*/ 34 h 45"/>
              <a:gd name="T16" fmla="*/ 21 w 61"/>
              <a:gd name="T17" fmla="*/ 33 h 45"/>
              <a:gd name="T18" fmla="*/ 3 w 61"/>
              <a:gd name="T19" fmla="*/ 30 h 45"/>
              <a:gd name="T20" fmla="*/ 0 w 61"/>
              <a:gd name="T21" fmla="*/ 37 h 45"/>
              <a:gd name="T22" fmla="*/ 10 w 61"/>
              <a:gd name="T23" fmla="*/ 45 h 45"/>
              <a:gd name="T24" fmla="*/ 20 w 61"/>
              <a:gd name="T25" fmla="*/ 40 h 45"/>
              <a:gd name="T26" fmla="*/ 33 w 61"/>
              <a:gd name="T27" fmla="*/ 42 h 45"/>
              <a:gd name="T28" fmla="*/ 43 w 61"/>
              <a:gd name="T29" fmla="*/ 40 h 45"/>
              <a:gd name="T30" fmla="*/ 56 w 61"/>
              <a:gd name="T31" fmla="*/ 45 h 45"/>
              <a:gd name="T32" fmla="*/ 57 w 61"/>
              <a:gd name="T33" fmla="*/ 37 h 45"/>
              <a:gd name="T34" fmla="*/ 52 w 61"/>
              <a:gd name="T35" fmla="*/ 31 h 45"/>
              <a:gd name="T36" fmla="*/ 58 w 61"/>
              <a:gd name="T37" fmla="*/ 26 h 45"/>
              <a:gd name="T38" fmla="*/ 61 w 61"/>
              <a:gd name="T39" fmla="*/ 18 h 45"/>
              <a:gd name="T40" fmla="*/ 60 w 61"/>
              <a:gd name="T4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45">
                <a:moveTo>
                  <a:pt x="60" y="5"/>
                </a:moveTo>
                <a:lnTo>
                  <a:pt x="43" y="1"/>
                </a:lnTo>
                <a:lnTo>
                  <a:pt x="30" y="0"/>
                </a:lnTo>
                <a:lnTo>
                  <a:pt x="25" y="6"/>
                </a:lnTo>
                <a:lnTo>
                  <a:pt x="37" y="10"/>
                </a:lnTo>
                <a:lnTo>
                  <a:pt x="36" y="19"/>
                </a:lnTo>
                <a:lnTo>
                  <a:pt x="45" y="30"/>
                </a:lnTo>
                <a:lnTo>
                  <a:pt x="37" y="34"/>
                </a:lnTo>
                <a:lnTo>
                  <a:pt x="21" y="33"/>
                </a:lnTo>
                <a:lnTo>
                  <a:pt x="3" y="30"/>
                </a:lnTo>
                <a:lnTo>
                  <a:pt x="0" y="37"/>
                </a:lnTo>
                <a:lnTo>
                  <a:pt x="10" y="45"/>
                </a:lnTo>
                <a:lnTo>
                  <a:pt x="20" y="40"/>
                </a:lnTo>
                <a:lnTo>
                  <a:pt x="33" y="42"/>
                </a:lnTo>
                <a:lnTo>
                  <a:pt x="43" y="40"/>
                </a:lnTo>
                <a:lnTo>
                  <a:pt x="56" y="45"/>
                </a:lnTo>
                <a:lnTo>
                  <a:pt x="57" y="37"/>
                </a:lnTo>
                <a:lnTo>
                  <a:pt x="52" y="31"/>
                </a:lnTo>
                <a:lnTo>
                  <a:pt x="58" y="26"/>
                </a:lnTo>
                <a:lnTo>
                  <a:pt x="61" y="18"/>
                </a:lnTo>
                <a:lnTo>
                  <a:pt x="60" y="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82" name="Hungary">
            <a:extLst>
              <a:ext uri="{FF2B5EF4-FFF2-40B4-BE49-F238E27FC236}">
                <a16:creationId xmlns:a16="http://schemas.microsoft.com/office/drawing/2014/main" id="{8A8EDC83-83FE-41CD-9CF3-1FC79267C7E7}"/>
              </a:ext>
            </a:extLst>
          </p:cNvPr>
          <p:cNvSpPr>
            <a:spLocks/>
          </p:cNvSpPr>
          <p:nvPr/>
        </p:nvSpPr>
        <p:spPr bwMode="auto">
          <a:xfrm>
            <a:off x="5713651" y="2380490"/>
            <a:ext cx="200745" cy="112281"/>
          </a:xfrm>
          <a:custGeom>
            <a:avLst/>
            <a:gdLst>
              <a:gd name="T0" fmla="*/ 80 w 118"/>
              <a:gd name="T1" fmla="*/ 0 h 66"/>
              <a:gd name="T2" fmla="*/ 75 w 118"/>
              <a:gd name="T3" fmla="*/ 2 h 66"/>
              <a:gd name="T4" fmla="*/ 71 w 118"/>
              <a:gd name="T5" fmla="*/ 8 h 66"/>
              <a:gd name="T6" fmla="*/ 63 w 118"/>
              <a:gd name="T7" fmla="*/ 10 h 66"/>
              <a:gd name="T8" fmla="*/ 61 w 118"/>
              <a:gd name="T9" fmla="*/ 9 h 66"/>
              <a:gd name="T10" fmla="*/ 52 w 118"/>
              <a:gd name="T11" fmla="*/ 12 h 66"/>
              <a:gd name="T12" fmla="*/ 45 w 118"/>
              <a:gd name="T13" fmla="*/ 13 h 66"/>
              <a:gd name="T14" fmla="*/ 44 w 118"/>
              <a:gd name="T15" fmla="*/ 18 h 66"/>
              <a:gd name="T16" fmla="*/ 28 w 118"/>
              <a:gd name="T17" fmla="*/ 21 h 66"/>
              <a:gd name="T18" fmla="*/ 21 w 118"/>
              <a:gd name="T19" fmla="*/ 18 h 66"/>
              <a:gd name="T20" fmla="*/ 11 w 118"/>
              <a:gd name="T21" fmla="*/ 12 h 66"/>
              <a:gd name="T22" fmla="*/ 11 w 118"/>
              <a:gd name="T23" fmla="*/ 22 h 66"/>
              <a:gd name="T24" fmla="*/ 0 w 118"/>
              <a:gd name="T25" fmla="*/ 22 h 66"/>
              <a:gd name="T26" fmla="*/ 5 w 118"/>
              <a:gd name="T27" fmla="*/ 26 h 66"/>
              <a:gd name="T28" fmla="*/ 0 w 118"/>
              <a:gd name="T29" fmla="*/ 41 h 66"/>
              <a:gd name="T30" fmla="*/ 3 w 118"/>
              <a:gd name="T31" fmla="*/ 42 h 66"/>
              <a:gd name="T32" fmla="*/ 7 w 118"/>
              <a:gd name="T33" fmla="*/ 50 h 66"/>
              <a:gd name="T34" fmla="*/ 13 w 118"/>
              <a:gd name="T35" fmla="*/ 52 h 66"/>
              <a:gd name="T36" fmla="*/ 28 w 118"/>
              <a:gd name="T37" fmla="*/ 63 h 66"/>
              <a:gd name="T38" fmla="*/ 44 w 118"/>
              <a:gd name="T39" fmla="*/ 66 h 66"/>
              <a:gd name="T40" fmla="*/ 50 w 118"/>
              <a:gd name="T41" fmla="*/ 64 h 66"/>
              <a:gd name="T42" fmla="*/ 50 w 118"/>
              <a:gd name="T43" fmla="*/ 64 h 66"/>
              <a:gd name="T44" fmla="*/ 64 w 118"/>
              <a:gd name="T45" fmla="*/ 57 h 66"/>
              <a:gd name="T46" fmla="*/ 77 w 118"/>
              <a:gd name="T47" fmla="*/ 58 h 66"/>
              <a:gd name="T48" fmla="*/ 91 w 118"/>
              <a:gd name="T49" fmla="*/ 54 h 66"/>
              <a:gd name="T50" fmla="*/ 100 w 118"/>
              <a:gd name="T51" fmla="*/ 38 h 66"/>
              <a:gd name="T52" fmla="*/ 107 w 118"/>
              <a:gd name="T53" fmla="*/ 23 h 66"/>
              <a:gd name="T54" fmla="*/ 118 w 118"/>
              <a:gd name="T55" fmla="*/ 18 h 66"/>
              <a:gd name="T56" fmla="*/ 116 w 118"/>
              <a:gd name="T57" fmla="*/ 11 h 66"/>
              <a:gd name="T58" fmla="*/ 105 w 118"/>
              <a:gd name="T59" fmla="*/ 5 h 66"/>
              <a:gd name="T60" fmla="*/ 101 w 118"/>
              <a:gd name="T61" fmla="*/ 8 h 66"/>
              <a:gd name="T62" fmla="*/ 80 w 118"/>
              <a:gd name="T63" fmla="*/ 0 h 66"/>
              <a:gd name="T64" fmla="*/ 80 w 118"/>
              <a:gd name="T65"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 h="66">
                <a:moveTo>
                  <a:pt x="80" y="0"/>
                </a:moveTo>
                <a:lnTo>
                  <a:pt x="75" y="2"/>
                </a:lnTo>
                <a:lnTo>
                  <a:pt x="71" y="8"/>
                </a:lnTo>
                <a:lnTo>
                  <a:pt x="63" y="10"/>
                </a:lnTo>
                <a:lnTo>
                  <a:pt x="61" y="9"/>
                </a:lnTo>
                <a:lnTo>
                  <a:pt x="52" y="12"/>
                </a:lnTo>
                <a:lnTo>
                  <a:pt x="45" y="13"/>
                </a:lnTo>
                <a:lnTo>
                  <a:pt x="44" y="18"/>
                </a:lnTo>
                <a:lnTo>
                  <a:pt x="28" y="21"/>
                </a:lnTo>
                <a:lnTo>
                  <a:pt x="21" y="18"/>
                </a:lnTo>
                <a:lnTo>
                  <a:pt x="11" y="12"/>
                </a:lnTo>
                <a:lnTo>
                  <a:pt x="11" y="22"/>
                </a:lnTo>
                <a:lnTo>
                  <a:pt x="0" y="22"/>
                </a:lnTo>
                <a:lnTo>
                  <a:pt x="5" y="26"/>
                </a:lnTo>
                <a:lnTo>
                  <a:pt x="0" y="41"/>
                </a:lnTo>
                <a:lnTo>
                  <a:pt x="3" y="42"/>
                </a:lnTo>
                <a:lnTo>
                  <a:pt x="7" y="50"/>
                </a:lnTo>
                <a:lnTo>
                  <a:pt x="13" y="52"/>
                </a:lnTo>
                <a:lnTo>
                  <a:pt x="28" y="63"/>
                </a:lnTo>
                <a:lnTo>
                  <a:pt x="44" y="66"/>
                </a:lnTo>
                <a:lnTo>
                  <a:pt x="50" y="64"/>
                </a:lnTo>
                <a:lnTo>
                  <a:pt x="50" y="64"/>
                </a:lnTo>
                <a:lnTo>
                  <a:pt x="64" y="57"/>
                </a:lnTo>
                <a:lnTo>
                  <a:pt x="77" y="58"/>
                </a:lnTo>
                <a:lnTo>
                  <a:pt x="91" y="54"/>
                </a:lnTo>
                <a:lnTo>
                  <a:pt x="100" y="38"/>
                </a:lnTo>
                <a:lnTo>
                  <a:pt x="107" y="23"/>
                </a:lnTo>
                <a:lnTo>
                  <a:pt x="118" y="18"/>
                </a:lnTo>
                <a:lnTo>
                  <a:pt x="116" y="11"/>
                </a:lnTo>
                <a:lnTo>
                  <a:pt x="105" y="5"/>
                </a:lnTo>
                <a:lnTo>
                  <a:pt x="101" y="8"/>
                </a:lnTo>
                <a:lnTo>
                  <a:pt x="80" y="0"/>
                </a:lnTo>
                <a:lnTo>
                  <a:pt x="80"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83" name="Indonesia">
            <a:extLst>
              <a:ext uri="{FF2B5EF4-FFF2-40B4-BE49-F238E27FC236}">
                <a16:creationId xmlns:a16="http://schemas.microsoft.com/office/drawing/2014/main" id="{DEB0AD63-3A79-4452-B301-6D6ED4BB1125}"/>
              </a:ext>
            </a:extLst>
          </p:cNvPr>
          <p:cNvSpPr>
            <a:spLocks noEditPoints="1"/>
          </p:cNvSpPr>
          <p:nvPr/>
        </p:nvSpPr>
        <p:spPr bwMode="auto">
          <a:xfrm>
            <a:off x="8598910" y="4119132"/>
            <a:ext cx="1633166" cy="639657"/>
          </a:xfrm>
          <a:custGeom>
            <a:avLst/>
            <a:gdLst>
              <a:gd name="T0" fmla="*/ 489 w 960"/>
              <a:gd name="T1" fmla="*/ 357 h 376"/>
              <a:gd name="T2" fmla="*/ 617 w 960"/>
              <a:gd name="T3" fmla="*/ 353 h 376"/>
              <a:gd name="T4" fmla="*/ 581 w 960"/>
              <a:gd name="T5" fmla="*/ 373 h 376"/>
              <a:gd name="T6" fmla="*/ 463 w 960"/>
              <a:gd name="T7" fmla="*/ 331 h 376"/>
              <a:gd name="T8" fmla="*/ 493 w 960"/>
              <a:gd name="T9" fmla="*/ 337 h 376"/>
              <a:gd name="T10" fmla="*/ 574 w 960"/>
              <a:gd name="T11" fmla="*/ 323 h 376"/>
              <a:gd name="T12" fmla="*/ 510 w 960"/>
              <a:gd name="T13" fmla="*/ 339 h 376"/>
              <a:gd name="T14" fmla="*/ 277 w 960"/>
              <a:gd name="T15" fmla="*/ 291 h 376"/>
              <a:gd name="T16" fmla="*/ 209 w 960"/>
              <a:gd name="T17" fmla="*/ 293 h 376"/>
              <a:gd name="T18" fmla="*/ 293 w 960"/>
              <a:gd name="T19" fmla="*/ 314 h 376"/>
              <a:gd name="T20" fmla="*/ 398 w 960"/>
              <a:gd name="T21" fmla="*/ 338 h 376"/>
              <a:gd name="T22" fmla="*/ 322 w 960"/>
              <a:gd name="T23" fmla="*/ 283 h 376"/>
              <a:gd name="T24" fmla="*/ 825 w 960"/>
              <a:gd name="T25" fmla="*/ 267 h 376"/>
              <a:gd name="T26" fmla="*/ 825 w 960"/>
              <a:gd name="T27" fmla="*/ 278 h 376"/>
              <a:gd name="T28" fmla="*/ 663 w 960"/>
              <a:gd name="T29" fmla="*/ 220 h 376"/>
              <a:gd name="T30" fmla="*/ 690 w 960"/>
              <a:gd name="T31" fmla="*/ 198 h 376"/>
              <a:gd name="T32" fmla="*/ 746 w 960"/>
              <a:gd name="T33" fmla="*/ 222 h 376"/>
              <a:gd name="T34" fmla="*/ 781 w 960"/>
              <a:gd name="T35" fmla="*/ 139 h 376"/>
              <a:gd name="T36" fmla="*/ 776 w 960"/>
              <a:gd name="T37" fmla="*/ 183 h 376"/>
              <a:gd name="T38" fmla="*/ 787 w 960"/>
              <a:gd name="T39" fmla="*/ 209 h 376"/>
              <a:gd name="T40" fmla="*/ 836 w 960"/>
              <a:gd name="T41" fmla="*/ 236 h 376"/>
              <a:gd name="T42" fmla="*/ 891 w 960"/>
              <a:gd name="T43" fmla="*/ 311 h 376"/>
              <a:gd name="T44" fmla="*/ 951 w 960"/>
              <a:gd name="T45" fmla="*/ 347 h 376"/>
              <a:gd name="T46" fmla="*/ 905 w 960"/>
              <a:gd name="T47" fmla="*/ 170 h 376"/>
              <a:gd name="T48" fmla="*/ 817 w 960"/>
              <a:gd name="T49" fmla="*/ 157 h 376"/>
              <a:gd name="T50" fmla="*/ 556 w 960"/>
              <a:gd name="T51" fmla="*/ 106 h 376"/>
              <a:gd name="T52" fmla="*/ 503 w 960"/>
              <a:gd name="T53" fmla="*/ 181 h 376"/>
              <a:gd name="T54" fmla="*/ 504 w 960"/>
              <a:gd name="T55" fmla="*/ 258 h 376"/>
              <a:gd name="T56" fmla="*/ 540 w 960"/>
              <a:gd name="T57" fmla="*/ 193 h 376"/>
              <a:gd name="T58" fmla="*/ 575 w 960"/>
              <a:gd name="T59" fmla="*/ 236 h 376"/>
              <a:gd name="T60" fmla="*/ 567 w 960"/>
              <a:gd name="T61" fmla="*/ 213 h 376"/>
              <a:gd name="T62" fmla="*/ 590 w 960"/>
              <a:gd name="T63" fmla="*/ 156 h 376"/>
              <a:gd name="T64" fmla="*/ 525 w 960"/>
              <a:gd name="T65" fmla="*/ 125 h 376"/>
              <a:gd name="T66" fmla="*/ 631 w 960"/>
              <a:gd name="T67" fmla="*/ 96 h 376"/>
              <a:gd name="T68" fmla="*/ 687 w 960"/>
              <a:gd name="T69" fmla="*/ 78 h 376"/>
              <a:gd name="T70" fmla="*/ 697 w 960"/>
              <a:gd name="T71" fmla="*/ 148 h 376"/>
              <a:gd name="T72" fmla="*/ 704 w 960"/>
              <a:gd name="T73" fmla="*/ 103 h 376"/>
              <a:gd name="T74" fmla="*/ 455 w 960"/>
              <a:gd name="T75" fmla="*/ 28 h 376"/>
              <a:gd name="T76" fmla="*/ 391 w 960"/>
              <a:gd name="T77" fmla="*/ 101 h 376"/>
              <a:gd name="T78" fmla="*/ 322 w 960"/>
              <a:gd name="T79" fmla="*/ 112 h 376"/>
              <a:gd name="T80" fmla="*/ 292 w 960"/>
              <a:gd name="T81" fmla="*/ 141 h 376"/>
              <a:gd name="T82" fmla="*/ 345 w 960"/>
              <a:gd name="T83" fmla="*/ 201 h 376"/>
              <a:gd name="T84" fmla="*/ 410 w 960"/>
              <a:gd name="T85" fmla="*/ 227 h 376"/>
              <a:gd name="T86" fmla="*/ 469 w 960"/>
              <a:gd name="T87" fmla="*/ 149 h 376"/>
              <a:gd name="T88" fmla="*/ 476 w 960"/>
              <a:gd name="T89" fmla="*/ 86 h 376"/>
              <a:gd name="T90" fmla="*/ 203 w 960"/>
              <a:gd name="T91" fmla="*/ 185 h 376"/>
              <a:gd name="T92" fmla="*/ 182 w 960"/>
              <a:gd name="T93" fmla="*/ 127 h 376"/>
              <a:gd name="T94" fmla="*/ 94 w 960"/>
              <a:gd name="T95" fmla="*/ 55 h 376"/>
              <a:gd name="T96" fmla="*/ 0 w 960"/>
              <a:gd name="T97" fmla="*/ 0 h 376"/>
              <a:gd name="T98" fmla="*/ 71 w 960"/>
              <a:gd name="T99" fmla="*/ 86 h 376"/>
              <a:gd name="T100" fmla="*/ 129 w 960"/>
              <a:gd name="T101" fmla="*/ 197 h 376"/>
              <a:gd name="T102" fmla="*/ 219 w 960"/>
              <a:gd name="T103" fmla="*/ 269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60" h="376">
                <a:moveTo>
                  <a:pt x="524" y="373"/>
                </a:moveTo>
                <a:lnTo>
                  <a:pt x="526" y="367"/>
                </a:lnTo>
                <a:lnTo>
                  <a:pt x="519" y="360"/>
                </a:lnTo>
                <a:lnTo>
                  <a:pt x="508" y="353"/>
                </a:lnTo>
                <a:lnTo>
                  <a:pt x="489" y="357"/>
                </a:lnTo>
                <a:lnTo>
                  <a:pt x="515" y="374"/>
                </a:lnTo>
                <a:lnTo>
                  <a:pt x="524" y="373"/>
                </a:lnTo>
                <a:lnTo>
                  <a:pt x="524" y="373"/>
                </a:lnTo>
                <a:close/>
                <a:moveTo>
                  <a:pt x="602" y="371"/>
                </a:moveTo>
                <a:lnTo>
                  <a:pt x="617" y="353"/>
                </a:lnTo>
                <a:lnTo>
                  <a:pt x="618" y="346"/>
                </a:lnTo>
                <a:lnTo>
                  <a:pt x="616" y="341"/>
                </a:lnTo>
                <a:lnTo>
                  <a:pt x="594" y="351"/>
                </a:lnTo>
                <a:lnTo>
                  <a:pt x="584" y="366"/>
                </a:lnTo>
                <a:lnTo>
                  <a:pt x="581" y="373"/>
                </a:lnTo>
                <a:lnTo>
                  <a:pt x="583" y="376"/>
                </a:lnTo>
                <a:lnTo>
                  <a:pt x="602" y="371"/>
                </a:lnTo>
                <a:lnTo>
                  <a:pt x="602" y="371"/>
                </a:lnTo>
                <a:close/>
                <a:moveTo>
                  <a:pt x="469" y="323"/>
                </a:moveTo>
                <a:lnTo>
                  <a:pt x="463" y="331"/>
                </a:lnTo>
                <a:lnTo>
                  <a:pt x="451" y="331"/>
                </a:lnTo>
                <a:lnTo>
                  <a:pt x="443" y="344"/>
                </a:lnTo>
                <a:lnTo>
                  <a:pt x="454" y="345"/>
                </a:lnTo>
                <a:lnTo>
                  <a:pt x="469" y="341"/>
                </a:lnTo>
                <a:lnTo>
                  <a:pt x="493" y="337"/>
                </a:lnTo>
                <a:lnTo>
                  <a:pt x="489" y="326"/>
                </a:lnTo>
                <a:lnTo>
                  <a:pt x="476" y="329"/>
                </a:lnTo>
                <a:lnTo>
                  <a:pt x="469" y="323"/>
                </a:lnTo>
                <a:lnTo>
                  <a:pt x="469" y="323"/>
                </a:lnTo>
                <a:close/>
                <a:moveTo>
                  <a:pt x="574" y="323"/>
                </a:moveTo>
                <a:lnTo>
                  <a:pt x="554" y="331"/>
                </a:lnTo>
                <a:lnTo>
                  <a:pt x="540" y="333"/>
                </a:lnTo>
                <a:lnTo>
                  <a:pt x="528" y="325"/>
                </a:lnTo>
                <a:lnTo>
                  <a:pt x="511" y="331"/>
                </a:lnTo>
                <a:lnTo>
                  <a:pt x="510" y="339"/>
                </a:lnTo>
                <a:lnTo>
                  <a:pt x="537" y="342"/>
                </a:lnTo>
                <a:lnTo>
                  <a:pt x="570" y="336"/>
                </a:lnTo>
                <a:lnTo>
                  <a:pt x="574" y="323"/>
                </a:lnTo>
                <a:lnTo>
                  <a:pt x="574" y="323"/>
                </a:lnTo>
                <a:close/>
                <a:moveTo>
                  <a:pt x="277" y="291"/>
                </a:moveTo>
                <a:lnTo>
                  <a:pt x="274" y="282"/>
                </a:lnTo>
                <a:lnTo>
                  <a:pt x="266" y="281"/>
                </a:lnTo>
                <a:lnTo>
                  <a:pt x="250" y="271"/>
                </a:lnTo>
                <a:lnTo>
                  <a:pt x="224" y="270"/>
                </a:lnTo>
                <a:lnTo>
                  <a:pt x="209" y="293"/>
                </a:lnTo>
                <a:lnTo>
                  <a:pt x="227" y="295"/>
                </a:lnTo>
                <a:lnTo>
                  <a:pt x="231" y="305"/>
                </a:lnTo>
                <a:lnTo>
                  <a:pt x="268" y="314"/>
                </a:lnTo>
                <a:lnTo>
                  <a:pt x="277" y="311"/>
                </a:lnTo>
                <a:lnTo>
                  <a:pt x="293" y="314"/>
                </a:lnTo>
                <a:lnTo>
                  <a:pt x="316" y="323"/>
                </a:lnTo>
                <a:lnTo>
                  <a:pt x="336" y="327"/>
                </a:lnTo>
                <a:lnTo>
                  <a:pt x="357" y="329"/>
                </a:lnTo>
                <a:lnTo>
                  <a:pt x="376" y="328"/>
                </a:lnTo>
                <a:lnTo>
                  <a:pt x="398" y="338"/>
                </a:lnTo>
                <a:lnTo>
                  <a:pt x="422" y="329"/>
                </a:lnTo>
                <a:lnTo>
                  <a:pt x="398" y="314"/>
                </a:lnTo>
                <a:lnTo>
                  <a:pt x="367" y="311"/>
                </a:lnTo>
                <a:lnTo>
                  <a:pt x="360" y="296"/>
                </a:lnTo>
                <a:lnTo>
                  <a:pt x="322" y="283"/>
                </a:lnTo>
                <a:lnTo>
                  <a:pt x="317" y="294"/>
                </a:lnTo>
                <a:lnTo>
                  <a:pt x="277" y="291"/>
                </a:lnTo>
                <a:lnTo>
                  <a:pt x="277" y="291"/>
                </a:lnTo>
                <a:close/>
                <a:moveTo>
                  <a:pt x="825" y="278"/>
                </a:moveTo>
                <a:lnTo>
                  <a:pt x="825" y="267"/>
                </a:lnTo>
                <a:lnTo>
                  <a:pt x="821" y="259"/>
                </a:lnTo>
                <a:lnTo>
                  <a:pt x="816" y="268"/>
                </a:lnTo>
                <a:lnTo>
                  <a:pt x="812" y="276"/>
                </a:lnTo>
                <a:lnTo>
                  <a:pt x="813" y="294"/>
                </a:lnTo>
                <a:lnTo>
                  <a:pt x="825" y="278"/>
                </a:lnTo>
                <a:close/>
                <a:moveTo>
                  <a:pt x="672" y="212"/>
                </a:moveTo>
                <a:lnTo>
                  <a:pt x="666" y="204"/>
                </a:lnTo>
                <a:lnTo>
                  <a:pt x="645" y="206"/>
                </a:lnTo>
                <a:lnTo>
                  <a:pt x="648" y="215"/>
                </a:lnTo>
                <a:lnTo>
                  <a:pt x="663" y="220"/>
                </a:lnTo>
                <a:lnTo>
                  <a:pt x="672" y="212"/>
                </a:lnTo>
                <a:lnTo>
                  <a:pt x="672" y="212"/>
                </a:lnTo>
                <a:close/>
                <a:moveTo>
                  <a:pt x="739" y="203"/>
                </a:moveTo>
                <a:lnTo>
                  <a:pt x="717" y="197"/>
                </a:lnTo>
                <a:lnTo>
                  <a:pt x="690" y="198"/>
                </a:lnTo>
                <a:lnTo>
                  <a:pt x="685" y="211"/>
                </a:lnTo>
                <a:lnTo>
                  <a:pt x="700" y="212"/>
                </a:lnTo>
                <a:lnTo>
                  <a:pt x="711" y="210"/>
                </a:lnTo>
                <a:lnTo>
                  <a:pt x="729" y="212"/>
                </a:lnTo>
                <a:lnTo>
                  <a:pt x="746" y="222"/>
                </a:lnTo>
                <a:lnTo>
                  <a:pt x="739" y="203"/>
                </a:lnTo>
                <a:lnTo>
                  <a:pt x="739" y="203"/>
                </a:lnTo>
                <a:close/>
                <a:moveTo>
                  <a:pt x="817" y="157"/>
                </a:moveTo>
                <a:lnTo>
                  <a:pt x="815" y="148"/>
                </a:lnTo>
                <a:lnTo>
                  <a:pt x="781" y="139"/>
                </a:lnTo>
                <a:lnTo>
                  <a:pt x="770" y="146"/>
                </a:lnTo>
                <a:lnTo>
                  <a:pt x="742" y="152"/>
                </a:lnTo>
                <a:lnTo>
                  <a:pt x="750" y="164"/>
                </a:lnTo>
                <a:lnTo>
                  <a:pt x="769" y="169"/>
                </a:lnTo>
                <a:lnTo>
                  <a:pt x="776" y="183"/>
                </a:lnTo>
                <a:lnTo>
                  <a:pt x="808" y="183"/>
                </a:lnTo>
                <a:lnTo>
                  <a:pt x="809" y="189"/>
                </a:lnTo>
                <a:lnTo>
                  <a:pt x="794" y="188"/>
                </a:lnTo>
                <a:lnTo>
                  <a:pt x="771" y="197"/>
                </a:lnTo>
                <a:lnTo>
                  <a:pt x="787" y="209"/>
                </a:lnTo>
                <a:lnTo>
                  <a:pt x="787" y="219"/>
                </a:lnTo>
                <a:lnTo>
                  <a:pt x="791" y="227"/>
                </a:lnTo>
                <a:lnTo>
                  <a:pt x="799" y="226"/>
                </a:lnTo>
                <a:lnTo>
                  <a:pt x="805" y="214"/>
                </a:lnTo>
                <a:lnTo>
                  <a:pt x="836" y="236"/>
                </a:lnTo>
                <a:lnTo>
                  <a:pt x="853" y="238"/>
                </a:lnTo>
                <a:lnTo>
                  <a:pt x="893" y="258"/>
                </a:lnTo>
                <a:lnTo>
                  <a:pt x="901" y="278"/>
                </a:lnTo>
                <a:lnTo>
                  <a:pt x="905" y="304"/>
                </a:lnTo>
                <a:lnTo>
                  <a:pt x="891" y="311"/>
                </a:lnTo>
                <a:lnTo>
                  <a:pt x="881" y="330"/>
                </a:lnTo>
                <a:lnTo>
                  <a:pt x="907" y="329"/>
                </a:lnTo>
                <a:lnTo>
                  <a:pt x="914" y="323"/>
                </a:lnTo>
                <a:lnTo>
                  <a:pt x="934" y="327"/>
                </a:lnTo>
                <a:lnTo>
                  <a:pt x="951" y="347"/>
                </a:lnTo>
                <a:lnTo>
                  <a:pt x="957" y="269"/>
                </a:lnTo>
                <a:lnTo>
                  <a:pt x="960" y="192"/>
                </a:lnTo>
                <a:lnTo>
                  <a:pt x="938" y="187"/>
                </a:lnTo>
                <a:lnTo>
                  <a:pt x="923" y="179"/>
                </a:lnTo>
                <a:lnTo>
                  <a:pt x="905" y="170"/>
                </a:lnTo>
                <a:lnTo>
                  <a:pt x="887" y="170"/>
                </a:lnTo>
                <a:lnTo>
                  <a:pt x="862" y="184"/>
                </a:lnTo>
                <a:lnTo>
                  <a:pt x="844" y="210"/>
                </a:lnTo>
                <a:lnTo>
                  <a:pt x="822" y="196"/>
                </a:lnTo>
                <a:lnTo>
                  <a:pt x="817" y="157"/>
                </a:lnTo>
                <a:close/>
                <a:moveTo>
                  <a:pt x="631" y="96"/>
                </a:moveTo>
                <a:lnTo>
                  <a:pt x="627" y="91"/>
                </a:lnTo>
                <a:lnTo>
                  <a:pt x="606" y="108"/>
                </a:lnTo>
                <a:lnTo>
                  <a:pt x="582" y="109"/>
                </a:lnTo>
                <a:lnTo>
                  <a:pt x="556" y="106"/>
                </a:lnTo>
                <a:lnTo>
                  <a:pt x="539" y="99"/>
                </a:lnTo>
                <a:lnTo>
                  <a:pt x="521" y="116"/>
                </a:lnTo>
                <a:lnTo>
                  <a:pt x="517" y="127"/>
                </a:lnTo>
                <a:lnTo>
                  <a:pt x="507" y="162"/>
                </a:lnTo>
                <a:lnTo>
                  <a:pt x="503" y="181"/>
                </a:lnTo>
                <a:lnTo>
                  <a:pt x="494" y="197"/>
                </a:lnTo>
                <a:lnTo>
                  <a:pt x="500" y="212"/>
                </a:lnTo>
                <a:lnTo>
                  <a:pt x="508" y="213"/>
                </a:lnTo>
                <a:lnTo>
                  <a:pt x="511" y="236"/>
                </a:lnTo>
                <a:lnTo>
                  <a:pt x="504" y="258"/>
                </a:lnTo>
                <a:lnTo>
                  <a:pt x="512" y="265"/>
                </a:lnTo>
                <a:lnTo>
                  <a:pt x="526" y="261"/>
                </a:lnTo>
                <a:lnTo>
                  <a:pt x="527" y="227"/>
                </a:lnTo>
                <a:lnTo>
                  <a:pt x="526" y="199"/>
                </a:lnTo>
                <a:lnTo>
                  <a:pt x="540" y="193"/>
                </a:lnTo>
                <a:lnTo>
                  <a:pt x="537" y="215"/>
                </a:lnTo>
                <a:lnTo>
                  <a:pt x="552" y="229"/>
                </a:lnTo>
                <a:lnTo>
                  <a:pt x="549" y="239"/>
                </a:lnTo>
                <a:lnTo>
                  <a:pt x="554" y="245"/>
                </a:lnTo>
                <a:lnTo>
                  <a:pt x="575" y="236"/>
                </a:lnTo>
                <a:lnTo>
                  <a:pt x="563" y="255"/>
                </a:lnTo>
                <a:lnTo>
                  <a:pt x="572" y="264"/>
                </a:lnTo>
                <a:lnTo>
                  <a:pt x="583" y="256"/>
                </a:lnTo>
                <a:lnTo>
                  <a:pt x="584" y="241"/>
                </a:lnTo>
                <a:lnTo>
                  <a:pt x="567" y="213"/>
                </a:lnTo>
                <a:lnTo>
                  <a:pt x="571" y="206"/>
                </a:lnTo>
                <a:lnTo>
                  <a:pt x="552" y="175"/>
                </a:lnTo>
                <a:lnTo>
                  <a:pt x="571" y="166"/>
                </a:lnTo>
                <a:lnTo>
                  <a:pt x="580" y="152"/>
                </a:lnTo>
                <a:lnTo>
                  <a:pt x="590" y="156"/>
                </a:lnTo>
                <a:lnTo>
                  <a:pt x="591" y="144"/>
                </a:lnTo>
                <a:lnTo>
                  <a:pt x="552" y="153"/>
                </a:lnTo>
                <a:lnTo>
                  <a:pt x="540" y="163"/>
                </a:lnTo>
                <a:lnTo>
                  <a:pt x="521" y="142"/>
                </a:lnTo>
                <a:lnTo>
                  <a:pt x="525" y="125"/>
                </a:lnTo>
                <a:lnTo>
                  <a:pt x="543" y="121"/>
                </a:lnTo>
                <a:lnTo>
                  <a:pt x="578" y="120"/>
                </a:lnTo>
                <a:lnTo>
                  <a:pt x="598" y="125"/>
                </a:lnTo>
                <a:lnTo>
                  <a:pt x="614" y="120"/>
                </a:lnTo>
                <a:lnTo>
                  <a:pt x="631" y="96"/>
                </a:lnTo>
                <a:lnTo>
                  <a:pt x="631" y="96"/>
                </a:lnTo>
                <a:close/>
                <a:moveTo>
                  <a:pt x="704" y="103"/>
                </a:moveTo>
                <a:lnTo>
                  <a:pt x="701" y="94"/>
                </a:lnTo>
                <a:lnTo>
                  <a:pt x="689" y="91"/>
                </a:lnTo>
                <a:lnTo>
                  <a:pt x="687" y="78"/>
                </a:lnTo>
                <a:lnTo>
                  <a:pt x="680" y="86"/>
                </a:lnTo>
                <a:lnTo>
                  <a:pt x="676" y="106"/>
                </a:lnTo>
                <a:lnTo>
                  <a:pt x="683" y="137"/>
                </a:lnTo>
                <a:lnTo>
                  <a:pt x="690" y="152"/>
                </a:lnTo>
                <a:lnTo>
                  <a:pt x="697" y="148"/>
                </a:lnTo>
                <a:lnTo>
                  <a:pt x="689" y="136"/>
                </a:lnTo>
                <a:lnTo>
                  <a:pt x="691" y="122"/>
                </a:lnTo>
                <a:lnTo>
                  <a:pt x="703" y="124"/>
                </a:lnTo>
                <a:lnTo>
                  <a:pt x="704" y="103"/>
                </a:lnTo>
                <a:lnTo>
                  <a:pt x="704" y="103"/>
                </a:lnTo>
                <a:close/>
                <a:moveTo>
                  <a:pt x="476" y="86"/>
                </a:moveTo>
                <a:lnTo>
                  <a:pt x="479" y="75"/>
                </a:lnTo>
                <a:lnTo>
                  <a:pt x="463" y="53"/>
                </a:lnTo>
                <a:lnTo>
                  <a:pt x="474" y="31"/>
                </a:lnTo>
                <a:lnTo>
                  <a:pt x="455" y="28"/>
                </a:lnTo>
                <a:lnTo>
                  <a:pt x="432" y="28"/>
                </a:lnTo>
                <a:lnTo>
                  <a:pt x="425" y="55"/>
                </a:lnTo>
                <a:lnTo>
                  <a:pt x="418" y="63"/>
                </a:lnTo>
                <a:lnTo>
                  <a:pt x="408" y="96"/>
                </a:lnTo>
                <a:lnTo>
                  <a:pt x="391" y="101"/>
                </a:lnTo>
                <a:lnTo>
                  <a:pt x="371" y="94"/>
                </a:lnTo>
                <a:lnTo>
                  <a:pt x="361" y="97"/>
                </a:lnTo>
                <a:lnTo>
                  <a:pt x="349" y="109"/>
                </a:lnTo>
                <a:lnTo>
                  <a:pt x="336" y="107"/>
                </a:lnTo>
                <a:lnTo>
                  <a:pt x="322" y="112"/>
                </a:lnTo>
                <a:lnTo>
                  <a:pt x="308" y="99"/>
                </a:lnTo>
                <a:lnTo>
                  <a:pt x="304" y="83"/>
                </a:lnTo>
                <a:lnTo>
                  <a:pt x="291" y="98"/>
                </a:lnTo>
                <a:lnTo>
                  <a:pt x="289" y="120"/>
                </a:lnTo>
                <a:lnTo>
                  <a:pt x="292" y="141"/>
                </a:lnTo>
                <a:lnTo>
                  <a:pt x="302" y="161"/>
                </a:lnTo>
                <a:lnTo>
                  <a:pt x="312" y="168"/>
                </a:lnTo>
                <a:lnTo>
                  <a:pt x="315" y="199"/>
                </a:lnTo>
                <a:lnTo>
                  <a:pt x="332" y="202"/>
                </a:lnTo>
                <a:lnTo>
                  <a:pt x="345" y="201"/>
                </a:lnTo>
                <a:lnTo>
                  <a:pt x="352" y="212"/>
                </a:lnTo>
                <a:lnTo>
                  <a:pt x="378" y="204"/>
                </a:lnTo>
                <a:lnTo>
                  <a:pt x="388" y="212"/>
                </a:lnTo>
                <a:lnTo>
                  <a:pt x="403" y="213"/>
                </a:lnTo>
                <a:lnTo>
                  <a:pt x="410" y="227"/>
                </a:lnTo>
                <a:lnTo>
                  <a:pt x="435" y="217"/>
                </a:lnTo>
                <a:lnTo>
                  <a:pt x="438" y="226"/>
                </a:lnTo>
                <a:lnTo>
                  <a:pt x="448" y="189"/>
                </a:lnTo>
                <a:lnTo>
                  <a:pt x="449" y="165"/>
                </a:lnTo>
                <a:lnTo>
                  <a:pt x="469" y="149"/>
                </a:lnTo>
                <a:lnTo>
                  <a:pt x="468" y="127"/>
                </a:lnTo>
                <a:lnTo>
                  <a:pt x="475" y="112"/>
                </a:lnTo>
                <a:lnTo>
                  <a:pt x="500" y="109"/>
                </a:lnTo>
                <a:lnTo>
                  <a:pt x="476" y="86"/>
                </a:lnTo>
                <a:lnTo>
                  <a:pt x="476" y="86"/>
                </a:lnTo>
                <a:close/>
                <a:moveTo>
                  <a:pt x="219" y="269"/>
                </a:moveTo>
                <a:lnTo>
                  <a:pt x="222" y="232"/>
                </a:lnTo>
                <a:lnTo>
                  <a:pt x="228" y="202"/>
                </a:lnTo>
                <a:lnTo>
                  <a:pt x="218" y="187"/>
                </a:lnTo>
                <a:lnTo>
                  <a:pt x="203" y="185"/>
                </a:lnTo>
                <a:lnTo>
                  <a:pt x="196" y="172"/>
                </a:lnTo>
                <a:lnTo>
                  <a:pt x="193" y="156"/>
                </a:lnTo>
                <a:lnTo>
                  <a:pt x="185" y="156"/>
                </a:lnTo>
                <a:lnTo>
                  <a:pt x="173" y="147"/>
                </a:lnTo>
                <a:lnTo>
                  <a:pt x="182" y="127"/>
                </a:lnTo>
                <a:lnTo>
                  <a:pt x="166" y="116"/>
                </a:lnTo>
                <a:lnTo>
                  <a:pt x="154" y="97"/>
                </a:lnTo>
                <a:lnTo>
                  <a:pt x="136" y="81"/>
                </a:lnTo>
                <a:lnTo>
                  <a:pt x="114" y="80"/>
                </a:lnTo>
                <a:lnTo>
                  <a:pt x="94" y="55"/>
                </a:lnTo>
                <a:lnTo>
                  <a:pt x="82" y="44"/>
                </a:lnTo>
                <a:lnTo>
                  <a:pt x="65" y="29"/>
                </a:lnTo>
                <a:lnTo>
                  <a:pt x="45" y="5"/>
                </a:lnTo>
                <a:lnTo>
                  <a:pt x="13" y="1"/>
                </a:lnTo>
                <a:lnTo>
                  <a:pt x="0" y="0"/>
                </a:lnTo>
                <a:lnTo>
                  <a:pt x="1" y="12"/>
                </a:lnTo>
                <a:lnTo>
                  <a:pt x="24" y="38"/>
                </a:lnTo>
                <a:lnTo>
                  <a:pt x="41" y="51"/>
                </a:lnTo>
                <a:lnTo>
                  <a:pt x="52" y="71"/>
                </a:lnTo>
                <a:lnTo>
                  <a:pt x="71" y="86"/>
                </a:lnTo>
                <a:lnTo>
                  <a:pt x="80" y="105"/>
                </a:lnTo>
                <a:lnTo>
                  <a:pt x="85" y="126"/>
                </a:lnTo>
                <a:lnTo>
                  <a:pt x="104" y="145"/>
                </a:lnTo>
                <a:lnTo>
                  <a:pt x="119" y="179"/>
                </a:lnTo>
                <a:lnTo>
                  <a:pt x="129" y="197"/>
                </a:lnTo>
                <a:lnTo>
                  <a:pt x="145" y="216"/>
                </a:lnTo>
                <a:lnTo>
                  <a:pt x="153" y="230"/>
                </a:lnTo>
                <a:lnTo>
                  <a:pt x="179" y="250"/>
                </a:lnTo>
                <a:lnTo>
                  <a:pt x="196" y="269"/>
                </a:lnTo>
                <a:lnTo>
                  <a:pt x="219" y="269"/>
                </a:lnTo>
                <a:lnTo>
                  <a:pt x="219" y="26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84" name="India">
            <a:extLst>
              <a:ext uri="{FF2B5EF4-FFF2-40B4-BE49-F238E27FC236}">
                <a16:creationId xmlns:a16="http://schemas.microsoft.com/office/drawing/2014/main" id="{00E57990-807D-48DA-B40E-38677FC40BAE}"/>
              </a:ext>
            </a:extLst>
          </p:cNvPr>
          <p:cNvSpPr>
            <a:spLocks/>
          </p:cNvSpPr>
          <p:nvPr/>
        </p:nvSpPr>
        <p:spPr bwMode="auto">
          <a:xfrm>
            <a:off x="7574779" y="2904464"/>
            <a:ext cx="985003" cy="1114295"/>
          </a:xfrm>
          <a:custGeom>
            <a:avLst/>
            <a:gdLst>
              <a:gd name="T0" fmla="*/ 183 w 579"/>
              <a:gd name="T1" fmla="*/ 95 h 655"/>
              <a:gd name="T2" fmla="*/ 184 w 579"/>
              <a:gd name="T3" fmla="*/ 60 h 655"/>
              <a:gd name="T4" fmla="*/ 141 w 579"/>
              <a:gd name="T5" fmla="*/ 0 h 655"/>
              <a:gd name="T6" fmla="*/ 75 w 579"/>
              <a:gd name="T7" fmla="*/ 18 h 655"/>
              <a:gd name="T8" fmla="*/ 90 w 579"/>
              <a:gd name="T9" fmla="*/ 66 h 655"/>
              <a:gd name="T10" fmla="*/ 99 w 579"/>
              <a:gd name="T11" fmla="*/ 108 h 655"/>
              <a:gd name="T12" fmla="*/ 60 w 579"/>
              <a:gd name="T13" fmla="*/ 180 h 655"/>
              <a:gd name="T14" fmla="*/ 32 w 579"/>
              <a:gd name="T15" fmla="*/ 214 h 655"/>
              <a:gd name="T16" fmla="*/ 57 w 579"/>
              <a:gd name="T17" fmla="*/ 265 h 655"/>
              <a:gd name="T18" fmla="*/ 26 w 579"/>
              <a:gd name="T19" fmla="*/ 301 h 655"/>
              <a:gd name="T20" fmla="*/ 54 w 579"/>
              <a:gd name="T21" fmla="*/ 348 h 655"/>
              <a:gd name="T22" fmla="*/ 105 w 579"/>
              <a:gd name="T23" fmla="*/ 359 h 655"/>
              <a:gd name="T24" fmla="*/ 130 w 579"/>
              <a:gd name="T25" fmla="*/ 464 h 655"/>
              <a:gd name="T26" fmla="*/ 165 w 579"/>
              <a:gd name="T27" fmla="*/ 541 h 655"/>
              <a:gd name="T28" fmla="*/ 194 w 579"/>
              <a:gd name="T29" fmla="*/ 599 h 655"/>
              <a:gd name="T30" fmla="*/ 235 w 579"/>
              <a:gd name="T31" fmla="*/ 648 h 655"/>
              <a:gd name="T32" fmla="*/ 253 w 579"/>
              <a:gd name="T33" fmla="*/ 617 h 655"/>
              <a:gd name="T34" fmla="*/ 269 w 579"/>
              <a:gd name="T35" fmla="*/ 558 h 655"/>
              <a:gd name="T36" fmla="*/ 267 w 579"/>
              <a:gd name="T37" fmla="*/ 485 h 655"/>
              <a:gd name="T38" fmla="*/ 299 w 579"/>
              <a:gd name="T39" fmla="*/ 457 h 655"/>
              <a:gd name="T40" fmla="*/ 326 w 579"/>
              <a:gd name="T41" fmla="*/ 424 h 655"/>
              <a:gd name="T42" fmla="*/ 387 w 579"/>
              <a:gd name="T43" fmla="*/ 365 h 655"/>
              <a:gd name="T44" fmla="*/ 418 w 579"/>
              <a:gd name="T45" fmla="*/ 328 h 655"/>
              <a:gd name="T46" fmla="*/ 427 w 579"/>
              <a:gd name="T47" fmla="*/ 300 h 655"/>
              <a:gd name="T48" fmla="*/ 405 w 579"/>
              <a:gd name="T49" fmla="*/ 262 h 655"/>
              <a:gd name="T50" fmla="*/ 403 w 579"/>
              <a:gd name="T51" fmla="*/ 232 h 655"/>
              <a:gd name="T52" fmla="*/ 435 w 579"/>
              <a:gd name="T53" fmla="*/ 227 h 655"/>
              <a:gd name="T54" fmla="*/ 478 w 579"/>
              <a:gd name="T55" fmla="*/ 247 h 655"/>
              <a:gd name="T56" fmla="*/ 476 w 579"/>
              <a:gd name="T57" fmla="*/ 272 h 655"/>
              <a:gd name="T58" fmla="*/ 486 w 579"/>
              <a:gd name="T59" fmla="*/ 283 h 655"/>
              <a:gd name="T60" fmla="*/ 518 w 579"/>
              <a:gd name="T61" fmla="*/ 315 h 655"/>
              <a:gd name="T62" fmla="*/ 514 w 579"/>
              <a:gd name="T63" fmla="*/ 272 h 655"/>
              <a:gd name="T64" fmla="*/ 535 w 579"/>
              <a:gd name="T65" fmla="*/ 246 h 655"/>
              <a:gd name="T66" fmla="*/ 562 w 579"/>
              <a:gd name="T67" fmla="*/ 196 h 655"/>
              <a:gd name="T68" fmla="*/ 579 w 579"/>
              <a:gd name="T69" fmla="*/ 181 h 655"/>
              <a:gd name="T70" fmla="*/ 558 w 579"/>
              <a:gd name="T71" fmla="*/ 159 h 655"/>
              <a:gd name="T72" fmla="*/ 514 w 579"/>
              <a:gd name="T73" fmla="*/ 149 h 655"/>
              <a:gd name="T74" fmla="*/ 464 w 579"/>
              <a:gd name="T75" fmla="*/ 184 h 655"/>
              <a:gd name="T76" fmla="*/ 460 w 579"/>
              <a:gd name="T77" fmla="*/ 207 h 655"/>
              <a:gd name="T78" fmla="*/ 409 w 579"/>
              <a:gd name="T79" fmla="*/ 200 h 655"/>
              <a:gd name="T80" fmla="*/ 391 w 579"/>
              <a:gd name="T81" fmla="*/ 181 h 655"/>
              <a:gd name="T82" fmla="*/ 397 w 579"/>
              <a:gd name="T83" fmla="*/ 216 h 655"/>
              <a:gd name="T84" fmla="*/ 338 w 579"/>
              <a:gd name="T85" fmla="*/ 208 h 655"/>
              <a:gd name="T86" fmla="*/ 267 w 579"/>
              <a:gd name="T87" fmla="*/ 180 h 655"/>
              <a:gd name="T88" fmla="*/ 227 w 579"/>
              <a:gd name="T89" fmla="*/ 138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9" h="655">
                <a:moveTo>
                  <a:pt x="237" y="126"/>
                </a:moveTo>
                <a:lnTo>
                  <a:pt x="206" y="110"/>
                </a:lnTo>
                <a:lnTo>
                  <a:pt x="183" y="95"/>
                </a:lnTo>
                <a:lnTo>
                  <a:pt x="171" y="69"/>
                </a:lnTo>
                <a:lnTo>
                  <a:pt x="186" y="72"/>
                </a:lnTo>
                <a:lnTo>
                  <a:pt x="184" y="60"/>
                </a:lnTo>
                <a:lnTo>
                  <a:pt x="173" y="48"/>
                </a:lnTo>
                <a:lnTo>
                  <a:pt x="170" y="28"/>
                </a:lnTo>
                <a:lnTo>
                  <a:pt x="141" y="0"/>
                </a:lnTo>
                <a:lnTo>
                  <a:pt x="127" y="21"/>
                </a:lnTo>
                <a:lnTo>
                  <a:pt x="107" y="25"/>
                </a:lnTo>
                <a:lnTo>
                  <a:pt x="75" y="18"/>
                </a:lnTo>
                <a:lnTo>
                  <a:pt x="67" y="29"/>
                </a:lnTo>
                <a:lnTo>
                  <a:pt x="80" y="50"/>
                </a:lnTo>
                <a:lnTo>
                  <a:pt x="90" y="66"/>
                </a:lnTo>
                <a:lnTo>
                  <a:pt x="109" y="78"/>
                </a:lnTo>
                <a:lnTo>
                  <a:pt x="95" y="91"/>
                </a:lnTo>
                <a:lnTo>
                  <a:pt x="99" y="108"/>
                </a:lnTo>
                <a:lnTo>
                  <a:pt x="84" y="132"/>
                </a:lnTo>
                <a:lnTo>
                  <a:pt x="77" y="156"/>
                </a:lnTo>
                <a:lnTo>
                  <a:pt x="60" y="180"/>
                </a:lnTo>
                <a:lnTo>
                  <a:pt x="36" y="179"/>
                </a:lnTo>
                <a:lnTo>
                  <a:pt x="17" y="204"/>
                </a:lnTo>
                <a:lnTo>
                  <a:pt x="32" y="214"/>
                </a:lnTo>
                <a:lnTo>
                  <a:pt x="38" y="233"/>
                </a:lnTo>
                <a:lnTo>
                  <a:pt x="51" y="245"/>
                </a:lnTo>
                <a:lnTo>
                  <a:pt x="57" y="265"/>
                </a:lnTo>
                <a:lnTo>
                  <a:pt x="12" y="265"/>
                </a:lnTo>
                <a:lnTo>
                  <a:pt x="0" y="281"/>
                </a:lnTo>
                <a:lnTo>
                  <a:pt x="26" y="301"/>
                </a:lnTo>
                <a:lnTo>
                  <a:pt x="34" y="310"/>
                </a:lnTo>
                <a:lnTo>
                  <a:pt x="25" y="319"/>
                </a:lnTo>
                <a:lnTo>
                  <a:pt x="54" y="348"/>
                </a:lnTo>
                <a:lnTo>
                  <a:pt x="69" y="350"/>
                </a:lnTo>
                <a:lnTo>
                  <a:pt x="98" y="336"/>
                </a:lnTo>
                <a:lnTo>
                  <a:pt x="105" y="359"/>
                </a:lnTo>
                <a:lnTo>
                  <a:pt x="108" y="388"/>
                </a:lnTo>
                <a:lnTo>
                  <a:pt x="117" y="418"/>
                </a:lnTo>
                <a:lnTo>
                  <a:pt x="130" y="464"/>
                </a:lnTo>
                <a:lnTo>
                  <a:pt x="152" y="497"/>
                </a:lnTo>
                <a:lnTo>
                  <a:pt x="157" y="511"/>
                </a:lnTo>
                <a:lnTo>
                  <a:pt x="165" y="541"/>
                </a:lnTo>
                <a:lnTo>
                  <a:pt x="177" y="564"/>
                </a:lnTo>
                <a:lnTo>
                  <a:pt x="185" y="575"/>
                </a:lnTo>
                <a:lnTo>
                  <a:pt x="194" y="599"/>
                </a:lnTo>
                <a:lnTo>
                  <a:pt x="206" y="632"/>
                </a:lnTo>
                <a:lnTo>
                  <a:pt x="226" y="655"/>
                </a:lnTo>
                <a:lnTo>
                  <a:pt x="235" y="648"/>
                </a:lnTo>
                <a:lnTo>
                  <a:pt x="241" y="631"/>
                </a:lnTo>
                <a:lnTo>
                  <a:pt x="260" y="625"/>
                </a:lnTo>
                <a:lnTo>
                  <a:pt x="253" y="617"/>
                </a:lnTo>
                <a:lnTo>
                  <a:pt x="262" y="599"/>
                </a:lnTo>
                <a:lnTo>
                  <a:pt x="272" y="598"/>
                </a:lnTo>
                <a:lnTo>
                  <a:pt x="269" y="558"/>
                </a:lnTo>
                <a:lnTo>
                  <a:pt x="277" y="535"/>
                </a:lnTo>
                <a:lnTo>
                  <a:pt x="274" y="515"/>
                </a:lnTo>
                <a:lnTo>
                  <a:pt x="267" y="485"/>
                </a:lnTo>
                <a:lnTo>
                  <a:pt x="271" y="466"/>
                </a:lnTo>
                <a:lnTo>
                  <a:pt x="280" y="465"/>
                </a:lnTo>
                <a:lnTo>
                  <a:pt x="299" y="457"/>
                </a:lnTo>
                <a:lnTo>
                  <a:pt x="308" y="450"/>
                </a:lnTo>
                <a:lnTo>
                  <a:pt x="307" y="440"/>
                </a:lnTo>
                <a:lnTo>
                  <a:pt x="326" y="424"/>
                </a:lnTo>
                <a:lnTo>
                  <a:pt x="340" y="409"/>
                </a:lnTo>
                <a:lnTo>
                  <a:pt x="360" y="381"/>
                </a:lnTo>
                <a:lnTo>
                  <a:pt x="387" y="365"/>
                </a:lnTo>
                <a:lnTo>
                  <a:pt x="396" y="351"/>
                </a:lnTo>
                <a:lnTo>
                  <a:pt x="392" y="334"/>
                </a:lnTo>
                <a:lnTo>
                  <a:pt x="418" y="328"/>
                </a:lnTo>
                <a:lnTo>
                  <a:pt x="432" y="329"/>
                </a:lnTo>
                <a:lnTo>
                  <a:pt x="433" y="320"/>
                </a:lnTo>
                <a:lnTo>
                  <a:pt x="427" y="300"/>
                </a:lnTo>
                <a:lnTo>
                  <a:pt x="418" y="282"/>
                </a:lnTo>
                <a:lnTo>
                  <a:pt x="419" y="268"/>
                </a:lnTo>
                <a:lnTo>
                  <a:pt x="405" y="262"/>
                </a:lnTo>
                <a:lnTo>
                  <a:pt x="408" y="253"/>
                </a:lnTo>
                <a:lnTo>
                  <a:pt x="419" y="244"/>
                </a:lnTo>
                <a:lnTo>
                  <a:pt x="403" y="232"/>
                </a:lnTo>
                <a:lnTo>
                  <a:pt x="407" y="216"/>
                </a:lnTo>
                <a:lnTo>
                  <a:pt x="425" y="225"/>
                </a:lnTo>
                <a:lnTo>
                  <a:pt x="435" y="227"/>
                </a:lnTo>
                <a:lnTo>
                  <a:pt x="439" y="244"/>
                </a:lnTo>
                <a:lnTo>
                  <a:pt x="460" y="247"/>
                </a:lnTo>
                <a:lnTo>
                  <a:pt x="478" y="247"/>
                </a:lnTo>
                <a:lnTo>
                  <a:pt x="491" y="250"/>
                </a:lnTo>
                <a:lnTo>
                  <a:pt x="485" y="270"/>
                </a:lnTo>
                <a:lnTo>
                  <a:pt x="476" y="272"/>
                </a:lnTo>
                <a:lnTo>
                  <a:pt x="472" y="285"/>
                </a:lnTo>
                <a:lnTo>
                  <a:pt x="485" y="298"/>
                </a:lnTo>
                <a:lnTo>
                  <a:pt x="486" y="283"/>
                </a:lnTo>
                <a:lnTo>
                  <a:pt x="491" y="282"/>
                </a:lnTo>
                <a:lnTo>
                  <a:pt x="508" y="321"/>
                </a:lnTo>
                <a:lnTo>
                  <a:pt x="518" y="315"/>
                </a:lnTo>
                <a:lnTo>
                  <a:pt x="514" y="305"/>
                </a:lnTo>
                <a:lnTo>
                  <a:pt x="518" y="296"/>
                </a:lnTo>
                <a:lnTo>
                  <a:pt x="514" y="272"/>
                </a:lnTo>
                <a:lnTo>
                  <a:pt x="531" y="278"/>
                </a:lnTo>
                <a:lnTo>
                  <a:pt x="536" y="258"/>
                </a:lnTo>
                <a:lnTo>
                  <a:pt x="535" y="246"/>
                </a:lnTo>
                <a:lnTo>
                  <a:pt x="544" y="226"/>
                </a:lnTo>
                <a:lnTo>
                  <a:pt x="540" y="212"/>
                </a:lnTo>
                <a:lnTo>
                  <a:pt x="562" y="196"/>
                </a:lnTo>
                <a:lnTo>
                  <a:pt x="578" y="200"/>
                </a:lnTo>
                <a:lnTo>
                  <a:pt x="574" y="186"/>
                </a:lnTo>
                <a:lnTo>
                  <a:pt x="579" y="181"/>
                </a:lnTo>
                <a:lnTo>
                  <a:pt x="575" y="172"/>
                </a:lnTo>
                <a:lnTo>
                  <a:pt x="553" y="169"/>
                </a:lnTo>
                <a:lnTo>
                  <a:pt x="558" y="159"/>
                </a:lnTo>
                <a:lnTo>
                  <a:pt x="545" y="144"/>
                </a:lnTo>
                <a:lnTo>
                  <a:pt x="532" y="154"/>
                </a:lnTo>
                <a:lnTo>
                  <a:pt x="514" y="149"/>
                </a:lnTo>
                <a:lnTo>
                  <a:pt x="494" y="164"/>
                </a:lnTo>
                <a:lnTo>
                  <a:pt x="480" y="181"/>
                </a:lnTo>
                <a:lnTo>
                  <a:pt x="464" y="184"/>
                </a:lnTo>
                <a:lnTo>
                  <a:pt x="475" y="192"/>
                </a:lnTo>
                <a:lnTo>
                  <a:pt x="475" y="207"/>
                </a:lnTo>
                <a:lnTo>
                  <a:pt x="460" y="207"/>
                </a:lnTo>
                <a:lnTo>
                  <a:pt x="442" y="206"/>
                </a:lnTo>
                <a:lnTo>
                  <a:pt x="430" y="209"/>
                </a:lnTo>
                <a:lnTo>
                  <a:pt x="409" y="200"/>
                </a:lnTo>
                <a:lnTo>
                  <a:pt x="408" y="195"/>
                </a:lnTo>
                <a:lnTo>
                  <a:pt x="403" y="177"/>
                </a:lnTo>
                <a:lnTo>
                  <a:pt x="391" y="181"/>
                </a:lnTo>
                <a:lnTo>
                  <a:pt x="391" y="192"/>
                </a:lnTo>
                <a:lnTo>
                  <a:pt x="397" y="207"/>
                </a:lnTo>
                <a:lnTo>
                  <a:pt x="397" y="216"/>
                </a:lnTo>
                <a:lnTo>
                  <a:pt x="379" y="217"/>
                </a:lnTo>
                <a:lnTo>
                  <a:pt x="354" y="211"/>
                </a:lnTo>
                <a:lnTo>
                  <a:pt x="338" y="208"/>
                </a:lnTo>
                <a:lnTo>
                  <a:pt x="324" y="197"/>
                </a:lnTo>
                <a:lnTo>
                  <a:pt x="295" y="194"/>
                </a:lnTo>
                <a:lnTo>
                  <a:pt x="267" y="180"/>
                </a:lnTo>
                <a:lnTo>
                  <a:pt x="245" y="169"/>
                </a:lnTo>
                <a:lnTo>
                  <a:pt x="224" y="160"/>
                </a:lnTo>
                <a:lnTo>
                  <a:pt x="227" y="138"/>
                </a:lnTo>
                <a:lnTo>
                  <a:pt x="237" y="126"/>
                </a:lnTo>
                <a:lnTo>
                  <a:pt x="237" y="12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85" name="Ireland">
            <a:extLst>
              <a:ext uri="{FF2B5EF4-FFF2-40B4-BE49-F238E27FC236}">
                <a16:creationId xmlns:a16="http://schemas.microsoft.com/office/drawing/2014/main" id="{E9A88B67-FDEA-43BC-B82D-8B790870B814}"/>
              </a:ext>
            </a:extLst>
          </p:cNvPr>
          <p:cNvSpPr>
            <a:spLocks/>
          </p:cNvSpPr>
          <p:nvPr/>
        </p:nvSpPr>
        <p:spPr bwMode="auto">
          <a:xfrm>
            <a:off x="4895366" y="2128710"/>
            <a:ext cx="122489" cy="132695"/>
          </a:xfrm>
          <a:custGeom>
            <a:avLst/>
            <a:gdLst>
              <a:gd name="T0" fmla="*/ 69 w 72"/>
              <a:gd name="T1" fmla="*/ 29 h 78"/>
              <a:gd name="T2" fmla="*/ 56 w 72"/>
              <a:gd name="T3" fmla="*/ 24 h 78"/>
              <a:gd name="T4" fmla="*/ 46 w 72"/>
              <a:gd name="T5" fmla="*/ 24 h 78"/>
              <a:gd name="T6" fmla="*/ 50 w 72"/>
              <a:gd name="T7" fmla="*/ 12 h 78"/>
              <a:gd name="T8" fmla="*/ 47 w 72"/>
              <a:gd name="T9" fmla="*/ 0 h 78"/>
              <a:gd name="T10" fmla="*/ 33 w 72"/>
              <a:gd name="T11" fmla="*/ 11 h 78"/>
              <a:gd name="T12" fmla="*/ 8 w 72"/>
              <a:gd name="T13" fmla="*/ 28 h 78"/>
              <a:gd name="T14" fmla="*/ 16 w 72"/>
              <a:gd name="T15" fmla="*/ 51 h 78"/>
              <a:gd name="T16" fmla="*/ 0 w 72"/>
              <a:gd name="T17" fmla="*/ 74 h 78"/>
              <a:gd name="T18" fmla="*/ 25 w 72"/>
              <a:gd name="T19" fmla="*/ 78 h 78"/>
              <a:gd name="T20" fmla="*/ 57 w 72"/>
              <a:gd name="T21" fmla="*/ 65 h 78"/>
              <a:gd name="T22" fmla="*/ 72 w 72"/>
              <a:gd name="T23" fmla="*/ 45 h 78"/>
              <a:gd name="T24" fmla="*/ 69 w 72"/>
              <a:gd name="T25" fmla="*/ 29 h 78"/>
              <a:gd name="T26" fmla="*/ 69 w 72"/>
              <a:gd name="T27" fmla="*/ 2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8">
                <a:moveTo>
                  <a:pt x="69" y="29"/>
                </a:moveTo>
                <a:lnTo>
                  <a:pt x="56" y="24"/>
                </a:lnTo>
                <a:lnTo>
                  <a:pt x="46" y="24"/>
                </a:lnTo>
                <a:lnTo>
                  <a:pt x="50" y="12"/>
                </a:lnTo>
                <a:lnTo>
                  <a:pt x="47" y="0"/>
                </a:lnTo>
                <a:lnTo>
                  <a:pt x="33" y="11"/>
                </a:lnTo>
                <a:lnTo>
                  <a:pt x="8" y="28"/>
                </a:lnTo>
                <a:lnTo>
                  <a:pt x="16" y="51"/>
                </a:lnTo>
                <a:lnTo>
                  <a:pt x="0" y="74"/>
                </a:lnTo>
                <a:lnTo>
                  <a:pt x="25" y="78"/>
                </a:lnTo>
                <a:lnTo>
                  <a:pt x="57" y="65"/>
                </a:lnTo>
                <a:lnTo>
                  <a:pt x="72" y="45"/>
                </a:lnTo>
                <a:lnTo>
                  <a:pt x="69" y="29"/>
                </a:lnTo>
                <a:lnTo>
                  <a:pt x="69" y="2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86" name="Iran">
            <a:extLst>
              <a:ext uri="{FF2B5EF4-FFF2-40B4-BE49-F238E27FC236}">
                <a16:creationId xmlns:a16="http://schemas.microsoft.com/office/drawing/2014/main" id="{CC09B8E7-5EA1-44E3-B140-E9EFB70A3129}"/>
              </a:ext>
            </a:extLst>
          </p:cNvPr>
          <p:cNvSpPr>
            <a:spLocks/>
          </p:cNvSpPr>
          <p:nvPr/>
        </p:nvSpPr>
        <p:spPr bwMode="auto">
          <a:xfrm>
            <a:off x="6656124" y="2730940"/>
            <a:ext cx="734924" cy="595425"/>
          </a:xfrm>
          <a:custGeom>
            <a:avLst/>
            <a:gdLst>
              <a:gd name="T0" fmla="*/ 16 w 432"/>
              <a:gd name="T1" fmla="*/ 10 h 350"/>
              <a:gd name="T2" fmla="*/ 0 w 432"/>
              <a:gd name="T3" fmla="*/ 8 h 350"/>
              <a:gd name="T4" fmla="*/ 8 w 432"/>
              <a:gd name="T5" fmla="*/ 42 h 350"/>
              <a:gd name="T6" fmla="*/ 22 w 432"/>
              <a:gd name="T7" fmla="*/ 62 h 350"/>
              <a:gd name="T8" fmla="*/ 53 w 432"/>
              <a:gd name="T9" fmla="*/ 98 h 350"/>
              <a:gd name="T10" fmla="*/ 48 w 432"/>
              <a:gd name="T11" fmla="*/ 120 h 350"/>
              <a:gd name="T12" fmla="*/ 64 w 432"/>
              <a:gd name="T13" fmla="*/ 162 h 350"/>
              <a:gd name="T14" fmla="*/ 103 w 432"/>
              <a:gd name="T15" fmla="*/ 193 h 350"/>
              <a:gd name="T16" fmla="*/ 109 w 432"/>
              <a:gd name="T17" fmla="*/ 210 h 350"/>
              <a:gd name="T18" fmla="*/ 123 w 432"/>
              <a:gd name="T19" fmla="*/ 235 h 350"/>
              <a:gd name="T20" fmla="*/ 143 w 432"/>
              <a:gd name="T21" fmla="*/ 234 h 350"/>
              <a:gd name="T22" fmla="*/ 172 w 432"/>
              <a:gd name="T23" fmla="*/ 261 h 350"/>
              <a:gd name="T24" fmla="*/ 210 w 432"/>
              <a:gd name="T25" fmla="*/ 291 h 350"/>
              <a:gd name="T26" fmla="*/ 258 w 432"/>
              <a:gd name="T27" fmla="*/ 317 h 350"/>
              <a:gd name="T28" fmla="*/ 292 w 432"/>
              <a:gd name="T29" fmla="*/ 301 h 350"/>
              <a:gd name="T30" fmla="*/ 314 w 432"/>
              <a:gd name="T31" fmla="*/ 335 h 350"/>
              <a:gd name="T32" fmla="*/ 361 w 432"/>
              <a:gd name="T33" fmla="*/ 343 h 350"/>
              <a:gd name="T34" fmla="*/ 404 w 432"/>
              <a:gd name="T35" fmla="*/ 323 h 350"/>
              <a:gd name="T36" fmla="*/ 428 w 432"/>
              <a:gd name="T37" fmla="*/ 299 h 350"/>
              <a:gd name="T38" fmla="*/ 415 w 432"/>
              <a:gd name="T39" fmla="*/ 274 h 350"/>
              <a:gd name="T40" fmla="*/ 383 w 432"/>
              <a:gd name="T41" fmla="*/ 250 h 350"/>
              <a:gd name="T42" fmla="*/ 386 w 432"/>
              <a:gd name="T43" fmla="*/ 215 h 350"/>
              <a:gd name="T44" fmla="*/ 366 w 432"/>
              <a:gd name="T45" fmla="*/ 197 h 350"/>
              <a:gd name="T46" fmla="*/ 352 w 432"/>
              <a:gd name="T47" fmla="*/ 163 h 350"/>
              <a:gd name="T48" fmla="*/ 348 w 432"/>
              <a:gd name="T49" fmla="*/ 146 h 350"/>
              <a:gd name="T50" fmla="*/ 352 w 432"/>
              <a:gd name="T51" fmla="*/ 99 h 350"/>
              <a:gd name="T52" fmla="*/ 331 w 432"/>
              <a:gd name="T53" fmla="*/ 77 h 350"/>
              <a:gd name="T54" fmla="*/ 288 w 432"/>
              <a:gd name="T55" fmla="*/ 54 h 350"/>
              <a:gd name="T56" fmla="*/ 250 w 432"/>
              <a:gd name="T57" fmla="*/ 39 h 350"/>
              <a:gd name="T58" fmla="*/ 228 w 432"/>
              <a:gd name="T59" fmla="*/ 42 h 350"/>
              <a:gd name="T60" fmla="*/ 201 w 432"/>
              <a:gd name="T61" fmla="*/ 61 h 350"/>
              <a:gd name="T62" fmla="*/ 171 w 432"/>
              <a:gd name="T63" fmla="*/ 73 h 350"/>
              <a:gd name="T64" fmla="*/ 127 w 432"/>
              <a:gd name="T65" fmla="*/ 57 h 350"/>
              <a:gd name="T66" fmla="*/ 98 w 432"/>
              <a:gd name="T67" fmla="*/ 34 h 350"/>
              <a:gd name="T68" fmla="*/ 79 w 432"/>
              <a:gd name="T69" fmla="*/ 23 h 350"/>
              <a:gd name="T70" fmla="*/ 76 w 432"/>
              <a:gd name="T71" fmla="*/ 4 h 350"/>
              <a:gd name="T72" fmla="*/ 49 w 432"/>
              <a:gd name="T73" fmla="*/ 23 h 350"/>
              <a:gd name="T74" fmla="*/ 29 w 432"/>
              <a:gd name="T75" fmla="*/ 2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32" h="350">
                <a:moveTo>
                  <a:pt x="29" y="21"/>
                </a:moveTo>
                <a:lnTo>
                  <a:pt x="16" y="10"/>
                </a:lnTo>
                <a:lnTo>
                  <a:pt x="12" y="0"/>
                </a:lnTo>
                <a:lnTo>
                  <a:pt x="0" y="8"/>
                </a:lnTo>
                <a:lnTo>
                  <a:pt x="11" y="35"/>
                </a:lnTo>
                <a:lnTo>
                  <a:pt x="8" y="42"/>
                </a:lnTo>
                <a:lnTo>
                  <a:pt x="22" y="62"/>
                </a:lnTo>
                <a:lnTo>
                  <a:pt x="22" y="62"/>
                </a:lnTo>
                <a:lnTo>
                  <a:pt x="40" y="91"/>
                </a:lnTo>
                <a:lnTo>
                  <a:pt x="53" y="98"/>
                </a:lnTo>
                <a:lnTo>
                  <a:pt x="57" y="113"/>
                </a:lnTo>
                <a:lnTo>
                  <a:pt x="48" y="120"/>
                </a:lnTo>
                <a:lnTo>
                  <a:pt x="46" y="139"/>
                </a:lnTo>
                <a:lnTo>
                  <a:pt x="64" y="162"/>
                </a:lnTo>
                <a:lnTo>
                  <a:pt x="90" y="174"/>
                </a:lnTo>
                <a:lnTo>
                  <a:pt x="103" y="193"/>
                </a:lnTo>
                <a:lnTo>
                  <a:pt x="102" y="210"/>
                </a:lnTo>
                <a:lnTo>
                  <a:pt x="109" y="210"/>
                </a:lnTo>
                <a:lnTo>
                  <a:pt x="111" y="223"/>
                </a:lnTo>
                <a:lnTo>
                  <a:pt x="123" y="235"/>
                </a:lnTo>
                <a:lnTo>
                  <a:pt x="129" y="225"/>
                </a:lnTo>
                <a:lnTo>
                  <a:pt x="143" y="234"/>
                </a:lnTo>
                <a:lnTo>
                  <a:pt x="154" y="230"/>
                </a:lnTo>
                <a:lnTo>
                  <a:pt x="172" y="261"/>
                </a:lnTo>
                <a:lnTo>
                  <a:pt x="189" y="284"/>
                </a:lnTo>
                <a:lnTo>
                  <a:pt x="210" y="291"/>
                </a:lnTo>
                <a:lnTo>
                  <a:pt x="232" y="309"/>
                </a:lnTo>
                <a:lnTo>
                  <a:pt x="258" y="317"/>
                </a:lnTo>
                <a:lnTo>
                  <a:pt x="277" y="305"/>
                </a:lnTo>
                <a:lnTo>
                  <a:pt x="292" y="301"/>
                </a:lnTo>
                <a:lnTo>
                  <a:pt x="302" y="305"/>
                </a:lnTo>
                <a:lnTo>
                  <a:pt x="314" y="335"/>
                </a:lnTo>
                <a:lnTo>
                  <a:pt x="338" y="338"/>
                </a:lnTo>
                <a:lnTo>
                  <a:pt x="361" y="343"/>
                </a:lnTo>
                <a:lnTo>
                  <a:pt x="400" y="350"/>
                </a:lnTo>
                <a:lnTo>
                  <a:pt x="404" y="323"/>
                </a:lnTo>
                <a:lnTo>
                  <a:pt x="432" y="310"/>
                </a:lnTo>
                <a:lnTo>
                  <a:pt x="428" y="299"/>
                </a:lnTo>
                <a:lnTo>
                  <a:pt x="419" y="296"/>
                </a:lnTo>
                <a:lnTo>
                  <a:pt x="415" y="274"/>
                </a:lnTo>
                <a:lnTo>
                  <a:pt x="394" y="264"/>
                </a:lnTo>
                <a:lnTo>
                  <a:pt x="383" y="250"/>
                </a:lnTo>
                <a:lnTo>
                  <a:pt x="371" y="238"/>
                </a:lnTo>
                <a:lnTo>
                  <a:pt x="386" y="215"/>
                </a:lnTo>
                <a:lnTo>
                  <a:pt x="382" y="200"/>
                </a:lnTo>
                <a:lnTo>
                  <a:pt x="366" y="197"/>
                </a:lnTo>
                <a:lnTo>
                  <a:pt x="362" y="182"/>
                </a:lnTo>
                <a:lnTo>
                  <a:pt x="352" y="163"/>
                </a:lnTo>
                <a:lnTo>
                  <a:pt x="357" y="150"/>
                </a:lnTo>
                <a:lnTo>
                  <a:pt x="348" y="146"/>
                </a:lnTo>
                <a:lnTo>
                  <a:pt x="350" y="128"/>
                </a:lnTo>
                <a:lnTo>
                  <a:pt x="352" y="99"/>
                </a:lnTo>
                <a:lnTo>
                  <a:pt x="346" y="78"/>
                </a:lnTo>
                <a:lnTo>
                  <a:pt x="331" y="77"/>
                </a:lnTo>
                <a:lnTo>
                  <a:pt x="304" y="57"/>
                </a:lnTo>
                <a:lnTo>
                  <a:pt x="288" y="54"/>
                </a:lnTo>
                <a:lnTo>
                  <a:pt x="264" y="42"/>
                </a:lnTo>
                <a:lnTo>
                  <a:pt x="250" y="39"/>
                </a:lnTo>
                <a:lnTo>
                  <a:pt x="241" y="43"/>
                </a:lnTo>
                <a:lnTo>
                  <a:pt x="228" y="42"/>
                </a:lnTo>
                <a:lnTo>
                  <a:pt x="217" y="57"/>
                </a:lnTo>
                <a:lnTo>
                  <a:pt x="201" y="61"/>
                </a:lnTo>
                <a:lnTo>
                  <a:pt x="200" y="67"/>
                </a:lnTo>
                <a:lnTo>
                  <a:pt x="171" y="73"/>
                </a:lnTo>
                <a:lnTo>
                  <a:pt x="143" y="70"/>
                </a:lnTo>
                <a:lnTo>
                  <a:pt x="127" y="57"/>
                </a:lnTo>
                <a:lnTo>
                  <a:pt x="107" y="52"/>
                </a:lnTo>
                <a:lnTo>
                  <a:pt x="98" y="34"/>
                </a:lnTo>
                <a:lnTo>
                  <a:pt x="93" y="35"/>
                </a:lnTo>
                <a:lnTo>
                  <a:pt x="79" y="23"/>
                </a:lnTo>
                <a:lnTo>
                  <a:pt x="83" y="11"/>
                </a:lnTo>
                <a:lnTo>
                  <a:pt x="76" y="4"/>
                </a:lnTo>
                <a:lnTo>
                  <a:pt x="69" y="6"/>
                </a:lnTo>
                <a:lnTo>
                  <a:pt x="49" y="23"/>
                </a:lnTo>
                <a:lnTo>
                  <a:pt x="43" y="24"/>
                </a:lnTo>
                <a:lnTo>
                  <a:pt x="29" y="21"/>
                </a:lnTo>
                <a:lnTo>
                  <a:pt x="29" y="2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87" name="Irak">
            <a:extLst>
              <a:ext uri="{FF2B5EF4-FFF2-40B4-BE49-F238E27FC236}">
                <a16:creationId xmlns:a16="http://schemas.microsoft.com/office/drawing/2014/main" id="{5BF3AC1D-D6A3-4371-837C-7CA2BAA51396}"/>
              </a:ext>
            </a:extLst>
          </p:cNvPr>
          <p:cNvSpPr>
            <a:spLocks/>
          </p:cNvSpPr>
          <p:nvPr/>
        </p:nvSpPr>
        <p:spPr bwMode="auto">
          <a:xfrm>
            <a:off x="6514922" y="2827909"/>
            <a:ext cx="350450" cy="335140"/>
          </a:xfrm>
          <a:custGeom>
            <a:avLst/>
            <a:gdLst>
              <a:gd name="T0" fmla="*/ 88 w 206"/>
              <a:gd name="T1" fmla="*/ 3 h 197"/>
              <a:gd name="T2" fmla="*/ 65 w 206"/>
              <a:gd name="T3" fmla="*/ 0 h 197"/>
              <a:gd name="T4" fmla="*/ 57 w 206"/>
              <a:gd name="T5" fmla="*/ 3 h 197"/>
              <a:gd name="T6" fmla="*/ 50 w 206"/>
              <a:gd name="T7" fmla="*/ 18 h 197"/>
              <a:gd name="T8" fmla="*/ 40 w 206"/>
              <a:gd name="T9" fmla="*/ 25 h 197"/>
              <a:gd name="T10" fmla="*/ 44 w 206"/>
              <a:gd name="T11" fmla="*/ 42 h 197"/>
              <a:gd name="T12" fmla="*/ 41 w 206"/>
              <a:gd name="T13" fmla="*/ 71 h 197"/>
              <a:gd name="T14" fmla="*/ 0 w 206"/>
              <a:gd name="T15" fmla="*/ 97 h 197"/>
              <a:gd name="T16" fmla="*/ 11 w 206"/>
              <a:gd name="T17" fmla="*/ 125 h 197"/>
              <a:gd name="T18" fmla="*/ 36 w 206"/>
              <a:gd name="T19" fmla="*/ 131 h 197"/>
              <a:gd name="T20" fmla="*/ 68 w 206"/>
              <a:gd name="T21" fmla="*/ 148 h 197"/>
              <a:gd name="T22" fmla="*/ 130 w 206"/>
              <a:gd name="T23" fmla="*/ 196 h 197"/>
              <a:gd name="T24" fmla="*/ 169 w 206"/>
              <a:gd name="T25" fmla="*/ 197 h 197"/>
              <a:gd name="T26" fmla="*/ 181 w 206"/>
              <a:gd name="T27" fmla="*/ 175 h 197"/>
              <a:gd name="T28" fmla="*/ 194 w 206"/>
              <a:gd name="T29" fmla="*/ 177 h 197"/>
              <a:gd name="T30" fmla="*/ 206 w 206"/>
              <a:gd name="T31" fmla="*/ 178 h 197"/>
              <a:gd name="T32" fmla="*/ 194 w 206"/>
              <a:gd name="T33" fmla="*/ 166 h 197"/>
              <a:gd name="T34" fmla="*/ 192 w 206"/>
              <a:gd name="T35" fmla="*/ 153 h 197"/>
              <a:gd name="T36" fmla="*/ 185 w 206"/>
              <a:gd name="T37" fmla="*/ 153 h 197"/>
              <a:gd name="T38" fmla="*/ 186 w 206"/>
              <a:gd name="T39" fmla="*/ 136 h 197"/>
              <a:gd name="T40" fmla="*/ 173 w 206"/>
              <a:gd name="T41" fmla="*/ 117 h 197"/>
              <a:gd name="T42" fmla="*/ 147 w 206"/>
              <a:gd name="T43" fmla="*/ 105 h 197"/>
              <a:gd name="T44" fmla="*/ 129 w 206"/>
              <a:gd name="T45" fmla="*/ 82 h 197"/>
              <a:gd name="T46" fmla="*/ 131 w 206"/>
              <a:gd name="T47" fmla="*/ 63 h 197"/>
              <a:gd name="T48" fmla="*/ 140 w 206"/>
              <a:gd name="T49" fmla="*/ 56 h 197"/>
              <a:gd name="T50" fmla="*/ 136 w 206"/>
              <a:gd name="T51" fmla="*/ 41 h 197"/>
              <a:gd name="T52" fmla="*/ 123 w 206"/>
              <a:gd name="T53" fmla="*/ 34 h 197"/>
              <a:gd name="T54" fmla="*/ 105 w 206"/>
              <a:gd name="T55" fmla="*/ 5 h 197"/>
              <a:gd name="T56" fmla="*/ 105 w 206"/>
              <a:gd name="T57" fmla="*/ 5 h 197"/>
              <a:gd name="T58" fmla="*/ 97 w 206"/>
              <a:gd name="T59" fmla="*/ 9 h 197"/>
              <a:gd name="T60" fmla="*/ 88 w 206"/>
              <a:gd name="T61" fmla="*/ 3 h 197"/>
              <a:gd name="T62" fmla="*/ 88 w 206"/>
              <a:gd name="T63" fmla="*/ 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6" h="197">
                <a:moveTo>
                  <a:pt x="88" y="3"/>
                </a:moveTo>
                <a:lnTo>
                  <a:pt x="65" y="0"/>
                </a:lnTo>
                <a:lnTo>
                  <a:pt x="57" y="3"/>
                </a:lnTo>
                <a:lnTo>
                  <a:pt x="50" y="18"/>
                </a:lnTo>
                <a:lnTo>
                  <a:pt x="40" y="25"/>
                </a:lnTo>
                <a:lnTo>
                  <a:pt x="44" y="42"/>
                </a:lnTo>
                <a:lnTo>
                  <a:pt x="41" y="71"/>
                </a:lnTo>
                <a:lnTo>
                  <a:pt x="0" y="97"/>
                </a:lnTo>
                <a:lnTo>
                  <a:pt x="11" y="125"/>
                </a:lnTo>
                <a:lnTo>
                  <a:pt x="36" y="131"/>
                </a:lnTo>
                <a:lnTo>
                  <a:pt x="68" y="148"/>
                </a:lnTo>
                <a:lnTo>
                  <a:pt x="130" y="196"/>
                </a:lnTo>
                <a:lnTo>
                  <a:pt x="169" y="197"/>
                </a:lnTo>
                <a:lnTo>
                  <a:pt x="181" y="175"/>
                </a:lnTo>
                <a:lnTo>
                  <a:pt x="194" y="177"/>
                </a:lnTo>
                <a:lnTo>
                  <a:pt x="206" y="178"/>
                </a:lnTo>
                <a:lnTo>
                  <a:pt x="194" y="166"/>
                </a:lnTo>
                <a:lnTo>
                  <a:pt x="192" y="153"/>
                </a:lnTo>
                <a:lnTo>
                  <a:pt x="185" y="153"/>
                </a:lnTo>
                <a:lnTo>
                  <a:pt x="186" y="136"/>
                </a:lnTo>
                <a:lnTo>
                  <a:pt x="173" y="117"/>
                </a:lnTo>
                <a:lnTo>
                  <a:pt x="147" y="105"/>
                </a:lnTo>
                <a:lnTo>
                  <a:pt x="129" y="82"/>
                </a:lnTo>
                <a:lnTo>
                  <a:pt x="131" y="63"/>
                </a:lnTo>
                <a:lnTo>
                  <a:pt x="140" y="56"/>
                </a:lnTo>
                <a:lnTo>
                  <a:pt x="136" y="41"/>
                </a:lnTo>
                <a:lnTo>
                  <a:pt x="123" y="34"/>
                </a:lnTo>
                <a:lnTo>
                  <a:pt x="105" y="5"/>
                </a:lnTo>
                <a:lnTo>
                  <a:pt x="105" y="5"/>
                </a:lnTo>
                <a:lnTo>
                  <a:pt x="97" y="9"/>
                </a:lnTo>
                <a:lnTo>
                  <a:pt x="88" y="3"/>
                </a:lnTo>
                <a:lnTo>
                  <a:pt x="88" y="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88" name="Iceland">
            <a:extLst>
              <a:ext uri="{FF2B5EF4-FFF2-40B4-BE49-F238E27FC236}">
                <a16:creationId xmlns:a16="http://schemas.microsoft.com/office/drawing/2014/main" id="{24CEC730-408C-443D-B72F-747CADF10733}"/>
              </a:ext>
            </a:extLst>
          </p:cNvPr>
          <p:cNvSpPr>
            <a:spLocks/>
          </p:cNvSpPr>
          <p:nvPr/>
        </p:nvSpPr>
        <p:spPr bwMode="auto">
          <a:xfrm>
            <a:off x="4544916" y="1710211"/>
            <a:ext cx="287504" cy="107177"/>
          </a:xfrm>
          <a:custGeom>
            <a:avLst/>
            <a:gdLst>
              <a:gd name="T0" fmla="*/ 158 w 169"/>
              <a:gd name="T1" fmla="*/ 1 h 63"/>
              <a:gd name="T2" fmla="*/ 131 w 169"/>
              <a:gd name="T3" fmla="*/ 0 h 63"/>
              <a:gd name="T4" fmla="*/ 104 w 169"/>
              <a:gd name="T5" fmla="*/ 10 h 63"/>
              <a:gd name="T6" fmla="*/ 86 w 169"/>
              <a:gd name="T7" fmla="*/ 5 h 63"/>
              <a:gd name="T8" fmla="*/ 60 w 169"/>
              <a:gd name="T9" fmla="*/ 16 h 63"/>
              <a:gd name="T10" fmla="*/ 37 w 169"/>
              <a:gd name="T11" fmla="*/ 2 h 63"/>
              <a:gd name="T12" fmla="*/ 13 w 169"/>
              <a:gd name="T13" fmla="*/ 5 h 63"/>
              <a:gd name="T14" fmla="*/ 0 w 169"/>
              <a:gd name="T15" fmla="*/ 19 h 63"/>
              <a:gd name="T16" fmla="*/ 33 w 169"/>
              <a:gd name="T17" fmla="*/ 23 h 63"/>
              <a:gd name="T18" fmla="*/ 32 w 169"/>
              <a:gd name="T19" fmla="*/ 30 h 63"/>
              <a:gd name="T20" fmla="*/ 3 w 169"/>
              <a:gd name="T21" fmla="*/ 34 h 63"/>
              <a:gd name="T22" fmla="*/ 35 w 169"/>
              <a:gd name="T23" fmla="*/ 44 h 63"/>
              <a:gd name="T24" fmla="*/ 19 w 169"/>
              <a:gd name="T25" fmla="*/ 53 h 63"/>
              <a:gd name="T26" fmla="*/ 62 w 169"/>
              <a:gd name="T27" fmla="*/ 60 h 63"/>
              <a:gd name="T28" fmla="*/ 83 w 169"/>
              <a:gd name="T29" fmla="*/ 63 h 63"/>
              <a:gd name="T30" fmla="*/ 98 w 169"/>
              <a:gd name="T31" fmla="*/ 59 h 63"/>
              <a:gd name="T32" fmla="*/ 145 w 169"/>
              <a:gd name="T33" fmla="*/ 45 h 63"/>
              <a:gd name="T34" fmla="*/ 169 w 169"/>
              <a:gd name="T35" fmla="*/ 29 h 63"/>
              <a:gd name="T36" fmla="*/ 152 w 169"/>
              <a:gd name="T37" fmla="*/ 15 h 63"/>
              <a:gd name="T38" fmla="*/ 158 w 169"/>
              <a:gd name="T39" fmla="*/ 1 h 63"/>
              <a:gd name="T40" fmla="*/ 158 w 169"/>
              <a:gd name="T41" fmla="*/ 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63">
                <a:moveTo>
                  <a:pt x="158" y="1"/>
                </a:moveTo>
                <a:lnTo>
                  <a:pt x="131" y="0"/>
                </a:lnTo>
                <a:lnTo>
                  <a:pt x="104" y="10"/>
                </a:lnTo>
                <a:lnTo>
                  <a:pt x="86" y="5"/>
                </a:lnTo>
                <a:lnTo>
                  <a:pt x="60" y="16"/>
                </a:lnTo>
                <a:lnTo>
                  <a:pt x="37" y="2"/>
                </a:lnTo>
                <a:lnTo>
                  <a:pt x="13" y="5"/>
                </a:lnTo>
                <a:lnTo>
                  <a:pt x="0" y="19"/>
                </a:lnTo>
                <a:lnTo>
                  <a:pt x="33" y="23"/>
                </a:lnTo>
                <a:lnTo>
                  <a:pt x="32" y="30"/>
                </a:lnTo>
                <a:lnTo>
                  <a:pt x="3" y="34"/>
                </a:lnTo>
                <a:lnTo>
                  <a:pt x="35" y="44"/>
                </a:lnTo>
                <a:lnTo>
                  <a:pt x="19" y="53"/>
                </a:lnTo>
                <a:lnTo>
                  <a:pt x="62" y="60"/>
                </a:lnTo>
                <a:lnTo>
                  <a:pt x="83" y="63"/>
                </a:lnTo>
                <a:lnTo>
                  <a:pt x="98" y="59"/>
                </a:lnTo>
                <a:lnTo>
                  <a:pt x="145" y="45"/>
                </a:lnTo>
                <a:lnTo>
                  <a:pt x="169" y="29"/>
                </a:lnTo>
                <a:lnTo>
                  <a:pt x="152" y="15"/>
                </a:lnTo>
                <a:lnTo>
                  <a:pt x="158" y="1"/>
                </a:lnTo>
                <a:lnTo>
                  <a:pt x="158"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89" name="Israel">
            <a:extLst>
              <a:ext uri="{FF2B5EF4-FFF2-40B4-BE49-F238E27FC236}">
                <a16:creationId xmlns:a16="http://schemas.microsoft.com/office/drawing/2014/main" id="{334CE6D7-EAC2-4841-B0E4-CBA907F26AAE}"/>
              </a:ext>
            </a:extLst>
          </p:cNvPr>
          <p:cNvSpPr>
            <a:spLocks/>
          </p:cNvSpPr>
          <p:nvPr/>
        </p:nvSpPr>
        <p:spPr bwMode="auto">
          <a:xfrm>
            <a:off x="6370320" y="2994628"/>
            <a:ext cx="45932" cy="153109"/>
          </a:xfrm>
          <a:custGeom>
            <a:avLst/>
            <a:gdLst>
              <a:gd name="T0" fmla="*/ 26 w 27"/>
              <a:gd name="T1" fmla="*/ 0 h 90"/>
              <a:gd name="T2" fmla="*/ 21 w 27"/>
              <a:gd name="T3" fmla="*/ 0 h 90"/>
              <a:gd name="T4" fmla="*/ 19 w 27"/>
              <a:gd name="T5" fmla="*/ 5 h 90"/>
              <a:gd name="T6" fmla="*/ 13 w 27"/>
              <a:gd name="T7" fmla="*/ 5 h 90"/>
              <a:gd name="T8" fmla="*/ 12 w 27"/>
              <a:gd name="T9" fmla="*/ 5 h 90"/>
              <a:gd name="T10" fmla="*/ 10 w 27"/>
              <a:gd name="T11" fmla="*/ 12 h 90"/>
              <a:gd name="T12" fmla="*/ 8 w 27"/>
              <a:gd name="T13" fmla="*/ 29 h 90"/>
              <a:gd name="T14" fmla="*/ 3 w 27"/>
              <a:gd name="T15" fmla="*/ 40 h 90"/>
              <a:gd name="T16" fmla="*/ 5 w 27"/>
              <a:gd name="T17" fmla="*/ 42 h 90"/>
              <a:gd name="T18" fmla="*/ 0 w 27"/>
              <a:gd name="T19" fmla="*/ 49 h 90"/>
              <a:gd name="T20" fmla="*/ 0 w 27"/>
              <a:gd name="T21" fmla="*/ 49 h 90"/>
              <a:gd name="T22" fmla="*/ 15 w 27"/>
              <a:gd name="T23" fmla="*/ 84 h 90"/>
              <a:gd name="T24" fmla="*/ 17 w 27"/>
              <a:gd name="T25" fmla="*/ 90 h 90"/>
              <a:gd name="T26" fmla="*/ 23 w 27"/>
              <a:gd name="T27" fmla="*/ 52 h 90"/>
              <a:gd name="T28" fmla="*/ 22 w 27"/>
              <a:gd name="T29" fmla="*/ 43 h 90"/>
              <a:gd name="T30" fmla="*/ 13 w 27"/>
              <a:gd name="T31" fmla="*/ 46 h 90"/>
              <a:gd name="T32" fmla="*/ 14 w 27"/>
              <a:gd name="T33" fmla="*/ 40 h 90"/>
              <a:gd name="T34" fmla="*/ 17 w 27"/>
              <a:gd name="T35" fmla="*/ 37 h 90"/>
              <a:gd name="T36" fmla="*/ 13 w 27"/>
              <a:gd name="T37" fmla="*/ 34 h 90"/>
              <a:gd name="T38" fmla="*/ 15 w 27"/>
              <a:gd name="T39" fmla="*/ 18 h 90"/>
              <a:gd name="T40" fmla="*/ 23 w 27"/>
              <a:gd name="T41" fmla="*/ 21 h 90"/>
              <a:gd name="T42" fmla="*/ 25 w 27"/>
              <a:gd name="T43" fmla="*/ 14 h 90"/>
              <a:gd name="T44" fmla="*/ 25 w 27"/>
              <a:gd name="T45" fmla="*/ 14 h 90"/>
              <a:gd name="T46" fmla="*/ 27 w 27"/>
              <a:gd name="T47" fmla="*/ 10 h 90"/>
              <a:gd name="T48" fmla="*/ 26 w 27"/>
              <a:gd name="T49" fmla="*/ 0 h 90"/>
              <a:gd name="T50" fmla="*/ 26 w 27"/>
              <a:gd name="T5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90">
                <a:moveTo>
                  <a:pt x="26" y="0"/>
                </a:moveTo>
                <a:lnTo>
                  <a:pt x="21" y="0"/>
                </a:lnTo>
                <a:lnTo>
                  <a:pt x="19" y="5"/>
                </a:lnTo>
                <a:lnTo>
                  <a:pt x="13" y="5"/>
                </a:lnTo>
                <a:lnTo>
                  <a:pt x="12" y="5"/>
                </a:lnTo>
                <a:lnTo>
                  <a:pt x="10" y="12"/>
                </a:lnTo>
                <a:lnTo>
                  <a:pt x="8" y="29"/>
                </a:lnTo>
                <a:lnTo>
                  <a:pt x="3" y="40"/>
                </a:lnTo>
                <a:lnTo>
                  <a:pt x="5" y="42"/>
                </a:lnTo>
                <a:lnTo>
                  <a:pt x="0" y="49"/>
                </a:lnTo>
                <a:lnTo>
                  <a:pt x="0" y="49"/>
                </a:lnTo>
                <a:lnTo>
                  <a:pt x="15" y="84"/>
                </a:lnTo>
                <a:lnTo>
                  <a:pt x="17" y="90"/>
                </a:lnTo>
                <a:lnTo>
                  <a:pt x="23" y="52"/>
                </a:lnTo>
                <a:lnTo>
                  <a:pt x="22" y="43"/>
                </a:lnTo>
                <a:lnTo>
                  <a:pt x="13" y="46"/>
                </a:lnTo>
                <a:lnTo>
                  <a:pt x="14" y="40"/>
                </a:lnTo>
                <a:lnTo>
                  <a:pt x="17" y="37"/>
                </a:lnTo>
                <a:lnTo>
                  <a:pt x="13" y="34"/>
                </a:lnTo>
                <a:lnTo>
                  <a:pt x="15" y="18"/>
                </a:lnTo>
                <a:lnTo>
                  <a:pt x="23" y="21"/>
                </a:lnTo>
                <a:lnTo>
                  <a:pt x="25" y="14"/>
                </a:lnTo>
                <a:lnTo>
                  <a:pt x="25" y="14"/>
                </a:lnTo>
                <a:lnTo>
                  <a:pt x="27" y="10"/>
                </a:lnTo>
                <a:lnTo>
                  <a:pt x="26" y="0"/>
                </a:lnTo>
                <a:lnTo>
                  <a:pt x="26"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90" name="Italy">
            <a:extLst>
              <a:ext uri="{FF2B5EF4-FFF2-40B4-BE49-F238E27FC236}">
                <a16:creationId xmlns:a16="http://schemas.microsoft.com/office/drawing/2014/main" id="{578AEA15-467A-4401-BD11-69B3E08C355F}"/>
              </a:ext>
            </a:extLst>
          </p:cNvPr>
          <p:cNvSpPr>
            <a:spLocks noEditPoints="1"/>
          </p:cNvSpPr>
          <p:nvPr/>
        </p:nvSpPr>
        <p:spPr bwMode="auto">
          <a:xfrm>
            <a:off x="5415938" y="2441733"/>
            <a:ext cx="391279" cy="416798"/>
          </a:xfrm>
          <a:custGeom>
            <a:avLst/>
            <a:gdLst>
              <a:gd name="T0" fmla="*/ 161 w 230"/>
              <a:gd name="T1" fmla="*/ 208 h 245"/>
              <a:gd name="T2" fmla="*/ 119 w 230"/>
              <a:gd name="T3" fmla="*/ 209 h 245"/>
              <a:gd name="T4" fmla="*/ 144 w 230"/>
              <a:gd name="T5" fmla="*/ 234 h 245"/>
              <a:gd name="T6" fmla="*/ 170 w 230"/>
              <a:gd name="T7" fmla="*/ 245 h 245"/>
              <a:gd name="T8" fmla="*/ 170 w 230"/>
              <a:gd name="T9" fmla="*/ 226 h 245"/>
              <a:gd name="T10" fmla="*/ 50 w 230"/>
              <a:gd name="T11" fmla="*/ 136 h 245"/>
              <a:gd name="T12" fmla="*/ 30 w 230"/>
              <a:gd name="T13" fmla="*/ 142 h 245"/>
              <a:gd name="T14" fmla="*/ 37 w 230"/>
              <a:gd name="T15" fmla="*/ 184 h 245"/>
              <a:gd name="T16" fmla="*/ 52 w 230"/>
              <a:gd name="T17" fmla="*/ 182 h 245"/>
              <a:gd name="T18" fmla="*/ 63 w 230"/>
              <a:gd name="T19" fmla="*/ 152 h 245"/>
              <a:gd name="T20" fmla="*/ 50 w 230"/>
              <a:gd name="T21" fmla="*/ 136 h 245"/>
              <a:gd name="T22" fmla="*/ 98 w 230"/>
              <a:gd name="T23" fmla="*/ 0 h 245"/>
              <a:gd name="T24" fmla="*/ 79 w 230"/>
              <a:gd name="T25" fmla="*/ 8 h 245"/>
              <a:gd name="T26" fmla="*/ 67 w 230"/>
              <a:gd name="T27" fmla="*/ 14 h 245"/>
              <a:gd name="T28" fmla="*/ 44 w 230"/>
              <a:gd name="T29" fmla="*/ 15 h 245"/>
              <a:gd name="T30" fmla="*/ 32 w 230"/>
              <a:gd name="T31" fmla="*/ 25 h 245"/>
              <a:gd name="T32" fmla="*/ 18 w 230"/>
              <a:gd name="T33" fmla="*/ 29 h 245"/>
              <a:gd name="T34" fmla="*/ 1 w 230"/>
              <a:gd name="T35" fmla="*/ 26 h 245"/>
              <a:gd name="T36" fmla="*/ 7 w 230"/>
              <a:gd name="T37" fmla="*/ 41 h 245"/>
              <a:gd name="T38" fmla="*/ 6 w 230"/>
              <a:gd name="T39" fmla="*/ 66 h 245"/>
              <a:gd name="T40" fmla="*/ 14 w 230"/>
              <a:gd name="T41" fmla="*/ 79 h 245"/>
              <a:gd name="T42" fmla="*/ 32 w 230"/>
              <a:gd name="T43" fmla="*/ 66 h 245"/>
              <a:gd name="T44" fmla="*/ 56 w 230"/>
              <a:gd name="T45" fmla="*/ 71 h 245"/>
              <a:gd name="T46" fmla="*/ 73 w 230"/>
              <a:gd name="T47" fmla="*/ 96 h 245"/>
              <a:gd name="T48" fmla="*/ 105 w 230"/>
              <a:gd name="T49" fmla="*/ 124 h 245"/>
              <a:gd name="T50" fmla="*/ 136 w 230"/>
              <a:gd name="T51" fmla="*/ 136 h 245"/>
              <a:gd name="T52" fmla="*/ 156 w 230"/>
              <a:gd name="T53" fmla="*/ 150 h 245"/>
              <a:gd name="T54" fmla="*/ 171 w 230"/>
              <a:gd name="T55" fmla="*/ 163 h 245"/>
              <a:gd name="T56" fmla="*/ 186 w 230"/>
              <a:gd name="T57" fmla="*/ 189 h 245"/>
              <a:gd name="T58" fmla="*/ 180 w 230"/>
              <a:gd name="T59" fmla="*/ 207 h 245"/>
              <a:gd name="T60" fmla="*/ 188 w 230"/>
              <a:gd name="T61" fmla="*/ 212 h 245"/>
              <a:gd name="T62" fmla="*/ 205 w 230"/>
              <a:gd name="T63" fmla="*/ 190 h 245"/>
              <a:gd name="T64" fmla="*/ 192 w 230"/>
              <a:gd name="T65" fmla="*/ 169 h 245"/>
              <a:gd name="T66" fmla="*/ 216 w 230"/>
              <a:gd name="T67" fmla="*/ 157 h 245"/>
              <a:gd name="T68" fmla="*/ 230 w 230"/>
              <a:gd name="T69" fmla="*/ 160 h 245"/>
              <a:gd name="T70" fmla="*/ 210 w 230"/>
              <a:gd name="T71" fmla="*/ 143 h 245"/>
              <a:gd name="T72" fmla="*/ 178 w 230"/>
              <a:gd name="T73" fmla="*/ 128 h 245"/>
              <a:gd name="T74" fmla="*/ 178 w 230"/>
              <a:gd name="T75" fmla="*/ 118 h 245"/>
              <a:gd name="T76" fmla="*/ 140 w 230"/>
              <a:gd name="T77" fmla="*/ 100 h 245"/>
              <a:gd name="T78" fmla="*/ 112 w 230"/>
              <a:gd name="T79" fmla="*/ 70 h 245"/>
              <a:gd name="T80" fmla="*/ 106 w 230"/>
              <a:gd name="T81" fmla="*/ 51 h 245"/>
              <a:gd name="T82" fmla="*/ 119 w 230"/>
              <a:gd name="T83" fmla="*/ 31 h 245"/>
              <a:gd name="T84" fmla="*/ 129 w 230"/>
              <a:gd name="T85" fmla="*/ 25 h 245"/>
              <a:gd name="T86" fmla="*/ 104 w 230"/>
              <a:gd name="T87" fmla="*/ 8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 h="245">
                <a:moveTo>
                  <a:pt x="176" y="206"/>
                </a:moveTo>
                <a:lnTo>
                  <a:pt x="161" y="208"/>
                </a:lnTo>
                <a:lnTo>
                  <a:pt x="141" y="211"/>
                </a:lnTo>
                <a:lnTo>
                  <a:pt x="119" y="209"/>
                </a:lnTo>
                <a:lnTo>
                  <a:pt x="116" y="221"/>
                </a:lnTo>
                <a:lnTo>
                  <a:pt x="144" y="234"/>
                </a:lnTo>
                <a:lnTo>
                  <a:pt x="154" y="236"/>
                </a:lnTo>
                <a:lnTo>
                  <a:pt x="170" y="245"/>
                </a:lnTo>
                <a:lnTo>
                  <a:pt x="173" y="233"/>
                </a:lnTo>
                <a:lnTo>
                  <a:pt x="170" y="226"/>
                </a:lnTo>
                <a:lnTo>
                  <a:pt x="176" y="206"/>
                </a:lnTo>
                <a:close/>
                <a:moveTo>
                  <a:pt x="50" y="136"/>
                </a:moveTo>
                <a:lnTo>
                  <a:pt x="41" y="142"/>
                </a:lnTo>
                <a:lnTo>
                  <a:pt x="30" y="142"/>
                </a:lnTo>
                <a:lnTo>
                  <a:pt x="35" y="156"/>
                </a:lnTo>
                <a:lnTo>
                  <a:pt x="37" y="184"/>
                </a:lnTo>
                <a:lnTo>
                  <a:pt x="44" y="190"/>
                </a:lnTo>
                <a:lnTo>
                  <a:pt x="52" y="182"/>
                </a:lnTo>
                <a:lnTo>
                  <a:pt x="61" y="184"/>
                </a:lnTo>
                <a:lnTo>
                  <a:pt x="63" y="152"/>
                </a:lnTo>
                <a:lnTo>
                  <a:pt x="50" y="136"/>
                </a:lnTo>
                <a:lnTo>
                  <a:pt x="50" y="136"/>
                </a:lnTo>
                <a:close/>
                <a:moveTo>
                  <a:pt x="104" y="8"/>
                </a:moveTo>
                <a:lnTo>
                  <a:pt x="98" y="0"/>
                </a:lnTo>
                <a:lnTo>
                  <a:pt x="81" y="3"/>
                </a:lnTo>
                <a:lnTo>
                  <a:pt x="79" y="8"/>
                </a:lnTo>
                <a:lnTo>
                  <a:pt x="68" y="4"/>
                </a:lnTo>
                <a:lnTo>
                  <a:pt x="67" y="14"/>
                </a:lnTo>
                <a:lnTo>
                  <a:pt x="58" y="18"/>
                </a:lnTo>
                <a:lnTo>
                  <a:pt x="44" y="15"/>
                </a:lnTo>
                <a:lnTo>
                  <a:pt x="41" y="25"/>
                </a:lnTo>
                <a:lnTo>
                  <a:pt x="32" y="25"/>
                </a:lnTo>
                <a:lnTo>
                  <a:pt x="28" y="21"/>
                </a:lnTo>
                <a:lnTo>
                  <a:pt x="18" y="29"/>
                </a:lnTo>
                <a:lnTo>
                  <a:pt x="10" y="30"/>
                </a:lnTo>
                <a:lnTo>
                  <a:pt x="1" y="26"/>
                </a:lnTo>
                <a:lnTo>
                  <a:pt x="0" y="32"/>
                </a:lnTo>
                <a:lnTo>
                  <a:pt x="7" y="41"/>
                </a:lnTo>
                <a:lnTo>
                  <a:pt x="0" y="47"/>
                </a:lnTo>
                <a:lnTo>
                  <a:pt x="6" y="66"/>
                </a:lnTo>
                <a:lnTo>
                  <a:pt x="16" y="69"/>
                </a:lnTo>
                <a:lnTo>
                  <a:pt x="14" y="79"/>
                </a:lnTo>
                <a:lnTo>
                  <a:pt x="22" y="77"/>
                </a:lnTo>
                <a:lnTo>
                  <a:pt x="32" y="66"/>
                </a:lnTo>
                <a:lnTo>
                  <a:pt x="41" y="63"/>
                </a:lnTo>
                <a:lnTo>
                  <a:pt x="56" y="71"/>
                </a:lnTo>
                <a:lnTo>
                  <a:pt x="67" y="73"/>
                </a:lnTo>
                <a:lnTo>
                  <a:pt x="73" y="96"/>
                </a:lnTo>
                <a:lnTo>
                  <a:pt x="87" y="109"/>
                </a:lnTo>
                <a:lnTo>
                  <a:pt x="105" y="124"/>
                </a:lnTo>
                <a:lnTo>
                  <a:pt x="121" y="135"/>
                </a:lnTo>
                <a:lnTo>
                  <a:pt x="136" y="136"/>
                </a:lnTo>
                <a:lnTo>
                  <a:pt x="144" y="145"/>
                </a:lnTo>
                <a:lnTo>
                  <a:pt x="156" y="150"/>
                </a:lnTo>
                <a:lnTo>
                  <a:pt x="163" y="160"/>
                </a:lnTo>
                <a:lnTo>
                  <a:pt x="171" y="163"/>
                </a:lnTo>
                <a:lnTo>
                  <a:pt x="178" y="175"/>
                </a:lnTo>
                <a:lnTo>
                  <a:pt x="186" y="189"/>
                </a:lnTo>
                <a:lnTo>
                  <a:pt x="182" y="194"/>
                </a:lnTo>
                <a:lnTo>
                  <a:pt x="180" y="207"/>
                </a:lnTo>
                <a:lnTo>
                  <a:pt x="180" y="214"/>
                </a:lnTo>
                <a:lnTo>
                  <a:pt x="188" y="212"/>
                </a:lnTo>
                <a:lnTo>
                  <a:pt x="197" y="191"/>
                </a:lnTo>
                <a:lnTo>
                  <a:pt x="205" y="190"/>
                </a:lnTo>
                <a:lnTo>
                  <a:pt x="207" y="178"/>
                </a:lnTo>
                <a:lnTo>
                  <a:pt x="192" y="169"/>
                </a:lnTo>
                <a:lnTo>
                  <a:pt x="199" y="154"/>
                </a:lnTo>
                <a:lnTo>
                  <a:pt x="216" y="157"/>
                </a:lnTo>
                <a:lnTo>
                  <a:pt x="227" y="169"/>
                </a:lnTo>
                <a:lnTo>
                  <a:pt x="230" y="160"/>
                </a:lnTo>
                <a:lnTo>
                  <a:pt x="228" y="156"/>
                </a:lnTo>
                <a:lnTo>
                  <a:pt x="210" y="143"/>
                </a:lnTo>
                <a:lnTo>
                  <a:pt x="196" y="137"/>
                </a:lnTo>
                <a:lnTo>
                  <a:pt x="178" y="128"/>
                </a:lnTo>
                <a:lnTo>
                  <a:pt x="183" y="124"/>
                </a:lnTo>
                <a:lnTo>
                  <a:pt x="178" y="118"/>
                </a:lnTo>
                <a:lnTo>
                  <a:pt x="163" y="118"/>
                </a:lnTo>
                <a:lnTo>
                  <a:pt x="140" y="100"/>
                </a:lnTo>
                <a:lnTo>
                  <a:pt x="130" y="81"/>
                </a:lnTo>
                <a:lnTo>
                  <a:pt x="112" y="70"/>
                </a:lnTo>
                <a:lnTo>
                  <a:pt x="104" y="58"/>
                </a:lnTo>
                <a:lnTo>
                  <a:pt x="106" y="51"/>
                </a:lnTo>
                <a:lnTo>
                  <a:pt x="105" y="40"/>
                </a:lnTo>
                <a:lnTo>
                  <a:pt x="119" y="31"/>
                </a:lnTo>
                <a:lnTo>
                  <a:pt x="135" y="35"/>
                </a:lnTo>
                <a:lnTo>
                  <a:pt x="129" y="25"/>
                </a:lnTo>
                <a:lnTo>
                  <a:pt x="130" y="14"/>
                </a:lnTo>
                <a:lnTo>
                  <a:pt x="104" y="8"/>
                </a:lnTo>
                <a:lnTo>
                  <a:pt x="104" y="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91" name="Jamaica">
            <a:extLst>
              <a:ext uri="{FF2B5EF4-FFF2-40B4-BE49-F238E27FC236}">
                <a16:creationId xmlns:a16="http://schemas.microsoft.com/office/drawing/2014/main" id="{C350238F-60B0-4A33-9F5C-B5E5B29F17A1}"/>
              </a:ext>
            </a:extLst>
          </p:cNvPr>
          <p:cNvSpPr>
            <a:spLocks/>
          </p:cNvSpPr>
          <p:nvPr/>
        </p:nvSpPr>
        <p:spPr bwMode="auto">
          <a:xfrm>
            <a:off x="2445617" y="3591754"/>
            <a:ext cx="71451" cy="32324"/>
          </a:xfrm>
          <a:custGeom>
            <a:avLst/>
            <a:gdLst>
              <a:gd name="T0" fmla="*/ 28 w 42"/>
              <a:gd name="T1" fmla="*/ 15 h 19"/>
              <a:gd name="T2" fmla="*/ 42 w 42"/>
              <a:gd name="T3" fmla="*/ 15 h 19"/>
              <a:gd name="T4" fmla="*/ 40 w 42"/>
              <a:gd name="T5" fmla="*/ 8 h 19"/>
              <a:gd name="T6" fmla="*/ 29 w 42"/>
              <a:gd name="T7" fmla="*/ 2 h 19"/>
              <a:gd name="T8" fmla="*/ 16 w 42"/>
              <a:gd name="T9" fmla="*/ 1 h 19"/>
              <a:gd name="T10" fmla="*/ 12 w 42"/>
              <a:gd name="T11" fmla="*/ 0 h 19"/>
              <a:gd name="T12" fmla="*/ 2 w 42"/>
              <a:gd name="T13" fmla="*/ 1 h 19"/>
              <a:gd name="T14" fmla="*/ 0 w 42"/>
              <a:gd name="T15" fmla="*/ 7 h 19"/>
              <a:gd name="T16" fmla="*/ 11 w 42"/>
              <a:gd name="T17" fmla="*/ 15 h 19"/>
              <a:gd name="T18" fmla="*/ 22 w 42"/>
              <a:gd name="T19" fmla="*/ 19 h 19"/>
              <a:gd name="T20" fmla="*/ 28 w 42"/>
              <a:gd name="T21" fmla="*/ 15 h 19"/>
              <a:gd name="T22" fmla="*/ 28 w 42"/>
              <a:gd name="T23"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19">
                <a:moveTo>
                  <a:pt x="28" y="15"/>
                </a:moveTo>
                <a:lnTo>
                  <a:pt x="42" y="15"/>
                </a:lnTo>
                <a:lnTo>
                  <a:pt x="40" y="8"/>
                </a:lnTo>
                <a:lnTo>
                  <a:pt x="29" y="2"/>
                </a:lnTo>
                <a:lnTo>
                  <a:pt x="16" y="1"/>
                </a:lnTo>
                <a:lnTo>
                  <a:pt x="12" y="0"/>
                </a:lnTo>
                <a:lnTo>
                  <a:pt x="2" y="1"/>
                </a:lnTo>
                <a:lnTo>
                  <a:pt x="0" y="7"/>
                </a:lnTo>
                <a:lnTo>
                  <a:pt x="11" y="15"/>
                </a:lnTo>
                <a:lnTo>
                  <a:pt x="22" y="19"/>
                </a:lnTo>
                <a:lnTo>
                  <a:pt x="28" y="15"/>
                </a:lnTo>
                <a:lnTo>
                  <a:pt x="28" y="1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92" name="Jordan">
            <a:extLst>
              <a:ext uri="{FF2B5EF4-FFF2-40B4-BE49-F238E27FC236}">
                <a16:creationId xmlns:a16="http://schemas.microsoft.com/office/drawing/2014/main" id="{2B482D27-A87F-4ABF-B012-CA924E86F080}"/>
              </a:ext>
            </a:extLst>
          </p:cNvPr>
          <p:cNvSpPr>
            <a:spLocks/>
          </p:cNvSpPr>
          <p:nvPr/>
        </p:nvSpPr>
        <p:spPr bwMode="auto">
          <a:xfrm>
            <a:off x="6399239" y="2992927"/>
            <a:ext cx="134395" cy="168421"/>
          </a:xfrm>
          <a:custGeom>
            <a:avLst/>
            <a:gdLst>
              <a:gd name="T0" fmla="*/ 79 w 79"/>
              <a:gd name="T1" fmla="*/ 28 h 99"/>
              <a:gd name="T2" fmla="*/ 68 w 79"/>
              <a:gd name="T3" fmla="*/ 0 h 99"/>
              <a:gd name="T4" fmla="*/ 32 w 79"/>
              <a:gd name="T5" fmla="*/ 24 h 99"/>
              <a:gd name="T6" fmla="*/ 8 w 79"/>
              <a:gd name="T7" fmla="*/ 15 h 99"/>
              <a:gd name="T8" fmla="*/ 6 w 79"/>
              <a:gd name="T9" fmla="*/ 22 h 99"/>
              <a:gd name="T10" fmla="*/ 7 w 79"/>
              <a:gd name="T11" fmla="*/ 37 h 99"/>
              <a:gd name="T12" fmla="*/ 5 w 79"/>
              <a:gd name="T13" fmla="*/ 44 h 99"/>
              <a:gd name="T14" fmla="*/ 6 w 79"/>
              <a:gd name="T15" fmla="*/ 53 h 99"/>
              <a:gd name="T16" fmla="*/ 0 w 79"/>
              <a:gd name="T17" fmla="*/ 91 h 99"/>
              <a:gd name="T18" fmla="*/ 1 w 79"/>
              <a:gd name="T19" fmla="*/ 95 h 99"/>
              <a:gd name="T20" fmla="*/ 24 w 79"/>
              <a:gd name="T21" fmla="*/ 99 h 99"/>
              <a:gd name="T22" fmla="*/ 32 w 79"/>
              <a:gd name="T23" fmla="*/ 91 h 99"/>
              <a:gd name="T24" fmla="*/ 36 w 79"/>
              <a:gd name="T25" fmla="*/ 82 h 99"/>
              <a:gd name="T26" fmla="*/ 51 w 79"/>
              <a:gd name="T27" fmla="*/ 79 h 99"/>
              <a:gd name="T28" fmla="*/ 54 w 79"/>
              <a:gd name="T29" fmla="*/ 71 h 99"/>
              <a:gd name="T30" fmla="*/ 60 w 79"/>
              <a:gd name="T31" fmla="*/ 67 h 99"/>
              <a:gd name="T32" fmla="*/ 37 w 79"/>
              <a:gd name="T33" fmla="*/ 43 h 99"/>
              <a:gd name="T34" fmla="*/ 76 w 79"/>
              <a:gd name="T35" fmla="*/ 31 h 99"/>
              <a:gd name="T36" fmla="*/ 79 w 79"/>
              <a:gd name="T37" fmla="*/ 28 h 99"/>
              <a:gd name="T38" fmla="*/ 79 w 79"/>
              <a:gd name="T39" fmla="*/ 2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9" h="99">
                <a:moveTo>
                  <a:pt x="79" y="28"/>
                </a:moveTo>
                <a:lnTo>
                  <a:pt x="68" y="0"/>
                </a:lnTo>
                <a:lnTo>
                  <a:pt x="32" y="24"/>
                </a:lnTo>
                <a:lnTo>
                  <a:pt x="8" y="15"/>
                </a:lnTo>
                <a:lnTo>
                  <a:pt x="6" y="22"/>
                </a:lnTo>
                <a:lnTo>
                  <a:pt x="7" y="37"/>
                </a:lnTo>
                <a:lnTo>
                  <a:pt x="5" y="44"/>
                </a:lnTo>
                <a:lnTo>
                  <a:pt x="6" y="53"/>
                </a:lnTo>
                <a:lnTo>
                  <a:pt x="0" y="91"/>
                </a:lnTo>
                <a:lnTo>
                  <a:pt x="1" y="95"/>
                </a:lnTo>
                <a:lnTo>
                  <a:pt x="24" y="99"/>
                </a:lnTo>
                <a:lnTo>
                  <a:pt x="32" y="91"/>
                </a:lnTo>
                <a:lnTo>
                  <a:pt x="36" y="82"/>
                </a:lnTo>
                <a:lnTo>
                  <a:pt x="51" y="79"/>
                </a:lnTo>
                <a:lnTo>
                  <a:pt x="54" y="71"/>
                </a:lnTo>
                <a:lnTo>
                  <a:pt x="60" y="67"/>
                </a:lnTo>
                <a:lnTo>
                  <a:pt x="37" y="43"/>
                </a:lnTo>
                <a:lnTo>
                  <a:pt x="76" y="31"/>
                </a:lnTo>
                <a:lnTo>
                  <a:pt x="79" y="28"/>
                </a:lnTo>
                <a:lnTo>
                  <a:pt x="79" y="2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93" name="Japan">
            <a:extLst>
              <a:ext uri="{FF2B5EF4-FFF2-40B4-BE49-F238E27FC236}">
                <a16:creationId xmlns:a16="http://schemas.microsoft.com/office/drawing/2014/main" id="{4B352F0B-2305-40E7-B21A-9E5C892616DA}"/>
              </a:ext>
            </a:extLst>
          </p:cNvPr>
          <p:cNvSpPr>
            <a:spLocks noEditPoints="1"/>
          </p:cNvSpPr>
          <p:nvPr/>
        </p:nvSpPr>
        <p:spPr bwMode="auto">
          <a:xfrm>
            <a:off x="9585616" y="2502978"/>
            <a:ext cx="336842" cy="583517"/>
          </a:xfrm>
          <a:custGeom>
            <a:avLst/>
            <a:gdLst>
              <a:gd name="T0" fmla="*/ 79 w 198"/>
              <a:gd name="T1" fmla="*/ 263 h 343"/>
              <a:gd name="T2" fmla="*/ 62 w 198"/>
              <a:gd name="T3" fmla="*/ 271 h 343"/>
              <a:gd name="T4" fmla="*/ 62 w 198"/>
              <a:gd name="T5" fmla="*/ 296 h 343"/>
              <a:gd name="T6" fmla="*/ 77 w 198"/>
              <a:gd name="T7" fmla="*/ 289 h 343"/>
              <a:gd name="T8" fmla="*/ 96 w 198"/>
              <a:gd name="T9" fmla="*/ 291 h 343"/>
              <a:gd name="T10" fmla="*/ 96 w 198"/>
              <a:gd name="T11" fmla="*/ 269 h 343"/>
              <a:gd name="T12" fmla="*/ 187 w 198"/>
              <a:gd name="T13" fmla="*/ 196 h 343"/>
              <a:gd name="T14" fmla="*/ 178 w 198"/>
              <a:gd name="T15" fmla="*/ 148 h 343"/>
              <a:gd name="T16" fmla="*/ 138 w 198"/>
              <a:gd name="T17" fmla="*/ 95 h 343"/>
              <a:gd name="T18" fmla="*/ 120 w 198"/>
              <a:gd name="T19" fmla="*/ 115 h 343"/>
              <a:gd name="T20" fmla="*/ 143 w 198"/>
              <a:gd name="T21" fmla="*/ 171 h 343"/>
              <a:gd name="T22" fmla="*/ 120 w 198"/>
              <a:gd name="T23" fmla="*/ 205 h 343"/>
              <a:gd name="T24" fmla="*/ 101 w 198"/>
              <a:gd name="T25" fmla="*/ 235 h 343"/>
              <a:gd name="T26" fmla="*/ 41 w 198"/>
              <a:gd name="T27" fmla="*/ 238 h 343"/>
              <a:gd name="T28" fmla="*/ 20 w 198"/>
              <a:gd name="T29" fmla="*/ 267 h 343"/>
              <a:gd name="T30" fmla="*/ 0 w 198"/>
              <a:gd name="T31" fmla="*/ 289 h 343"/>
              <a:gd name="T32" fmla="*/ 30 w 198"/>
              <a:gd name="T33" fmla="*/ 312 h 343"/>
              <a:gd name="T34" fmla="*/ 47 w 198"/>
              <a:gd name="T35" fmla="*/ 343 h 343"/>
              <a:gd name="T36" fmla="*/ 53 w 198"/>
              <a:gd name="T37" fmla="*/ 292 h 343"/>
              <a:gd name="T38" fmla="*/ 49 w 198"/>
              <a:gd name="T39" fmla="*/ 275 h 343"/>
              <a:gd name="T40" fmla="*/ 99 w 198"/>
              <a:gd name="T41" fmla="*/ 258 h 343"/>
              <a:gd name="T42" fmla="*/ 125 w 198"/>
              <a:gd name="T43" fmla="*/ 285 h 343"/>
              <a:gd name="T44" fmla="*/ 176 w 198"/>
              <a:gd name="T45" fmla="*/ 256 h 343"/>
              <a:gd name="T46" fmla="*/ 198 w 198"/>
              <a:gd name="T47" fmla="*/ 228 h 343"/>
              <a:gd name="T48" fmla="*/ 187 w 198"/>
              <a:gd name="T49" fmla="*/ 196 h 343"/>
              <a:gd name="T50" fmla="*/ 142 w 198"/>
              <a:gd name="T51" fmla="*/ 32 h 343"/>
              <a:gd name="T52" fmla="*/ 84 w 198"/>
              <a:gd name="T53" fmla="*/ 0 h 343"/>
              <a:gd name="T54" fmla="*/ 107 w 198"/>
              <a:gd name="T55" fmla="*/ 50 h 343"/>
              <a:gd name="T56" fmla="*/ 90 w 198"/>
              <a:gd name="T57" fmla="*/ 68 h 343"/>
              <a:gd name="T58" fmla="*/ 128 w 198"/>
              <a:gd name="T59" fmla="*/ 92 h 343"/>
              <a:gd name="T60" fmla="*/ 163 w 198"/>
              <a:gd name="T61" fmla="*/ 81 h 343"/>
              <a:gd name="T62" fmla="*/ 188 w 198"/>
              <a:gd name="T63" fmla="*/ 52 h 343"/>
              <a:gd name="T64" fmla="*/ 159 w 198"/>
              <a:gd name="T65" fmla="*/ 36 h 343"/>
              <a:gd name="T66" fmla="*/ 142 w 198"/>
              <a:gd name="T67" fmla="*/ 3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8" h="343">
                <a:moveTo>
                  <a:pt x="96" y="269"/>
                </a:moveTo>
                <a:lnTo>
                  <a:pt x="79" y="263"/>
                </a:lnTo>
                <a:lnTo>
                  <a:pt x="75" y="274"/>
                </a:lnTo>
                <a:lnTo>
                  <a:pt x="62" y="271"/>
                </a:lnTo>
                <a:lnTo>
                  <a:pt x="57" y="285"/>
                </a:lnTo>
                <a:lnTo>
                  <a:pt x="62" y="296"/>
                </a:lnTo>
                <a:lnTo>
                  <a:pt x="78" y="303"/>
                </a:lnTo>
                <a:lnTo>
                  <a:pt x="77" y="289"/>
                </a:lnTo>
                <a:lnTo>
                  <a:pt x="85" y="284"/>
                </a:lnTo>
                <a:lnTo>
                  <a:pt x="96" y="291"/>
                </a:lnTo>
                <a:lnTo>
                  <a:pt x="101" y="276"/>
                </a:lnTo>
                <a:lnTo>
                  <a:pt x="96" y="269"/>
                </a:lnTo>
                <a:lnTo>
                  <a:pt x="96" y="269"/>
                </a:lnTo>
                <a:close/>
                <a:moveTo>
                  <a:pt x="187" y="196"/>
                </a:moveTo>
                <a:lnTo>
                  <a:pt x="173" y="172"/>
                </a:lnTo>
                <a:lnTo>
                  <a:pt x="178" y="148"/>
                </a:lnTo>
                <a:lnTo>
                  <a:pt x="167" y="128"/>
                </a:lnTo>
                <a:lnTo>
                  <a:pt x="138" y="95"/>
                </a:lnTo>
                <a:lnTo>
                  <a:pt x="120" y="100"/>
                </a:lnTo>
                <a:lnTo>
                  <a:pt x="120" y="115"/>
                </a:lnTo>
                <a:lnTo>
                  <a:pt x="139" y="141"/>
                </a:lnTo>
                <a:lnTo>
                  <a:pt x="143" y="171"/>
                </a:lnTo>
                <a:lnTo>
                  <a:pt x="137" y="180"/>
                </a:lnTo>
                <a:lnTo>
                  <a:pt x="120" y="205"/>
                </a:lnTo>
                <a:lnTo>
                  <a:pt x="101" y="192"/>
                </a:lnTo>
                <a:lnTo>
                  <a:pt x="101" y="235"/>
                </a:lnTo>
                <a:lnTo>
                  <a:pt x="78" y="231"/>
                </a:lnTo>
                <a:lnTo>
                  <a:pt x="41" y="238"/>
                </a:lnTo>
                <a:lnTo>
                  <a:pt x="35" y="254"/>
                </a:lnTo>
                <a:lnTo>
                  <a:pt x="20" y="267"/>
                </a:lnTo>
                <a:lnTo>
                  <a:pt x="16" y="282"/>
                </a:lnTo>
                <a:lnTo>
                  <a:pt x="0" y="289"/>
                </a:lnTo>
                <a:lnTo>
                  <a:pt x="15" y="305"/>
                </a:lnTo>
                <a:lnTo>
                  <a:pt x="30" y="312"/>
                </a:lnTo>
                <a:lnTo>
                  <a:pt x="34" y="333"/>
                </a:lnTo>
                <a:lnTo>
                  <a:pt x="47" y="343"/>
                </a:lnTo>
                <a:lnTo>
                  <a:pt x="56" y="332"/>
                </a:lnTo>
                <a:lnTo>
                  <a:pt x="53" y="292"/>
                </a:lnTo>
                <a:lnTo>
                  <a:pt x="25" y="275"/>
                </a:lnTo>
                <a:lnTo>
                  <a:pt x="49" y="275"/>
                </a:lnTo>
                <a:lnTo>
                  <a:pt x="67" y="263"/>
                </a:lnTo>
                <a:lnTo>
                  <a:pt x="99" y="258"/>
                </a:lnTo>
                <a:lnTo>
                  <a:pt x="109" y="276"/>
                </a:lnTo>
                <a:lnTo>
                  <a:pt x="125" y="285"/>
                </a:lnTo>
                <a:lnTo>
                  <a:pt x="142" y="258"/>
                </a:lnTo>
                <a:lnTo>
                  <a:pt x="176" y="256"/>
                </a:lnTo>
                <a:lnTo>
                  <a:pt x="196" y="245"/>
                </a:lnTo>
                <a:lnTo>
                  <a:pt x="198" y="228"/>
                </a:lnTo>
                <a:lnTo>
                  <a:pt x="189" y="216"/>
                </a:lnTo>
                <a:lnTo>
                  <a:pt x="187" y="196"/>
                </a:lnTo>
                <a:lnTo>
                  <a:pt x="187" y="196"/>
                </a:lnTo>
                <a:close/>
                <a:moveTo>
                  <a:pt x="142" y="32"/>
                </a:moveTo>
                <a:lnTo>
                  <a:pt x="123" y="23"/>
                </a:lnTo>
                <a:lnTo>
                  <a:pt x="84" y="0"/>
                </a:lnTo>
                <a:lnTo>
                  <a:pt x="91" y="18"/>
                </a:lnTo>
                <a:lnTo>
                  <a:pt x="107" y="50"/>
                </a:lnTo>
                <a:lnTo>
                  <a:pt x="88" y="50"/>
                </a:lnTo>
                <a:lnTo>
                  <a:pt x="90" y="68"/>
                </a:lnTo>
                <a:lnTo>
                  <a:pt x="107" y="92"/>
                </a:lnTo>
                <a:lnTo>
                  <a:pt x="128" y="92"/>
                </a:lnTo>
                <a:lnTo>
                  <a:pt x="123" y="65"/>
                </a:lnTo>
                <a:lnTo>
                  <a:pt x="163" y="81"/>
                </a:lnTo>
                <a:lnTo>
                  <a:pt x="165" y="59"/>
                </a:lnTo>
                <a:lnTo>
                  <a:pt x="188" y="52"/>
                </a:lnTo>
                <a:lnTo>
                  <a:pt x="166" y="26"/>
                </a:lnTo>
                <a:lnTo>
                  <a:pt x="159" y="36"/>
                </a:lnTo>
                <a:lnTo>
                  <a:pt x="142" y="32"/>
                </a:lnTo>
                <a:lnTo>
                  <a:pt x="142" y="3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94" name="Kazakhstan">
            <a:extLst>
              <a:ext uri="{FF2B5EF4-FFF2-40B4-BE49-F238E27FC236}">
                <a16:creationId xmlns:a16="http://schemas.microsoft.com/office/drawing/2014/main" id="{E8E433A4-63C4-4412-BACD-DBACCD8EDC49}"/>
              </a:ext>
            </a:extLst>
          </p:cNvPr>
          <p:cNvSpPr>
            <a:spLocks/>
          </p:cNvSpPr>
          <p:nvPr/>
        </p:nvSpPr>
        <p:spPr bwMode="auto">
          <a:xfrm>
            <a:off x="6656123" y="2118503"/>
            <a:ext cx="1265704" cy="575011"/>
          </a:xfrm>
          <a:custGeom>
            <a:avLst/>
            <a:gdLst>
              <a:gd name="T0" fmla="*/ 351 w 744"/>
              <a:gd name="T1" fmla="*/ 0 h 338"/>
              <a:gd name="T2" fmla="*/ 299 w 744"/>
              <a:gd name="T3" fmla="*/ 18 h 338"/>
              <a:gd name="T4" fmla="*/ 230 w 744"/>
              <a:gd name="T5" fmla="*/ 31 h 338"/>
              <a:gd name="T6" fmla="*/ 243 w 744"/>
              <a:gd name="T7" fmla="*/ 54 h 338"/>
              <a:gd name="T8" fmla="*/ 234 w 744"/>
              <a:gd name="T9" fmla="*/ 66 h 338"/>
              <a:gd name="T10" fmla="*/ 256 w 744"/>
              <a:gd name="T11" fmla="*/ 93 h 338"/>
              <a:gd name="T12" fmla="*/ 229 w 744"/>
              <a:gd name="T13" fmla="*/ 103 h 338"/>
              <a:gd name="T14" fmla="*/ 199 w 744"/>
              <a:gd name="T15" fmla="*/ 98 h 338"/>
              <a:gd name="T16" fmla="*/ 155 w 744"/>
              <a:gd name="T17" fmla="*/ 108 h 338"/>
              <a:gd name="T18" fmla="*/ 86 w 744"/>
              <a:gd name="T19" fmla="*/ 83 h 338"/>
              <a:gd name="T20" fmla="*/ 28 w 744"/>
              <a:gd name="T21" fmla="*/ 108 h 338"/>
              <a:gd name="T22" fmla="*/ 8 w 744"/>
              <a:gd name="T23" fmla="*/ 112 h 338"/>
              <a:gd name="T24" fmla="*/ 6 w 744"/>
              <a:gd name="T25" fmla="*/ 142 h 338"/>
              <a:gd name="T26" fmla="*/ 19 w 744"/>
              <a:gd name="T27" fmla="*/ 176 h 338"/>
              <a:gd name="T28" fmla="*/ 49 w 744"/>
              <a:gd name="T29" fmla="*/ 191 h 338"/>
              <a:gd name="T30" fmla="*/ 60 w 744"/>
              <a:gd name="T31" fmla="*/ 205 h 338"/>
              <a:gd name="T32" fmla="*/ 95 w 744"/>
              <a:gd name="T33" fmla="*/ 191 h 338"/>
              <a:gd name="T34" fmla="*/ 131 w 744"/>
              <a:gd name="T35" fmla="*/ 195 h 338"/>
              <a:gd name="T36" fmla="*/ 141 w 744"/>
              <a:gd name="T37" fmla="*/ 233 h 338"/>
              <a:gd name="T38" fmla="*/ 108 w 744"/>
              <a:gd name="T39" fmla="*/ 233 h 338"/>
              <a:gd name="T40" fmla="*/ 93 w 744"/>
              <a:gd name="T41" fmla="*/ 248 h 338"/>
              <a:gd name="T42" fmla="*/ 107 w 744"/>
              <a:gd name="T43" fmla="*/ 261 h 338"/>
              <a:gd name="T44" fmla="*/ 144 w 744"/>
              <a:gd name="T45" fmla="*/ 290 h 338"/>
              <a:gd name="T46" fmla="*/ 148 w 744"/>
              <a:gd name="T47" fmla="*/ 306 h 338"/>
              <a:gd name="T48" fmla="*/ 157 w 744"/>
              <a:gd name="T49" fmla="*/ 304 h 338"/>
              <a:gd name="T50" fmla="*/ 192 w 744"/>
              <a:gd name="T51" fmla="*/ 306 h 338"/>
              <a:gd name="T52" fmla="*/ 219 w 744"/>
              <a:gd name="T53" fmla="*/ 323 h 338"/>
              <a:gd name="T54" fmla="*/ 241 w 744"/>
              <a:gd name="T55" fmla="*/ 225 h 338"/>
              <a:gd name="T56" fmla="*/ 279 w 744"/>
              <a:gd name="T57" fmla="*/ 244 h 338"/>
              <a:gd name="T58" fmla="*/ 321 w 744"/>
              <a:gd name="T59" fmla="*/ 273 h 338"/>
              <a:gd name="T60" fmla="*/ 374 w 744"/>
              <a:gd name="T61" fmla="*/ 267 h 338"/>
              <a:gd name="T62" fmla="*/ 408 w 744"/>
              <a:gd name="T63" fmla="*/ 307 h 338"/>
              <a:gd name="T64" fmla="*/ 427 w 744"/>
              <a:gd name="T65" fmla="*/ 327 h 338"/>
              <a:gd name="T66" fmla="*/ 460 w 744"/>
              <a:gd name="T67" fmla="*/ 338 h 338"/>
              <a:gd name="T68" fmla="*/ 471 w 744"/>
              <a:gd name="T69" fmla="*/ 321 h 338"/>
              <a:gd name="T70" fmla="*/ 500 w 744"/>
              <a:gd name="T71" fmla="*/ 301 h 338"/>
              <a:gd name="T72" fmla="*/ 513 w 744"/>
              <a:gd name="T73" fmla="*/ 288 h 338"/>
              <a:gd name="T74" fmla="*/ 545 w 744"/>
              <a:gd name="T75" fmla="*/ 282 h 338"/>
              <a:gd name="T76" fmla="*/ 585 w 744"/>
              <a:gd name="T77" fmla="*/ 288 h 338"/>
              <a:gd name="T78" fmla="*/ 622 w 744"/>
              <a:gd name="T79" fmla="*/ 286 h 338"/>
              <a:gd name="T80" fmla="*/ 664 w 744"/>
              <a:gd name="T81" fmla="*/ 296 h 338"/>
              <a:gd name="T82" fmla="*/ 671 w 744"/>
              <a:gd name="T83" fmla="*/ 286 h 338"/>
              <a:gd name="T84" fmla="*/ 649 w 744"/>
              <a:gd name="T85" fmla="*/ 240 h 338"/>
              <a:gd name="T86" fmla="*/ 691 w 744"/>
              <a:gd name="T87" fmla="*/ 226 h 338"/>
              <a:gd name="T88" fmla="*/ 727 w 744"/>
              <a:gd name="T89" fmla="*/ 192 h 338"/>
              <a:gd name="T90" fmla="*/ 723 w 744"/>
              <a:gd name="T91" fmla="*/ 159 h 338"/>
              <a:gd name="T92" fmla="*/ 744 w 744"/>
              <a:gd name="T93" fmla="*/ 140 h 338"/>
              <a:gd name="T94" fmla="*/ 706 w 744"/>
              <a:gd name="T95" fmla="*/ 130 h 338"/>
              <a:gd name="T96" fmla="*/ 678 w 744"/>
              <a:gd name="T97" fmla="*/ 116 h 338"/>
              <a:gd name="T98" fmla="*/ 651 w 744"/>
              <a:gd name="T99" fmla="*/ 98 h 338"/>
              <a:gd name="T100" fmla="*/ 597 w 744"/>
              <a:gd name="T101" fmla="*/ 91 h 338"/>
              <a:gd name="T102" fmla="*/ 525 w 744"/>
              <a:gd name="T103" fmla="*/ 45 h 338"/>
              <a:gd name="T104" fmla="*/ 497 w 744"/>
              <a:gd name="T105" fmla="*/ 21 h 338"/>
              <a:gd name="T106" fmla="*/ 447 w 744"/>
              <a:gd name="T107" fmla="*/ 43 h 338"/>
              <a:gd name="T108" fmla="*/ 417 w 744"/>
              <a:gd name="T109" fmla="*/ 22 h 338"/>
              <a:gd name="T110" fmla="*/ 384 w 744"/>
              <a:gd name="T111" fmla="*/ 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44" h="338">
                <a:moveTo>
                  <a:pt x="384" y="5"/>
                </a:moveTo>
                <a:lnTo>
                  <a:pt x="351" y="0"/>
                </a:lnTo>
                <a:lnTo>
                  <a:pt x="340" y="9"/>
                </a:lnTo>
                <a:lnTo>
                  <a:pt x="299" y="18"/>
                </a:lnTo>
                <a:lnTo>
                  <a:pt x="293" y="23"/>
                </a:lnTo>
                <a:lnTo>
                  <a:pt x="230" y="31"/>
                </a:lnTo>
                <a:lnTo>
                  <a:pt x="225" y="39"/>
                </a:lnTo>
                <a:lnTo>
                  <a:pt x="243" y="54"/>
                </a:lnTo>
                <a:lnTo>
                  <a:pt x="228" y="60"/>
                </a:lnTo>
                <a:lnTo>
                  <a:pt x="234" y="66"/>
                </a:lnTo>
                <a:lnTo>
                  <a:pt x="221" y="78"/>
                </a:lnTo>
                <a:lnTo>
                  <a:pt x="256" y="93"/>
                </a:lnTo>
                <a:lnTo>
                  <a:pt x="255" y="105"/>
                </a:lnTo>
                <a:lnTo>
                  <a:pt x="229" y="103"/>
                </a:lnTo>
                <a:lnTo>
                  <a:pt x="227" y="110"/>
                </a:lnTo>
                <a:lnTo>
                  <a:pt x="199" y="98"/>
                </a:lnTo>
                <a:lnTo>
                  <a:pt x="171" y="99"/>
                </a:lnTo>
                <a:lnTo>
                  <a:pt x="155" y="108"/>
                </a:lnTo>
                <a:lnTo>
                  <a:pt x="130" y="99"/>
                </a:lnTo>
                <a:lnTo>
                  <a:pt x="86" y="83"/>
                </a:lnTo>
                <a:lnTo>
                  <a:pt x="58" y="84"/>
                </a:lnTo>
                <a:lnTo>
                  <a:pt x="28" y="108"/>
                </a:lnTo>
                <a:lnTo>
                  <a:pt x="30" y="125"/>
                </a:lnTo>
                <a:lnTo>
                  <a:pt x="8" y="112"/>
                </a:lnTo>
                <a:lnTo>
                  <a:pt x="0" y="137"/>
                </a:lnTo>
                <a:lnTo>
                  <a:pt x="6" y="142"/>
                </a:lnTo>
                <a:lnTo>
                  <a:pt x="0" y="160"/>
                </a:lnTo>
                <a:lnTo>
                  <a:pt x="19" y="176"/>
                </a:lnTo>
                <a:lnTo>
                  <a:pt x="33" y="175"/>
                </a:lnTo>
                <a:lnTo>
                  <a:pt x="49" y="191"/>
                </a:lnTo>
                <a:lnTo>
                  <a:pt x="49" y="202"/>
                </a:lnTo>
                <a:lnTo>
                  <a:pt x="60" y="205"/>
                </a:lnTo>
                <a:lnTo>
                  <a:pt x="76" y="201"/>
                </a:lnTo>
                <a:lnTo>
                  <a:pt x="95" y="191"/>
                </a:lnTo>
                <a:lnTo>
                  <a:pt x="113" y="196"/>
                </a:lnTo>
                <a:lnTo>
                  <a:pt x="131" y="195"/>
                </a:lnTo>
                <a:lnTo>
                  <a:pt x="138" y="210"/>
                </a:lnTo>
                <a:lnTo>
                  <a:pt x="141" y="233"/>
                </a:lnTo>
                <a:lnTo>
                  <a:pt x="123" y="229"/>
                </a:lnTo>
                <a:lnTo>
                  <a:pt x="108" y="233"/>
                </a:lnTo>
                <a:lnTo>
                  <a:pt x="112" y="249"/>
                </a:lnTo>
                <a:lnTo>
                  <a:pt x="93" y="248"/>
                </a:lnTo>
                <a:lnTo>
                  <a:pt x="95" y="255"/>
                </a:lnTo>
                <a:lnTo>
                  <a:pt x="107" y="261"/>
                </a:lnTo>
                <a:lnTo>
                  <a:pt x="121" y="281"/>
                </a:lnTo>
                <a:lnTo>
                  <a:pt x="144" y="290"/>
                </a:lnTo>
                <a:lnTo>
                  <a:pt x="150" y="297"/>
                </a:lnTo>
                <a:lnTo>
                  <a:pt x="148" y="306"/>
                </a:lnTo>
                <a:lnTo>
                  <a:pt x="150" y="312"/>
                </a:lnTo>
                <a:lnTo>
                  <a:pt x="157" y="304"/>
                </a:lnTo>
                <a:lnTo>
                  <a:pt x="178" y="300"/>
                </a:lnTo>
                <a:lnTo>
                  <a:pt x="192" y="306"/>
                </a:lnTo>
                <a:lnTo>
                  <a:pt x="210" y="325"/>
                </a:lnTo>
                <a:lnTo>
                  <a:pt x="219" y="323"/>
                </a:lnTo>
                <a:lnTo>
                  <a:pt x="197" y="238"/>
                </a:lnTo>
                <a:lnTo>
                  <a:pt x="241" y="225"/>
                </a:lnTo>
                <a:lnTo>
                  <a:pt x="245" y="227"/>
                </a:lnTo>
                <a:lnTo>
                  <a:pt x="279" y="244"/>
                </a:lnTo>
                <a:lnTo>
                  <a:pt x="297" y="252"/>
                </a:lnTo>
                <a:lnTo>
                  <a:pt x="321" y="273"/>
                </a:lnTo>
                <a:lnTo>
                  <a:pt x="342" y="269"/>
                </a:lnTo>
                <a:lnTo>
                  <a:pt x="374" y="267"/>
                </a:lnTo>
                <a:lnTo>
                  <a:pt x="402" y="284"/>
                </a:lnTo>
                <a:lnTo>
                  <a:pt x="408" y="307"/>
                </a:lnTo>
                <a:lnTo>
                  <a:pt x="417" y="308"/>
                </a:lnTo>
                <a:lnTo>
                  <a:pt x="427" y="327"/>
                </a:lnTo>
                <a:lnTo>
                  <a:pt x="452" y="327"/>
                </a:lnTo>
                <a:lnTo>
                  <a:pt x="460" y="338"/>
                </a:lnTo>
                <a:lnTo>
                  <a:pt x="467" y="338"/>
                </a:lnTo>
                <a:lnTo>
                  <a:pt x="471" y="321"/>
                </a:lnTo>
                <a:lnTo>
                  <a:pt x="491" y="305"/>
                </a:lnTo>
                <a:lnTo>
                  <a:pt x="500" y="301"/>
                </a:lnTo>
                <a:lnTo>
                  <a:pt x="501" y="291"/>
                </a:lnTo>
                <a:lnTo>
                  <a:pt x="513" y="288"/>
                </a:lnTo>
                <a:lnTo>
                  <a:pt x="547" y="296"/>
                </a:lnTo>
                <a:lnTo>
                  <a:pt x="545" y="282"/>
                </a:lnTo>
                <a:lnTo>
                  <a:pt x="554" y="277"/>
                </a:lnTo>
                <a:lnTo>
                  <a:pt x="585" y="288"/>
                </a:lnTo>
                <a:lnTo>
                  <a:pt x="591" y="285"/>
                </a:lnTo>
                <a:lnTo>
                  <a:pt x="622" y="286"/>
                </a:lnTo>
                <a:lnTo>
                  <a:pt x="652" y="288"/>
                </a:lnTo>
                <a:lnTo>
                  <a:pt x="664" y="296"/>
                </a:lnTo>
                <a:lnTo>
                  <a:pt x="678" y="299"/>
                </a:lnTo>
                <a:lnTo>
                  <a:pt x="671" y="286"/>
                </a:lnTo>
                <a:lnTo>
                  <a:pt x="682" y="280"/>
                </a:lnTo>
                <a:lnTo>
                  <a:pt x="649" y="240"/>
                </a:lnTo>
                <a:lnTo>
                  <a:pt x="683" y="232"/>
                </a:lnTo>
                <a:lnTo>
                  <a:pt x="691" y="226"/>
                </a:lnTo>
                <a:lnTo>
                  <a:pt x="687" y="185"/>
                </a:lnTo>
                <a:lnTo>
                  <a:pt x="727" y="192"/>
                </a:lnTo>
                <a:lnTo>
                  <a:pt x="733" y="181"/>
                </a:lnTo>
                <a:lnTo>
                  <a:pt x="723" y="159"/>
                </a:lnTo>
                <a:lnTo>
                  <a:pt x="737" y="156"/>
                </a:lnTo>
                <a:lnTo>
                  <a:pt x="744" y="140"/>
                </a:lnTo>
                <a:lnTo>
                  <a:pt x="728" y="126"/>
                </a:lnTo>
                <a:lnTo>
                  <a:pt x="706" y="130"/>
                </a:lnTo>
                <a:lnTo>
                  <a:pt x="693" y="120"/>
                </a:lnTo>
                <a:lnTo>
                  <a:pt x="678" y="116"/>
                </a:lnTo>
                <a:lnTo>
                  <a:pt x="664" y="102"/>
                </a:lnTo>
                <a:lnTo>
                  <a:pt x="651" y="98"/>
                </a:lnTo>
                <a:lnTo>
                  <a:pt x="628" y="104"/>
                </a:lnTo>
                <a:lnTo>
                  <a:pt x="597" y="91"/>
                </a:lnTo>
                <a:lnTo>
                  <a:pt x="593" y="103"/>
                </a:lnTo>
                <a:lnTo>
                  <a:pt x="525" y="45"/>
                </a:lnTo>
                <a:lnTo>
                  <a:pt x="495" y="27"/>
                </a:lnTo>
                <a:lnTo>
                  <a:pt x="497" y="21"/>
                </a:lnTo>
                <a:lnTo>
                  <a:pt x="464" y="41"/>
                </a:lnTo>
                <a:lnTo>
                  <a:pt x="447" y="43"/>
                </a:lnTo>
                <a:lnTo>
                  <a:pt x="443" y="31"/>
                </a:lnTo>
                <a:lnTo>
                  <a:pt x="417" y="22"/>
                </a:lnTo>
                <a:lnTo>
                  <a:pt x="400" y="28"/>
                </a:lnTo>
                <a:lnTo>
                  <a:pt x="384" y="5"/>
                </a:lnTo>
                <a:lnTo>
                  <a:pt x="384" y="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95" name="Kenya">
            <a:extLst>
              <a:ext uri="{FF2B5EF4-FFF2-40B4-BE49-F238E27FC236}">
                <a16:creationId xmlns:a16="http://schemas.microsoft.com/office/drawing/2014/main" id="{0151EA92-AED3-45CB-A264-2105439E4BAC}"/>
              </a:ext>
            </a:extLst>
          </p:cNvPr>
          <p:cNvSpPr>
            <a:spLocks/>
          </p:cNvSpPr>
          <p:nvPr/>
        </p:nvSpPr>
        <p:spPr bwMode="auto">
          <a:xfrm>
            <a:off x="6411149" y="4117430"/>
            <a:ext cx="282401" cy="411694"/>
          </a:xfrm>
          <a:custGeom>
            <a:avLst/>
            <a:gdLst>
              <a:gd name="T0" fmla="*/ 166 w 166"/>
              <a:gd name="T1" fmla="*/ 38 h 242"/>
              <a:gd name="T2" fmla="*/ 152 w 166"/>
              <a:gd name="T3" fmla="*/ 38 h 242"/>
              <a:gd name="T4" fmla="*/ 143 w 166"/>
              <a:gd name="T5" fmla="*/ 30 h 242"/>
              <a:gd name="T6" fmla="*/ 124 w 166"/>
              <a:gd name="T7" fmla="*/ 40 h 242"/>
              <a:gd name="T8" fmla="*/ 118 w 166"/>
              <a:gd name="T9" fmla="*/ 50 h 242"/>
              <a:gd name="T10" fmla="*/ 104 w 166"/>
              <a:gd name="T11" fmla="*/ 48 h 242"/>
              <a:gd name="T12" fmla="*/ 100 w 166"/>
              <a:gd name="T13" fmla="*/ 45 h 242"/>
              <a:gd name="T14" fmla="*/ 94 w 166"/>
              <a:gd name="T15" fmla="*/ 45 h 242"/>
              <a:gd name="T16" fmla="*/ 88 w 166"/>
              <a:gd name="T17" fmla="*/ 45 h 242"/>
              <a:gd name="T18" fmla="*/ 61 w 166"/>
              <a:gd name="T19" fmla="*/ 26 h 242"/>
              <a:gd name="T20" fmla="*/ 47 w 166"/>
              <a:gd name="T21" fmla="*/ 26 h 242"/>
              <a:gd name="T22" fmla="*/ 39 w 166"/>
              <a:gd name="T23" fmla="*/ 17 h 242"/>
              <a:gd name="T24" fmla="*/ 39 w 166"/>
              <a:gd name="T25" fmla="*/ 4 h 242"/>
              <a:gd name="T26" fmla="*/ 28 w 166"/>
              <a:gd name="T27" fmla="*/ 0 h 242"/>
              <a:gd name="T28" fmla="*/ 14 w 166"/>
              <a:gd name="T29" fmla="*/ 16 h 242"/>
              <a:gd name="T30" fmla="*/ 1 w 166"/>
              <a:gd name="T31" fmla="*/ 30 h 242"/>
              <a:gd name="T32" fmla="*/ 11 w 166"/>
              <a:gd name="T33" fmla="*/ 46 h 242"/>
              <a:gd name="T34" fmla="*/ 14 w 166"/>
              <a:gd name="T35" fmla="*/ 58 h 242"/>
              <a:gd name="T36" fmla="*/ 23 w 166"/>
              <a:gd name="T37" fmla="*/ 86 h 242"/>
              <a:gd name="T38" fmla="*/ 16 w 166"/>
              <a:gd name="T39" fmla="*/ 103 h 242"/>
              <a:gd name="T40" fmla="*/ 5 w 166"/>
              <a:gd name="T41" fmla="*/ 119 h 242"/>
              <a:gd name="T42" fmla="*/ 0 w 166"/>
              <a:gd name="T43" fmla="*/ 128 h 242"/>
              <a:gd name="T44" fmla="*/ 0 w 166"/>
              <a:gd name="T45" fmla="*/ 129 h 242"/>
              <a:gd name="T46" fmla="*/ 5 w 166"/>
              <a:gd name="T47" fmla="*/ 139 h 242"/>
              <a:gd name="T48" fmla="*/ 4 w 166"/>
              <a:gd name="T49" fmla="*/ 157 h 242"/>
              <a:gd name="T50" fmla="*/ 79 w 166"/>
              <a:gd name="T51" fmla="*/ 205 h 242"/>
              <a:gd name="T52" fmla="*/ 80 w 166"/>
              <a:gd name="T53" fmla="*/ 218 h 242"/>
              <a:gd name="T54" fmla="*/ 110 w 166"/>
              <a:gd name="T55" fmla="*/ 242 h 242"/>
              <a:gd name="T56" fmla="*/ 118 w 166"/>
              <a:gd name="T57" fmla="*/ 234 h 242"/>
              <a:gd name="T58" fmla="*/ 123 w 166"/>
              <a:gd name="T59" fmla="*/ 218 h 242"/>
              <a:gd name="T60" fmla="*/ 130 w 166"/>
              <a:gd name="T61" fmla="*/ 209 h 242"/>
              <a:gd name="T62" fmla="*/ 133 w 166"/>
              <a:gd name="T63" fmla="*/ 192 h 242"/>
              <a:gd name="T64" fmla="*/ 141 w 166"/>
              <a:gd name="T65" fmla="*/ 190 h 242"/>
              <a:gd name="T66" fmla="*/ 146 w 166"/>
              <a:gd name="T67" fmla="*/ 181 h 242"/>
              <a:gd name="T68" fmla="*/ 161 w 166"/>
              <a:gd name="T69" fmla="*/ 171 h 242"/>
              <a:gd name="T70" fmla="*/ 148 w 166"/>
              <a:gd name="T71" fmla="*/ 151 h 242"/>
              <a:gd name="T72" fmla="*/ 148 w 166"/>
              <a:gd name="T73" fmla="*/ 65 h 242"/>
              <a:gd name="T74" fmla="*/ 166 w 166"/>
              <a:gd name="T75" fmla="*/ 38 h 242"/>
              <a:gd name="T76" fmla="*/ 166 w 166"/>
              <a:gd name="T77" fmla="*/ 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6" h="242">
                <a:moveTo>
                  <a:pt x="166" y="38"/>
                </a:moveTo>
                <a:lnTo>
                  <a:pt x="152" y="38"/>
                </a:lnTo>
                <a:lnTo>
                  <a:pt x="143" y="30"/>
                </a:lnTo>
                <a:lnTo>
                  <a:pt x="124" y="40"/>
                </a:lnTo>
                <a:lnTo>
                  <a:pt x="118" y="50"/>
                </a:lnTo>
                <a:lnTo>
                  <a:pt x="104" y="48"/>
                </a:lnTo>
                <a:lnTo>
                  <a:pt x="100" y="45"/>
                </a:lnTo>
                <a:lnTo>
                  <a:pt x="94" y="45"/>
                </a:lnTo>
                <a:lnTo>
                  <a:pt x="88" y="45"/>
                </a:lnTo>
                <a:lnTo>
                  <a:pt x="61" y="26"/>
                </a:lnTo>
                <a:lnTo>
                  <a:pt x="47" y="26"/>
                </a:lnTo>
                <a:lnTo>
                  <a:pt x="39" y="17"/>
                </a:lnTo>
                <a:lnTo>
                  <a:pt x="39" y="4"/>
                </a:lnTo>
                <a:lnTo>
                  <a:pt x="28" y="0"/>
                </a:lnTo>
                <a:lnTo>
                  <a:pt x="14" y="16"/>
                </a:lnTo>
                <a:lnTo>
                  <a:pt x="1" y="30"/>
                </a:lnTo>
                <a:lnTo>
                  <a:pt x="11" y="46"/>
                </a:lnTo>
                <a:lnTo>
                  <a:pt x="14" y="58"/>
                </a:lnTo>
                <a:lnTo>
                  <a:pt x="23" y="86"/>
                </a:lnTo>
                <a:lnTo>
                  <a:pt x="16" y="103"/>
                </a:lnTo>
                <a:lnTo>
                  <a:pt x="5" y="119"/>
                </a:lnTo>
                <a:lnTo>
                  <a:pt x="0" y="128"/>
                </a:lnTo>
                <a:lnTo>
                  <a:pt x="0" y="129"/>
                </a:lnTo>
                <a:lnTo>
                  <a:pt x="5" y="139"/>
                </a:lnTo>
                <a:lnTo>
                  <a:pt x="4" y="157"/>
                </a:lnTo>
                <a:lnTo>
                  <a:pt x="79" y="205"/>
                </a:lnTo>
                <a:lnTo>
                  <a:pt x="80" y="218"/>
                </a:lnTo>
                <a:lnTo>
                  <a:pt x="110" y="242"/>
                </a:lnTo>
                <a:lnTo>
                  <a:pt x="118" y="234"/>
                </a:lnTo>
                <a:lnTo>
                  <a:pt x="123" y="218"/>
                </a:lnTo>
                <a:lnTo>
                  <a:pt x="130" y="209"/>
                </a:lnTo>
                <a:lnTo>
                  <a:pt x="133" y="192"/>
                </a:lnTo>
                <a:lnTo>
                  <a:pt x="141" y="190"/>
                </a:lnTo>
                <a:lnTo>
                  <a:pt x="146" y="181"/>
                </a:lnTo>
                <a:lnTo>
                  <a:pt x="161" y="171"/>
                </a:lnTo>
                <a:lnTo>
                  <a:pt x="148" y="151"/>
                </a:lnTo>
                <a:lnTo>
                  <a:pt x="148" y="65"/>
                </a:lnTo>
                <a:lnTo>
                  <a:pt x="166" y="38"/>
                </a:lnTo>
                <a:lnTo>
                  <a:pt x="166" y="3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96" name="Kyrgyzstan">
            <a:extLst>
              <a:ext uri="{FF2B5EF4-FFF2-40B4-BE49-F238E27FC236}">
                <a16:creationId xmlns:a16="http://schemas.microsoft.com/office/drawing/2014/main" id="{4AA3DA20-E9CC-49E1-8838-8AA1CC0AD2D1}"/>
              </a:ext>
            </a:extLst>
          </p:cNvPr>
          <p:cNvSpPr>
            <a:spLocks/>
          </p:cNvSpPr>
          <p:nvPr/>
        </p:nvSpPr>
        <p:spPr bwMode="auto">
          <a:xfrm>
            <a:off x="7488017" y="2589739"/>
            <a:ext cx="321529" cy="159914"/>
          </a:xfrm>
          <a:custGeom>
            <a:avLst/>
            <a:gdLst>
              <a:gd name="T0" fmla="*/ 189 w 189"/>
              <a:gd name="T1" fmla="*/ 22 h 94"/>
              <a:gd name="T2" fmla="*/ 175 w 189"/>
              <a:gd name="T3" fmla="*/ 19 h 94"/>
              <a:gd name="T4" fmla="*/ 163 w 189"/>
              <a:gd name="T5" fmla="*/ 11 h 94"/>
              <a:gd name="T6" fmla="*/ 133 w 189"/>
              <a:gd name="T7" fmla="*/ 9 h 94"/>
              <a:gd name="T8" fmla="*/ 102 w 189"/>
              <a:gd name="T9" fmla="*/ 8 h 94"/>
              <a:gd name="T10" fmla="*/ 96 w 189"/>
              <a:gd name="T11" fmla="*/ 11 h 94"/>
              <a:gd name="T12" fmla="*/ 65 w 189"/>
              <a:gd name="T13" fmla="*/ 0 h 94"/>
              <a:gd name="T14" fmla="*/ 56 w 189"/>
              <a:gd name="T15" fmla="*/ 5 h 94"/>
              <a:gd name="T16" fmla="*/ 58 w 189"/>
              <a:gd name="T17" fmla="*/ 19 h 94"/>
              <a:gd name="T18" fmla="*/ 24 w 189"/>
              <a:gd name="T19" fmla="*/ 11 h 94"/>
              <a:gd name="T20" fmla="*/ 12 w 189"/>
              <a:gd name="T21" fmla="*/ 14 h 94"/>
              <a:gd name="T22" fmla="*/ 11 w 189"/>
              <a:gd name="T23" fmla="*/ 24 h 94"/>
              <a:gd name="T24" fmla="*/ 18 w 189"/>
              <a:gd name="T25" fmla="*/ 27 h 94"/>
              <a:gd name="T26" fmla="*/ 6 w 189"/>
              <a:gd name="T27" fmla="*/ 41 h 94"/>
              <a:gd name="T28" fmla="*/ 23 w 189"/>
              <a:gd name="T29" fmla="*/ 50 h 94"/>
              <a:gd name="T30" fmla="*/ 35 w 189"/>
              <a:gd name="T31" fmla="*/ 44 h 94"/>
              <a:gd name="T32" fmla="*/ 62 w 189"/>
              <a:gd name="T33" fmla="*/ 56 h 94"/>
              <a:gd name="T34" fmla="*/ 43 w 189"/>
              <a:gd name="T35" fmla="*/ 73 h 94"/>
              <a:gd name="T36" fmla="*/ 27 w 189"/>
              <a:gd name="T37" fmla="*/ 71 h 94"/>
              <a:gd name="T38" fmla="*/ 22 w 189"/>
              <a:gd name="T39" fmla="*/ 79 h 94"/>
              <a:gd name="T40" fmla="*/ 0 w 189"/>
              <a:gd name="T41" fmla="*/ 74 h 94"/>
              <a:gd name="T42" fmla="*/ 3 w 189"/>
              <a:gd name="T43" fmla="*/ 88 h 94"/>
              <a:gd name="T44" fmla="*/ 22 w 189"/>
              <a:gd name="T45" fmla="*/ 86 h 94"/>
              <a:gd name="T46" fmla="*/ 49 w 189"/>
              <a:gd name="T47" fmla="*/ 94 h 94"/>
              <a:gd name="T48" fmla="*/ 85 w 189"/>
              <a:gd name="T49" fmla="*/ 91 h 94"/>
              <a:gd name="T50" fmla="*/ 89 w 189"/>
              <a:gd name="T51" fmla="*/ 85 h 94"/>
              <a:gd name="T52" fmla="*/ 84 w 189"/>
              <a:gd name="T53" fmla="*/ 80 h 94"/>
              <a:gd name="T54" fmla="*/ 99 w 189"/>
              <a:gd name="T55" fmla="*/ 69 h 94"/>
              <a:gd name="T56" fmla="*/ 111 w 189"/>
              <a:gd name="T57" fmla="*/ 64 h 94"/>
              <a:gd name="T58" fmla="*/ 132 w 189"/>
              <a:gd name="T59" fmla="*/ 67 h 94"/>
              <a:gd name="T60" fmla="*/ 134 w 189"/>
              <a:gd name="T61" fmla="*/ 52 h 94"/>
              <a:gd name="T62" fmla="*/ 159 w 189"/>
              <a:gd name="T63" fmla="*/ 49 h 94"/>
              <a:gd name="T64" fmla="*/ 162 w 189"/>
              <a:gd name="T65" fmla="*/ 41 h 94"/>
              <a:gd name="T66" fmla="*/ 188 w 189"/>
              <a:gd name="T67" fmla="*/ 27 h 94"/>
              <a:gd name="T68" fmla="*/ 189 w 189"/>
              <a:gd name="T69" fmla="*/ 22 h 94"/>
              <a:gd name="T70" fmla="*/ 189 w 189"/>
              <a:gd name="T71" fmla="*/ 2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9" h="94">
                <a:moveTo>
                  <a:pt x="189" y="22"/>
                </a:moveTo>
                <a:lnTo>
                  <a:pt x="175" y="19"/>
                </a:lnTo>
                <a:lnTo>
                  <a:pt x="163" y="11"/>
                </a:lnTo>
                <a:lnTo>
                  <a:pt x="133" y="9"/>
                </a:lnTo>
                <a:lnTo>
                  <a:pt x="102" y="8"/>
                </a:lnTo>
                <a:lnTo>
                  <a:pt x="96" y="11"/>
                </a:lnTo>
                <a:lnTo>
                  <a:pt x="65" y="0"/>
                </a:lnTo>
                <a:lnTo>
                  <a:pt x="56" y="5"/>
                </a:lnTo>
                <a:lnTo>
                  <a:pt x="58" y="19"/>
                </a:lnTo>
                <a:lnTo>
                  <a:pt x="24" y="11"/>
                </a:lnTo>
                <a:lnTo>
                  <a:pt x="12" y="14"/>
                </a:lnTo>
                <a:lnTo>
                  <a:pt x="11" y="24"/>
                </a:lnTo>
                <a:lnTo>
                  <a:pt x="18" y="27"/>
                </a:lnTo>
                <a:lnTo>
                  <a:pt x="6" y="41"/>
                </a:lnTo>
                <a:lnTo>
                  <a:pt x="23" y="50"/>
                </a:lnTo>
                <a:lnTo>
                  <a:pt x="35" y="44"/>
                </a:lnTo>
                <a:lnTo>
                  <a:pt x="62" y="56"/>
                </a:lnTo>
                <a:lnTo>
                  <a:pt x="43" y="73"/>
                </a:lnTo>
                <a:lnTo>
                  <a:pt x="27" y="71"/>
                </a:lnTo>
                <a:lnTo>
                  <a:pt x="22" y="79"/>
                </a:lnTo>
                <a:lnTo>
                  <a:pt x="0" y="74"/>
                </a:lnTo>
                <a:lnTo>
                  <a:pt x="3" y="88"/>
                </a:lnTo>
                <a:lnTo>
                  <a:pt x="22" y="86"/>
                </a:lnTo>
                <a:lnTo>
                  <a:pt x="49" y="94"/>
                </a:lnTo>
                <a:lnTo>
                  <a:pt x="85" y="91"/>
                </a:lnTo>
                <a:lnTo>
                  <a:pt x="89" y="85"/>
                </a:lnTo>
                <a:lnTo>
                  <a:pt x="84" y="80"/>
                </a:lnTo>
                <a:lnTo>
                  <a:pt x="99" y="69"/>
                </a:lnTo>
                <a:lnTo>
                  <a:pt x="111" y="64"/>
                </a:lnTo>
                <a:lnTo>
                  <a:pt x="132" y="67"/>
                </a:lnTo>
                <a:lnTo>
                  <a:pt x="134" y="52"/>
                </a:lnTo>
                <a:lnTo>
                  <a:pt x="159" y="49"/>
                </a:lnTo>
                <a:lnTo>
                  <a:pt x="162" y="41"/>
                </a:lnTo>
                <a:lnTo>
                  <a:pt x="188" y="27"/>
                </a:lnTo>
                <a:lnTo>
                  <a:pt x="189" y="22"/>
                </a:lnTo>
                <a:lnTo>
                  <a:pt x="189" y="2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97" name="Cambodia">
            <a:extLst>
              <a:ext uri="{FF2B5EF4-FFF2-40B4-BE49-F238E27FC236}">
                <a16:creationId xmlns:a16="http://schemas.microsoft.com/office/drawing/2014/main" id="{1D623373-C762-4B09-8EA6-C37737F2D975}"/>
              </a:ext>
            </a:extLst>
          </p:cNvPr>
          <p:cNvSpPr>
            <a:spLocks/>
          </p:cNvSpPr>
          <p:nvPr/>
        </p:nvSpPr>
        <p:spPr bwMode="auto">
          <a:xfrm>
            <a:off x="8825172" y="3751669"/>
            <a:ext cx="187134" cy="165018"/>
          </a:xfrm>
          <a:custGeom>
            <a:avLst/>
            <a:gdLst>
              <a:gd name="T0" fmla="*/ 103 w 110"/>
              <a:gd name="T1" fmla="*/ 8 h 97"/>
              <a:gd name="T2" fmla="*/ 83 w 110"/>
              <a:gd name="T3" fmla="*/ 0 h 97"/>
              <a:gd name="T4" fmla="*/ 76 w 110"/>
              <a:gd name="T5" fmla="*/ 16 h 97"/>
              <a:gd name="T6" fmla="*/ 58 w 110"/>
              <a:gd name="T7" fmla="*/ 7 h 97"/>
              <a:gd name="T8" fmla="*/ 38 w 110"/>
              <a:gd name="T9" fmla="*/ 4 h 97"/>
              <a:gd name="T10" fmla="*/ 11 w 110"/>
              <a:gd name="T11" fmla="*/ 8 h 97"/>
              <a:gd name="T12" fmla="*/ 0 w 110"/>
              <a:gd name="T13" fmla="*/ 28 h 97"/>
              <a:gd name="T14" fmla="*/ 8 w 110"/>
              <a:gd name="T15" fmla="*/ 56 h 97"/>
              <a:gd name="T16" fmla="*/ 21 w 110"/>
              <a:gd name="T17" fmla="*/ 81 h 97"/>
              <a:gd name="T18" fmla="*/ 31 w 110"/>
              <a:gd name="T19" fmla="*/ 93 h 97"/>
              <a:gd name="T20" fmla="*/ 48 w 110"/>
              <a:gd name="T21" fmla="*/ 97 h 97"/>
              <a:gd name="T22" fmla="*/ 65 w 110"/>
              <a:gd name="T23" fmla="*/ 88 h 97"/>
              <a:gd name="T24" fmla="*/ 87 w 110"/>
              <a:gd name="T25" fmla="*/ 86 h 97"/>
              <a:gd name="T26" fmla="*/ 77 w 110"/>
              <a:gd name="T27" fmla="*/ 71 h 97"/>
              <a:gd name="T28" fmla="*/ 110 w 110"/>
              <a:gd name="T29" fmla="*/ 53 h 97"/>
              <a:gd name="T30" fmla="*/ 109 w 110"/>
              <a:gd name="T31" fmla="*/ 24 h 97"/>
              <a:gd name="T32" fmla="*/ 103 w 110"/>
              <a:gd name="T33" fmla="*/ 8 h 97"/>
              <a:gd name="T34" fmla="*/ 103 w 110"/>
              <a:gd name="T35" fmla="*/ 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97">
                <a:moveTo>
                  <a:pt x="103" y="8"/>
                </a:moveTo>
                <a:lnTo>
                  <a:pt x="83" y="0"/>
                </a:lnTo>
                <a:lnTo>
                  <a:pt x="76" y="16"/>
                </a:lnTo>
                <a:lnTo>
                  <a:pt x="58" y="7"/>
                </a:lnTo>
                <a:lnTo>
                  <a:pt x="38" y="4"/>
                </a:lnTo>
                <a:lnTo>
                  <a:pt x="11" y="8"/>
                </a:lnTo>
                <a:lnTo>
                  <a:pt x="0" y="28"/>
                </a:lnTo>
                <a:lnTo>
                  <a:pt x="8" y="56"/>
                </a:lnTo>
                <a:lnTo>
                  <a:pt x="21" y="81"/>
                </a:lnTo>
                <a:lnTo>
                  <a:pt x="31" y="93"/>
                </a:lnTo>
                <a:lnTo>
                  <a:pt x="48" y="97"/>
                </a:lnTo>
                <a:lnTo>
                  <a:pt x="65" y="88"/>
                </a:lnTo>
                <a:lnTo>
                  <a:pt x="87" y="86"/>
                </a:lnTo>
                <a:lnTo>
                  <a:pt x="77" y="71"/>
                </a:lnTo>
                <a:lnTo>
                  <a:pt x="110" y="53"/>
                </a:lnTo>
                <a:lnTo>
                  <a:pt x="109" y="24"/>
                </a:lnTo>
                <a:lnTo>
                  <a:pt x="103" y="8"/>
                </a:lnTo>
                <a:lnTo>
                  <a:pt x="103" y="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98" name="South Korea">
            <a:extLst>
              <a:ext uri="{FF2B5EF4-FFF2-40B4-BE49-F238E27FC236}">
                <a16:creationId xmlns:a16="http://schemas.microsoft.com/office/drawing/2014/main" id="{3D70E490-1AEB-44DC-9C92-7EE95D90E8B9}"/>
              </a:ext>
            </a:extLst>
          </p:cNvPr>
          <p:cNvSpPr>
            <a:spLocks/>
          </p:cNvSpPr>
          <p:nvPr/>
        </p:nvSpPr>
        <p:spPr bwMode="auto">
          <a:xfrm>
            <a:off x="9396780" y="2776873"/>
            <a:ext cx="151409" cy="173523"/>
          </a:xfrm>
          <a:custGeom>
            <a:avLst/>
            <a:gdLst>
              <a:gd name="T0" fmla="*/ 0 w 89"/>
              <a:gd name="T1" fmla="*/ 21 h 102"/>
              <a:gd name="T2" fmla="*/ 24 w 89"/>
              <a:gd name="T3" fmla="*/ 42 h 102"/>
              <a:gd name="T4" fmla="*/ 10 w 89"/>
              <a:gd name="T5" fmla="*/ 45 h 102"/>
              <a:gd name="T6" fmla="*/ 30 w 89"/>
              <a:gd name="T7" fmla="*/ 71 h 102"/>
              <a:gd name="T8" fmla="*/ 35 w 89"/>
              <a:gd name="T9" fmla="*/ 89 h 102"/>
              <a:gd name="T10" fmla="*/ 42 w 89"/>
              <a:gd name="T11" fmla="*/ 102 h 102"/>
              <a:gd name="T12" fmla="*/ 59 w 89"/>
              <a:gd name="T13" fmla="*/ 100 h 102"/>
              <a:gd name="T14" fmla="*/ 71 w 89"/>
              <a:gd name="T15" fmla="*/ 90 h 102"/>
              <a:gd name="T16" fmla="*/ 87 w 89"/>
              <a:gd name="T17" fmla="*/ 86 h 102"/>
              <a:gd name="T18" fmla="*/ 89 w 89"/>
              <a:gd name="T19" fmla="*/ 72 h 102"/>
              <a:gd name="T20" fmla="*/ 76 w 89"/>
              <a:gd name="T21" fmla="*/ 44 h 102"/>
              <a:gd name="T22" fmla="*/ 64 w 89"/>
              <a:gd name="T23" fmla="*/ 29 h 102"/>
              <a:gd name="T24" fmla="*/ 33 w 89"/>
              <a:gd name="T25" fmla="*/ 0 h 102"/>
              <a:gd name="T26" fmla="*/ 33 w 89"/>
              <a:gd name="T27" fmla="*/ 6 h 102"/>
              <a:gd name="T28" fmla="*/ 25 w 89"/>
              <a:gd name="T29" fmla="*/ 7 h 102"/>
              <a:gd name="T30" fmla="*/ 12 w 89"/>
              <a:gd name="T31" fmla="*/ 9 h 102"/>
              <a:gd name="T32" fmla="*/ 10 w 89"/>
              <a:gd name="T33" fmla="*/ 19 h 102"/>
              <a:gd name="T34" fmla="*/ 1 w 89"/>
              <a:gd name="T35" fmla="*/ 18 h 102"/>
              <a:gd name="T36" fmla="*/ 0 w 89"/>
              <a:gd name="T37" fmla="*/ 21 h 102"/>
              <a:gd name="T38" fmla="*/ 0 w 89"/>
              <a:gd name="T39" fmla="*/ 2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 h="102">
                <a:moveTo>
                  <a:pt x="0" y="21"/>
                </a:moveTo>
                <a:lnTo>
                  <a:pt x="24" y="42"/>
                </a:lnTo>
                <a:lnTo>
                  <a:pt x="10" y="45"/>
                </a:lnTo>
                <a:lnTo>
                  <a:pt x="30" y="71"/>
                </a:lnTo>
                <a:lnTo>
                  <a:pt x="35" y="89"/>
                </a:lnTo>
                <a:lnTo>
                  <a:pt x="42" y="102"/>
                </a:lnTo>
                <a:lnTo>
                  <a:pt x="59" y="100"/>
                </a:lnTo>
                <a:lnTo>
                  <a:pt x="71" y="90"/>
                </a:lnTo>
                <a:lnTo>
                  <a:pt x="87" y="86"/>
                </a:lnTo>
                <a:lnTo>
                  <a:pt x="89" y="72"/>
                </a:lnTo>
                <a:lnTo>
                  <a:pt x="76" y="44"/>
                </a:lnTo>
                <a:lnTo>
                  <a:pt x="64" y="29"/>
                </a:lnTo>
                <a:lnTo>
                  <a:pt x="33" y="0"/>
                </a:lnTo>
                <a:lnTo>
                  <a:pt x="33" y="6"/>
                </a:lnTo>
                <a:lnTo>
                  <a:pt x="25" y="7"/>
                </a:lnTo>
                <a:lnTo>
                  <a:pt x="12" y="9"/>
                </a:lnTo>
                <a:lnTo>
                  <a:pt x="10" y="19"/>
                </a:lnTo>
                <a:lnTo>
                  <a:pt x="1" y="18"/>
                </a:lnTo>
                <a:lnTo>
                  <a:pt x="0" y="21"/>
                </a:lnTo>
                <a:lnTo>
                  <a:pt x="0" y="2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99" name="Kuwait">
            <a:extLst>
              <a:ext uri="{FF2B5EF4-FFF2-40B4-BE49-F238E27FC236}">
                <a16:creationId xmlns:a16="http://schemas.microsoft.com/office/drawing/2014/main" id="{1D05188A-56AD-4977-8A47-D480F3C3225E}"/>
              </a:ext>
            </a:extLst>
          </p:cNvPr>
          <p:cNvSpPr>
            <a:spLocks/>
          </p:cNvSpPr>
          <p:nvPr/>
        </p:nvSpPr>
        <p:spPr bwMode="auto">
          <a:xfrm>
            <a:off x="6802428" y="3125620"/>
            <a:ext cx="64646" cy="61244"/>
          </a:xfrm>
          <a:custGeom>
            <a:avLst/>
            <a:gdLst>
              <a:gd name="T0" fmla="*/ 25 w 38"/>
              <a:gd name="T1" fmla="*/ 2 h 36"/>
              <a:gd name="T2" fmla="*/ 12 w 38"/>
              <a:gd name="T3" fmla="*/ 0 h 36"/>
              <a:gd name="T4" fmla="*/ 0 w 38"/>
              <a:gd name="T5" fmla="*/ 22 h 36"/>
              <a:gd name="T6" fmla="*/ 17 w 38"/>
              <a:gd name="T7" fmla="*/ 24 h 36"/>
              <a:gd name="T8" fmla="*/ 24 w 38"/>
              <a:gd name="T9" fmla="*/ 36 h 36"/>
              <a:gd name="T10" fmla="*/ 38 w 38"/>
              <a:gd name="T11" fmla="*/ 36 h 36"/>
              <a:gd name="T12" fmla="*/ 29 w 38"/>
              <a:gd name="T13" fmla="*/ 18 h 36"/>
              <a:gd name="T14" fmla="*/ 30 w 38"/>
              <a:gd name="T15" fmla="*/ 12 h 36"/>
              <a:gd name="T16" fmla="*/ 25 w 38"/>
              <a:gd name="T17" fmla="*/ 2 h 36"/>
              <a:gd name="T18" fmla="*/ 25 w 38"/>
              <a:gd name="T19"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6">
                <a:moveTo>
                  <a:pt x="25" y="2"/>
                </a:moveTo>
                <a:lnTo>
                  <a:pt x="12" y="0"/>
                </a:lnTo>
                <a:lnTo>
                  <a:pt x="0" y="22"/>
                </a:lnTo>
                <a:lnTo>
                  <a:pt x="17" y="24"/>
                </a:lnTo>
                <a:lnTo>
                  <a:pt x="24" y="36"/>
                </a:lnTo>
                <a:lnTo>
                  <a:pt x="38" y="36"/>
                </a:lnTo>
                <a:lnTo>
                  <a:pt x="29" y="18"/>
                </a:lnTo>
                <a:lnTo>
                  <a:pt x="30" y="12"/>
                </a:lnTo>
                <a:lnTo>
                  <a:pt x="25" y="2"/>
                </a:lnTo>
                <a:lnTo>
                  <a:pt x="25" y="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00" name="Laos">
            <a:extLst>
              <a:ext uri="{FF2B5EF4-FFF2-40B4-BE49-F238E27FC236}">
                <a16:creationId xmlns:a16="http://schemas.microsoft.com/office/drawing/2014/main" id="{450CD2F4-E1FD-48B6-857F-52F79E8B6A33}"/>
              </a:ext>
            </a:extLst>
          </p:cNvPr>
          <p:cNvSpPr>
            <a:spLocks/>
          </p:cNvSpPr>
          <p:nvPr/>
        </p:nvSpPr>
        <p:spPr bwMode="auto">
          <a:xfrm>
            <a:off x="8709488" y="3431839"/>
            <a:ext cx="292609" cy="347049"/>
          </a:xfrm>
          <a:custGeom>
            <a:avLst/>
            <a:gdLst>
              <a:gd name="T0" fmla="*/ 171 w 172"/>
              <a:gd name="T1" fmla="*/ 196 h 204"/>
              <a:gd name="T2" fmla="*/ 172 w 172"/>
              <a:gd name="T3" fmla="*/ 173 h 204"/>
              <a:gd name="T4" fmla="*/ 164 w 172"/>
              <a:gd name="T5" fmla="*/ 156 h 204"/>
              <a:gd name="T6" fmla="*/ 146 w 172"/>
              <a:gd name="T7" fmla="*/ 139 h 204"/>
              <a:gd name="T8" fmla="*/ 131 w 172"/>
              <a:gd name="T9" fmla="*/ 119 h 204"/>
              <a:gd name="T10" fmla="*/ 109 w 172"/>
              <a:gd name="T11" fmla="*/ 91 h 204"/>
              <a:gd name="T12" fmla="*/ 82 w 172"/>
              <a:gd name="T13" fmla="*/ 76 h 204"/>
              <a:gd name="T14" fmla="*/ 87 w 172"/>
              <a:gd name="T15" fmla="*/ 67 h 204"/>
              <a:gd name="T16" fmla="*/ 99 w 172"/>
              <a:gd name="T17" fmla="*/ 61 h 204"/>
              <a:gd name="T18" fmla="*/ 88 w 172"/>
              <a:gd name="T19" fmla="*/ 40 h 204"/>
              <a:gd name="T20" fmla="*/ 62 w 172"/>
              <a:gd name="T21" fmla="*/ 40 h 204"/>
              <a:gd name="T22" fmla="*/ 49 w 172"/>
              <a:gd name="T23" fmla="*/ 19 h 204"/>
              <a:gd name="T24" fmla="*/ 34 w 172"/>
              <a:gd name="T25" fmla="*/ 0 h 204"/>
              <a:gd name="T26" fmla="*/ 24 w 172"/>
              <a:gd name="T27" fmla="*/ 4 h 204"/>
              <a:gd name="T28" fmla="*/ 32 w 172"/>
              <a:gd name="T29" fmla="*/ 31 h 204"/>
              <a:gd name="T30" fmla="*/ 20 w 172"/>
              <a:gd name="T31" fmla="*/ 30 h 204"/>
              <a:gd name="T32" fmla="*/ 19 w 172"/>
              <a:gd name="T33" fmla="*/ 25 h 204"/>
              <a:gd name="T34" fmla="*/ 3 w 172"/>
              <a:gd name="T35" fmla="*/ 40 h 204"/>
              <a:gd name="T36" fmla="*/ 0 w 172"/>
              <a:gd name="T37" fmla="*/ 49 h 204"/>
              <a:gd name="T38" fmla="*/ 9 w 172"/>
              <a:gd name="T39" fmla="*/ 56 h 204"/>
              <a:gd name="T40" fmla="*/ 13 w 172"/>
              <a:gd name="T41" fmla="*/ 70 h 204"/>
              <a:gd name="T42" fmla="*/ 27 w 172"/>
              <a:gd name="T43" fmla="*/ 71 h 204"/>
              <a:gd name="T44" fmla="*/ 26 w 172"/>
              <a:gd name="T45" fmla="*/ 96 h 204"/>
              <a:gd name="T46" fmla="*/ 30 w 172"/>
              <a:gd name="T47" fmla="*/ 118 h 204"/>
              <a:gd name="T48" fmla="*/ 49 w 172"/>
              <a:gd name="T49" fmla="*/ 104 h 204"/>
              <a:gd name="T50" fmla="*/ 56 w 172"/>
              <a:gd name="T51" fmla="*/ 108 h 204"/>
              <a:gd name="T52" fmla="*/ 68 w 172"/>
              <a:gd name="T53" fmla="*/ 108 h 204"/>
              <a:gd name="T54" fmla="*/ 71 w 172"/>
              <a:gd name="T55" fmla="*/ 99 h 204"/>
              <a:gd name="T56" fmla="*/ 87 w 172"/>
              <a:gd name="T57" fmla="*/ 100 h 204"/>
              <a:gd name="T58" fmla="*/ 105 w 172"/>
              <a:gd name="T59" fmla="*/ 120 h 204"/>
              <a:gd name="T60" fmla="*/ 110 w 172"/>
              <a:gd name="T61" fmla="*/ 143 h 204"/>
              <a:gd name="T62" fmla="*/ 130 w 172"/>
              <a:gd name="T63" fmla="*/ 164 h 204"/>
              <a:gd name="T64" fmla="*/ 132 w 172"/>
              <a:gd name="T65" fmla="*/ 184 h 204"/>
              <a:gd name="T66" fmla="*/ 126 w 172"/>
              <a:gd name="T67" fmla="*/ 195 h 204"/>
              <a:gd name="T68" fmla="*/ 144 w 172"/>
              <a:gd name="T69" fmla="*/ 204 h 204"/>
              <a:gd name="T70" fmla="*/ 151 w 172"/>
              <a:gd name="T71" fmla="*/ 188 h 204"/>
              <a:gd name="T72" fmla="*/ 171 w 172"/>
              <a:gd name="T73" fmla="*/ 196 h 204"/>
              <a:gd name="T74" fmla="*/ 171 w 172"/>
              <a:gd name="T75" fmla="*/ 19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204">
                <a:moveTo>
                  <a:pt x="171" y="196"/>
                </a:moveTo>
                <a:lnTo>
                  <a:pt x="172" y="173"/>
                </a:lnTo>
                <a:lnTo>
                  <a:pt x="164" y="156"/>
                </a:lnTo>
                <a:lnTo>
                  <a:pt x="146" y="139"/>
                </a:lnTo>
                <a:lnTo>
                  <a:pt x="131" y="119"/>
                </a:lnTo>
                <a:lnTo>
                  <a:pt x="109" y="91"/>
                </a:lnTo>
                <a:lnTo>
                  <a:pt x="82" y="76"/>
                </a:lnTo>
                <a:lnTo>
                  <a:pt x="87" y="67"/>
                </a:lnTo>
                <a:lnTo>
                  <a:pt x="99" y="61"/>
                </a:lnTo>
                <a:lnTo>
                  <a:pt x="88" y="40"/>
                </a:lnTo>
                <a:lnTo>
                  <a:pt x="62" y="40"/>
                </a:lnTo>
                <a:lnTo>
                  <a:pt x="49" y="19"/>
                </a:lnTo>
                <a:lnTo>
                  <a:pt x="34" y="0"/>
                </a:lnTo>
                <a:lnTo>
                  <a:pt x="24" y="4"/>
                </a:lnTo>
                <a:lnTo>
                  <a:pt x="32" y="31"/>
                </a:lnTo>
                <a:lnTo>
                  <a:pt x="20" y="30"/>
                </a:lnTo>
                <a:lnTo>
                  <a:pt x="19" y="25"/>
                </a:lnTo>
                <a:lnTo>
                  <a:pt x="3" y="40"/>
                </a:lnTo>
                <a:lnTo>
                  <a:pt x="0" y="49"/>
                </a:lnTo>
                <a:lnTo>
                  <a:pt x="9" y="56"/>
                </a:lnTo>
                <a:lnTo>
                  <a:pt x="13" y="70"/>
                </a:lnTo>
                <a:lnTo>
                  <a:pt x="27" y="71"/>
                </a:lnTo>
                <a:lnTo>
                  <a:pt x="26" y="96"/>
                </a:lnTo>
                <a:lnTo>
                  <a:pt x="30" y="118"/>
                </a:lnTo>
                <a:lnTo>
                  <a:pt x="49" y="104"/>
                </a:lnTo>
                <a:lnTo>
                  <a:pt x="56" y="108"/>
                </a:lnTo>
                <a:lnTo>
                  <a:pt x="68" y="108"/>
                </a:lnTo>
                <a:lnTo>
                  <a:pt x="71" y="99"/>
                </a:lnTo>
                <a:lnTo>
                  <a:pt x="87" y="100"/>
                </a:lnTo>
                <a:lnTo>
                  <a:pt x="105" y="120"/>
                </a:lnTo>
                <a:lnTo>
                  <a:pt x="110" y="143"/>
                </a:lnTo>
                <a:lnTo>
                  <a:pt x="130" y="164"/>
                </a:lnTo>
                <a:lnTo>
                  <a:pt x="132" y="184"/>
                </a:lnTo>
                <a:lnTo>
                  <a:pt x="126" y="195"/>
                </a:lnTo>
                <a:lnTo>
                  <a:pt x="144" y="204"/>
                </a:lnTo>
                <a:lnTo>
                  <a:pt x="151" y="188"/>
                </a:lnTo>
                <a:lnTo>
                  <a:pt x="171" y="196"/>
                </a:lnTo>
                <a:lnTo>
                  <a:pt x="171" y="19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01" name="Lebanon">
            <a:extLst>
              <a:ext uri="{FF2B5EF4-FFF2-40B4-BE49-F238E27FC236}">
                <a16:creationId xmlns:a16="http://schemas.microsoft.com/office/drawing/2014/main" id="{E062C0FE-7AB4-479C-9A31-8949A567B6E5}"/>
              </a:ext>
            </a:extLst>
          </p:cNvPr>
          <p:cNvSpPr>
            <a:spLocks/>
          </p:cNvSpPr>
          <p:nvPr/>
        </p:nvSpPr>
        <p:spPr bwMode="auto">
          <a:xfrm>
            <a:off x="6392434" y="2940188"/>
            <a:ext cx="44231" cy="62946"/>
          </a:xfrm>
          <a:custGeom>
            <a:avLst/>
            <a:gdLst>
              <a:gd name="T0" fmla="*/ 13 w 26"/>
              <a:gd name="T1" fmla="*/ 32 h 37"/>
              <a:gd name="T2" fmla="*/ 16 w 26"/>
              <a:gd name="T3" fmla="*/ 19 h 37"/>
              <a:gd name="T4" fmla="*/ 26 w 26"/>
              <a:gd name="T5" fmla="*/ 10 h 37"/>
              <a:gd name="T6" fmla="*/ 21 w 26"/>
              <a:gd name="T7" fmla="*/ 1 h 37"/>
              <a:gd name="T8" fmla="*/ 13 w 26"/>
              <a:gd name="T9" fmla="*/ 0 h 37"/>
              <a:gd name="T10" fmla="*/ 12 w 26"/>
              <a:gd name="T11" fmla="*/ 1 h 37"/>
              <a:gd name="T12" fmla="*/ 4 w 26"/>
              <a:gd name="T13" fmla="*/ 18 h 37"/>
              <a:gd name="T14" fmla="*/ 0 w 26"/>
              <a:gd name="T15" fmla="*/ 37 h 37"/>
              <a:gd name="T16" fmla="*/ 6 w 26"/>
              <a:gd name="T17" fmla="*/ 37 h 37"/>
              <a:gd name="T18" fmla="*/ 8 w 26"/>
              <a:gd name="T19" fmla="*/ 32 h 37"/>
              <a:gd name="T20" fmla="*/ 13 w 26"/>
              <a:gd name="T21" fmla="*/ 32 h 37"/>
              <a:gd name="T22" fmla="*/ 13 w 26"/>
              <a:gd name="T23" fmla="*/ 3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2"/>
                </a:moveTo>
                <a:lnTo>
                  <a:pt x="16" y="19"/>
                </a:lnTo>
                <a:lnTo>
                  <a:pt x="26" y="10"/>
                </a:lnTo>
                <a:lnTo>
                  <a:pt x="21" y="1"/>
                </a:lnTo>
                <a:lnTo>
                  <a:pt x="13" y="0"/>
                </a:lnTo>
                <a:lnTo>
                  <a:pt x="12" y="1"/>
                </a:lnTo>
                <a:lnTo>
                  <a:pt x="4" y="18"/>
                </a:lnTo>
                <a:lnTo>
                  <a:pt x="0" y="37"/>
                </a:lnTo>
                <a:lnTo>
                  <a:pt x="6" y="37"/>
                </a:lnTo>
                <a:lnTo>
                  <a:pt x="8" y="32"/>
                </a:lnTo>
                <a:lnTo>
                  <a:pt x="13" y="32"/>
                </a:lnTo>
                <a:lnTo>
                  <a:pt x="13" y="3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02" name="Liberia">
            <a:extLst>
              <a:ext uri="{FF2B5EF4-FFF2-40B4-BE49-F238E27FC236}">
                <a16:creationId xmlns:a16="http://schemas.microsoft.com/office/drawing/2014/main" id="{722EF1EE-FB64-4154-AA66-A90FA3FA3994}"/>
              </a:ext>
            </a:extLst>
          </p:cNvPr>
          <p:cNvSpPr>
            <a:spLocks/>
          </p:cNvSpPr>
          <p:nvPr/>
        </p:nvSpPr>
        <p:spPr bwMode="auto">
          <a:xfrm>
            <a:off x="4791592" y="3994941"/>
            <a:ext cx="141200" cy="170122"/>
          </a:xfrm>
          <a:custGeom>
            <a:avLst/>
            <a:gdLst>
              <a:gd name="T0" fmla="*/ 64 w 83"/>
              <a:gd name="T1" fmla="*/ 20 h 100"/>
              <a:gd name="T2" fmla="*/ 57 w 83"/>
              <a:gd name="T3" fmla="*/ 19 h 100"/>
              <a:gd name="T4" fmla="*/ 54 w 83"/>
              <a:gd name="T5" fmla="*/ 30 h 100"/>
              <a:gd name="T6" fmla="*/ 47 w 83"/>
              <a:gd name="T7" fmla="*/ 29 h 100"/>
              <a:gd name="T8" fmla="*/ 43 w 83"/>
              <a:gd name="T9" fmla="*/ 24 h 100"/>
              <a:gd name="T10" fmla="*/ 45 w 83"/>
              <a:gd name="T11" fmla="*/ 15 h 100"/>
              <a:gd name="T12" fmla="*/ 36 w 83"/>
              <a:gd name="T13" fmla="*/ 0 h 100"/>
              <a:gd name="T14" fmla="*/ 30 w 83"/>
              <a:gd name="T15" fmla="*/ 3 h 100"/>
              <a:gd name="T16" fmla="*/ 27 w 83"/>
              <a:gd name="T17" fmla="*/ 3 h 100"/>
              <a:gd name="T18" fmla="*/ 16 w 83"/>
              <a:gd name="T19" fmla="*/ 15 h 100"/>
              <a:gd name="T20" fmla="*/ 7 w 83"/>
              <a:gd name="T21" fmla="*/ 27 h 100"/>
              <a:gd name="T22" fmla="*/ 6 w 83"/>
              <a:gd name="T23" fmla="*/ 34 h 100"/>
              <a:gd name="T24" fmla="*/ 0 w 83"/>
              <a:gd name="T25" fmla="*/ 42 h 100"/>
              <a:gd name="T26" fmla="*/ 14 w 83"/>
              <a:gd name="T27" fmla="*/ 57 h 100"/>
              <a:gd name="T28" fmla="*/ 32 w 83"/>
              <a:gd name="T29" fmla="*/ 70 h 100"/>
              <a:gd name="T30" fmla="*/ 52 w 83"/>
              <a:gd name="T31" fmla="*/ 88 h 100"/>
              <a:gd name="T32" fmla="*/ 73 w 83"/>
              <a:gd name="T33" fmla="*/ 100 h 100"/>
              <a:gd name="T34" fmla="*/ 79 w 83"/>
              <a:gd name="T35" fmla="*/ 100 h 100"/>
              <a:gd name="T36" fmla="*/ 81 w 83"/>
              <a:gd name="T37" fmla="*/ 80 h 100"/>
              <a:gd name="T38" fmla="*/ 83 w 83"/>
              <a:gd name="T39" fmla="*/ 77 h 100"/>
              <a:gd name="T40" fmla="*/ 82 w 83"/>
              <a:gd name="T41" fmla="*/ 68 h 100"/>
              <a:gd name="T42" fmla="*/ 73 w 83"/>
              <a:gd name="T43" fmla="*/ 58 h 100"/>
              <a:gd name="T44" fmla="*/ 66 w 83"/>
              <a:gd name="T45" fmla="*/ 56 h 100"/>
              <a:gd name="T46" fmla="*/ 60 w 83"/>
              <a:gd name="T47" fmla="*/ 49 h 100"/>
              <a:gd name="T48" fmla="*/ 65 w 83"/>
              <a:gd name="T49" fmla="*/ 39 h 100"/>
              <a:gd name="T50" fmla="*/ 62 w 83"/>
              <a:gd name="T51" fmla="*/ 27 h 100"/>
              <a:gd name="T52" fmla="*/ 64 w 83"/>
              <a:gd name="T53" fmla="*/ 20 h 100"/>
              <a:gd name="T54" fmla="*/ 64 w 83"/>
              <a:gd name="T55" fmla="*/ 2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100">
                <a:moveTo>
                  <a:pt x="64" y="20"/>
                </a:moveTo>
                <a:lnTo>
                  <a:pt x="57" y="19"/>
                </a:lnTo>
                <a:lnTo>
                  <a:pt x="54" y="30"/>
                </a:lnTo>
                <a:lnTo>
                  <a:pt x="47" y="29"/>
                </a:lnTo>
                <a:lnTo>
                  <a:pt x="43" y="24"/>
                </a:lnTo>
                <a:lnTo>
                  <a:pt x="45" y="15"/>
                </a:lnTo>
                <a:lnTo>
                  <a:pt x="36" y="0"/>
                </a:lnTo>
                <a:lnTo>
                  <a:pt x="30" y="3"/>
                </a:lnTo>
                <a:lnTo>
                  <a:pt x="27" y="3"/>
                </a:lnTo>
                <a:lnTo>
                  <a:pt x="16" y="15"/>
                </a:lnTo>
                <a:lnTo>
                  <a:pt x="7" y="27"/>
                </a:lnTo>
                <a:lnTo>
                  <a:pt x="6" y="34"/>
                </a:lnTo>
                <a:lnTo>
                  <a:pt x="0" y="42"/>
                </a:lnTo>
                <a:lnTo>
                  <a:pt x="14" y="57"/>
                </a:lnTo>
                <a:lnTo>
                  <a:pt x="32" y="70"/>
                </a:lnTo>
                <a:lnTo>
                  <a:pt x="52" y="88"/>
                </a:lnTo>
                <a:lnTo>
                  <a:pt x="73" y="100"/>
                </a:lnTo>
                <a:lnTo>
                  <a:pt x="79" y="100"/>
                </a:lnTo>
                <a:lnTo>
                  <a:pt x="81" y="80"/>
                </a:lnTo>
                <a:lnTo>
                  <a:pt x="83" y="77"/>
                </a:lnTo>
                <a:lnTo>
                  <a:pt x="82" y="68"/>
                </a:lnTo>
                <a:lnTo>
                  <a:pt x="73" y="58"/>
                </a:lnTo>
                <a:lnTo>
                  <a:pt x="66" y="56"/>
                </a:lnTo>
                <a:lnTo>
                  <a:pt x="60" y="49"/>
                </a:lnTo>
                <a:lnTo>
                  <a:pt x="65" y="39"/>
                </a:lnTo>
                <a:lnTo>
                  <a:pt x="62" y="27"/>
                </a:lnTo>
                <a:lnTo>
                  <a:pt x="64" y="20"/>
                </a:lnTo>
                <a:lnTo>
                  <a:pt x="64" y="2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03" name="Libya">
            <a:extLst>
              <a:ext uri="{FF2B5EF4-FFF2-40B4-BE49-F238E27FC236}">
                <a16:creationId xmlns:a16="http://schemas.microsoft.com/office/drawing/2014/main" id="{3BEFE7D3-3EC8-4693-9F2E-721705367A28}"/>
              </a:ext>
            </a:extLst>
          </p:cNvPr>
          <p:cNvSpPr>
            <a:spLocks/>
          </p:cNvSpPr>
          <p:nvPr/>
        </p:nvSpPr>
        <p:spPr bwMode="auto">
          <a:xfrm>
            <a:off x="5523115" y="3001433"/>
            <a:ext cx="554596" cy="546091"/>
          </a:xfrm>
          <a:custGeom>
            <a:avLst/>
            <a:gdLst>
              <a:gd name="T0" fmla="*/ 315 w 326"/>
              <a:gd name="T1" fmla="*/ 38 h 321"/>
              <a:gd name="T2" fmla="*/ 309 w 326"/>
              <a:gd name="T3" fmla="*/ 29 h 321"/>
              <a:gd name="T4" fmla="*/ 289 w 326"/>
              <a:gd name="T5" fmla="*/ 26 h 321"/>
              <a:gd name="T6" fmla="*/ 282 w 326"/>
              <a:gd name="T7" fmla="*/ 23 h 321"/>
              <a:gd name="T8" fmla="*/ 274 w 326"/>
              <a:gd name="T9" fmla="*/ 23 h 321"/>
              <a:gd name="T10" fmla="*/ 267 w 326"/>
              <a:gd name="T11" fmla="*/ 11 h 321"/>
              <a:gd name="T12" fmla="*/ 240 w 326"/>
              <a:gd name="T13" fmla="*/ 7 h 321"/>
              <a:gd name="T14" fmla="*/ 227 w 326"/>
              <a:gd name="T15" fmla="*/ 10 h 321"/>
              <a:gd name="T16" fmla="*/ 213 w 326"/>
              <a:gd name="T17" fmla="*/ 21 h 321"/>
              <a:gd name="T18" fmla="*/ 207 w 326"/>
              <a:gd name="T19" fmla="*/ 33 h 321"/>
              <a:gd name="T20" fmla="*/ 213 w 326"/>
              <a:gd name="T21" fmla="*/ 51 h 321"/>
              <a:gd name="T22" fmla="*/ 204 w 326"/>
              <a:gd name="T23" fmla="*/ 62 h 321"/>
              <a:gd name="T24" fmla="*/ 194 w 326"/>
              <a:gd name="T25" fmla="*/ 67 h 321"/>
              <a:gd name="T26" fmla="*/ 173 w 326"/>
              <a:gd name="T27" fmla="*/ 56 h 321"/>
              <a:gd name="T28" fmla="*/ 144 w 326"/>
              <a:gd name="T29" fmla="*/ 46 h 321"/>
              <a:gd name="T30" fmla="*/ 125 w 326"/>
              <a:gd name="T31" fmla="*/ 41 h 321"/>
              <a:gd name="T32" fmla="*/ 115 w 326"/>
              <a:gd name="T33" fmla="*/ 21 h 321"/>
              <a:gd name="T34" fmla="*/ 88 w 326"/>
              <a:gd name="T35" fmla="*/ 10 h 321"/>
              <a:gd name="T36" fmla="*/ 71 w 326"/>
              <a:gd name="T37" fmla="*/ 6 h 321"/>
              <a:gd name="T38" fmla="*/ 63 w 326"/>
              <a:gd name="T39" fmla="*/ 8 h 321"/>
              <a:gd name="T40" fmla="*/ 39 w 326"/>
              <a:gd name="T41" fmla="*/ 0 h 321"/>
              <a:gd name="T42" fmla="*/ 39 w 326"/>
              <a:gd name="T43" fmla="*/ 18 h 321"/>
              <a:gd name="T44" fmla="*/ 29 w 326"/>
              <a:gd name="T45" fmla="*/ 24 h 321"/>
              <a:gd name="T46" fmla="*/ 23 w 326"/>
              <a:gd name="T47" fmla="*/ 32 h 321"/>
              <a:gd name="T48" fmla="*/ 9 w 326"/>
              <a:gd name="T49" fmla="*/ 41 h 321"/>
              <a:gd name="T50" fmla="*/ 12 w 326"/>
              <a:gd name="T51" fmla="*/ 52 h 321"/>
              <a:gd name="T52" fmla="*/ 11 w 326"/>
              <a:gd name="T53" fmla="*/ 62 h 321"/>
              <a:gd name="T54" fmla="*/ 1 w 326"/>
              <a:gd name="T55" fmla="*/ 66 h 321"/>
              <a:gd name="T56" fmla="*/ 8 w 326"/>
              <a:gd name="T57" fmla="*/ 88 h 321"/>
              <a:gd name="T58" fmla="*/ 9 w 326"/>
              <a:gd name="T59" fmla="*/ 99 h 321"/>
              <a:gd name="T60" fmla="*/ 7 w 326"/>
              <a:gd name="T61" fmla="*/ 118 h 321"/>
              <a:gd name="T62" fmla="*/ 8 w 326"/>
              <a:gd name="T63" fmla="*/ 129 h 321"/>
              <a:gd name="T64" fmla="*/ 6 w 326"/>
              <a:gd name="T65" fmla="*/ 142 h 321"/>
              <a:gd name="T66" fmla="*/ 7 w 326"/>
              <a:gd name="T67" fmla="*/ 157 h 321"/>
              <a:gd name="T68" fmla="*/ 0 w 326"/>
              <a:gd name="T69" fmla="*/ 166 h 321"/>
              <a:gd name="T70" fmla="*/ 13 w 326"/>
              <a:gd name="T71" fmla="*/ 184 h 321"/>
              <a:gd name="T72" fmla="*/ 13 w 326"/>
              <a:gd name="T73" fmla="*/ 194 h 321"/>
              <a:gd name="T74" fmla="*/ 21 w 326"/>
              <a:gd name="T75" fmla="*/ 207 h 321"/>
              <a:gd name="T76" fmla="*/ 31 w 326"/>
              <a:gd name="T77" fmla="*/ 204 h 321"/>
              <a:gd name="T78" fmla="*/ 47 w 326"/>
              <a:gd name="T79" fmla="*/ 214 h 321"/>
              <a:gd name="T80" fmla="*/ 56 w 326"/>
              <a:gd name="T81" fmla="*/ 229 h 321"/>
              <a:gd name="T82" fmla="*/ 89 w 326"/>
              <a:gd name="T83" fmla="*/ 239 h 321"/>
              <a:gd name="T84" fmla="*/ 101 w 326"/>
              <a:gd name="T85" fmla="*/ 252 h 321"/>
              <a:gd name="T86" fmla="*/ 115 w 326"/>
              <a:gd name="T87" fmla="*/ 244 h 321"/>
              <a:gd name="T88" fmla="*/ 135 w 326"/>
              <a:gd name="T89" fmla="*/ 231 h 321"/>
              <a:gd name="T90" fmla="*/ 218 w 326"/>
              <a:gd name="T91" fmla="*/ 277 h 321"/>
              <a:gd name="T92" fmla="*/ 302 w 326"/>
              <a:gd name="T93" fmla="*/ 321 h 321"/>
              <a:gd name="T94" fmla="*/ 302 w 326"/>
              <a:gd name="T95" fmla="*/ 312 h 321"/>
              <a:gd name="T96" fmla="*/ 326 w 326"/>
              <a:gd name="T97" fmla="*/ 312 h 321"/>
              <a:gd name="T98" fmla="*/ 324 w 326"/>
              <a:gd name="T99" fmla="*/ 264 h 321"/>
              <a:gd name="T100" fmla="*/ 320 w 326"/>
              <a:gd name="T101" fmla="*/ 177 h 321"/>
              <a:gd name="T102" fmla="*/ 316 w 326"/>
              <a:gd name="T103" fmla="*/ 92 h 321"/>
              <a:gd name="T104" fmla="*/ 308 w 326"/>
              <a:gd name="T105" fmla="*/ 73 h 321"/>
              <a:gd name="T106" fmla="*/ 312 w 326"/>
              <a:gd name="T107" fmla="*/ 58 h 321"/>
              <a:gd name="T108" fmla="*/ 308 w 326"/>
              <a:gd name="T109" fmla="*/ 49 h 321"/>
              <a:gd name="T110" fmla="*/ 315 w 326"/>
              <a:gd name="T111" fmla="*/ 38 h 321"/>
              <a:gd name="T112" fmla="*/ 315 w 326"/>
              <a:gd name="T113" fmla="*/ 38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6" h="321">
                <a:moveTo>
                  <a:pt x="315" y="38"/>
                </a:moveTo>
                <a:lnTo>
                  <a:pt x="309" y="29"/>
                </a:lnTo>
                <a:lnTo>
                  <a:pt x="289" y="26"/>
                </a:lnTo>
                <a:lnTo>
                  <a:pt x="282" y="23"/>
                </a:lnTo>
                <a:lnTo>
                  <a:pt x="274" y="23"/>
                </a:lnTo>
                <a:lnTo>
                  <a:pt x="267" y="11"/>
                </a:lnTo>
                <a:lnTo>
                  <a:pt x="240" y="7"/>
                </a:lnTo>
                <a:lnTo>
                  <a:pt x="227" y="10"/>
                </a:lnTo>
                <a:lnTo>
                  <a:pt x="213" y="21"/>
                </a:lnTo>
                <a:lnTo>
                  <a:pt x="207" y="33"/>
                </a:lnTo>
                <a:lnTo>
                  <a:pt x="213" y="51"/>
                </a:lnTo>
                <a:lnTo>
                  <a:pt x="204" y="62"/>
                </a:lnTo>
                <a:lnTo>
                  <a:pt x="194" y="67"/>
                </a:lnTo>
                <a:lnTo>
                  <a:pt x="173" y="56"/>
                </a:lnTo>
                <a:lnTo>
                  <a:pt x="144" y="46"/>
                </a:lnTo>
                <a:lnTo>
                  <a:pt x="125" y="41"/>
                </a:lnTo>
                <a:lnTo>
                  <a:pt x="115" y="21"/>
                </a:lnTo>
                <a:lnTo>
                  <a:pt x="88" y="10"/>
                </a:lnTo>
                <a:lnTo>
                  <a:pt x="71" y="6"/>
                </a:lnTo>
                <a:lnTo>
                  <a:pt x="63" y="8"/>
                </a:lnTo>
                <a:lnTo>
                  <a:pt x="39" y="0"/>
                </a:lnTo>
                <a:lnTo>
                  <a:pt x="39" y="18"/>
                </a:lnTo>
                <a:lnTo>
                  <a:pt x="29" y="24"/>
                </a:lnTo>
                <a:lnTo>
                  <a:pt x="23" y="32"/>
                </a:lnTo>
                <a:lnTo>
                  <a:pt x="9" y="41"/>
                </a:lnTo>
                <a:lnTo>
                  <a:pt x="12" y="52"/>
                </a:lnTo>
                <a:lnTo>
                  <a:pt x="11" y="62"/>
                </a:lnTo>
                <a:lnTo>
                  <a:pt x="1" y="66"/>
                </a:lnTo>
                <a:lnTo>
                  <a:pt x="8" y="88"/>
                </a:lnTo>
                <a:lnTo>
                  <a:pt x="9" y="99"/>
                </a:lnTo>
                <a:lnTo>
                  <a:pt x="7" y="118"/>
                </a:lnTo>
                <a:lnTo>
                  <a:pt x="8" y="129"/>
                </a:lnTo>
                <a:lnTo>
                  <a:pt x="6" y="142"/>
                </a:lnTo>
                <a:lnTo>
                  <a:pt x="7" y="157"/>
                </a:lnTo>
                <a:lnTo>
                  <a:pt x="0" y="166"/>
                </a:lnTo>
                <a:lnTo>
                  <a:pt x="13" y="184"/>
                </a:lnTo>
                <a:lnTo>
                  <a:pt x="13" y="194"/>
                </a:lnTo>
                <a:lnTo>
                  <a:pt x="21" y="207"/>
                </a:lnTo>
                <a:lnTo>
                  <a:pt x="31" y="204"/>
                </a:lnTo>
                <a:lnTo>
                  <a:pt x="47" y="214"/>
                </a:lnTo>
                <a:lnTo>
                  <a:pt x="56" y="229"/>
                </a:lnTo>
                <a:lnTo>
                  <a:pt x="89" y="239"/>
                </a:lnTo>
                <a:lnTo>
                  <a:pt x="101" y="252"/>
                </a:lnTo>
                <a:lnTo>
                  <a:pt x="115" y="244"/>
                </a:lnTo>
                <a:lnTo>
                  <a:pt x="135" y="231"/>
                </a:lnTo>
                <a:lnTo>
                  <a:pt x="218" y="277"/>
                </a:lnTo>
                <a:lnTo>
                  <a:pt x="302" y="321"/>
                </a:lnTo>
                <a:lnTo>
                  <a:pt x="302" y="312"/>
                </a:lnTo>
                <a:lnTo>
                  <a:pt x="326" y="312"/>
                </a:lnTo>
                <a:lnTo>
                  <a:pt x="324" y="264"/>
                </a:lnTo>
                <a:lnTo>
                  <a:pt x="320" y="177"/>
                </a:lnTo>
                <a:lnTo>
                  <a:pt x="316" y="92"/>
                </a:lnTo>
                <a:lnTo>
                  <a:pt x="308" y="73"/>
                </a:lnTo>
                <a:lnTo>
                  <a:pt x="312" y="58"/>
                </a:lnTo>
                <a:lnTo>
                  <a:pt x="308" y="49"/>
                </a:lnTo>
                <a:lnTo>
                  <a:pt x="315" y="38"/>
                </a:lnTo>
                <a:lnTo>
                  <a:pt x="315" y="3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04" name="Sri Lanka">
            <a:extLst>
              <a:ext uri="{FF2B5EF4-FFF2-40B4-BE49-F238E27FC236}">
                <a16:creationId xmlns:a16="http://schemas.microsoft.com/office/drawing/2014/main" id="{BEBF2689-4458-4094-98CF-38A7D633217D}"/>
              </a:ext>
            </a:extLst>
          </p:cNvPr>
          <p:cNvSpPr>
            <a:spLocks/>
          </p:cNvSpPr>
          <p:nvPr/>
        </p:nvSpPr>
        <p:spPr bwMode="auto">
          <a:xfrm>
            <a:off x="8037510" y="3943905"/>
            <a:ext cx="74853" cy="154811"/>
          </a:xfrm>
          <a:custGeom>
            <a:avLst/>
            <a:gdLst>
              <a:gd name="T0" fmla="*/ 34 w 44"/>
              <a:gd name="T1" fmla="*/ 86 h 91"/>
              <a:gd name="T2" fmla="*/ 42 w 44"/>
              <a:gd name="T3" fmla="*/ 79 h 91"/>
              <a:gd name="T4" fmla="*/ 44 w 44"/>
              <a:gd name="T5" fmla="*/ 54 h 91"/>
              <a:gd name="T6" fmla="*/ 33 w 44"/>
              <a:gd name="T7" fmla="*/ 30 h 91"/>
              <a:gd name="T8" fmla="*/ 22 w 44"/>
              <a:gd name="T9" fmla="*/ 13 h 91"/>
              <a:gd name="T10" fmla="*/ 6 w 44"/>
              <a:gd name="T11" fmla="*/ 0 h 91"/>
              <a:gd name="T12" fmla="*/ 0 w 44"/>
              <a:gd name="T13" fmla="*/ 38 h 91"/>
              <a:gd name="T14" fmla="*/ 5 w 44"/>
              <a:gd name="T15" fmla="*/ 72 h 91"/>
              <a:gd name="T16" fmla="*/ 16 w 44"/>
              <a:gd name="T17" fmla="*/ 91 h 91"/>
              <a:gd name="T18" fmla="*/ 34 w 44"/>
              <a:gd name="T19" fmla="*/ 86 h 91"/>
              <a:gd name="T20" fmla="*/ 34 w 44"/>
              <a:gd name="T21" fmla="*/ 8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91">
                <a:moveTo>
                  <a:pt x="34" y="86"/>
                </a:moveTo>
                <a:lnTo>
                  <a:pt x="42" y="79"/>
                </a:lnTo>
                <a:lnTo>
                  <a:pt x="44" y="54"/>
                </a:lnTo>
                <a:lnTo>
                  <a:pt x="33" y="30"/>
                </a:lnTo>
                <a:lnTo>
                  <a:pt x="22" y="13"/>
                </a:lnTo>
                <a:lnTo>
                  <a:pt x="6" y="0"/>
                </a:lnTo>
                <a:lnTo>
                  <a:pt x="0" y="38"/>
                </a:lnTo>
                <a:lnTo>
                  <a:pt x="5" y="72"/>
                </a:lnTo>
                <a:lnTo>
                  <a:pt x="16" y="91"/>
                </a:lnTo>
                <a:lnTo>
                  <a:pt x="34" y="86"/>
                </a:lnTo>
                <a:lnTo>
                  <a:pt x="34" y="8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05" name="Lesotho">
            <a:extLst>
              <a:ext uri="{FF2B5EF4-FFF2-40B4-BE49-F238E27FC236}">
                <a16:creationId xmlns:a16="http://schemas.microsoft.com/office/drawing/2014/main" id="{F06998EA-BF38-46C5-9722-C93D4524E8E0}"/>
              </a:ext>
            </a:extLst>
          </p:cNvPr>
          <p:cNvSpPr>
            <a:spLocks/>
          </p:cNvSpPr>
          <p:nvPr/>
        </p:nvSpPr>
        <p:spPr bwMode="auto">
          <a:xfrm>
            <a:off x="6127044" y="5498816"/>
            <a:ext cx="79957" cy="79958"/>
          </a:xfrm>
          <a:custGeom>
            <a:avLst/>
            <a:gdLst>
              <a:gd name="T0" fmla="*/ 20 w 47"/>
              <a:gd name="T1" fmla="*/ 45 h 47"/>
              <a:gd name="T2" fmla="*/ 25 w 47"/>
              <a:gd name="T3" fmla="*/ 37 h 47"/>
              <a:gd name="T4" fmla="*/ 36 w 47"/>
              <a:gd name="T5" fmla="*/ 34 h 47"/>
              <a:gd name="T6" fmla="*/ 41 w 47"/>
              <a:gd name="T7" fmla="*/ 26 h 47"/>
              <a:gd name="T8" fmla="*/ 47 w 47"/>
              <a:gd name="T9" fmla="*/ 14 h 47"/>
              <a:gd name="T10" fmla="*/ 41 w 47"/>
              <a:gd name="T11" fmla="*/ 7 h 47"/>
              <a:gd name="T12" fmla="*/ 32 w 47"/>
              <a:gd name="T13" fmla="*/ 0 h 47"/>
              <a:gd name="T14" fmla="*/ 23 w 47"/>
              <a:gd name="T15" fmla="*/ 5 h 47"/>
              <a:gd name="T16" fmla="*/ 11 w 47"/>
              <a:gd name="T17" fmla="*/ 14 h 47"/>
              <a:gd name="T18" fmla="*/ 0 w 47"/>
              <a:gd name="T19" fmla="*/ 29 h 47"/>
              <a:gd name="T20" fmla="*/ 13 w 47"/>
              <a:gd name="T21" fmla="*/ 47 h 47"/>
              <a:gd name="T22" fmla="*/ 20 w 47"/>
              <a:gd name="T23" fmla="*/ 45 h 47"/>
              <a:gd name="T24" fmla="*/ 20 w 47"/>
              <a:gd name="T25" fmla="*/ 4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7">
                <a:moveTo>
                  <a:pt x="20" y="45"/>
                </a:moveTo>
                <a:lnTo>
                  <a:pt x="25" y="37"/>
                </a:lnTo>
                <a:lnTo>
                  <a:pt x="36" y="34"/>
                </a:lnTo>
                <a:lnTo>
                  <a:pt x="41" y="26"/>
                </a:lnTo>
                <a:lnTo>
                  <a:pt x="47" y="14"/>
                </a:lnTo>
                <a:lnTo>
                  <a:pt x="41" y="7"/>
                </a:lnTo>
                <a:lnTo>
                  <a:pt x="32" y="0"/>
                </a:lnTo>
                <a:lnTo>
                  <a:pt x="23" y="5"/>
                </a:lnTo>
                <a:lnTo>
                  <a:pt x="11" y="14"/>
                </a:lnTo>
                <a:lnTo>
                  <a:pt x="0" y="29"/>
                </a:lnTo>
                <a:lnTo>
                  <a:pt x="13" y="47"/>
                </a:lnTo>
                <a:lnTo>
                  <a:pt x="20" y="45"/>
                </a:lnTo>
                <a:lnTo>
                  <a:pt x="20" y="4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06" name="Lithuania">
            <a:extLst>
              <a:ext uri="{FF2B5EF4-FFF2-40B4-BE49-F238E27FC236}">
                <a16:creationId xmlns:a16="http://schemas.microsoft.com/office/drawing/2014/main" id="{A0BD5BBA-FD85-4DFD-93EA-CA4605A4419B}"/>
              </a:ext>
            </a:extLst>
          </p:cNvPr>
          <p:cNvSpPr>
            <a:spLocks/>
          </p:cNvSpPr>
          <p:nvPr/>
        </p:nvSpPr>
        <p:spPr bwMode="auto">
          <a:xfrm>
            <a:off x="5822528" y="2081075"/>
            <a:ext cx="168420" cy="95268"/>
          </a:xfrm>
          <a:custGeom>
            <a:avLst/>
            <a:gdLst>
              <a:gd name="T0" fmla="*/ 97 w 99"/>
              <a:gd name="T1" fmla="*/ 17 h 56"/>
              <a:gd name="T2" fmla="*/ 78 w 99"/>
              <a:gd name="T3" fmla="*/ 6 h 56"/>
              <a:gd name="T4" fmla="*/ 69 w 99"/>
              <a:gd name="T5" fmla="*/ 5 h 56"/>
              <a:gd name="T6" fmla="*/ 65 w 99"/>
              <a:gd name="T7" fmla="*/ 0 h 56"/>
              <a:gd name="T8" fmla="*/ 48 w 99"/>
              <a:gd name="T9" fmla="*/ 2 h 56"/>
              <a:gd name="T10" fmla="*/ 19 w 99"/>
              <a:gd name="T11" fmla="*/ 1 h 56"/>
              <a:gd name="T12" fmla="*/ 0 w 99"/>
              <a:gd name="T13" fmla="*/ 8 h 56"/>
              <a:gd name="T14" fmla="*/ 7 w 99"/>
              <a:gd name="T15" fmla="*/ 27 h 56"/>
              <a:gd name="T16" fmla="*/ 26 w 99"/>
              <a:gd name="T17" fmla="*/ 30 h 56"/>
              <a:gd name="T18" fmla="*/ 33 w 99"/>
              <a:gd name="T19" fmla="*/ 34 h 56"/>
              <a:gd name="T20" fmla="*/ 33 w 99"/>
              <a:gd name="T21" fmla="*/ 41 h 56"/>
              <a:gd name="T22" fmla="*/ 35 w 99"/>
              <a:gd name="T23" fmla="*/ 46 h 56"/>
              <a:gd name="T24" fmla="*/ 44 w 99"/>
              <a:gd name="T25" fmla="*/ 48 h 56"/>
              <a:gd name="T26" fmla="*/ 50 w 99"/>
              <a:gd name="T27" fmla="*/ 56 h 56"/>
              <a:gd name="T28" fmla="*/ 67 w 99"/>
              <a:gd name="T29" fmla="*/ 56 h 56"/>
              <a:gd name="T30" fmla="*/ 84 w 99"/>
              <a:gd name="T31" fmla="*/ 47 h 56"/>
              <a:gd name="T32" fmla="*/ 86 w 99"/>
              <a:gd name="T33" fmla="*/ 34 h 56"/>
              <a:gd name="T34" fmla="*/ 99 w 99"/>
              <a:gd name="T35" fmla="*/ 27 h 56"/>
              <a:gd name="T36" fmla="*/ 97 w 99"/>
              <a:gd name="T37" fmla="*/ 17 h 56"/>
              <a:gd name="T38" fmla="*/ 97 w 99"/>
              <a:gd name="T39" fmla="*/ 1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9" h="56">
                <a:moveTo>
                  <a:pt x="97" y="17"/>
                </a:moveTo>
                <a:lnTo>
                  <a:pt x="78" y="6"/>
                </a:lnTo>
                <a:lnTo>
                  <a:pt x="69" y="5"/>
                </a:lnTo>
                <a:lnTo>
                  <a:pt x="65" y="0"/>
                </a:lnTo>
                <a:lnTo>
                  <a:pt x="48" y="2"/>
                </a:lnTo>
                <a:lnTo>
                  <a:pt x="19" y="1"/>
                </a:lnTo>
                <a:lnTo>
                  <a:pt x="0" y="8"/>
                </a:lnTo>
                <a:lnTo>
                  <a:pt x="7" y="27"/>
                </a:lnTo>
                <a:lnTo>
                  <a:pt x="26" y="30"/>
                </a:lnTo>
                <a:lnTo>
                  <a:pt x="33" y="34"/>
                </a:lnTo>
                <a:lnTo>
                  <a:pt x="33" y="41"/>
                </a:lnTo>
                <a:lnTo>
                  <a:pt x="35" y="46"/>
                </a:lnTo>
                <a:lnTo>
                  <a:pt x="44" y="48"/>
                </a:lnTo>
                <a:lnTo>
                  <a:pt x="50" y="56"/>
                </a:lnTo>
                <a:lnTo>
                  <a:pt x="67" y="56"/>
                </a:lnTo>
                <a:lnTo>
                  <a:pt x="84" y="47"/>
                </a:lnTo>
                <a:lnTo>
                  <a:pt x="86" y="34"/>
                </a:lnTo>
                <a:lnTo>
                  <a:pt x="99" y="27"/>
                </a:lnTo>
                <a:lnTo>
                  <a:pt x="97" y="17"/>
                </a:lnTo>
                <a:lnTo>
                  <a:pt x="97" y="1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07" name="Luxembourg">
            <a:extLst>
              <a:ext uri="{FF2B5EF4-FFF2-40B4-BE49-F238E27FC236}">
                <a16:creationId xmlns:a16="http://schemas.microsoft.com/office/drawing/2014/main" id="{1F18FCF1-80FB-40C0-8458-AF98AE775028}"/>
              </a:ext>
            </a:extLst>
          </p:cNvPr>
          <p:cNvSpPr>
            <a:spLocks/>
          </p:cNvSpPr>
          <p:nvPr/>
        </p:nvSpPr>
        <p:spPr bwMode="auto">
          <a:xfrm>
            <a:off x="5376811" y="2322648"/>
            <a:ext cx="17012" cy="25518"/>
          </a:xfrm>
          <a:custGeom>
            <a:avLst/>
            <a:gdLst>
              <a:gd name="T0" fmla="*/ 9 w 10"/>
              <a:gd name="T1" fmla="*/ 15 h 15"/>
              <a:gd name="T2" fmla="*/ 10 w 10"/>
              <a:gd name="T3" fmla="*/ 5 h 15"/>
              <a:gd name="T4" fmla="*/ 7 w 10"/>
              <a:gd name="T5" fmla="*/ 0 h 15"/>
              <a:gd name="T6" fmla="*/ 2 w 10"/>
              <a:gd name="T7" fmla="*/ 1 h 15"/>
              <a:gd name="T8" fmla="*/ 0 w 10"/>
              <a:gd name="T9" fmla="*/ 14 h 15"/>
              <a:gd name="T10" fmla="*/ 4 w 10"/>
              <a:gd name="T11" fmla="*/ 15 h 15"/>
              <a:gd name="T12" fmla="*/ 9 w 10"/>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0" h="15">
                <a:moveTo>
                  <a:pt x="9" y="15"/>
                </a:moveTo>
                <a:lnTo>
                  <a:pt x="10" y="5"/>
                </a:lnTo>
                <a:lnTo>
                  <a:pt x="7" y="0"/>
                </a:lnTo>
                <a:lnTo>
                  <a:pt x="2" y="1"/>
                </a:lnTo>
                <a:lnTo>
                  <a:pt x="0" y="14"/>
                </a:lnTo>
                <a:lnTo>
                  <a:pt x="4" y="15"/>
                </a:lnTo>
                <a:lnTo>
                  <a:pt x="9" y="1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08" name="Latvia">
            <a:extLst>
              <a:ext uri="{FF2B5EF4-FFF2-40B4-BE49-F238E27FC236}">
                <a16:creationId xmlns:a16="http://schemas.microsoft.com/office/drawing/2014/main" id="{D53C7392-C0A8-4F27-B072-5F4F452B7563}"/>
              </a:ext>
            </a:extLst>
          </p:cNvPr>
          <p:cNvSpPr>
            <a:spLocks/>
          </p:cNvSpPr>
          <p:nvPr/>
        </p:nvSpPr>
        <p:spPr bwMode="auto">
          <a:xfrm>
            <a:off x="5820826" y="2021533"/>
            <a:ext cx="210951" cy="88463"/>
          </a:xfrm>
          <a:custGeom>
            <a:avLst/>
            <a:gdLst>
              <a:gd name="T0" fmla="*/ 103 w 124"/>
              <a:gd name="T1" fmla="*/ 10 h 52"/>
              <a:gd name="T2" fmla="*/ 89 w 124"/>
              <a:gd name="T3" fmla="*/ 10 h 52"/>
              <a:gd name="T4" fmla="*/ 73 w 124"/>
              <a:gd name="T5" fmla="*/ 3 h 52"/>
              <a:gd name="T6" fmla="*/ 65 w 124"/>
              <a:gd name="T7" fmla="*/ 0 h 52"/>
              <a:gd name="T8" fmla="*/ 51 w 124"/>
              <a:gd name="T9" fmla="*/ 4 h 52"/>
              <a:gd name="T10" fmla="*/ 51 w 124"/>
              <a:gd name="T11" fmla="*/ 21 h 52"/>
              <a:gd name="T12" fmla="*/ 37 w 124"/>
              <a:gd name="T13" fmla="*/ 22 h 52"/>
              <a:gd name="T14" fmla="*/ 21 w 124"/>
              <a:gd name="T15" fmla="*/ 5 h 52"/>
              <a:gd name="T16" fmla="*/ 6 w 124"/>
              <a:gd name="T17" fmla="*/ 12 h 52"/>
              <a:gd name="T18" fmla="*/ 0 w 124"/>
              <a:gd name="T19" fmla="*/ 26 h 52"/>
              <a:gd name="T20" fmla="*/ 1 w 124"/>
              <a:gd name="T21" fmla="*/ 43 h 52"/>
              <a:gd name="T22" fmla="*/ 20 w 124"/>
              <a:gd name="T23" fmla="*/ 36 h 52"/>
              <a:gd name="T24" fmla="*/ 49 w 124"/>
              <a:gd name="T25" fmla="*/ 37 h 52"/>
              <a:gd name="T26" fmla="*/ 66 w 124"/>
              <a:gd name="T27" fmla="*/ 35 h 52"/>
              <a:gd name="T28" fmla="*/ 70 w 124"/>
              <a:gd name="T29" fmla="*/ 40 h 52"/>
              <a:gd name="T30" fmla="*/ 79 w 124"/>
              <a:gd name="T31" fmla="*/ 41 h 52"/>
              <a:gd name="T32" fmla="*/ 98 w 124"/>
              <a:gd name="T33" fmla="*/ 52 h 52"/>
              <a:gd name="T34" fmla="*/ 107 w 124"/>
              <a:gd name="T35" fmla="*/ 49 h 52"/>
              <a:gd name="T36" fmla="*/ 124 w 124"/>
              <a:gd name="T37" fmla="*/ 40 h 52"/>
              <a:gd name="T38" fmla="*/ 116 w 124"/>
              <a:gd name="T39" fmla="*/ 26 h 52"/>
              <a:gd name="T40" fmla="*/ 113 w 124"/>
              <a:gd name="T41" fmla="*/ 16 h 52"/>
              <a:gd name="T42" fmla="*/ 103 w 124"/>
              <a:gd name="T43" fmla="*/ 10 h 52"/>
              <a:gd name="T44" fmla="*/ 103 w 124"/>
              <a:gd name="T45"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 h="52">
                <a:moveTo>
                  <a:pt x="103" y="10"/>
                </a:moveTo>
                <a:lnTo>
                  <a:pt x="89" y="10"/>
                </a:lnTo>
                <a:lnTo>
                  <a:pt x="73" y="3"/>
                </a:lnTo>
                <a:lnTo>
                  <a:pt x="65" y="0"/>
                </a:lnTo>
                <a:lnTo>
                  <a:pt x="51" y="4"/>
                </a:lnTo>
                <a:lnTo>
                  <a:pt x="51" y="21"/>
                </a:lnTo>
                <a:lnTo>
                  <a:pt x="37" y="22"/>
                </a:lnTo>
                <a:lnTo>
                  <a:pt x="21" y="5"/>
                </a:lnTo>
                <a:lnTo>
                  <a:pt x="6" y="12"/>
                </a:lnTo>
                <a:lnTo>
                  <a:pt x="0" y="26"/>
                </a:lnTo>
                <a:lnTo>
                  <a:pt x="1" y="43"/>
                </a:lnTo>
                <a:lnTo>
                  <a:pt x="20" y="36"/>
                </a:lnTo>
                <a:lnTo>
                  <a:pt x="49" y="37"/>
                </a:lnTo>
                <a:lnTo>
                  <a:pt x="66" y="35"/>
                </a:lnTo>
                <a:lnTo>
                  <a:pt x="70" y="40"/>
                </a:lnTo>
                <a:lnTo>
                  <a:pt x="79" y="41"/>
                </a:lnTo>
                <a:lnTo>
                  <a:pt x="98" y="52"/>
                </a:lnTo>
                <a:lnTo>
                  <a:pt x="107" y="49"/>
                </a:lnTo>
                <a:lnTo>
                  <a:pt x="124" y="40"/>
                </a:lnTo>
                <a:lnTo>
                  <a:pt x="116" y="26"/>
                </a:lnTo>
                <a:lnTo>
                  <a:pt x="113" y="16"/>
                </a:lnTo>
                <a:lnTo>
                  <a:pt x="103" y="10"/>
                </a:lnTo>
                <a:lnTo>
                  <a:pt x="103" y="1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09" name="Marocco">
            <a:extLst>
              <a:ext uri="{FF2B5EF4-FFF2-40B4-BE49-F238E27FC236}">
                <a16:creationId xmlns:a16="http://schemas.microsoft.com/office/drawing/2014/main" id="{CA4CC041-8707-41BB-8C15-3BF0697A404E}"/>
              </a:ext>
            </a:extLst>
          </p:cNvPr>
          <p:cNvSpPr>
            <a:spLocks/>
          </p:cNvSpPr>
          <p:nvPr/>
        </p:nvSpPr>
        <p:spPr bwMode="auto">
          <a:xfrm>
            <a:off x="4604459" y="2894256"/>
            <a:ext cx="557998" cy="580114"/>
          </a:xfrm>
          <a:custGeom>
            <a:avLst/>
            <a:gdLst>
              <a:gd name="T0" fmla="*/ 299 w 328"/>
              <a:gd name="T1" fmla="*/ 14 h 341"/>
              <a:gd name="T2" fmla="*/ 260 w 328"/>
              <a:gd name="T3" fmla="*/ 10 h 341"/>
              <a:gd name="T4" fmla="*/ 234 w 328"/>
              <a:gd name="T5" fmla="*/ 0 h 341"/>
              <a:gd name="T6" fmla="*/ 213 w 328"/>
              <a:gd name="T7" fmla="*/ 40 h 341"/>
              <a:gd name="T8" fmla="*/ 178 w 328"/>
              <a:gd name="T9" fmla="*/ 60 h 341"/>
              <a:gd name="T10" fmla="*/ 161 w 328"/>
              <a:gd name="T11" fmla="*/ 89 h 341"/>
              <a:gd name="T12" fmla="*/ 157 w 328"/>
              <a:gd name="T13" fmla="*/ 139 h 341"/>
              <a:gd name="T14" fmla="*/ 130 w 328"/>
              <a:gd name="T15" fmla="*/ 165 h 341"/>
              <a:gd name="T16" fmla="*/ 95 w 328"/>
              <a:gd name="T17" fmla="*/ 184 h 341"/>
              <a:gd name="T18" fmla="*/ 83 w 328"/>
              <a:gd name="T19" fmla="*/ 193 h 341"/>
              <a:gd name="T20" fmla="*/ 56 w 328"/>
              <a:gd name="T21" fmla="*/ 226 h 341"/>
              <a:gd name="T22" fmla="*/ 48 w 328"/>
              <a:gd name="T23" fmla="*/ 254 h 341"/>
              <a:gd name="T24" fmla="*/ 35 w 328"/>
              <a:gd name="T25" fmla="*/ 271 h 341"/>
              <a:gd name="T26" fmla="*/ 15 w 328"/>
              <a:gd name="T27" fmla="*/ 303 h 341"/>
              <a:gd name="T28" fmla="*/ 10 w 328"/>
              <a:gd name="T29" fmla="*/ 324 h 341"/>
              <a:gd name="T30" fmla="*/ 0 w 328"/>
              <a:gd name="T31" fmla="*/ 341 h 341"/>
              <a:gd name="T32" fmla="*/ 47 w 328"/>
              <a:gd name="T33" fmla="*/ 340 h 341"/>
              <a:gd name="T34" fmla="*/ 58 w 328"/>
              <a:gd name="T35" fmla="*/ 320 h 341"/>
              <a:gd name="T36" fmla="*/ 95 w 328"/>
              <a:gd name="T37" fmla="*/ 261 h 341"/>
              <a:gd name="T38" fmla="*/ 111 w 328"/>
              <a:gd name="T39" fmla="*/ 229 h 341"/>
              <a:gd name="T40" fmla="*/ 136 w 328"/>
              <a:gd name="T41" fmla="*/ 209 h 341"/>
              <a:gd name="T42" fmla="*/ 153 w 328"/>
              <a:gd name="T43" fmla="*/ 212 h 341"/>
              <a:gd name="T44" fmla="*/ 172 w 328"/>
              <a:gd name="T45" fmla="*/ 205 h 341"/>
              <a:gd name="T46" fmla="*/ 171 w 328"/>
              <a:gd name="T47" fmla="*/ 193 h 341"/>
              <a:gd name="T48" fmla="*/ 175 w 328"/>
              <a:gd name="T49" fmla="*/ 165 h 341"/>
              <a:gd name="T50" fmla="*/ 228 w 328"/>
              <a:gd name="T51" fmla="*/ 144 h 341"/>
              <a:gd name="T52" fmla="*/ 252 w 328"/>
              <a:gd name="T53" fmla="*/ 125 h 341"/>
              <a:gd name="T54" fmla="*/ 277 w 328"/>
              <a:gd name="T55" fmla="*/ 99 h 341"/>
              <a:gd name="T56" fmla="*/ 298 w 328"/>
              <a:gd name="T57" fmla="*/ 87 h 341"/>
              <a:gd name="T58" fmla="*/ 328 w 328"/>
              <a:gd name="T59" fmla="*/ 74 h 341"/>
              <a:gd name="T60" fmla="*/ 316 w 328"/>
              <a:gd name="T61" fmla="*/ 45 h 341"/>
              <a:gd name="T62" fmla="*/ 307 w 328"/>
              <a:gd name="T63" fmla="*/ 15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8" h="341">
                <a:moveTo>
                  <a:pt x="307" y="15"/>
                </a:moveTo>
                <a:lnTo>
                  <a:pt x="299" y="14"/>
                </a:lnTo>
                <a:lnTo>
                  <a:pt x="279" y="9"/>
                </a:lnTo>
                <a:lnTo>
                  <a:pt x="260" y="10"/>
                </a:lnTo>
                <a:lnTo>
                  <a:pt x="248" y="0"/>
                </a:lnTo>
                <a:lnTo>
                  <a:pt x="234" y="0"/>
                </a:lnTo>
                <a:lnTo>
                  <a:pt x="226" y="15"/>
                </a:lnTo>
                <a:lnTo>
                  <a:pt x="213" y="40"/>
                </a:lnTo>
                <a:lnTo>
                  <a:pt x="198" y="49"/>
                </a:lnTo>
                <a:lnTo>
                  <a:pt x="178" y="60"/>
                </a:lnTo>
                <a:lnTo>
                  <a:pt x="165" y="76"/>
                </a:lnTo>
                <a:lnTo>
                  <a:pt x="161" y="89"/>
                </a:lnTo>
                <a:lnTo>
                  <a:pt x="153" y="109"/>
                </a:lnTo>
                <a:lnTo>
                  <a:pt x="157" y="139"/>
                </a:lnTo>
                <a:lnTo>
                  <a:pt x="140" y="158"/>
                </a:lnTo>
                <a:lnTo>
                  <a:pt x="130" y="165"/>
                </a:lnTo>
                <a:lnTo>
                  <a:pt x="113" y="181"/>
                </a:lnTo>
                <a:lnTo>
                  <a:pt x="95" y="184"/>
                </a:lnTo>
                <a:lnTo>
                  <a:pt x="84" y="193"/>
                </a:lnTo>
                <a:lnTo>
                  <a:pt x="83" y="193"/>
                </a:lnTo>
                <a:lnTo>
                  <a:pt x="70" y="217"/>
                </a:lnTo>
                <a:lnTo>
                  <a:pt x="56" y="226"/>
                </a:lnTo>
                <a:lnTo>
                  <a:pt x="49" y="241"/>
                </a:lnTo>
                <a:lnTo>
                  <a:pt x="48" y="254"/>
                </a:lnTo>
                <a:lnTo>
                  <a:pt x="41" y="268"/>
                </a:lnTo>
                <a:lnTo>
                  <a:pt x="35" y="271"/>
                </a:lnTo>
                <a:lnTo>
                  <a:pt x="23" y="286"/>
                </a:lnTo>
                <a:lnTo>
                  <a:pt x="15" y="303"/>
                </a:lnTo>
                <a:lnTo>
                  <a:pt x="17" y="312"/>
                </a:lnTo>
                <a:lnTo>
                  <a:pt x="10" y="324"/>
                </a:lnTo>
                <a:lnTo>
                  <a:pt x="1" y="330"/>
                </a:lnTo>
                <a:lnTo>
                  <a:pt x="0" y="341"/>
                </a:lnTo>
                <a:lnTo>
                  <a:pt x="0" y="341"/>
                </a:lnTo>
                <a:lnTo>
                  <a:pt x="47" y="340"/>
                </a:lnTo>
                <a:lnTo>
                  <a:pt x="50" y="330"/>
                </a:lnTo>
                <a:lnTo>
                  <a:pt x="58" y="320"/>
                </a:lnTo>
                <a:lnTo>
                  <a:pt x="66" y="287"/>
                </a:lnTo>
                <a:lnTo>
                  <a:pt x="95" y="261"/>
                </a:lnTo>
                <a:lnTo>
                  <a:pt x="105" y="231"/>
                </a:lnTo>
                <a:lnTo>
                  <a:pt x="111" y="229"/>
                </a:lnTo>
                <a:lnTo>
                  <a:pt x="119" y="211"/>
                </a:lnTo>
                <a:lnTo>
                  <a:pt x="136" y="209"/>
                </a:lnTo>
                <a:lnTo>
                  <a:pt x="143" y="212"/>
                </a:lnTo>
                <a:lnTo>
                  <a:pt x="153" y="212"/>
                </a:lnTo>
                <a:lnTo>
                  <a:pt x="159" y="206"/>
                </a:lnTo>
                <a:lnTo>
                  <a:pt x="172" y="205"/>
                </a:lnTo>
                <a:lnTo>
                  <a:pt x="171" y="193"/>
                </a:lnTo>
                <a:lnTo>
                  <a:pt x="171" y="193"/>
                </a:lnTo>
                <a:lnTo>
                  <a:pt x="174" y="193"/>
                </a:lnTo>
                <a:lnTo>
                  <a:pt x="175" y="165"/>
                </a:lnTo>
                <a:lnTo>
                  <a:pt x="208" y="147"/>
                </a:lnTo>
                <a:lnTo>
                  <a:pt x="228" y="144"/>
                </a:lnTo>
                <a:lnTo>
                  <a:pt x="245" y="137"/>
                </a:lnTo>
                <a:lnTo>
                  <a:pt x="252" y="125"/>
                </a:lnTo>
                <a:lnTo>
                  <a:pt x="276" y="115"/>
                </a:lnTo>
                <a:lnTo>
                  <a:pt x="277" y="99"/>
                </a:lnTo>
                <a:lnTo>
                  <a:pt x="289" y="97"/>
                </a:lnTo>
                <a:lnTo>
                  <a:pt x="298" y="87"/>
                </a:lnTo>
                <a:lnTo>
                  <a:pt x="324" y="84"/>
                </a:lnTo>
                <a:lnTo>
                  <a:pt x="328" y="74"/>
                </a:lnTo>
                <a:lnTo>
                  <a:pt x="322" y="69"/>
                </a:lnTo>
                <a:lnTo>
                  <a:pt x="316" y="45"/>
                </a:lnTo>
                <a:lnTo>
                  <a:pt x="315" y="30"/>
                </a:lnTo>
                <a:lnTo>
                  <a:pt x="307" y="15"/>
                </a:lnTo>
                <a:lnTo>
                  <a:pt x="307" y="1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10" name="Moldova">
            <a:extLst>
              <a:ext uri="{FF2B5EF4-FFF2-40B4-BE49-F238E27FC236}">
                <a16:creationId xmlns:a16="http://schemas.microsoft.com/office/drawing/2014/main" id="{BF0DE215-084B-4BDA-9123-5AA7C3677F5F}"/>
              </a:ext>
            </a:extLst>
          </p:cNvPr>
          <p:cNvSpPr>
            <a:spLocks/>
          </p:cNvSpPr>
          <p:nvPr/>
        </p:nvSpPr>
        <p:spPr bwMode="auto">
          <a:xfrm>
            <a:off x="6035181" y="2387293"/>
            <a:ext cx="117383" cy="117384"/>
          </a:xfrm>
          <a:custGeom>
            <a:avLst/>
            <a:gdLst>
              <a:gd name="T0" fmla="*/ 39 w 69"/>
              <a:gd name="T1" fmla="*/ 69 h 69"/>
              <a:gd name="T2" fmla="*/ 43 w 69"/>
              <a:gd name="T3" fmla="*/ 66 h 69"/>
              <a:gd name="T4" fmla="*/ 45 w 69"/>
              <a:gd name="T5" fmla="*/ 59 h 69"/>
              <a:gd name="T6" fmla="*/ 49 w 69"/>
              <a:gd name="T7" fmla="*/ 51 h 69"/>
              <a:gd name="T8" fmla="*/ 47 w 69"/>
              <a:gd name="T9" fmla="*/ 47 h 69"/>
              <a:gd name="T10" fmla="*/ 51 w 69"/>
              <a:gd name="T11" fmla="*/ 46 h 69"/>
              <a:gd name="T12" fmla="*/ 54 w 69"/>
              <a:gd name="T13" fmla="*/ 48 h 69"/>
              <a:gd name="T14" fmla="*/ 65 w 69"/>
              <a:gd name="T15" fmla="*/ 49 h 69"/>
              <a:gd name="T16" fmla="*/ 69 w 69"/>
              <a:gd name="T17" fmla="*/ 47 h 69"/>
              <a:gd name="T18" fmla="*/ 65 w 69"/>
              <a:gd name="T19" fmla="*/ 46 h 69"/>
              <a:gd name="T20" fmla="*/ 66 w 69"/>
              <a:gd name="T21" fmla="*/ 42 h 69"/>
              <a:gd name="T22" fmla="*/ 58 w 69"/>
              <a:gd name="T23" fmla="*/ 36 h 69"/>
              <a:gd name="T24" fmla="*/ 55 w 69"/>
              <a:gd name="T25" fmla="*/ 26 h 69"/>
              <a:gd name="T26" fmla="*/ 47 w 69"/>
              <a:gd name="T27" fmla="*/ 22 h 69"/>
              <a:gd name="T28" fmla="*/ 47 w 69"/>
              <a:gd name="T29" fmla="*/ 14 h 69"/>
              <a:gd name="T30" fmla="*/ 38 w 69"/>
              <a:gd name="T31" fmla="*/ 8 h 69"/>
              <a:gd name="T32" fmla="*/ 30 w 69"/>
              <a:gd name="T33" fmla="*/ 7 h 69"/>
              <a:gd name="T34" fmla="*/ 16 w 69"/>
              <a:gd name="T35" fmla="*/ 0 h 69"/>
              <a:gd name="T36" fmla="*/ 4 w 69"/>
              <a:gd name="T37" fmla="*/ 3 h 69"/>
              <a:gd name="T38" fmla="*/ 0 w 69"/>
              <a:gd name="T39" fmla="*/ 5 h 69"/>
              <a:gd name="T40" fmla="*/ 6 w 69"/>
              <a:gd name="T41" fmla="*/ 8 h 69"/>
              <a:gd name="T42" fmla="*/ 13 w 69"/>
              <a:gd name="T43" fmla="*/ 15 h 69"/>
              <a:gd name="T44" fmla="*/ 20 w 69"/>
              <a:gd name="T45" fmla="*/ 25 h 69"/>
              <a:gd name="T46" fmla="*/ 32 w 69"/>
              <a:gd name="T47" fmla="*/ 38 h 69"/>
              <a:gd name="T48" fmla="*/ 35 w 69"/>
              <a:gd name="T49" fmla="*/ 48 h 69"/>
              <a:gd name="T50" fmla="*/ 34 w 69"/>
              <a:gd name="T51" fmla="*/ 59 h 69"/>
              <a:gd name="T52" fmla="*/ 39 w 69"/>
              <a:gd name="T53"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69">
                <a:moveTo>
                  <a:pt x="39" y="69"/>
                </a:moveTo>
                <a:lnTo>
                  <a:pt x="43" y="66"/>
                </a:lnTo>
                <a:lnTo>
                  <a:pt x="45" y="59"/>
                </a:lnTo>
                <a:lnTo>
                  <a:pt x="49" y="51"/>
                </a:lnTo>
                <a:lnTo>
                  <a:pt x="47" y="47"/>
                </a:lnTo>
                <a:lnTo>
                  <a:pt x="51" y="46"/>
                </a:lnTo>
                <a:lnTo>
                  <a:pt x="54" y="48"/>
                </a:lnTo>
                <a:lnTo>
                  <a:pt x="65" y="49"/>
                </a:lnTo>
                <a:lnTo>
                  <a:pt x="69" y="47"/>
                </a:lnTo>
                <a:lnTo>
                  <a:pt x="65" y="46"/>
                </a:lnTo>
                <a:lnTo>
                  <a:pt x="66" y="42"/>
                </a:lnTo>
                <a:lnTo>
                  <a:pt x="58" y="36"/>
                </a:lnTo>
                <a:lnTo>
                  <a:pt x="55" y="26"/>
                </a:lnTo>
                <a:lnTo>
                  <a:pt x="47" y="22"/>
                </a:lnTo>
                <a:lnTo>
                  <a:pt x="47" y="14"/>
                </a:lnTo>
                <a:lnTo>
                  <a:pt x="38" y="8"/>
                </a:lnTo>
                <a:lnTo>
                  <a:pt x="30" y="7"/>
                </a:lnTo>
                <a:lnTo>
                  <a:pt x="16" y="0"/>
                </a:lnTo>
                <a:lnTo>
                  <a:pt x="4" y="3"/>
                </a:lnTo>
                <a:lnTo>
                  <a:pt x="0" y="5"/>
                </a:lnTo>
                <a:lnTo>
                  <a:pt x="6" y="8"/>
                </a:lnTo>
                <a:lnTo>
                  <a:pt x="13" y="15"/>
                </a:lnTo>
                <a:lnTo>
                  <a:pt x="20" y="25"/>
                </a:lnTo>
                <a:lnTo>
                  <a:pt x="32" y="38"/>
                </a:lnTo>
                <a:lnTo>
                  <a:pt x="35" y="48"/>
                </a:lnTo>
                <a:lnTo>
                  <a:pt x="34" y="59"/>
                </a:lnTo>
                <a:lnTo>
                  <a:pt x="39" y="6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11" name="Madagascar">
            <a:extLst>
              <a:ext uri="{FF2B5EF4-FFF2-40B4-BE49-F238E27FC236}">
                <a16:creationId xmlns:a16="http://schemas.microsoft.com/office/drawing/2014/main" id="{0109517A-C013-49A8-B870-9F7A30141D50}"/>
              </a:ext>
            </a:extLst>
          </p:cNvPr>
          <p:cNvSpPr>
            <a:spLocks/>
          </p:cNvSpPr>
          <p:nvPr/>
        </p:nvSpPr>
        <p:spPr bwMode="auto">
          <a:xfrm>
            <a:off x="6710562" y="4826836"/>
            <a:ext cx="273895" cy="547791"/>
          </a:xfrm>
          <a:custGeom>
            <a:avLst/>
            <a:gdLst>
              <a:gd name="T0" fmla="*/ 154 w 161"/>
              <a:gd name="T1" fmla="*/ 36 h 322"/>
              <a:gd name="T2" fmla="*/ 150 w 161"/>
              <a:gd name="T3" fmla="*/ 21 h 322"/>
              <a:gd name="T4" fmla="*/ 145 w 161"/>
              <a:gd name="T5" fmla="*/ 10 h 322"/>
              <a:gd name="T6" fmla="*/ 139 w 161"/>
              <a:gd name="T7" fmla="*/ 0 h 322"/>
              <a:gd name="T8" fmla="*/ 131 w 161"/>
              <a:gd name="T9" fmla="*/ 10 h 322"/>
              <a:gd name="T10" fmla="*/ 129 w 161"/>
              <a:gd name="T11" fmla="*/ 25 h 322"/>
              <a:gd name="T12" fmla="*/ 117 w 161"/>
              <a:gd name="T13" fmla="*/ 42 h 322"/>
              <a:gd name="T14" fmla="*/ 109 w 161"/>
              <a:gd name="T15" fmla="*/ 38 h 322"/>
              <a:gd name="T16" fmla="*/ 111 w 161"/>
              <a:gd name="T17" fmla="*/ 49 h 322"/>
              <a:gd name="T18" fmla="*/ 104 w 161"/>
              <a:gd name="T19" fmla="*/ 61 h 322"/>
              <a:gd name="T20" fmla="*/ 86 w 161"/>
              <a:gd name="T21" fmla="*/ 76 h 322"/>
              <a:gd name="T22" fmla="*/ 73 w 161"/>
              <a:gd name="T23" fmla="*/ 89 h 322"/>
              <a:gd name="T24" fmla="*/ 65 w 161"/>
              <a:gd name="T25" fmla="*/ 89 h 322"/>
              <a:gd name="T26" fmla="*/ 56 w 161"/>
              <a:gd name="T27" fmla="*/ 93 h 322"/>
              <a:gd name="T28" fmla="*/ 45 w 161"/>
              <a:gd name="T29" fmla="*/ 98 h 322"/>
              <a:gd name="T30" fmla="*/ 34 w 161"/>
              <a:gd name="T31" fmla="*/ 99 h 322"/>
              <a:gd name="T32" fmla="*/ 30 w 161"/>
              <a:gd name="T33" fmla="*/ 115 h 322"/>
              <a:gd name="T34" fmla="*/ 23 w 161"/>
              <a:gd name="T35" fmla="*/ 128 h 322"/>
              <a:gd name="T36" fmla="*/ 23 w 161"/>
              <a:gd name="T37" fmla="*/ 149 h 322"/>
              <a:gd name="T38" fmla="*/ 26 w 161"/>
              <a:gd name="T39" fmla="*/ 164 h 322"/>
              <a:gd name="T40" fmla="*/ 30 w 161"/>
              <a:gd name="T41" fmla="*/ 176 h 322"/>
              <a:gd name="T42" fmla="*/ 26 w 161"/>
              <a:gd name="T43" fmla="*/ 191 h 322"/>
              <a:gd name="T44" fmla="*/ 16 w 161"/>
              <a:gd name="T45" fmla="*/ 209 h 322"/>
              <a:gd name="T46" fmla="*/ 15 w 161"/>
              <a:gd name="T47" fmla="*/ 217 h 322"/>
              <a:gd name="T48" fmla="*/ 6 w 161"/>
              <a:gd name="T49" fmla="*/ 221 h 322"/>
              <a:gd name="T50" fmla="*/ 0 w 161"/>
              <a:gd name="T51" fmla="*/ 238 h 322"/>
              <a:gd name="T52" fmla="*/ 1 w 161"/>
              <a:gd name="T53" fmla="*/ 255 h 322"/>
              <a:gd name="T54" fmla="*/ 8 w 161"/>
              <a:gd name="T55" fmla="*/ 274 h 322"/>
              <a:gd name="T56" fmla="*/ 7 w 161"/>
              <a:gd name="T57" fmla="*/ 295 h 322"/>
              <a:gd name="T58" fmla="*/ 12 w 161"/>
              <a:gd name="T59" fmla="*/ 307 h 322"/>
              <a:gd name="T60" fmla="*/ 27 w 161"/>
              <a:gd name="T61" fmla="*/ 317 h 322"/>
              <a:gd name="T62" fmla="*/ 39 w 161"/>
              <a:gd name="T63" fmla="*/ 322 h 322"/>
              <a:gd name="T64" fmla="*/ 57 w 161"/>
              <a:gd name="T65" fmla="*/ 313 h 322"/>
              <a:gd name="T66" fmla="*/ 74 w 161"/>
              <a:gd name="T67" fmla="*/ 307 h 322"/>
              <a:gd name="T68" fmla="*/ 86 w 161"/>
              <a:gd name="T69" fmla="*/ 279 h 322"/>
              <a:gd name="T70" fmla="*/ 97 w 161"/>
              <a:gd name="T71" fmla="*/ 246 h 322"/>
              <a:gd name="T72" fmla="*/ 112 w 161"/>
              <a:gd name="T73" fmla="*/ 201 h 322"/>
              <a:gd name="T74" fmla="*/ 125 w 161"/>
              <a:gd name="T75" fmla="*/ 168 h 322"/>
              <a:gd name="T76" fmla="*/ 135 w 161"/>
              <a:gd name="T77" fmla="*/ 141 h 322"/>
              <a:gd name="T78" fmla="*/ 138 w 161"/>
              <a:gd name="T79" fmla="*/ 120 h 322"/>
              <a:gd name="T80" fmla="*/ 144 w 161"/>
              <a:gd name="T81" fmla="*/ 115 h 322"/>
              <a:gd name="T82" fmla="*/ 146 w 161"/>
              <a:gd name="T83" fmla="*/ 105 h 322"/>
              <a:gd name="T84" fmla="*/ 143 w 161"/>
              <a:gd name="T85" fmla="*/ 87 h 322"/>
              <a:gd name="T86" fmla="*/ 148 w 161"/>
              <a:gd name="T87" fmla="*/ 80 h 322"/>
              <a:gd name="T88" fmla="*/ 153 w 161"/>
              <a:gd name="T89" fmla="*/ 94 h 322"/>
              <a:gd name="T90" fmla="*/ 158 w 161"/>
              <a:gd name="T91" fmla="*/ 87 h 322"/>
              <a:gd name="T92" fmla="*/ 161 w 161"/>
              <a:gd name="T93" fmla="*/ 76 h 322"/>
              <a:gd name="T94" fmla="*/ 156 w 161"/>
              <a:gd name="T95" fmla="*/ 64 h 322"/>
              <a:gd name="T96" fmla="*/ 154 w 161"/>
              <a:gd name="T97" fmla="*/ 36 h 322"/>
              <a:gd name="T98" fmla="*/ 154 w 161"/>
              <a:gd name="T99" fmla="*/ 3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1" h="322">
                <a:moveTo>
                  <a:pt x="154" y="36"/>
                </a:moveTo>
                <a:lnTo>
                  <a:pt x="150" y="21"/>
                </a:lnTo>
                <a:lnTo>
                  <a:pt x="145" y="10"/>
                </a:lnTo>
                <a:lnTo>
                  <a:pt x="139" y="0"/>
                </a:lnTo>
                <a:lnTo>
                  <a:pt x="131" y="10"/>
                </a:lnTo>
                <a:lnTo>
                  <a:pt x="129" y="25"/>
                </a:lnTo>
                <a:lnTo>
                  <a:pt x="117" y="42"/>
                </a:lnTo>
                <a:lnTo>
                  <a:pt x="109" y="38"/>
                </a:lnTo>
                <a:lnTo>
                  <a:pt x="111" y="49"/>
                </a:lnTo>
                <a:lnTo>
                  <a:pt x="104" y="61"/>
                </a:lnTo>
                <a:lnTo>
                  <a:pt x="86" y="76"/>
                </a:lnTo>
                <a:lnTo>
                  <a:pt x="73" y="89"/>
                </a:lnTo>
                <a:lnTo>
                  <a:pt x="65" y="89"/>
                </a:lnTo>
                <a:lnTo>
                  <a:pt x="56" y="93"/>
                </a:lnTo>
                <a:lnTo>
                  <a:pt x="45" y="98"/>
                </a:lnTo>
                <a:lnTo>
                  <a:pt x="34" y="99"/>
                </a:lnTo>
                <a:lnTo>
                  <a:pt x="30" y="115"/>
                </a:lnTo>
                <a:lnTo>
                  <a:pt x="23" y="128"/>
                </a:lnTo>
                <a:lnTo>
                  <a:pt x="23" y="149"/>
                </a:lnTo>
                <a:lnTo>
                  <a:pt x="26" y="164"/>
                </a:lnTo>
                <a:lnTo>
                  <a:pt x="30" y="176"/>
                </a:lnTo>
                <a:lnTo>
                  <a:pt x="26" y="191"/>
                </a:lnTo>
                <a:lnTo>
                  <a:pt x="16" y="209"/>
                </a:lnTo>
                <a:lnTo>
                  <a:pt x="15" y="217"/>
                </a:lnTo>
                <a:lnTo>
                  <a:pt x="6" y="221"/>
                </a:lnTo>
                <a:lnTo>
                  <a:pt x="0" y="238"/>
                </a:lnTo>
                <a:lnTo>
                  <a:pt x="1" y="255"/>
                </a:lnTo>
                <a:lnTo>
                  <a:pt x="8" y="274"/>
                </a:lnTo>
                <a:lnTo>
                  <a:pt x="7" y="295"/>
                </a:lnTo>
                <a:lnTo>
                  <a:pt x="12" y="307"/>
                </a:lnTo>
                <a:lnTo>
                  <a:pt x="27" y="317"/>
                </a:lnTo>
                <a:lnTo>
                  <a:pt x="39" y="322"/>
                </a:lnTo>
                <a:lnTo>
                  <a:pt x="57" y="313"/>
                </a:lnTo>
                <a:lnTo>
                  <a:pt x="74" y="307"/>
                </a:lnTo>
                <a:lnTo>
                  <a:pt x="86" y="279"/>
                </a:lnTo>
                <a:lnTo>
                  <a:pt x="97" y="246"/>
                </a:lnTo>
                <a:lnTo>
                  <a:pt x="112" y="201"/>
                </a:lnTo>
                <a:lnTo>
                  <a:pt x="125" y="168"/>
                </a:lnTo>
                <a:lnTo>
                  <a:pt x="135" y="141"/>
                </a:lnTo>
                <a:lnTo>
                  <a:pt x="138" y="120"/>
                </a:lnTo>
                <a:lnTo>
                  <a:pt x="144" y="115"/>
                </a:lnTo>
                <a:lnTo>
                  <a:pt x="146" y="105"/>
                </a:lnTo>
                <a:lnTo>
                  <a:pt x="143" y="87"/>
                </a:lnTo>
                <a:lnTo>
                  <a:pt x="148" y="80"/>
                </a:lnTo>
                <a:lnTo>
                  <a:pt x="153" y="94"/>
                </a:lnTo>
                <a:lnTo>
                  <a:pt x="158" y="87"/>
                </a:lnTo>
                <a:lnTo>
                  <a:pt x="161" y="76"/>
                </a:lnTo>
                <a:lnTo>
                  <a:pt x="156" y="64"/>
                </a:lnTo>
                <a:lnTo>
                  <a:pt x="154" y="36"/>
                </a:lnTo>
                <a:lnTo>
                  <a:pt x="154" y="3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12" name="Mexico">
            <a:extLst>
              <a:ext uri="{FF2B5EF4-FFF2-40B4-BE49-F238E27FC236}">
                <a16:creationId xmlns:a16="http://schemas.microsoft.com/office/drawing/2014/main" id="{9B1A9EA5-D0A5-4474-8319-C0A0A7861D0E}"/>
              </a:ext>
            </a:extLst>
          </p:cNvPr>
          <p:cNvSpPr>
            <a:spLocks/>
          </p:cNvSpPr>
          <p:nvPr/>
        </p:nvSpPr>
        <p:spPr bwMode="auto">
          <a:xfrm>
            <a:off x="1220742" y="3018445"/>
            <a:ext cx="940772" cy="734925"/>
          </a:xfrm>
          <a:custGeom>
            <a:avLst/>
            <a:gdLst>
              <a:gd name="T0" fmla="*/ 324 w 553"/>
              <a:gd name="T1" fmla="*/ 151 h 432"/>
              <a:gd name="T2" fmla="*/ 311 w 553"/>
              <a:gd name="T3" fmla="*/ 109 h 432"/>
              <a:gd name="T4" fmla="*/ 289 w 553"/>
              <a:gd name="T5" fmla="*/ 70 h 432"/>
              <a:gd name="T6" fmla="*/ 240 w 553"/>
              <a:gd name="T7" fmla="*/ 82 h 432"/>
              <a:gd name="T8" fmla="*/ 227 w 553"/>
              <a:gd name="T9" fmla="*/ 49 h 432"/>
              <a:gd name="T10" fmla="*/ 206 w 553"/>
              <a:gd name="T11" fmla="*/ 23 h 432"/>
              <a:gd name="T12" fmla="*/ 152 w 553"/>
              <a:gd name="T13" fmla="*/ 32 h 432"/>
              <a:gd name="T14" fmla="*/ 45 w 553"/>
              <a:gd name="T15" fmla="*/ 4 h 432"/>
              <a:gd name="T16" fmla="*/ 0 w 553"/>
              <a:gd name="T17" fmla="*/ 4 h 432"/>
              <a:gd name="T18" fmla="*/ 5 w 553"/>
              <a:gd name="T19" fmla="*/ 59 h 432"/>
              <a:gd name="T20" fmla="*/ 29 w 553"/>
              <a:gd name="T21" fmla="*/ 99 h 432"/>
              <a:gd name="T22" fmla="*/ 7 w 553"/>
              <a:gd name="T23" fmla="*/ 116 h 432"/>
              <a:gd name="T24" fmla="*/ 25 w 553"/>
              <a:gd name="T25" fmla="*/ 138 h 432"/>
              <a:gd name="T26" fmla="*/ 44 w 553"/>
              <a:gd name="T27" fmla="*/ 152 h 432"/>
              <a:gd name="T28" fmla="*/ 47 w 553"/>
              <a:gd name="T29" fmla="*/ 189 h 432"/>
              <a:gd name="T30" fmla="*/ 79 w 553"/>
              <a:gd name="T31" fmla="*/ 220 h 432"/>
              <a:gd name="T32" fmla="*/ 96 w 553"/>
              <a:gd name="T33" fmla="*/ 226 h 432"/>
              <a:gd name="T34" fmla="*/ 86 w 553"/>
              <a:gd name="T35" fmla="*/ 200 h 432"/>
              <a:gd name="T36" fmla="*/ 74 w 553"/>
              <a:gd name="T37" fmla="*/ 176 h 432"/>
              <a:gd name="T38" fmla="*/ 59 w 553"/>
              <a:gd name="T39" fmla="*/ 131 h 432"/>
              <a:gd name="T40" fmla="*/ 52 w 553"/>
              <a:gd name="T41" fmla="*/ 101 h 432"/>
              <a:gd name="T42" fmla="*/ 45 w 553"/>
              <a:gd name="T43" fmla="*/ 92 h 432"/>
              <a:gd name="T44" fmla="*/ 30 w 553"/>
              <a:gd name="T45" fmla="*/ 60 h 432"/>
              <a:gd name="T46" fmla="*/ 41 w 553"/>
              <a:gd name="T47" fmla="*/ 22 h 432"/>
              <a:gd name="T48" fmla="*/ 68 w 553"/>
              <a:gd name="T49" fmla="*/ 37 h 432"/>
              <a:gd name="T50" fmla="*/ 72 w 553"/>
              <a:gd name="T51" fmla="*/ 82 h 432"/>
              <a:gd name="T52" fmla="*/ 86 w 553"/>
              <a:gd name="T53" fmla="*/ 113 h 432"/>
              <a:gd name="T54" fmla="*/ 105 w 553"/>
              <a:gd name="T55" fmla="*/ 143 h 432"/>
              <a:gd name="T56" fmla="*/ 111 w 553"/>
              <a:gd name="T57" fmla="*/ 169 h 432"/>
              <a:gd name="T58" fmla="*/ 150 w 553"/>
              <a:gd name="T59" fmla="*/ 212 h 432"/>
              <a:gd name="T60" fmla="*/ 169 w 553"/>
              <a:gd name="T61" fmla="*/ 257 h 432"/>
              <a:gd name="T62" fmla="*/ 167 w 553"/>
              <a:gd name="T63" fmla="*/ 282 h 432"/>
              <a:gd name="T64" fmla="*/ 164 w 553"/>
              <a:gd name="T65" fmla="*/ 303 h 432"/>
              <a:gd name="T66" fmla="*/ 199 w 553"/>
              <a:gd name="T67" fmla="*/ 342 h 432"/>
              <a:gd name="T68" fmla="*/ 235 w 553"/>
              <a:gd name="T69" fmla="*/ 358 h 432"/>
              <a:gd name="T70" fmla="*/ 288 w 553"/>
              <a:gd name="T71" fmla="*/ 383 h 432"/>
              <a:gd name="T72" fmla="*/ 335 w 553"/>
              <a:gd name="T73" fmla="*/ 405 h 432"/>
              <a:gd name="T74" fmla="*/ 375 w 553"/>
              <a:gd name="T75" fmla="*/ 392 h 432"/>
              <a:gd name="T76" fmla="*/ 422 w 553"/>
              <a:gd name="T77" fmla="*/ 432 h 432"/>
              <a:gd name="T78" fmla="*/ 424 w 553"/>
              <a:gd name="T79" fmla="*/ 414 h 432"/>
              <a:gd name="T80" fmla="*/ 464 w 553"/>
              <a:gd name="T81" fmla="*/ 387 h 432"/>
              <a:gd name="T82" fmla="*/ 452 w 553"/>
              <a:gd name="T83" fmla="*/ 375 h 432"/>
              <a:gd name="T84" fmla="*/ 456 w 553"/>
              <a:gd name="T85" fmla="*/ 353 h 432"/>
              <a:gd name="T86" fmla="*/ 495 w 553"/>
              <a:gd name="T87" fmla="*/ 351 h 432"/>
              <a:gd name="T88" fmla="*/ 510 w 553"/>
              <a:gd name="T89" fmla="*/ 338 h 432"/>
              <a:gd name="T90" fmla="*/ 523 w 553"/>
              <a:gd name="T91" fmla="*/ 343 h 432"/>
              <a:gd name="T92" fmla="*/ 532 w 553"/>
              <a:gd name="T93" fmla="*/ 310 h 432"/>
              <a:gd name="T94" fmla="*/ 553 w 553"/>
              <a:gd name="T95" fmla="*/ 270 h 432"/>
              <a:gd name="T96" fmla="*/ 519 w 553"/>
              <a:gd name="T97" fmla="*/ 267 h 432"/>
              <a:gd name="T98" fmla="*/ 477 w 553"/>
              <a:gd name="T99" fmla="*/ 285 h 432"/>
              <a:gd name="T100" fmla="*/ 451 w 553"/>
              <a:gd name="T101" fmla="*/ 328 h 432"/>
              <a:gd name="T102" fmla="*/ 406 w 553"/>
              <a:gd name="T103" fmla="*/ 339 h 432"/>
              <a:gd name="T104" fmla="*/ 358 w 553"/>
              <a:gd name="T105" fmla="*/ 330 h 432"/>
              <a:gd name="T106" fmla="*/ 338 w 553"/>
              <a:gd name="T107" fmla="*/ 287 h 432"/>
              <a:gd name="T108" fmla="*/ 330 w 553"/>
              <a:gd name="T109" fmla="*/ 244 h 432"/>
              <a:gd name="T110" fmla="*/ 348 w 553"/>
              <a:gd name="T111" fmla="*/ 183 h 432"/>
              <a:gd name="T112" fmla="*/ 352 w 553"/>
              <a:gd name="T113" fmla="*/ 163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3" h="432">
                <a:moveTo>
                  <a:pt x="352" y="163"/>
                </a:moveTo>
                <a:lnTo>
                  <a:pt x="338" y="158"/>
                </a:lnTo>
                <a:lnTo>
                  <a:pt x="324" y="151"/>
                </a:lnTo>
                <a:lnTo>
                  <a:pt x="320" y="140"/>
                </a:lnTo>
                <a:lnTo>
                  <a:pt x="320" y="123"/>
                </a:lnTo>
                <a:lnTo>
                  <a:pt x="311" y="109"/>
                </a:lnTo>
                <a:lnTo>
                  <a:pt x="307" y="95"/>
                </a:lnTo>
                <a:lnTo>
                  <a:pt x="301" y="79"/>
                </a:lnTo>
                <a:lnTo>
                  <a:pt x="289" y="70"/>
                </a:lnTo>
                <a:lnTo>
                  <a:pt x="273" y="70"/>
                </a:lnTo>
                <a:lnTo>
                  <a:pt x="255" y="88"/>
                </a:lnTo>
                <a:lnTo>
                  <a:pt x="240" y="82"/>
                </a:lnTo>
                <a:lnTo>
                  <a:pt x="232" y="74"/>
                </a:lnTo>
                <a:lnTo>
                  <a:pt x="230" y="61"/>
                </a:lnTo>
                <a:lnTo>
                  <a:pt x="227" y="49"/>
                </a:lnTo>
                <a:lnTo>
                  <a:pt x="218" y="39"/>
                </a:lnTo>
                <a:lnTo>
                  <a:pt x="211" y="31"/>
                </a:lnTo>
                <a:lnTo>
                  <a:pt x="206" y="23"/>
                </a:lnTo>
                <a:lnTo>
                  <a:pt x="171" y="23"/>
                </a:lnTo>
                <a:lnTo>
                  <a:pt x="168" y="32"/>
                </a:lnTo>
                <a:lnTo>
                  <a:pt x="152" y="32"/>
                </a:lnTo>
                <a:lnTo>
                  <a:pt x="112" y="32"/>
                </a:lnTo>
                <a:lnTo>
                  <a:pt x="72" y="16"/>
                </a:lnTo>
                <a:lnTo>
                  <a:pt x="45" y="4"/>
                </a:lnTo>
                <a:lnTo>
                  <a:pt x="49" y="0"/>
                </a:lnTo>
                <a:lnTo>
                  <a:pt x="23" y="2"/>
                </a:lnTo>
                <a:lnTo>
                  <a:pt x="0" y="4"/>
                </a:lnTo>
                <a:lnTo>
                  <a:pt x="1" y="26"/>
                </a:lnTo>
                <a:lnTo>
                  <a:pt x="2" y="44"/>
                </a:lnTo>
                <a:lnTo>
                  <a:pt x="5" y="59"/>
                </a:lnTo>
                <a:lnTo>
                  <a:pt x="8" y="74"/>
                </a:lnTo>
                <a:lnTo>
                  <a:pt x="18" y="82"/>
                </a:lnTo>
                <a:lnTo>
                  <a:pt x="29" y="99"/>
                </a:lnTo>
                <a:lnTo>
                  <a:pt x="25" y="109"/>
                </a:lnTo>
                <a:lnTo>
                  <a:pt x="16" y="117"/>
                </a:lnTo>
                <a:lnTo>
                  <a:pt x="7" y="116"/>
                </a:lnTo>
                <a:lnTo>
                  <a:pt x="5" y="118"/>
                </a:lnTo>
                <a:lnTo>
                  <a:pt x="14" y="132"/>
                </a:lnTo>
                <a:lnTo>
                  <a:pt x="25" y="138"/>
                </a:lnTo>
                <a:lnTo>
                  <a:pt x="29" y="144"/>
                </a:lnTo>
                <a:lnTo>
                  <a:pt x="31" y="141"/>
                </a:lnTo>
                <a:lnTo>
                  <a:pt x="44" y="152"/>
                </a:lnTo>
                <a:lnTo>
                  <a:pt x="51" y="159"/>
                </a:lnTo>
                <a:lnTo>
                  <a:pt x="51" y="171"/>
                </a:lnTo>
                <a:lnTo>
                  <a:pt x="47" y="189"/>
                </a:lnTo>
                <a:lnTo>
                  <a:pt x="57" y="196"/>
                </a:lnTo>
                <a:lnTo>
                  <a:pt x="69" y="207"/>
                </a:lnTo>
                <a:lnTo>
                  <a:pt x="79" y="220"/>
                </a:lnTo>
                <a:lnTo>
                  <a:pt x="82" y="235"/>
                </a:lnTo>
                <a:lnTo>
                  <a:pt x="86" y="235"/>
                </a:lnTo>
                <a:lnTo>
                  <a:pt x="96" y="226"/>
                </a:lnTo>
                <a:lnTo>
                  <a:pt x="98" y="222"/>
                </a:lnTo>
                <a:lnTo>
                  <a:pt x="92" y="211"/>
                </a:lnTo>
                <a:lnTo>
                  <a:pt x="86" y="200"/>
                </a:lnTo>
                <a:lnTo>
                  <a:pt x="76" y="199"/>
                </a:lnTo>
                <a:lnTo>
                  <a:pt x="77" y="187"/>
                </a:lnTo>
                <a:lnTo>
                  <a:pt x="74" y="176"/>
                </a:lnTo>
                <a:lnTo>
                  <a:pt x="71" y="166"/>
                </a:lnTo>
                <a:lnTo>
                  <a:pt x="69" y="143"/>
                </a:lnTo>
                <a:lnTo>
                  <a:pt x="59" y="131"/>
                </a:lnTo>
                <a:lnTo>
                  <a:pt x="57" y="123"/>
                </a:lnTo>
                <a:lnTo>
                  <a:pt x="52" y="117"/>
                </a:lnTo>
                <a:lnTo>
                  <a:pt x="52" y="101"/>
                </a:lnTo>
                <a:lnTo>
                  <a:pt x="48" y="102"/>
                </a:lnTo>
                <a:lnTo>
                  <a:pt x="48" y="94"/>
                </a:lnTo>
                <a:lnTo>
                  <a:pt x="45" y="92"/>
                </a:lnTo>
                <a:lnTo>
                  <a:pt x="44" y="86"/>
                </a:lnTo>
                <a:lnTo>
                  <a:pt x="34" y="71"/>
                </a:lnTo>
                <a:lnTo>
                  <a:pt x="30" y="60"/>
                </a:lnTo>
                <a:lnTo>
                  <a:pt x="33" y="42"/>
                </a:lnTo>
                <a:lnTo>
                  <a:pt x="34" y="31"/>
                </a:lnTo>
                <a:lnTo>
                  <a:pt x="41" y="22"/>
                </a:lnTo>
                <a:lnTo>
                  <a:pt x="49" y="28"/>
                </a:lnTo>
                <a:lnTo>
                  <a:pt x="57" y="28"/>
                </a:lnTo>
                <a:lnTo>
                  <a:pt x="68" y="37"/>
                </a:lnTo>
                <a:lnTo>
                  <a:pt x="65" y="45"/>
                </a:lnTo>
                <a:lnTo>
                  <a:pt x="66" y="64"/>
                </a:lnTo>
                <a:lnTo>
                  <a:pt x="72" y="82"/>
                </a:lnTo>
                <a:lnTo>
                  <a:pt x="71" y="89"/>
                </a:lnTo>
                <a:lnTo>
                  <a:pt x="77" y="100"/>
                </a:lnTo>
                <a:lnTo>
                  <a:pt x="86" y="113"/>
                </a:lnTo>
                <a:lnTo>
                  <a:pt x="96" y="115"/>
                </a:lnTo>
                <a:lnTo>
                  <a:pt x="97" y="131"/>
                </a:lnTo>
                <a:lnTo>
                  <a:pt x="105" y="143"/>
                </a:lnTo>
                <a:lnTo>
                  <a:pt x="115" y="149"/>
                </a:lnTo>
                <a:lnTo>
                  <a:pt x="108" y="164"/>
                </a:lnTo>
                <a:lnTo>
                  <a:pt x="111" y="169"/>
                </a:lnTo>
                <a:lnTo>
                  <a:pt x="126" y="179"/>
                </a:lnTo>
                <a:lnTo>
                  <a:pt x="133" y="194"/>
                </a:lnTo>
                <a:lnTo>
                  <a:pt x="150" y="212"/>
                </a:lnTo>
                <a:lnTo>
                  <a:pt x="164" y="236"/>
                </a:lnTo>
                <a:lnTo>
                  <a:pt x="169" y="248"/>
                </a:lnTo>
                <a:lnTo>
                  <a:pt x="169" y="257"/>
                </a:lnTo>
                <a:lnTo>
                  <a:pt x="174" y="268"/>
                </a:lnTo>
                <a:lnTo>
                  <a:pt x="173" y="276"/>
                </a:lnTo>
                <a:lnTo>
                  <a:pt x="167" y="282"/>
                </a:lnTo>
                <a:lnTo>
                  <a:pt x="169" y="289"/>
                </a:lnTo>
                <a:lnTo>
                  <a:pt x="161" y="292"/>
                </a:lnTo>
                <a:lnTo>
                  <a:pt x="164" y="303"/>
                </a:lnTo>
                <a:lnTo>
                  <a:pt x="172" y="318"/>
                </a:lnTo>
                <a:lnTo>
                  <a:pt x="192" y="332"/>
                </a:lnTo>
                <a:lnTo>
                  <a:pt x="199" y="342"/>
                </a:lnTo>
                <a:lnTo>
                  <a:pt x="219" y="350"/>
                </a:lnTo>
                <a:lnTo>
                  <a:pt x="230" y="352"/>
                </a:lnTo>
                <a:lnTo>
                  <a:pt x="235" y="358"/>
                </a:lnTo>
                <a:lnTo>
                  <a:pt x="251" y="369"/>
                </a:lnTo>
                <a:lnTo>
                  <a:pt x="273" y="380"/>
                </a:lnTo>
                <a:lnTo>
                  <a:pt x="288" y="383"/>
                </a:lnTo>
                <a:lnTo>
                  <a:pt x="306" y="394"/>
                </a:lnTo>
                <a:lnTo>
                  <a:pt x="321" y="399"/>
                </a:lnTo>
                <a:lnTo>
                  <a:pt x="335" y="405"/>
                </a:lnTo>
                <a:lnTo>
                  <a:pt x="345" y="403"/>
                </a:lnTo>
                <a:lnTo>
                  <a:pt x="363" y="394"/>
                </a:lnTo>
                <a:lnTo>
                  <a:pt x="375" y="392"/>
                </a:lnTo>
                <a:lnTo>
                  <a:pt x="391" y="398"/>
                </a:lnTo>
                <a:lnTo>
                  <a:pt x="401" y="406"/>
                </a:lnTo>
                <a:lnTo>
                  <a:pt x="422" y="432"/>
                </a:lnTo>
                <a:lnTo>
                  <a:pt x="423" y="424"/>
                </a:lnTo>
                <a:lnTo>
                  <a:pt x="426" y="419"/>
                </a:lnTo>
                <a:lnTo>
                  <a:pt x="424" y="414"/>
                </a:lnTo>
                <a:lnTo>
                  <a:pt x="436" y="395"/>
                </a:lnTo>
                <a:lnTo>
                  <a:pt x="462" y="395"/>
                </a:lnTo>
                <a:lnTo>
                  <a:pt x="464" y="387"/>
                </a:lnTo>
                <a:lnTo>
                  <a:pt x="461" y="386"/>
                </a:lnTo>
                <a:lnTo>
                  <a:pt x="459" y="380"/>
                </a:lnTo>
                <a:lnTo>
                  <a:pt x="452" y="375"/>
                </a:lnTo>
                <a:lnTo>
                  <a:pt x="445" y="367"/>
                </a:lnTo>
                <a:lnTo>
                  <a:pt x="454" y="367"/>
                </a:lnTo>
                <a:lnTo>
                  <a:pt x="456" y="353"/>
                </a:lnTo>
                <a:lnTo>
                  <a:pt x="476" y="353"/>
                </a:lnTo>
                <a:lnTo>
                  <a:pt x="495" y="354"/>
                </a:lnTo>
                <a:lnTo>
                  <a:pt x="495" y="351"/>
                </a:lnTo>
                <a:lnTo>
                  <a:pt x="497" y="349"/>
                </a:lnTo>
                <a:lnTo>
                  <a:pt x="501" y="352"/>
                </a:lnTo>
                <a:lnTo>
                  <a:pt x="510" y="338"/>
                </a:lnTo>
                <a:lnTo>
                  <a:pt x="514" y="338"/>
                </a:lnTo>
                <a:lnTo>
                  <a:pt x="519" y="338"/>
                </a:lnTo>
                <a:lnTo>
                  <a:pt x="523" y="343"/>
                </a:lnTo>
                <a:lnTo>
                  <a:pt x="531" y="324"/>
                </a:lnTo>
                <a:lnTo>
                  <a:pt x="535" y="314"/>
                </a:lnTo>
                <a:lnTo>
                  <a:pt x="532" y="310"/>
                </a:lnTo>
                <a:lnTo>
                  <a:pt x="538" y="296"/>
                </a:lnTo>
                <a:lnTo>
                  <a:pt x="551" y="282"/>
                </a:lnTo>
                <a:lnTo>
                  <a:pt x="553" y="270"/>
                </a:lnTo>
                <a:lnTo>
                  <a:pt x="550" y="265"/>
                </a:lnTo>
                <a:lnTo>
                  <a:pt x="537" y="267"/>
                </a:lnTo>
                <a:lnTo>
                  <a:pt x="519" y="267"/>
                </a:lnTo>
                <a:lnTo>
                  <a:pt x="496" y="272"/>
                </a:lnTo>
                <a:lnTo>
                  <a:pt x="481" y="278"/>
                </a:lnTo>
                <a:lnTo>
                  <a:pt x="477" y="285"/>
                </a:lnTo>
                <a:lnTo>
                  <a:pt x="472" y="305"/>
                </a:lnTo>
                <a:lnTo>
                  <a:pt x="466" y="319"/>
                </a:lnTo>
                <a:lnTo>
                  <a:pt x="451" y="328"/>
                </a:lnTo>
                <a:lnTo>
                  <a:pt x="438" y="333"/>
                </a:lnTo>
                <a:lnTo>
                  <a:pt x="422" y="337"/>
                </a:lnTo>
                <a:lnTo>
                  <a:pt x="406" y="339"/>
                </a:lnTo>
                <a:lnTo>
                  <a:pt x="386" y="346"/>
                </a:lnTo>
                <a:lnTo>
                  <a:pt x="380" y="336"/>
                </a:lnTo>
                <a:lnTo>
                  <a:pt x="358" y="330"/>
                </a:lnTo>
                <a:lnTo>
                  <a:pt x="352" y="318"/>
                </a:lnTo>
                <a:lnTo>
                  <a:pt x="349" y="304"/>
                </a:lnTo>
                <a:lnTo>
                  <a:pt x="338" y="287"/>
                </a:lnTo>
                <a:lnTo>
                  <a:pt x="337" y="268"/>
                </a:lnTo>
                <a:lnTo>
                  <a:pt x="332" y="256"/>
                </a:lnTo>
                <a:lnTo>
                  <a:pt x="330" y="244"/>
                </a:lnTo>
                <a:lnTo>
                  <a:pt x="334" y="232"/>
                </a:lnTo>
                <a:lnTo>
                  <a:pt x="340" y="200"/>
                </a:lnTo>
                <a:lnTo>
                  <a:pt x="348" y="183"/>
                </a:lnTo>
                <a:lnTo>
                  <a:pt x="359" y="162"/>
                </a:lnTo>
                <a:lnTo>
                  <a:pt x="352" y="163"/>
                </a:lnTo>
                <a:lnTo>
                  <a:pt x="352" y="16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13" name="Macedonia">
            <a:extLst>
              <a:ext uri="{FF2B5EF4-FFF2-40B4-BE49-F238E27FC236}">
                <a16:creationId xmlns:a16="http://schemas.microsoft.com/office/drawing/2014/main" id="{832A75F8-8A8A-49CF-9DE4-2335BE451560}"/>
              </a:ext>
            </a:extLst>
          </p:cNvPr>
          <p:cNvSpPr>
            <a:spLocks/>
          </p:cNvSpPr>
          <p:nvPr/>
        </p:nvSpPr>
        <p:spPr bwMode="auto">
          <a:xfrm>
            <a:off x="5870161" y="2628868"/>
            <a:ext cx="79957" cy="57841"/>
          </a:xfrm>
          <a:custGeom>
            <a:avLst/>
            <a:gdLst>
              <a:gd name="T0" fmla="*/ 44 w 47"/>
              <a:gd name="T1" fmla="*/ 7 h 34"/>
              <a:gd name="T2" fmla="*/ 34 w 47"/>
              <a:gd name="T3" fmla="*/ 0 h 34"/>
              <a:gd name="T4" fmla="*/ 25 w 47"/>
              <a:gd name="T5" fmla="*/ 1 h 34"/>
              <a:gd name="T6" fmla="*/ 18 w 47"/>
              <a:gd name="T7" fmla="*/ 2 h 34"/>
              <a:gd name="T8" fmla="*/ 14 w 47"/>
              <a:gd name="T9" fmla="*/ 3 h 34"/>
              <a:gd name="T10" fmla="*/ 3 w 47"/>
              <a:gd name="T11" fmla="*/ 6 h 34"/>
              <a:gd name="T12" fmla="*/ 3 w 47"/>
              <a:gd name="T13" fmla="*/ 11 h 34"/>
              <a:gd name="T14" fmla="*/ 0 w 47"/>
              <a:gd name="T15" fmla="*/ 11 h 34"/>
              <a:gd name="T16" fmla="*/ 0 w 47"/>
              <a:gd name="T17" fmla="*/ 11 h 34"/>
              <a:gd name="T18" fmla="*/ 0 w 47"/>
              <a:gd name="T19" fmla="*/ 18 h 34"/>
              <a:gd name="T20" fmla="*/ 2 w 47"/>
              <a:gd name="T21" fmla="*/ 29 h 34"/>
              <a:gd name="T22" fmla="*/ 11 w 47"/>
              <a:gd name="T23" fmla="*/ 34 h 34"/>
              <a:gd name="T24" fmla="*/ 24 w 47"/>
              <a:gd name="T25" fmla="*/ 32 h 34"/>
              <a:gd name="T26" fmla="*/ 30 w 47"/>
              <a:gd name="T27" fmla="*/ 27 h 34"/>
              <a:gd name="T28" fmla="*/ 41 w 47"/>
              <a:gd name="T29" fmla="*/ 28 h 34"/>
              <a:gd name="T30" fmla="*/ 43 w 47"/>
              <a:gd name="T31" fmla="*/ 23 h 34"/>
              <a:gd name="T32" fmla="*/ 47 w 47"/>
              <a:gd name="T33" fmla="*/ 23 h 34"/>
              <a:gd name="T34" fmla="*/ 44 w 47"/>
              <a:gd name="T35" fmla="*/ 7 h 34"/>
              <a:gd name="T36" fmla="*/ 44 w 47"/>
              <a:gd name="T3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 h="34">
                <a:moveTo>
                  <a:pt x="44" y="7"/>
                </a:moveTo>
                <a:lnTo>
                  <a:pt x="34" y="0"/>
                </a:lnTo>
                <a:lnTo>
                  <a:pt x="25" y="1"/>
                </a:lnTo>
                <a:lnTo>
                  <a:pt x="18" y="2"/>
                </a:lnTo>
                <a:lnTo>
                  <a:pt x="14" y="3"/>
                </a:lnTo>
                <a:lnTo>
                  <a:pt x="3" y="6"/>
                </a:lnTo>
                <a:lnTo>
                  <a:pt x="3" y="11"/>
                </a:lnTo>
                <a:lnTo>
                  <a:pt x="0" y="11"/>
                </a:lnTo>
                <a:lnTo>
                  <a:pt x="0" y="11"/>
                </a:lnTo>
                <a:lnTo>
                  <a:pt x="0" y="18"/>
                </a:lnTo>
                <a:lnTo>
                  <a:pt x="2" y="29"/>
                </a:lnTo>
                <a:lnTo>
                  <a:pt x="11" y="34"/>
                </a:lnTo>
                <a:lnTo>
                  <a:pt x="24" y="32"/>
                </a:lnTo>
                <a:lnTo>
                  <a:pt x="30" y="27"/>
                </a:lnTo>
                <a:lnTo>
                  <a:pt x="41" y="28"/>
                </a:lnTo>
                <a:lnTo>
                  <a:pt x="43" y="23"/>
                </a:lnTo>
                <a:lnTo>
                  <a:pt x="47" y="23"/>
                </a:lnTo>
                <a:lnTo>
                  <a:pt x="44" y="7"/>
                </a:lnTo>
                <a:lnTo>
                  <a:pt x="44" y="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14" name="Malia">
            <a:extLst>
              <a:ext uri="{FF2B5EF4-FFF2-40B4-BE49-F238E27FC236}">
                <a16:creationId xmlns:a16="http://schemas.microsoft.com/office/drawing/2014/main" id="{C6592EFA-4D90-493A-BD59-B2DCB409953F}"/>
              </a:ext>
            </a:extLst>
          </p:cNvPr>
          <p:cNvSpPr>
            <a:spLocks/>
          </p:cNvSpPr>
          <p:nvPr/>
        </p:nvSpPr>
        <p:spPr bwMode="auto">
          <a:xfrm>
            <a:off x="4769476" y="3329767"/>
            <a:ext cx="581815" cy="602230"/>
          </a:xfrm>
          <a:custGeom>
            <a:avLst/>
            <a:gdLst>
              <a:gd name="T0" fmla="*/ 319 w 342"/>
              <a:gd name="T1" fmla="*/ 141 h 354"/>
              <a:gd name="T2" fmla="*/ 309 w 342"/>
              <a:gd name="T3" fmla="*/ 122 h 354"/>
              <a:gd name="T4" fmla="*/ 291 w 342"/>
              <a:gd name="T5" fmla="*/ 104 h 354"/>
              <a:gd name="T6" fmla="*/ 153 w 342"/>
              <a:gd name="T7" fmla="*/ 0 h 354"/>
              <a:gd name="T8" fmla="*/ 130 w 342"/>
              <a:gd name="T9" fmla="*/ 103 h 354"/>
              <a:gd name="T10" fmla="*/ 143 w 342"/>
              <a:gd name="T11" fmla="*/ 209 h 354"/>
              <a:gd name="T12" fmla="*/ 55 w 342"/>
              <a:gd name="T13" fmla="*/ 225 h 354"/>
              <a:gd name="T14" fmla="*/ 43 w 342"/>
              <a:gd name="T15" fmla="*/ 229 h 354"/>
              <a:gd name="T16" fmla="*/ 17 w 342"/>
              <a:gd name="T17" fmla="*/ 227 h 354"/>
              <a:gd name="T18" fmla="*/ 7 w 342"/>
              <a:gd name="T19" fmla="*/ 242 h 354"/>
              <a:gd name="T20" fmla="*/ 0 w 342"/>
              <a:gd name="T21" fmla="*/ 261 h 354"/>
              <a:gd name="T22" fmla="*/ 13 w 342"/>
              <a:gd name="T23" fmla="*/ 282 h 354"/>
              <a:gd name="T24" fmla="*/ 13 w 342"/>
              <a:gd name="T25" fmla="*/ 298 h 354"/>
              <a:gd name="T26" fmla="*/ 17 w 342"/>
              <a:gd name="T27" fmla="*/ 307 h 354"/>
              <a:gd name="T28" fmla="*/ 27 w 342"/>
              <a:gd name="T29" fmla="*/ 305 h 354"/>
              <a:gd name="T30" fmla="*/ 41 w 342"/>
              <a:gd name="T31" fmla="*/ 312 h 354"/>
              <a:gd name="T32" fmla="*/ 54 w 342"/>
              <a:gd name="T33" fmla="*/ 304 h 354"/>
              <a:gd name="T34" fmla="*/ 63 w 342"/>
              <a:gd name="T35" fmla="*/ 302 h 354"/>
              <a:gd name="T36" fmla="*/ 70 w 342"/>
              <a:gd name="T37" fmla="*/ 313 h 354"/>
              <a:gd name="T38" fmla="*/ 74 w 342"/>
              <a:gd name="T39" fmla="*/ 329 h 354"/>
              <a:gd name="T40" fmla="*/ 78 w 342"/>
              <a:gd name="T41" fmla="*/ 335 h 354"/>
              <a:gd name="T42" fmla="*/ 79 w 342"/>
              <a:gd name="T43" fmla="*/ 345 h 354"/>
              <a:gd name="T44" fmla="*/ 88 w 342"/>
              <a:gd name="T45" fmla="*/ 349 h 354"/>
              <a:gd name="T46" fmla="*/ 111 w 342"/>
              <a:gd name="T47" fmla="*/ 353 h 354"/>
              <a:gd name="T48" fmla="*/ 118 w 342"/>
              <a:gd name="T49" fmla="*/ 347 h 354"/>
              <a:gd name="T50" fmla="*/ 127 w 342"/>
              <a:gd name="T51" fmla="*/ 354 h 354"/>
              <a:gd name="T52" fmla="*/ 140 w 342"/>
              <a:gd name="T53" fmla="*/ 348 h 354"/>
              <a:gd name="T54" fmla="*/ 145 w 342"/>
              <a:gd name="T55" fmla="*/ 324 h 354"/>
              <a:gd name="T56" fmla="*/ 161 w 342"/>
              <a:gd name="T57" fmla="*/ 296 h 354"/>
              <a:gd name="T58" fmla="*/ 170 w 342"/>
              <a:gd name="T59" fmla="*/ 274 h 354"/>
              <a:gd name="T60" fmla="*/ 189 w 342"/>
              <a:gd name="T61" fmla="*/ 272 h 354"/>
              <a:gd name="T62" fmla="*/ 208 w 342"/>
              <a:gd name="T63" fmla="*/ 255 h 354"/>
              <a:gd name="T64" fmla="*/ 231 w 342"/>
              <a:gd name="T65" fmla="*/ 239 h 354"/>
              <a:gd name="T66" fmla="*/ 248 w 342"/>
              <a:gd name="T67" fmla="*/ 240 h 354"/>
              <a:gd name="T68" fmla="*/ 275 w 342"/>
              <a:gd name="T69" fmla="*/ 239 h 354"/>
              <a:gd name="T70" fmla="*/ 310 w 342"/>
              <a:gd name="T71" fmla="*/ 227 h 354"/>
              <a:gd name="T72" fmla="*/ 331 w 342"/>
              <a:gd name="T73" fmla="*/ 210 h 354"/>
              <a:gd name="T74" fmla="*/ 341 w 342"/>
              <a:gd name="T75" fmla="*/ 139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2" h="354">
                <a:moveTo>
                  <a:pt x="341" y="139"/>
                </a:moveTo>
                <a:lnTo>
                  <a:pt x="319" y="141"/>
                </a:lnTo>
                <a:lnTo>
                  <a:pt x="318" y="127"/>
                </a:lnTo>
                <a:lnTo>
                  <a:pt x="309" y="122"/>
                </a:lnTo>
                <a:lnTo>
                  <a:pt x="295" y="115"/>
                </a:lnTo>
                <a:lnTo>
                  <a:pt x="291" y="104"/>
                </a:lnTo>
                <a:lnTo>
                  <a:pt x="222" y="53"/>
                </a:lnTo>
                <a:lnTo>
                  <a:pt x="153" y="0"/>
                </a:lnTo>
                <a:lnTo>
                  <a:pt x="122" y="1"/>
                </a:lnTo>
                <a:lnTo>
                  <a:pt x="130" y="103"/>
                </a:lnTo>
                <a:lnTo>
                  <a:pt x="140" y="206"/>
                </a:lnTo>
                <a:lnTo>
                  <a:pt x="143" y="209"/>
                </a:lnTo>
                <a:lnTo>
                  <a:pt x="139" y="225"/>
                </a:lnTo>
                <a:lnTo>
                  <a:pt x="55" y="225"/>
                </a:lnTo>
                <a:lnTo>
                  <a:pt x="52" y="231"/>
                </a:lnTo>
                <a:lnTo>
                  <a:pt x="43" y="229"/>
                </a:lnTo>
                <a:lnTo>
                  <a:pt x="32" y="235"/>
                </a:lnTo>
                <a:lnTo>
                  <a:pt x="17" y="227"/>
                </a:lnTo>
                <a:lnTo>
                  <a:pt x="11" y="228"/>
                </a:lnTo>
                <a:lnTo>
                  <a:pt x="7" y="242"/>
                </a:lnTo>
                <a:lnTo>
                  <a:pt x="0" y="247"/>
                </a:lnTo>
                <a:lnTo>
                  <a:pt x="0" y="261"/>
                </a:lnTo>
                <a:lnTo>
                  <a:pt x="5" y="275"/>
                </a:lnTo>
                <a:lnTo>
                  <a:pt x="13" y="282"/>
                </a:lnTo>
                <a:lnTo>
                  <a:pt x="14" y="291"/>
                </a:lnTo>
                <a:lnTo>
                  <a:pt x="13" y="298"/>
                </a:lnTo>
                <a:lnTo>
                  <a:pt x="14" y="307"/>
                </a:lnTo>
                <a:lnTo>
                  <a:pt x="17" y="307"/>
                </a:lnTo>
                <a:lnTo>
                  <a:pt x="23" y="304"/>
                </a:lnTo>
                <a:lnTo>
                  <a:pt x="27" y="305"/>
                </a:lnTo>
                <a:lnTo>
                  <a:pt x="32" y="310"/>
                </a:lnTo>
                <a:lnTo>
                  <a:pt x="41" y="312"/>
                </a:lnTo>
                <a:lnTo>
                  <a:pt x="47" y="308"/>
                </a:lnTo>
                <a:lnTo>
                  <a:pt x="54" y="304"/>
                </a:lnTo>
                <a:lnTo>
                  <a:pt x="58" y="301"/>
                </a:lnTo>
                <a:lnTo>
                  <a:pt x="63" y="302"/>
                </a:lnTo>
                <a:lnTo>
                  <a:pt x="68" y="307"/>
                </a:lnTo>
                <a:lnTo>
                  <a:pt x="70" y="313"/>
                </a:lnTo>
                <a:lnTo>
                  <a:pt x="79" y="324"/>
                </a:lnTo>
                <a:lnTo>
                  <a:pt x="74" y="329"/>
                </a:lnTo>
                <a:lnTo>
                  <a:pt x="73" y="338"/>
                </a:lnTo>
                <a:lnTo>
                  <a:pt x="78" y="335"/>
                </a:lnTo>
                <a:lnTo>
                  <a:pt x="81" y="338"/>
                </a:lnTo>
                <a:lnTo>
                  <a:pt x="79" y="345"/>
                </a:lnTo>
                <a:lnTo>
                  <a:pt x="85" y="352"/>
                </a:lnTo>
                <a:lnTo>
                  <a:pt x="88" y="349"/>
                </a:lnTo>
                <a:lnTo>
                  <a:pt x="94" y="352"/>
                </a:lnTo>
                <a:lnTo>
                  <a:pt x="111" y="353"/>
                </a:lnTo>
                <a:lnTo>
                  <a:pt x="114" y="346"/>
                </a:lnTo>
                <a:lnTo>
                  <a:pt x="118" y="347"/>
                </a:lnTo>
                <a:lnTo>
                  <a:pt x="124" y="344"/>
                </a:lnTo>
                <a:lnTo>
                  <a:pt x="127" y="354"/>
                </a:lnTo>
                <a:lnTo>
                  <a:pt x="132" y="351"/>
                </a:lnTo>
                <a:lnTo>
                  <a:pt x="140" y="348"/>
                </a:lnTo>
                <a:lnTo>
                  <a:pt x="139" y="334"/>
                </a:lnTo>
                <a:lnTo>
                  <a:pt x="145" y="324"/>
                </a:lnTo>
                <a:lnTo>
                  <a:pt x="144" y="315"/>
                </a:lnTo>
                <a:lnTo>
                  <a:pt x="161" y="296"/>
                </a:lnTo>
                <a:lnTo>
                  <a:pt x="164" y="280"/>
                </a:lnTo>
                <a:lnTo>
                  <a:pt x="170" y="274"/>
                </a:lnTo>
                <a:lnTo>
                  <a:pt x="180" y="277"/>
                </a:lnTo>
                <a:lnTo>
                  <a:pt x="189" y="272"/>
                </a:lnTo>
                <a:lnTo>
                  <a:pt x="192" y="267"/>
                </a:lnTo>
                <a:lnTo>
                  <a:pt x="208" y="255"/>
                </a:lnTo>
                <a:lnTo>
                  <a:pt x="211" y="248"/>
                </a:lnTo>
                <a:lnTo>
                  <a:pt x="231" y="239"/>
                </a:lnTo>
                <a:lnTo>
                  <a:pt x="242" y="235"/>
                </a:lnTo>
                <a:lnTo>
                  <a:pt x="248" y="240"/>
                </a:lnTo>
                <a:lnTo>
                  <a:pt x="261" y="240"/>
                </a:lnTo>
                <a:lnTo>
                  <a:pt x="275" y="239"/>
                </a:lnTo>
                <a:lnTo>
                  <a:pt x="282" y="230"/>
                </a:lnTo>
                <a:lnTo>
                  <a:pt x="310" y="227"/>
                </a:lnTo>
                <a:lnTo>
                  <a:pt x="329" y="224"/>
                </a:lnTo>
                <a:lnTo>
                  <a:pt x="331" y="210"/>
                </a:lnTo>
                <a:lnTo>
                  <a:pt x="342" y="194"/>
                </a:lnTo>
                <a:lnTo>
                  <a:pt x="341" y="139"/>
                </a:lnTo>
                <a:lnTo>
                  <a:pt x="341" y="13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15" name="Myanmar">
            <a:extLst>
              <a:ext uri="{FF2B5EF4-FFF2-40B4-BE49-F238E27FC236}">
                <a16:creationId xmlns:a16="http://schemas.microsoft.com/office/drawing/2014/main" id="{BB7F981E-E516-4FA2-A0EC-A41A89381EE8}"/>
              </a:ext>
            </a:extLst>
          </p:cNvPr>
          <p:cNvSpPr>
            <a:spLocks/>
          </p:cNvSpPr>
          <p:nvPr/>
        </p:nvSpPr>
        <p:spPr bwMode="auto">
          <a:xfrm>
            <a:off x="8430490" y="3195371"/>
            <a:ext cx="311321" cy="743432"/>
          </a:xfrm>
          <a:custGeom>
            <a:avLst/>
            <a:gdLst>
              <a:gd name="T0" fmla="*/ 180 w 183"/>
              <a:gd name="T1" fmla="*/ 154 h 437"/>
              <a:gd name="T2" fmla="*/ 156 w 183"/>
              <a:gd name="T3" fmla="*/ 156 h 437"/>
              <a:gd name="T4" fmla="*/ 142 w 183"/>
              <a:gd name="T5" fmla="*/ 128 h 437"/>
              <a:gd name="T6" fmla="*/ 120 w 183"/>
              <a:gd name="T7" fmla="*/ 101 h 437"/>
              <a:gd name="T8" fmla="*/ 97 w 183"/>
              <a:gd name="T9" fmla="*/ 77 h 437"/>
              <a:gd name="T10" fmla="*/ 109 w 183"/>
              <a:gd name="T11" fmla="*/ 37 h 437"/>
              <a:gd name="T12" fmla="*/ 94 w 183"/>
              <a:gd name="T13" fmla="*/ 13 h 437"/>
              <a:gd name="T14" fmla="*/ 72 w 183"/>
              <a:gd name="T15" fmla="*/ 1 h 437"/>
              <a:gd name="T16" fmla="*/ 71 w 183"/>
              <a:gd name="T17" fmla="*/ 15 h 437"/>
              <a:gd name="T18" fmla="*/ 59 w 183"/>
              <a:gd name="T19" fmla="*/ 25 h 437"/>
              <a:gd name="T20" fmla="*/ 41 w 183"/>
              <a:gd name="T21" fmla="*/ 55 h 437"/>
              <a:gd name="T22" fmla="*/ 33 w 183"/>
              <a:gd name="T23" fmla="*/ 87 h 437"/>
              <a:gd name="T24" fmla="*/ 11 w 183"/>
              <a:gd name="T25" fmla="*/ 101 h 437"/>
              <a:gd name="T26" fmla="*/ 11 w 183"/>
              <a:gd name="T27" fmla="*/ 134 h 437"/>
              <a:gd name="T28" fmla="*/ 5 w 183"/>
              <a:gd name="T29" fmla="*/ 150 h 437"/>
              <a:gd name="T30" fmla="*/ 0 w 183"/>
              <a:gd name="T31" fmla="*/ 163 h 437"/>
              <a:gd name="T32" fmla="*/ 20 w 183"/>
              <a:gd name="T33" fmla="*/ 201 h 437"/>
              <a:gd name="T34" fmla="*/ 31 w 183"/>
              <a:gd name="T35" fmla="*/ 213 h 437"/>
              <a:gd name="T36" fmla="*/ 59 w 183"/>
              <a:gd name="T37" fmla="*/ 262 h 437"/>
              <a:gd name="T38" fmla="*/ 69 w 183"/>
              <a:gd name="T39" fmla="*/ 297 h 437"/>
              <a:gd name="T40" fmla="*/ 102 w 183"/>
              <a:gd name="T41" fmla="*/ 282 h 437"/>
              <a:gd name="T42" fmla="*/ 127 w 183"/>
              <a:gd name="T43" fmla="*/ 290 h 437"/>
              <a:gd name="T44" fmla="*/ 143 w 183"/>
              <a:gd name="T45" fmla="*/ 349 h 437"/>
              <a:gd name="T46" fmla="*/ 154 w 183"/>
              <a:gd name="T47" fmla="*/ 387 h 437"/>
              <a:gd name="T48" fmla="*/ 157 w 183"/>
              <a:gd name="T49" fmla="*/ 419 h 437"/>
              <a:gd name="T50" fmla="*/ 169 w 183"/>
              <a:gd name="T51" fmla="*/ 413 h 437"/>
              <a:gd name="T52" fmla="*/ 168 w 183"/>
              <a:gd name="T53" fmla="*/ 369 h 437"/>
              <a:gd name="T54" fmla="*/ 164 w 183"/>
              <a:gd name="T55" fmla="*/ 345 h 437"/>
              <a:gd name="T56" fmla="*/ 141 w 183"/>
              <a:gd name="T57" fmla="*/ 314 h 437"/>
              <a:gd name="T58" fmla="*/ 153 w 183"/>
              <a:gd name="T59" fmla="*/ 289 h 437"/>
              <a:gd name="T60" fmla="*/ 127 w 183"/>
              <a:gd name="T61" fmla="*/ 256 h 437"/>
              <a:gd name="T62" fmla="*/ 122 w 183"/>
              <a:gd name="T63" fmla="*/ 231 h 437"/>
              <a:gd name="T64" fmla="*/ 142 w 183"/>
              <a:gd name="T65" fmla="*/ 204 h 437"/>
              <a:gd name="T66" fmla="*/ 164 w 183"/>
              <a:gd name="T67" fmla="*/ 188 h 437"/>
              <a:gd name="T68" fmla="*/ 183 w 183"/>
              <a:gd name="T69" fmla="*/ 164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3" h="437">
                <a:moveTo>
                  <a:pt x="183" y="164"/>
                </a:moveTo>
                <a:lnTo>
                  <a:pt x="180" y="154"/>
                </a:lnTo>
                <a:lnTo>
                  <a:pt x="166" y="161"/>
                </a:lnTo>
                <a:lnTo>
                  <a:pt x="156" y="156"/>
                </a:lnTo>
                <a:lnTo>
                  <a:pt x="140" y="148"/>
                </a:lnTo>
                <a:lnTo>
                  <a:pt x="142" y="128"/>
                </a:lnTo>
                <a:lnTo>
                  <a:pt x="128" y="123"/>
                </a:lnTo>
                <a:lnTo>
                  <a:pt x="120" y="101"/>
                </a:lnTo>
                <a:lnTo>
                  <a:pt x="99" y="105"/>
                </a:lnTo>
                <a:lnTo>
                  <a:pt x="97" y="77"/>
                </a:lnTo>
                <a:lnTo>
                  <a:pt x="112" y="57"/>
                </a:lnTo>
                <a:lnTo>
                  <a:pt x="109" y="37"/>
                </a:lnTo>
                <a:lnTo>
                  <a:pt x="104" y="19"/>
                </a:lnTo>
                <a:lnTo>
                  <a:pt x="94" y="13"/>
                </a:lnTo>
                <a:lnTo>
                  <a:pt x="84" y="0"/>
                </a:lnTo>
                <a:lnTo>
                  <a:pt x="72" y="1"/>
                </a:lnTo>
                <a:lnTo>
                  <a:pt x="76" y="10"/>
                </a:lnTo>
                <a:lnTo>
                  <a:pt x="71" y="15"/>
                </a:lnTo>
                <a:lnTo>
                  <a:pt x="75" y="29"/>
                </a:lnTo>
                <a:lnTo>
                  <a:pt x="59" y="25"/>
                </a:lnTo>
                <a:lnTo>
                  <a:pt x="37" y="41"/>
                </a:lnTo>
                <a:lnTo>
                  <a:pt x="41" y="55"/>
                </a:lnTo>
                <a:lnTo>
                  <a:pt x="32" y="75"/>
                </a:lnTo>
                <a:lnTo>
                  <a:pt x="33" y="87"/>
                </a:lnTo>
                <a:lnTo>
                  <a:pt x="28" y="107"/>
                </a:lnTo>
                <a:lnTo>
                  <a:pt x="11" y="101"/>
                </a:lnTo>
                <a:lnTo>
                  <a:pt x="15" y="125"/>
                </a:lnTo>
                <a:lnTo>
                  <a:pt x="11" y="134"/>
                </a:lnTo>
                <a:lnTo>
                  <a:pt x="15" y="144"/>
                </a:lnTo>
                <a:lnTo>
                  <a:pt x="5" y="150"/>
                </a:lnTo>
                <a:lnTo>
                  <a:pt x="7" y="166"/>
                </a:lnTo>
                <a:lnTo>
                  <a:pt x="0" y="163"/>
                </a:lnTo>
                <a:lnTo>
                  <a:pt x="3" y="181"/>
                </a:lnTo>
                <a:lnTo>
                  <a:pt x="20" y="201"/>
                </a:lnTo>
                <a:lnTo>
                  <a:pt x="33" y="205"/>
                </a:lnTo>
                <a:lnTo>
                  <a:pt x="31" y="213"/>
                </a:lnTo>
                <a:lnTo>
                  <a:pt x="52" y="240"/>
                </a:lnTo>
                <a:lnTo>
                  <a:pt x="59" y="262"/>
                </a:lnTo>
                <a:lnTo>
                  <a:pt x="56" y="291"/>
                </a:lnTo>
                <a:lnTo>
                  <a:pt x="69" y="297"/>
                </a:lnTo>
                <a:lnTo>
                  <a:pt x="81" y="300"/>
                </a:lnTo>
                <a:lnTo>
                  <a:pt x="102" y="282"/>
                </a:lnTo>
                <a:lnTo>
                  <a:pt x="114" y="271"/>
                </a:lnTo>
                <a:lnTo>
                  <a:pt x="127" y="290"/>
                </a:lnTo>
                <a:lnTo>
                  <a:pt x="134" y="320"/>
                </a:lnTo>
                <a:lnTo>
                  <a:pt x="143" y="349"/>
                </a:lnTo>
                <a:lnTo>
                  <a:pt x="153" y="361"/>
                </a:lnTo>
                <a:lnTo>
                  <a:pt x="154" y="387"/>
                </a:lnTo>
                <a:lnTo>
                  <a:pt x="162" y="402"/>
                </a:lnTo>
                <a:lnTo>
                  <a:pt x="157" y="419"/>
                </a:lnTo>
                <a:lnTo>
                  <a:pt x="160" y="437"/>
                </a:lnTo>
                <a:lnTo>
                  <a:pt x="169" y="413"/>
                </a:lnTo>
                <a:lnTo>
                  <a:pt x="179" y="390"/>
                </a:lnTo>
                <a:lnTo>
                  <a:pt x="168" y="369"/>
                </a:lnTo>
                <a:lnTo>
                  <a:pt x="168" y="358"/>
                </a:lnTo>
                <a:lnTo>
                  <a:pt x="164" y="345"/>
                </a:lnTo>
                <a:lnTo>
                  <a:pt x="148" y="325"/>
                </a:lnTo>
                <a:lnTo>
                  <a:pt x="141" y="314"/>
                </a:lnTo>
                <a:lnTo>
                  <a:pt x="148" y="309"/>
                </a:lnTo>
                <a:lnTo>
                  <a:pt x="153" y="289"/>
                </a:lnTo>
                <a:lnTo>
                  <a:pt x="142" y="273"/>
                </a:lnTo>
                <a:lnTo>
                  <a:pt x="127" y="256"/>
                </a:lnTo>
                <a:lnTo>
                  <a:pt x="113" y="234"/>
                </a:lnTo>
                <a:lnTo>
                  <a:pt x="122" y="231"/>
                </a:lnTo>
                <a:lnTo>
                  <a:pt x="127" y="205"/>
                </a:lnTo>
                <a:lnTo>
                  <a:pt x="142" y="204"/>
                </a:lnTo>
                <a:lnTo>
                  <a:pt x="153" y="193"/>
                </a:lnTo>
                <a:lnTo>
                  <a:pt x="164" y="188"/>
                </a:lnTo>
                <a:lnTo>
                  <a:pt x="167" y="179"/>
                </a:lnTo>
                <a:lnTo>
                  <a:pt x="183" y="164"/>
                </a:lnTo>
                <a:lnTo>
                  <a:pt x="183" y="16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16" name="Montenegro">
            <a:extLst>
              <a:ext uri="{FF2B5EF4-FFF2-40B4-BE49-F238E27FC236}">
                <a16:creationId xmlns:a16="http://schemas.microsoft.com/office/drawing/2014/main" id="{6889F37D-D3F5-4EFB-843F-5FD7C758537B}"/>
              </a:ext>
            </a:extLst>
          </p:cNvPr>
          <p:cNvSpPr>
            <a:spLocks/>
          </p:cNvSpPr>
          <p:nvPr/>
        </p:nvSpPr>
        <p:spPr bwMode="auto">
          <a:xfrm>
            <a:off x="5798711" y="2582933"/>
            <a:ext cx="61244" cy="62946"/>
          </a:xfrm>
          <a:custGeom>
            <a:avLst/>
            <a:gdLst>
              <a:gd name="T0" fmla="*/ 34 w 36"/>
              <a:gd name="T1" fmla="*/ 16 h 37"/>
              <a:gd name="T2" fmla="*/ 36 w 36"/>
              <a:gd name="T3" fmla="*/ 14 h 37"/>
              <a:gd name="T4" fmla="*/ 28 w 36"/>
              <a:gd name="T5" fmla="*/ 9 h 37"/>
              <a:gd name="T6" fmla="*/ 21 w 36"/>
              <a:gd name="T7" fmla="*/ 6 h 37"/>
              <a:gd name="T8" fmla="*/ 18 w 36"/>
              <a:gd name="T9" fmla="*/ 3 h 37"/>
              <a:gd name="T10" fmla="*/ 13 w 36"/>
              <a:gd name="T11" fmla="*/ 0 h 37"/>
              <a:gd name="T12" fmla="*/ 10 w 36"/>
              <a:gd name="T13" fmla="*/ 2 h 37"/>
              <a:gd name="T14" fmla="*/ 4 w 36"/>
              <a:gd name="T15" fmla="*/ 7 h 37"/>
              <a:gd name="T16" fmla="*/ 2 w 36"/>
              <a:gd name="T17" fmla="*/ 19 h 37"/>
              <a:gd name="T18" fmla="*/ 0 w 36"/>
              <a:gd name="T19" fmla="*/ 23 h 37"/>
              <a:gd name="T20" fmla="*/ 0 w 36"/>
              <a:gd name="T21" fmla="*/ 23 h 37"/>
              <a:gd name="T22" fmla="*/ 9 w 36"/>
              <a:gd name="T23" fmla="*/ 28 h 37"/>
              <a:gd name="T24" fmla="*/ 15 w 36"/>
              <a:gd name="T25" fmla="*/ 35 h 37"/>
              <a:gd name="T26" fmla="*/ 19 w 36"/>
              <a:gd name="T27" fmla="*/ 37 h 37"/>
              <a:gd name="T28" fmla="*/ 19 w 36"/>
              <a:gd name="T29" fmla="*/ 37 h 37"/>
              <a:gd name="T30" fmla="*/ 17 w 36"/>
              <a:gd name="T31" fmla="*/ 30 h 37"/>
              <a:gd name="T32" fmla="*/ 25 w 36"/>
              <a:gd name="T33" fmla="*/ 18 h 37"/>
              <a:gd name="T34" fmla="*/ 27 w 36"/>
              <a:gd name="T35" fmla="*/ 23 h 37"/>
              <a:gd name="T36" fmla="*/ 31 w 36"/>
              <a:gd name="T37" fmla="*/ 21 h 37"/>
              <a:gd name="T38" fmla="*/ 34 w 36"/>
              <a:gd name="T39" fmla="*/ 1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37">
                <a:moveTo>
                  <a:pt x="34" y="16"/>
                </a:moveTo>
                <a:lnTo>
                  <a:pt x="36" y="14"/>
                </a:lnTo>
                <a:lnTo>
                  <a:pt x="28" y="9"/>
                </a:lnTo>
                <a:lnTo>
                  <a:pt x="21" y="6"/>
                </a:lnTo>
                <a:lnTo>
                  <a:pt x="18" y="3"/>
                </a:lnTo>
                <a:lnTo>
                  <a:pt x="13" y="0"/>
                </a:lnTo>
                <a:lnTo>
                  <a:pt x="10" y="2"/>
                </a:lnTo>
                <a:lnTo>
                  <a:pt x="4" y="7"/>
                </a:lnTo>
                <a:lnTo>
                  <a:pt x="2" y="19"/>
                </a:lnTo>
                <a:lnTo>
                  <a:pt x="0" y="23"/>
                </a:lnTo>
                <a:lnTo>
                  <a:pt x="0" y="23"/>
                </a:lnTo>
                <a:lnTo>
                  <a:pt x="9" y="28"/>
                </a:lnTo>
                <a:lnTo>
                  <a:pt x="15" y="35"/>
                </a:lnTo>
                <a:lnTo>
                  <a:pt x="19" y="37"/>
                </a:lnTo>
                <a:lnTo>
                  <a:pt x="19" y="37"/>
                </a:lnTo>
                <a:lnTo>
                  <a:pt x="17" y="30"/>
                </a:lnTo>
                <a:lnTo>
                  <a:pt x="25" y="18"/>
                </a:lnTo>
                <a:lnTo>
                  <a:pt x="27" y="23"/>
                </a:lnTo>
                <a:lnTo>
                  <a:pt x="31" y="21"/>
                </a:lnTo>
                <a:lnTo>
                  <a:pt x="34" y="1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17" name="Mongolia">
            <a:extLst>
              <a:ext uri="{FF2B5EF4-FFF2-40B4-BE49-F238E27FC236}">
                <a16:creationId xmlns:a16="http://schemas.microsoft.com/office/drawing/2014/main" id="{84E4424A-2472-4EE6-A5B1-AA23A84DE6EF}"/>
              </a:ext>
            </a:extLst>
          </p:cNvPr>
          <p:cNvSpPr>
            <a:spLocks/>
          </p:cNvSpPr>
          <p:nvPr/>
        </p:nvSpPr>
        <p:spPr bwMode="auto">
          <a:xfrm>
            <a:off x="7932034" y="2247794"/>
            <a:ext cx="1058156" cy="409993"/>
          </a:xfrm>
          <a:custGeom>
            <a:avLst/>
            <a:gdLst>
              <a:gd name="T0" fmla="*/ 237 w 622"/>
              <a:gd name="T1" fmla="*/ 17 h 241"/>
              <a:gd name="T2" fmla="*/ 194 w 622"/>
              <a:gd name="T3" fmla="*/ 9 h 241"/>
              <a:gd name="T4" fmla="*/ 164 w 622"/>
              <a:gd name="T5" fmla="*/ 23 h 241"/>
              <a:gd name="T6" fmla="*/ 169 w 622"/>
              <a:gd name="T7" fmla="*/ 53 h 241"/>
              <a:gd name="T8" fmla="*/ 121 w 622"/>
              <a:gd name="T9" fmla="*/ 46 h 241"/>
              <a:gd name="T10" fmla="*/ 84 w 622"/>
              <a:gd name="T11" fmla="*/ 35 h 241"/>
              <a:gd name="T12" fmla="*/ 42 w 622"/>
              <a:gd name="T13" fmla="*/ 39 h 241"/>
              <a:gd name="T14" fmla="*/ 0 w 622"/>
              <a:gd name="T15" fmla="*/ 62 h 241"/>
              <a:gd name="T16" fmla="*/ 34 w 622"/>
              <a:gd name="T17" fmla="*/ 91 h 241"/>
              <a:gd name="T18" fmla="*/ 86 w 622"/>
              <a:gd name="T19" fmla="*/ 118 h 241"/>
              <a:gd name="T20" fmla="*/ 102 w 622"/>
              <a:gd name="T21" fmla="*/ 156 h 241"/>
              <a:gd name="T22" fmla="*/ 153 w 622"/>
              <a:gd name="T23" fmla="*/ 163 h 241"/>
              <a:gd name="T24" fmla="*/ 195 w 622"/>
              <a:gd name="T25" fmla="*/ 180 h 241"/>
              <a:gd name="T26" fmla="*/ 231 w 622"/>
              <a:gd name="T27" fmla="*/ 214 h 241"/>
              <a:gd name="T28" fmla="*/ 294 w 622"/>
              <a:gd name="T29" fmla="*/ 219 h 241"/>
              <a:gd name="T30" fmla="*/ 337 w 622"/>
              <a:gd name="T31" fmla="*/ 219 h 241"/>
              <a:gd name="T32" fmla="*/ 395 w 622"/>
              <a:gd name="T33" fmla="*/ 233 h 241"/>
              <a:gd name="T34" fmla="*/ 424 w 622"/>
              <a:gd name="T35" fmla="*/ 228 h 241"/>
              <a:gd name="T36" fmla="*/ 479 w 622"/>
              <a:gd name="T37" fmla="*/ 219 h 241"/>
              <a:gd name="T38" fmla="*/ 505 w 622"/>
              <a:gd name="T39" fmla="*/ 199 h 241"/>
              <a:gd name="T40" fmla="*/ 506 w 622"/>
              <a:gd name="T41" fmla="*/ 184 h 241"/>
              <a:gd name="T42" fmla="*/ 497 w 622"/>
              <a:gd name="T43" fmla="*/ 160 h 241"/>
              <a:gd name="T44" fmla="*/ 532 w 622"/>
              <a:gd name="T45" fmla="*/ 167 h 241"/>
              <a:gd name="T46" fmla="*/ 566 w 622"/>
              <a:gd name="T47" fmla="*/ 145 h 241"/>
              <a:gd name="T48" fmla="*/ 580 w 622"/>
              <a:gd name="T49" fmla="*/ 124 h 241"/>
              <a:gd name="T50" fmla="*/ 622 w 622"/>
              <a:gd name="T51" fmla="*/ 123 h 241"/>
              <a:gd name="T52" fmla="*/ 592 w 622"/>
              <a:gd name="T53" fmla="*/ 99 h 241"/>
              <a:gd name="T54" fmla="*/ 564 w 622"/>
              <a:gd name="T55" fmla="*/ 100 h 241"/>
              <a:gd name="T56" fmla="*/ 535 w 622"/>
              <a:gd name="T57" fmla="*/ 100 h 241"/>
              <a:gd name="T58" fmla="*/ 524 w 622"/>
              <a:gd name="T59" fmla="*/ 66 h 241"/>
              <a:gd name="T60" fmla="*/ 501 w 622"/>
              <a:gd name="T61" fmla="*/ 51 h 241"/>
              <a:gd name="T62" fmla="*/ 474 w 622"/>
              <a:gd name="T63" fmla="*/ 41 h 241"/>
              <a:gd name="T64" fmla="*/ 435 w 622"/>
              <a:gd name="T65" fmla="*/ 60 h 241"/>
              <a:gd name="T66" fmla="*/ 397 w 622"/>
              <a:gd name="T67" fmla="*/ 63 h 241"/>
              <a:gd name="T68" fmla="*/ 362 w 622"/>
              <a:gd name="T69" fmla="*/ 51 h 241"/>
              <a:gd name="T70" fmla="*/ 318 w 622"/>
              <a:gd name="T71" fmla="*/ 37 h 241"/>
              <a:gd name="T72" fmla="*/ 281 w 622"/>
              <a:gd name="T73" fmla="*/ 45 h 241"/>
              <a:gd name="T74" fmla="*/ 251 w 622"/>
              <a:gd name="T75" fmla="*/ 3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2" h="241">
                <a:moveTo>
                  <a:pt x="251" y="34"/>
                </a:moveTo>
                <a:lnTo>
                  <a:pt x="237" y="17"/>
                </a:lnTo>
                <a:lnTo>
                  <a:pt x="212" y="12"/>
                </a:lnTo>
                <a:lnTo>
                  <a:pt x="194" y="9"/>
                </a:lnTo>
                <a:lnTo>
                  <a:pt x="168" y="0"/>
                </a:lnTo>
                <a:lnTo>
                  <a:pt x="164" y="23"/>
                </a:lnTo>
                <a:lnTo>
                  <a:pt x="179" y="37"/>
                </a:lnTo>
                <a:lnTo>
                  <a:pt x="169" y="53"/>
                </a:lnTo>
                <a:lnTo>
                  <a:pt x="139" y="47"/>
                </a:lnTo>
                <a:lnTo>
                  <a:pt x="121" y="46"/>
                </a:lnTo>
                <a:lnTo>
                  <a:pt x="104" y="35"/>
                </a:lnTo>
                <a:lnTo>
                  <a:pt x="84" y="35"/>
                </a:lnTo>
                <a:lnTo>
                  <a:pt x="65" y="28"/>
                </a:lnTo>
                <a:lnTo>
                  <a:pt x="42" y="39"/>
                </a:lnTo>
                <a:lnTo>
                  <a:pt x="18" y="59"/>
                </a:lnTo>
                <a:lnTo>
                  <a:pt x="0" y="62"/>
                </a:lnTo>
                <a:lnTo>
                  <a:pt x="12" y="79"/>
                </a:lnTo>
                <a:lnTo>
                  <a:pt x="34" y="91"/>
                </a:lnTo>
                <a:lnTo>
                  <a:pt x="65" y="100"/>
                </a:lnTo>
                <a:lnTo>
                  <a:pt x="86" y="118"/>
                </a:lnTo>
                <a:lnTo>
                  <a:pt x="91" y="146"/>
                </a:lnTo>
                <a:lnTo>
                  <a:pt x="102" y="156"/>
                </a:lnTo>
                <a:lnTo>
                  <a:pt x="126" y="159"/>
                </a:lnTo>
                <a:lnTo>
                  <a:pt x="153" y="163"/>
                </a:lnTo>
                <a:lnTo>
                  <a:pt x="182" y="177"/>
                </a:lnTo>
                <a:lnTo>
                  <a:pt x="195" y="180"/>
                </a:lnTo>
                <a:lnTo>
                  <a:pt x="213" y="201"/>
                </a:lnTo>
                <a:lnTo>
                  <a:pt x="231" y="214"/>
                </a:lnTo>
                <a:lnTo>
                  <a:pt x="251" y="214"/>
                </a:lnTo>
                <a:lnTo>
                  <a:pt x="294" y="219"/>
                </a:lnTo>
                <a:lnTo>
                  <a:pt x="317" y="216"/>
                </a:lnTo>
                <a:lnTo>
                  <a:pt x="337" y="219"/>
                </a:lnTo>
                <a:lnTo>
                  <a:pt x="373" y="234"/>
                </a:lnTo>
                <a:lnTo>
                  <a:pt x="395" y="233"/>
                </a:lnTo>
                <a:lnTo>
                  <a:pt x="407" y="241"/>
                </a:lnTo>
                <a:lnTo>
                  <a:pt x="424" y="228"/>
                </a:lnTo>
                <a:lnTo>
                  <a:pt x="451" y="220"/>
                </a:lnTo>
                <a:lnTo>
                  <a:pt x="479" y="219"/>
                </a:lnTo>
                <a:lnTo>
                  <a:pt x="497" y="212"/>
                </a:lnTo>
                <a:lnTo>
                  <a:pt x="505" y="199"/>
                </a:lnTo>
                <a:lnTo>
                  <a:pt x="514" y="191"/>
                </a:lnTo>
                <a:lnTo>
                  <a:pt x="506" y="184"/>
                </a:lnTo>
                <a:lnTo>
                  <a:pt x="496" y="175"/>
                </a:lnTo>
                <a:lnTo>
                  <a:pt x="497" y="160"/>
                </a:lnTo>
                <a:lnTo>
                  <a:pt x="509" y="162"/>
                </a:lnTo>
                <a:lnTo>
                  <a:pt x="532" y="167"/>
                </a:lnTo>
                <a:lnTo>
                  <a:pt x="543" y="155"/>
                </a:lnTo>
                <a:lnTo>
                  <a:pt x="566" y="145"/>
                </a:lnTo>
                <a:lnTo>
                  <a:pt x="572" y="130"/>
                </a:lnTo>
                <a:lnTo>
                  <a:pt x="580" y="124"/>
                </a:lnTo>
                <a:lnTo>
                  <a:pt x="606" y="120"/>
                </a:lnTo>
                <a:lnTo>
                  <a:pt x="622" y="123"/>
                </a:lnTo>
                <a:lnTo>
                  <a:pt x="619" y="115"/>
                </a:lnTo>
                <a:lnTo>
                  <a:pt x="592" y="99"/>
                </a:lnTo>
                <a:lnTo>
                  <a:pt x="574" y="91"/>
                </a:lnTo>
                <a:lnTo>
                  <a:pt x="564" y="100"/>
                </a:lnTo>
                <a:lnTo>
                  <a:pt x="544" y="96"/>
                </a:lnTo>
                <a:lnTo>
                  <a:pt x="535" y="100"/>
                </a:lnTo>
                <a:lnTo>
                  <a:pt x="525" y="89"/>
                </a:lnTo>
                <a:lnTo>
                  <a:pt x="524" y="66"/>
                </a:lnTo>
                <a:lnTo>
                  <a:pt x="521" y="49"/>
                </a:lnTo>
                <a:lnTo>
                  <a:pt x="501" y="51"/>
                </a:lnTo>
                <a:lnTo>
                  <a:pt x="487" y="44"/>
                </a:lnTo>
                <a:lnTo>
                  <a:pt x="474" y="41"/>
                </a:lnTo>
                <a:lnTo>
                  <a:pt x="457" y="57"/>
                </a:lnTo>
                <a:lnTo>
                  <a:pt x="435" y="60"/>
                </a:lnTo>
                <a:lnTo>
                  <a:pt x="422" y="67"/>
                </a:lnTo>
                <a:lnTo>
                  <a:pt x="397" y="63"/>
                </a:lnTo>
                <a:lnTo>
                  <a:pt x="380" y="63"/>
                </a:lnTo>
                <a:lnTo>
                  <a:pt x="362" y="51"/>
                </a:lnTo>
                <a:lnTo>
                  <a:pt x="337" y="40"/>
                </a:lnTo>
                <a:lnTo>
                  <a:pt x="318" y="37"/>
                </a:lnTo>
                <a:lnTo>
                  <a:pt x="296" y="40"/>
                </a:lnTo>
                <a:lnTo>
                  <a:pt x="281" y="45"/>
                </a:lnTo>
                <a:lnTo>
                  <a:pt x="251" y="34"/>
                </a:lnTo>
                <a:lnTo>
                  <a:pt x="251" y="3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18" name="Mozambique">
            <a:extLst>
              <a:ext uri="{FF2B5EF4-FFF2-40B4-BE49-F238E27FC236}">
                <a16:creationId xmlns:a16="http://schemas.microsoft.com/office/drawing/2014/main" id="{C882A91F-06B6-4936-BCF0-016FF07386BA}"/>
              </a:ext>
            </a:extLst>
          </p:cNvPr>
          <p:cNvSpPr>
            <a:spLocks/>
          </p:cNvSpPr>
          <p:nvPr/>
        </p:nvSpPr>
        <p:spPr bwMode="auto">
          <a:xfrm>
            <a:off x="6268247" y="4757086"/>
            <a:ext cx="374267" cy="663474"/>
          </a:xfrm>
          <a:custGeom>
            <a:avLst/>
            <a:gdLst>
              <a:gd name="T0" fmla="*/ 215 w 220"/>
              <a:gd name="T1" fmla="*/ 0 h 390"/>
              <a:gd name="T2" fmla="*/ 215 w 220"/>
              <a:gd name="T3" fmla="*/ 0 h 390"/>
              <a:gd name="T4" fmla="*/ 174 w 220"/>
              <a:gd name="T5" fmla="*/ 23 h 390"/>
              <a:gd name="T6" fmla="*/ 154 w 220"/>
              <a:gd name="T7" fmla="*/ 30 h 390"/>
              <a:gd name="T8" fmla="*/ 134 w 220"/>
              <a:gd name="T9" fmla="*/ 34 h 390"/>
              <a:gd name="T10" fmla="*/ 102 w 220"/>
              <a:gd name="T11" fmla="*/ 28 h 390"/>
              <a:gd name="T12" fmla="*/ 98 w 220"/>
              <a:gd name="T13" fmla="*/ 77 h 390"/>
              <a:gd name="T14" fmla="*/ 106 w 220"/>
              <a:gd name="T15" fmla="*/ 85 h 390"/>
              <a:gd name="T16" fmla="*/ 115 w 220"/>
              <a:gd name="T17" fmla="*/ 133 h 390"/>
              <a:gd name="T18" fmla="*/ 98 w 220"/>
              <a:gd name="T19" fmla="*/ 154 h 390"/>
              <a:gd name="T20" fmla="*/ 85 w 220"/>
              <a:gd name="T21" fmla="*/ 122 h 390"/>
              <a:gd name="T22" fmla="*/ 89 w 220"/>
              <a:gd name="T23" fmla="*/ 102 h 390"/>
              <a:gd name="T24" fmla="*/ 75 w 220"/>
              <a:gd name="T25" fmla="*/ 98 h 390"/>
              <a:gd name="T26" fmla="*/ 0 w 220"/>
              <a:gd name="T27" fmla="*/ 106 h 390"/>
              <a:gd name="T28" fmla="*/ 2 w 220"/>
              <a:gd name="T29" fmla="*/ 133 h 390"/>
              <a:gd name="T30" fmla="*/ 29 w 220"/>
              <a:gd name="T31" fmla="*/ 137 h 390"/>
              <a:gd name="T32" fmla="*/ 43 w 220"/>
              <a:gd name="T33" fmla="*/ 145 h 390"/>
              <a:gd name="T34" fmla="*/ 52 w 220"/>
              <a:gd name="T35" fmla="*/ 182 h 390"/>
              <a:gd name="T36" fmla="*/ 46 w 220"/>
              <a:gd name="T37" fmla="*/ 217 h 390"/>
              <a:gd name="T38" fmla="*/ 46 w 220"/>
              <a:gd name="T39" fmla="*/ 237 h 390"/>
              <a:gd name="T40" fmla="*/ 36 w 220"/>
              <a:gd name="T41" fmla="*/ 257 h 390"/>
              <a:gd name="T42" fmla="*/ 21 w 220"/>
              <a:gd name="T43" fmla="*/ 317 h 390"/>
              <a:gd name="T44" fmla="*/ 19 w 220"/>
              <a:gd name="T45" fmla="*/ 360 h 390"/>
              <a:gd name="T46" fmla="*/ 23 w 220"/>
              <a:gd name="T47" fmla="*/ 380 h 390"/>
              <a:gd name="T48" fmla="*/ 40 w 220"/>
              <a:gd name="T49" fmla="*/ 390 h 390"/>
              <a:gd name="T50" fmla="*/ 37 w 220"/>
              <a:gd name="T51" fmla="*/ 376 h 390"/>
              <a:gd name="T52" fmla="*/ 46 w 220"/>
              <a:gd name="T53" fmla="*/ 358 h 390"/>
              <a:gd name="T54" fmla="*/ 89 w 220"/>
              <a:gd name="T55" fmla="*/ 337 h 390"/>
              <a:gd name="T56" fmla="*/ 102 w 220"/>
              <a:gd name="T57" fmla="*/ 318 h 390"/>
              <a:gd name="T58" fmla="*/ 101 w 220"/>
              <a:gd name="T59" fmla="*/ 303 h 390"/>
              <a:gd name="T60" fmla="*/ 99 w 220"/>
              <a:gd name="T61" fmla="*/ 281 h 390"/>
              <a:gd name="T62" fmla="*/ 96 w 220"/>
              <a:gd name="T63" fmla="*/ 260 h 390"/>
              <a:gd name="T64" fmla="*/ 89 w 220"/>
              <a:gd name="T65" fmla="*/ 225 h 390"/>
              <a:gd name="T66" fmla="*/ 114 w 220"/>
              <a:gd name="T67" fmla="*/ 203 h 390"/>
              <a:gd name="T68" fmla="*/ 146 w 220"/>
              <a:gd name="T69" fmla="*/ 173 h 390"/>
              <a:gd name="T70" fmla="*/ 190 w 220"/>
              <a:gd name="T71" fmla="*/ 152 h 390"/>
              <a:gd name="T72" fmla="*/ 213 w 220"/>
              <a:gd name="T73" fmla="*/ 121 h 390"/>
              <a:gd name="T74" fmla="*/ 216 w 220"/>
              <a:gd name="T75" fmla="*/ 92 h 390"/>
              <a:gd name="T76" fmla="*/ 216 w 220"/>
              <a:gd name="T77" fmla="*/ 34 h 390"/>
              <a:gd name="T78" fmla="*/ 217 w 220"/>
              <a:gd name="T79" fmla="*/ 11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0" h="390">
                <a:moveTo>
                  <a:pt x="217" y="11"/>
                </a:moveTo>
                <a:lnTo>
                  <a:pt x="215" y="0"/>
                </a:lnTo>
                <a:lnTo>
                  <a:pt x="215" y="0"/>
                </a:lnTo>
                <a:lnTo>
                  <a:pt x="215" y="0"/>
                </a:lnTo>
                <a:lnTo>
                  <a:pt x="197" y="14"/>
                </a:lnTo>
                <a:lnTo>
                  <a:pt x="174" y="23"/>
                </a:lnTo>
                <a:lnTo>
                  <a:pt x="161" y="23"/>
                </a:lnTo>
                <a:lnTo>
                  <a:pt x="154" y="30"/>
                </a:lnTo>
                <a:lnTo>
                  <a:pt x="139" y="31"/>
                </a:lnTo>
                <a:lnTo>
                  <a:pt x="134" y="34"/>
                </a:lnTo>
                <a:lnTo>
                  <a:pt x="109" y="27"/>
                </a:lnTo>
                <a:lnTo>
                  <a:pt x="102" y="28"/>
                </a:lnTo>
                <a:lnTo>
                  <a:pt x="95" y="50"/>
                </a:lnTo>
                <a:lnTo>
                  <a:pt x="98" y="77"/>
                </a:lnTo>
                <a:lnTo>
                  <a:pt x="99" y="77"/>
                </a:lnTo>
                <a:lnTo>
                  <a:pt x="106" y="85"/>
                </a:lnTo>
                <a:lnTo>
                  <a:pt x="115" y="102"/>
                </a:lnTo>
                <a:lnTo>
                  <a:pt x="115" y="133"/>
                </a:lnTo>
                <a:lnTo>
                  <a:pt x="105" y="137"/>
                </a:lnTo>
                <a:lnTo>
                  <a:pt x="98" y="154"/>
                </a:lnTo>
                <a:lnTo>
                  <a:pt x="86" y="139"/>
                </a:lnTo>
                <a:lnTo>
                  <a:pt x="85" y="122"/>
                </a:lnTo>
                <a:lnTo>
                  <a:pt x="89" y="112"/>
                </a:lnTo>
                <a:lnTo>
                  <a:pt x="89" y="102"/>
                </a:lnTo>
                <a:lnTo>
                  <a:pt x="81" y="96"/>
                </a:lnTo>
                <a:lnTo>
                  <a:pt x="75" y="98"/>
                </a:lnTo>
                <a:lnTo>
                  <a:pt x="63" y="87"/>
                </a:lnTo>
                <a:lnTo>
                  <a:pt x="0" y="106"/>
                </a:lnTo>
                <a:lnTo>
                  <a:pt x="1" y="123"/>
                </a:lnTo>
                <a:lnTo>
                  <a:pt x="2" y="133"/>
                </a:lnTo>
                <a:lnTo>
                  <a:pt x="19" y="132"/>
                </a:lnTo>
                <a:lnTo>
                  <a:pt x="29" y="137"/>
                </a:lnTo>
                <a:lnTo>
                  <a:pt x="33" y="143"/>
                </a:lnTo>
                <a:lnTo>
                  <a:pt x="43" y="145"/>
                </a:lnTo>
                <a:lnTo>
                  <a:pt x="53" y="152"/>
                </a:lnTo>
                <a:lnTo>
                  <a:pt x="52" y="182"/>
                </a:lnTo>
                <a:lnTo>
                  <a:pt x="47" y="199"/>
                </a:lnTo>
                <a:lnTo>
                  <a:pt x="46" y="217"/>
                </a:lnTo>
                <a:lnTo>
                  <a:pt x="48" y="223"/>
                </a:lnTo>
                <a:lnTo>
                  <a:pt x="46" y="237"/>
                </a:lnTo>
                <a:lnTo>
                  <a:pt x="42" y="240"/>
                </a:lnTo>
                <a:lnTo>
                  <a:pt x="36" y="257"/>
                </a:lnTo>
                <a:lnTo>
                  <a:pt x="13" y="284"/>
                </a:lnTo>
                <a:lnTo>
                  <a:pt x="21" y="317"/>
                </a:lnTo>
                <a:lnTo>
                  <a:pt x="25" y="334"/>
                </a:lnTo>
                <a:lnTo>
                  <a:pt x="19" y="360"/>
                </a:lnTo>
                <a:lnTo>
                  <a:pt x="21" y="369"/>
                </a:lnTo>
                <a:lnTo>
                  <a:pt x="23" y="380"/>
                </a:lnTo>
                <a:lnTo>
                  <a:pt x="25" y="390"/>
                </a:lnTo>
                <a:lnTo>
                  <a:pt x="40" y="390"/>
                </a:lnTo>
                <a:lnTo>
                  <a:pt x="43" y="378"/>
                </a:lnTo>
                <a:lnTo>
                  <a:pt x="37" y="376"/>
                </a:lnTo>
                <a:lnTo>
                  <a:pt x="36" y="367"/>
                </a:lnTo>
                <a:lnTo>
                  <a:pt x="46" y="358"/>
                </a:lnTo>
                <a:lnTo>
                  <a:pt x="72" y="344"/>
                </a:lnTo>
                <a:lnTo>
                  <a:pt x="89" y="337"/>
                </a:lnTo>
                <a:lnTo>
                  <a:pt x="98" y="328"/>
                </a:lnTo>
                <a:lnTo>
                  <a:pt x="102" y="318"/>
                </a:lnTo>
                <a:lnTo>
                  <a:pt x="97" y="315"/>
                </a:lnTo>
                <a:lnTo>
                  <a:pt x="101" y="303"/>
                </a:lnTo>
                <a:lnTo>
                  <a:pt x="103" y="280"/>
                </a:lnTo>
                <a:lnTo>
                  <a:pt x="99" y="281"/>
                </a:lnTo>
                <a:lnTo>
                  <a:pt x="99" y="273"/>
                </a:lnTo>
                <a:lnTo>
                  <a:pt x="96" y="260"/>
                </a:lnTo>
                <a:lnTo>
                  <a:pt x="87" y="242"/>
                </a:lnTo>
                <a:lnTo>
                  <a:pt x="89" y="225"/>
                </a:lnTo>
                <a:lnTo>
                  <a:pt x="98" y="219"/>
                </a:lnTo>
                <a:lnTo>
                  <a:pt x="114" y="203"/>
                </a:lnTo>
                <a:lnTo>
                  <a:pt x="122" y="199"/>
                </a:lnTo>
                <a:lnTo>
                  <a:pt x="146" y="173"/>
                </a:lnTo>
                <a:lnTo>
                  <a:pt x="171" y="161"/>
                </a:lnTo>
                <a:lnTo>
                  <a:pt x="190" y="152"/>
                </a:lnTo>
                <a:lnTo>
                  <a:pt x="204" y="137"/>
                </a:lnTo>
                <a:lnTo>
                  <a:pt x="213" y="121"/>
                </a:lnTo>
                <a:lnTo>
                  <a:pt x="220" y="104"/>
                </a:lnTo>
                <a:lnTo>
                  <a:pt x="216" y="92"/>
                </a:lnTo>
                <a:lnTo>
                  <a:pt x="217" y="55"/>
                </a:lnTo>
                <a:lnTo>
                  <a:pt x="216" y="34"/>
                </a:lnTo>
                <a:lnTo>
                  <a:pt x="217" y="11"/>
                </a:lnTo>
                <a:lnTo>
                  <a:pt x="217" y="1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19" name="Mauritania">
            <a:extLst>
              <a:ext uri="{FF2B5EF4-FFF2-40B4-BE49-F238E27FC236}">
                <a16:creationId xmlns:a16="http://schemas.microsoft.com/office/drawing/2014/main" id="{29069A71-DFEC-4EA5-8401-9BFE11DD14D3}"/>
              </a:ext>
            </a:extLst>
          </p:cNvPr>
          <p:cNvSpPr>
            <a:spLocks/>
          </p:cNvSpPr>
          <p:nvPr/>
        </p:nvSpPr>
        <p:spPr bwMode="auto">
          <a:xfrm>
            <a:off x="4602757" y="3232797"/>
            <a:ext cx="427005" cy="517170"/>
          </a:xfrm>
          <a:custGeom>
            <a:avLst/>
            <a:gdLst>
              <a:gd name="T0" fmla="*/ 251 w 251"/>
              <a:gd name="T1" fmla="*/ 57 h 304"/>
              <a:gd name="T2" fmla="*/ 175 w 251"/>
              <a:gd name="T3" fmla="*/ 0 h 304"/>
              <a:gd name="T4" fmla="*/ 174 w 251"/>
              <a:gd name="T5" fmla="*/ 36 h 304"/>
              <a:gd name="T6" fmla="*/ 108 w 251"/>
              <a:gd name="T7" fmla="*/ 35 h 304"/>
              <a:gd name="T8" fmla="*/ 107 w 251"/>
              <a:gd name="T9" fmla="*/ 96 h 304"/>
              <a:gd name="T10" fmla="*/ 87 w 251"/>
              <a:gd name="T11" fmla="*/ 98 h 304"/>
              <a:gd name="T12" fmla="*/ 82 w 251"/>
              <a:gd name="T13" fmla="*/ 110 h 304"/>
              <a:gd name="T14" fmla="*/ 85 w 251"/>
              <a:gd name="T15" fmla="*/ 144 h 304"/>
              <a:gd name="T16" fmla="*/ 5 w 251"/>
              <a:gd name="T17" fmla="*/ 144 h 304"/>
              <a:gd name="T18" fmla="*/ 0 w 251"/>
              <a:gd name="T19" fmla="*/ 152 h 304"/>
              <a:gd name="T20" fmla="*/ 11 w 251"/>
              <a:gd name="T21" fmla="*/ 162 h 304"/>
              <a:gd name="T22" fmla="*/ 16 w 251"/>
              <a:gd name="T23" fmla="*/ 173 h 304"/>
              <a:gd name="T24" fmla="*/ 13 w 251"/>
              <a:gd name="T25" fmla="*/ 185 h 304"/>
              <a:gd name="T26" fmla="*/ 15 w 251"/>
              <a:gd name="T27" fmla="*/ 198 h 304"/>
              <a:gd name="T28" fmla="*/ 17 w 251"/>
              <a:gd name="T29" fmla="*/ 221 h 304"/>
              <a:gd name="T30" fmla="*/ 14 w 251"/>
              <a:gd name="T31" fmla="*/ 243 h 304"/>
              <a:gd name="T32" fmla="*/ 8 w 251"/>
              <a:gd name="T33" fmla="*/ 254 h 304"/>
              <a:gd name="T34" fmla="*/ 10 w 251"/>
              <a:gd name="T35" fmla="*/ 268 h 304"/>
              <a:gd name="T36" fmla="*/ 17 w 251"/>
              <a:gd name="T37" fmla="*/ 260 h 304"/>
              <a:gd name="T38" fmla="*/ 27 w 251"/>
              <a:gd name="T39" fmla="*/ 262 h 304"/>
              <a:gd name="T40" fmla="*/ 38 w 251"/>
              <a:gd name="T41" fmla="*/ 256 h 304"/>
              <a:gd name="T42" fmla="*/ 49 w 251"/>
              <a:gd name="T43" fmla="*/ 256 h 304"/>
              <a:gd name="T44" fmla="*/ 59 w 251"/>
              <a:gd name="T45" fmla="*/ 264 h 304"/>
              <a:gd name="T46" fmla="*/ 72 w 251"/>
              <a:gd name="T47" fmla="*/ 269 h 304"/>
              <a:gd name="T48" fmla="*/ 84 w 251"/>
              <a:gd name="T49" fmla="*/ 287 h 304"/>
              <a:gd name="T50" fmla="*/ 98 w 251"/>
              <a:gd name="T51" fmla="*/ 304 h 304"/>
              <a:gd name="T52" fmla="*/ 105 w 251"/>
              <a:gd name="T53" fmla="*/ 299 h 304"/>
              <a:gd name="T54" fmla="*/ 109 w 251"/>
              <a:gd name="T55" fmla="*/ 285 h 304"/>
              <a:gd name="T56" fmla="*/ 115 w 251"/>
              <a:gd name="T57" fmla="*/ 284 h 304"/>
              <a:gd name="T58" fmla="*/ 130 w 251"/>
              <a:gd name="T59" fmla="*/ 292 h 304"/>
              <a:gd name="T60" fmla="*/ 141 w 251"/>
              <a:gd name="T61" fmla="*/ 286 h 304"/>
              <a:gd name="T62" fmla="*/ 150 w 251"/>
              <a:gd name="T63" fmla="*/ 288 h 304"/>
              <a:gd name="T64" fmla="*/ 153 w 251"/>
              <a:gd name="T65" fmla="*/ 282 h 304"/>
              <a:gd name="T66" fmla="*/ 237 w 251"/>
              <a:gd name="T67" fmla="*/ 282 h 304"/>
              <a:gd name="T68" fmla="*/ 241 w 251"/>
              <a:gd name="T69" fmla="*/ 266 h 304"/>
              <a:gd name="T70" fmla="*/ 238 w 251"/>
              <a:gd name="T71" fmla="*/ 263 h 304"/>
              <a:gd name="T72" fmla="*/ 228 w 251"/>
              <a:gd name="T73" fmla="*/ 160 h 304"/>
              <a:gd name="T74" fmla="*/ 220 w 251"/>
              <a:gd name="T75" fmla="*/ 58 h 304"/>
              <a:gd name="T76" fmla="*/ 251 w 251"/>
              <a:gd name="T77" fmla="*/ 57 h 304"/>
              <a:gd name="T78" fmla="*/ 251 w 251"/>
              <a:gd name="T79" fmla="*/ 57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1" h="304">
                <a:moveTo>
                  <a:pt x="251" y="57"/>
                </a:moveTo>
                <a:lnTo>
                  <a:pt x="175" y="0"/>
                </a:lnTo>
                <a:lnTo>
                  <a:pt x="174" y="36"/>
                </a:lnTo>
                <a:lnTo>
                  <a:pt x="108" y="35"/>
                </a:lnTo>
                <a:lnTo>
                  <a:pt x="107" y="96"/>
                </a:lnTo>
                <a:lnTo>
                  <a:pt x="87" y="98"/>
                </a:lnTo>
                <a:lnTo>
                  <a:pt x="82" y="110"/>
                </a:lnTo>
                <a:lnTo>
                  <a:pt x="85" y="144"/>
                </a:lnTo>
                <a:lnTo>
                  <a:pt x="5" y="144"/>
                </a:lnTo>
                <a:lnTo>
                  <a:pt x="0" y="152"/>
                </a:lnTo>
                <a:lnTo>
                  <a:pt x="11" y="162"/>
                </a:lnTo>
                <a:lnTo>
                  <a:pt x="16" y="173"/>
                </a:lnTo>
                <a:lnTo>
                  <a:pt x="13" y="185"/>
                </a:lnTo>
                <a:lnTo>
                  <a:pt x="15" y="198"/>
                </a:lnTo>
                <a:lnTo>
                  <a:pt x="17" y="221"/>
                </a:lnTo>
                <a:lnTo>
                  <a:pt x="14" y="243"/>
                </a:lnTo>
                <a:lnTo>
                  <a:pt x="8" y="254"/>
                </a:lnTo>
                <a:lnTo>
                  <a:pt x="10" y="268"/>
                </a:lnTo>
                <a:lnTo>
                  <a:pt x="17" y="260"/>
                </a:lnTo>
                <a:lnTo>
                  <a:pt x="27" y="262"/>
                </a:lnTo>
                <a:lnTo>
                  <a:pt x="38" y="256"/>
                </a:lnTo>
                <a:lnTo>
                  <a:pt x="49" y="256"/>
                </a:lnTo>
                <a:lnTo>
                  <a:pt x="59" y="264"/>
                </a:lnTo>
                <a:lnTo>
                  <a:pt x="72" y="269"/>
                </a:lnTo>
                <a:lnTo>
                  <a:pt x="84" y="287"/>
                </a:lnTo>
                <a:lnTo>
                  <a:pt x="98" y="304"/>
                </a:lnTo>
                <a:lnTo>
                  <a:pt x="105" y="299"/>
                </a:lnTo>
                <a:lnTo>
                  <a:pt x="109" y="285"/>
                </a:lnTo>
                <a:lnTo>
                  <a:pt x="115" y="284"/>
                </a:lnTo>
                <a:lnTo>
                  <a:pt x="130" y="292"/>
                </a:lnTo>
                <a:lnTo>
                  <a:pt x="141" y="286"/>
                </a:lnTo>
                <a:lnTo>
                  <a:pt x="150" y="288"/>
                </a:lnTo>
                <a:lnTo>
                  <a:pt x="153" y="282"/>
                </a:lnTo>
                <a:lnTo>
                  <a:pt x="237" y="282"/>
                </a:lnTo>
                <a:lnTo>
                  <a:pt x="241" y="266"/>
                </a:lnTo>
                <a:lnTo>
                  <a:pt x="238" y="263"/>
                </a:lnTo>
                <a:lnTo>
                  <a:pt x="228" y="160"/>
                </a:lnTo>
                <a:lnTo>
                  <a:pt x="220" y="58"/>
                </a:lnTo>
                <a:lnTo>
                  <a:pt x="251" y="57"/>
                </a:lnTo>
                <a:lnTo>
                  <a:pt x="251" y="5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20" name="Malawi">
            <a:extLst>
              <a:ext uri="{FF2B5EF4-FFF2-40B4-BE49-F238E27FC236}">
                <a16:creationId xmlns:a16="http://schemas.microsoft.com/office/drawing/2014/main" id="{F3D79C20-902F-4704-8136-F0F8F7A93921}"/>
              </a:ext>
            </a:extLst>
          </p:cNvPr>
          <p:cNvSpPr>
            <a:spLocks/>
          </p:cNvSpPr>
          <p:nvPr/>
        </p:nvSpPr>
        <p:spPr bwMode="auto">
          <a:xfrm>
            <a:off x="6358410" y="4714556"/>
            <a:ext cx="105475" cy="304518"/>
          </a:xfrm>
          <a:custGeom>
            <a:avLst/>
            <a:gdLst>
              <a:gd name="T0" fmla="*/ 38 w 62"/>
              <a:gd name="T1" fmla="*/ 114 h 179"/>
              <a:gd name="T2" fmla="*/ 38 w 62"/>
              <a:gd name="T3" fmla="*/ 105 h 179"/>
              <a:gd name="T4" fmla="*/ 34 w 62"/>
              <a:gd name="T5" fmla="*/ 98 h 179"/>
              <a:gd name="T6" fmla="*/ 35 w 62"/>
              <a:gd name="T7" fmla="*/ 87 h 179"/>
              <a:gd name="T8" fmla="*/ 29 w 62"/>
              <a:gd name="T9" fmla="*/ 70 h 179"/>
              <a:gd name="T10" fmla="*/ 36 w 62"/>
              <a:gd name="T11" fmla="*/ 57 h 179"/>
              <a:gd name="T12" fmla="*/ 35 w 62"/>
              <a:gd name="T13" fmla="*/ 28 h 179"/>
              <a:gd name="T14" fmla="*/ 28 w 62"/>
              <a:gd name="T15" fmla="*/ 13 h 179"/>
              <a:gd name="T16" fmla="*/ 28 w 62"/>
              <a:gd name="T17" fmla="*/ 10 h 179"/>
              <a:gd name="T18" fmla="*/ 28 w 62"/>
              <a:gd name="T19" fmla="*/ 10 h 179"/>
              <a:gd name="T20" fmla="*/ 24 w 62"/>
              <a:gd name="T21" fmla="*/ 3 h 179"/>
              <a:gd name="T22" fmla="*/ 4 w 62"/>
              <a:gd name="T23" fmla="*/ 0 h 179"/>
              <a:gd name="T24" fmla="*/ 14 w 62"/>
              <a:gd name="T25" fmla="*/ 10 h 179"/>
              <a:gd name="T26" fmla="*/ 19 w 62"/>
              <a:gd name="T27" fmla="*/ 30 h 179"/>
              <a:gd name="T28" fmla="*/ 15 w 62"/>
              <a:gd name="T29" fmla="*/ 37 h 179"/>
              <a:gd name="T30" fmla="*/ 10 w 62"/>
              <a:gd name="T31" fmla="*/ 56 h 179"/>
              <a:gd name="T32" fmla="*/ 13 w 62"/>
              <a:gd name="T33" fmla="*/ 75 h 179"/>
              <a:gd name="T34" fmla="*/ 7 w 62"/>
              <a:gd name="T35" fmla="*/ 84 h 179"/>
              <a:gd name="T36" fmla="*/ 0 w 62"/>
              <a:gd name="T37" fmla="*/ 106 h 179"/>
              <a:gd name="T38" fmla="*/ 10 w 62"/>
              <a:gd name="T39" fmla="*/ 112 h 179"/>
              <a:gd name="T40" fmla="*/ 22 w 62"/>
              <a:gd name="T41" fmla="*/ 123 h 179"/>
              <a:gd name="T42" fmla="*/ 28 w 62"/>
              <a:gd name="T43" fmla="*/ 121 h 179"/>
              <a:gd name="T44" fmla="*/ 36 w 62"/>
              <a:gd name="T45" fmla="*/ 127 h 179"/>
              <a:gd name="T46" fmla="*/ 36 w 62"/>
              <a:gd name="T47" fmla="*/ 137 h 179"/>
              <a:gd name="T48" fmla="*/ 32 w 62"/>
              <a:gd name="T49" fmla="*/ 147 h 179"/>
              <a:gd name="T50" fmla="*/ 33 w 62"/>
              <a:gd name="T51" fmla="*/ 164 h 179"/>
              <a:gd name="T52" fmla="*/ 45 w 62"/>
              <a:gd name="T53" fmla="*/ 179 h 179"/>
              <a:gd name="T54" fmla="*/ 52 w 62"/>
              <a:gd name="T55" fmla="*/ 162 h 179"/>
              <a:gd name="T56" fmla="*/ 62 w 62"/>
              <a:gd name="T57" fmla="*/ 158 h 179"/>
              <a:gd name="T58" fmla="*/ 62 w 62"/>
              <a:gd name="T59" fmla="*/ 127 h 179"/>
              <a:gd name="T60" fmla="*/ 53 w 62"/>
              <a:gd name="T61" fmla="*/ 110 h 179"/>
              <a:gd name="T62" fmla="*/ 46 w 62"/>
              <a:gd name="T63" fmla="*/ 102 h 179"/>
              <a:gd name="T64" fmla="*/ 45 w 62"/>
              <a:gd name="T65" fmla="*/ 102 h 179"/>
              <a:gd name="T66" fmla="*/ 45 w 62"/>
              <a:gd name="T67" fmla="*/ 105 h 179"/>
              <a:gd name="T68" fmla="*/ 49 w 62"/>
              <a:gd name="T69" fmla="*/ 106 h 179"/>
              <a:gd name="T70" fmla="*/ 52 w 62"/>
              <a:gd name="T71" fmla="*/ 119 h 179"/>
              <a:gd name="T72" fmla="*/ 52 w 62"/>
              <a:gd name="T73" fmla="*/ 122 h 179"/>
              <a:gd name="T74" fmla="*/ 45 w 62"/>
              <a:gd name="T75" fmla="*/ 113 h 179"/>
              <a:gd name="T76" fmla="*/ 41 w 62"/>
              <a:gd name="T77" fmla="*/ 119 h 179"/>
              <a:gd name="T78" fmla="*/ 38 w 62"/>
              <a:gd name="T79" fmla="*/ 114 h 179"/>
              <a:gd name="T80" fmla="*/ 38 w 62"/>
              <a:gd name="T81" fmla="*/ 11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2" h="179">
                <a:moveTo>
                  <a:pt x="38" y="114"/>
                </a:moveTo>
                <a:lnTo>
                  <a:pt x="38" y="105"/>
                </a:lnTo>
                <a:lnTo>
                  <a:pt x="34" y="98"/>
                </a:lnTo>
                <a:lnTo>
                  <a:pt x="35" y="87"/>
                </a:lnTo>
                <a:lnTo>
                  <a:pt x="29" y="70"/>
                </a:lnTo>
                <a:lnTo>
                  <a:pt x="36" y="57"/>
                </a:lnTo>
                <a:lnTo>
                  <a:pt x="35" y="28"/>
                </a:lnTo>
                <a:lnTo>
                  <a:pt x="28" y="13"/>
                </a:lnTo>
                <a:lnTo>
                  <a:pt x="28" y="10"/>
                </a:lnTo>
                <a:lnTo>
                  <a:pt x="28" y="10"/>
                </a:lnTo>
                <a:lnTo>
                  <a:pt x="24" y="3"/>
                </a:lnTo>
                <a:lnTo>
                  <a:pt x="4" y="0"/>
                </a:lnTo>
                <a:lnTo>
                  <a:pt x="14" y="10"/>
                </a:lnTo>
                <a:lnTo>
                  <a:pt x="19" y="30"/>
                </a:lnTo>
                <a:lnTo>
                  <a:pt x="15" y="37"/>
                </a:lnTo>
                <a:lnTo>
                  <a:pt x="10" y="56"/>
                </a:lnTo>
                <a:lnTo>
                  <a:pt x="13" y="75"/>
                </a:lnTo>
                <a:lnTo>
                  <a:pt x="7" y="84"/>
                </a:lnTo>
                <a:lnTo>
                  <a:pt x="0" y="106"/>
                </a:lnTo>
                <a:lnTo>
                  <a:pt x="10" y="112"/>
                </a:lnTo>
                <a:lnTo>
                  <a:pt x="22" y="123"/>
                </a:lnTo>
                <a:lnTo>
                  <a:pt x="28" y="121"/>
                </a:lnTo>
                <a:lnTo>
                  <a:pt x="36" y="127"/>
                </a:lnTo>
                <a:lnTo>
                  <a:pt x="36" y="137"/>
                </a:lnTo>
                <a:lnTo>
                  <a:pt x="32" y="147"/>
                </a:lnTo>
                <a:lnTo>
                  <a:pt x="33" y="164"/>
                </a:lnTo>
                <a:lnTo>
                  <a:pt x="45" y="179"/>
                </a:lnTo>
                <a:lnTo>
                  <a:pt x="52" y="162"/>
                </a:lnTo>
                <a:lnTo>
                  <a:pt x="62" y="158"/>
                </a:lnTo>
                <a:lnTo>
                  <a:pt x="62" y="127"/>
                </a:lnTo>
                <a:lnTo>
                  <a:pt x="53" y="110"/>
                </a:lnTo>
                <a:lnTo>
                  <a:pt x="46" y="102"/>
                </a:lnTo>
                <a:lnTo>
                  <a:pt x="45" y="102"/>
                </a:lnTo>
                <a:lnTo>
                  <a:pt x="45" y="105"/>
                </a:lnTo>
                <a:lnTo>
                  <a:pt x="49" y="106"/>
                </a:lnTo>
                <a:lnTo>
                  <a:pt x="52" y="119"/>
                </a:lnTo>
                <a:lnTo>
                  <a:pt x="52" y="122"/>
                </a:lnTo>
                <a:lnTo>
                  <a:pt x="45" y="113"/>
                </a:lnTo>
                <a:lnTo>
                  <a:pt x="41" y="119"/>
                </a:lnTo>
                <a:lnTo>
                  <a:pt x="38" y="114"/>
                </a:lnTo>
                <a:lnTo>
                  <a:pt x="38" y="11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21" name="Malaysia">
            <a:extLst>
              <a:ext uri="{FF2B5EF4-FFF2-40B4-BE49-F238E27FC236}">
                <a16:creationId xmlns:a16="http://schemas.microsoft.com/office/drawing/2014/main" id="{ECAD2407-E0C0-410D-8DCA-63BB6B3B84B6}"/>
              </a:ext>
            </a:extLst>
          </p:cNvPr>
          <p:cNvSpPr>
            <a:spLocks noEditPoints="1"/>
          </p:cNvSpPr>
          <p:nvPr/>
        </p:nvSpPr>
        <p:spPr bwMode="auto">
          <a:xfrm>
            <a:off x="8767331" y="4059588"/>
            <a:ext cx="682187" cy="250079"/>
          </a:xfrm>
          <a:custGeom>
            <a:avLst/>
            <a:gdLst>
              <a:gd name="T0" fmla="*/ 20 w 401"/>
              <a:gd name="T1" fmla="*/ 18 h 147"/>
              <a:gd name="T2" fmla="*/ 3 w 401"/>
              <a:gd name="T3" fmla="*/ 8 h 147"/>
              <a:gd name="T4" fmla="*/ 0 w 401"/>
              <a:gd name="T5" fmla="*/ 11 h 147"/>
              <a:gd name="T6" fmla="*/ 5 w 401"/>
              <a:gd name="T7" fmla="*/ 22 h 147"/>
              <a:gd name="T8" fmla="*/ 3 w 401"/>
              <a:gd name="T9" fmla="*/ 39 h 147"/>
              <a:gd name="T10" fmla="*/ 11 w 401"/>
              <a:gd name="T11" fmla="*/ 51 h 147"/>
              <a:gd name="T12" fmla="*/ 14 w 401"/>
              <a:gd name="T13" fmla="*/ 71 h 147"/>
              <a:gd name="T14" fmla="*/ 28 w 401"/>
              <a:gd name="T15" fmla="*/ 88 h 147"/>
              <a:gd name="T16" fmla="*/ 30 w 401"/>
              <a:gd name="T17" fmla="*/ 99 h 147"/>
              <a:gd name="T18" fmla="*/ 56 w 401"/>
              <a:gd name="T19" fmla="*/ 118 h 147"/>
              <a:gd name="T20" fmla="*/ 76 w 401"/>
              <a:gd name="T21" fmla="*/ 136 h 147"/>
              <a:gd name="T22" fmla="*/ 91 w 401"/>
              <a:gd name="T23" fmla="*/ 134 h 147"/>
              <a:gd name="T24" fmla="*/ 91 w 401"/>
              <a:gd name="T25" fmla="*/ 126 h 147"/>
              <a:gd name="T26" fmla="*/ 83 w 401"/>
              <a:gd name="T27" fmla="*/ 106 h 147"/>
              <a:gd name="T28" fmla="*/ 74 w 401"/>
              <a:gd name="T29" fmla="*/ 99 h 147"/>
              <a:gd name="T30" fmla="*/ 72 w 401"/>
              <a:gd name="T31" fmla="*/ 84 h 147"/>
              <a:gd name="T32" fmla="*/ 70 w 401"/>
              <a:gd name="T33" fmla="*/ 77 h 147"/>
              <a:gd name="T34" fmla="*/ 72 w 401"/>
              <a:gd name="T35" fmla="*/ 65 h 147"/>
              <a:gd name="T36" fmla="*/ 70 w 401"/>
              <a:gd name="T37" fmla="*/ 50 h 147"/>
              <a:gd name="T38" fmla="*/ 61 w 401"/>
              <a:gd name="T39" fmla="*/ 34 h 147"/>
              <a:gd name="T40" fmla="*/ 48 w 401"/>
              <a:gd name="T41" fmla="*/ 20 h 147"/>
              <a:gd name="T42" fmla="*/ 42 w 401"/>
              <a:gd name="T43" fmla="*/ 17 h 147"/>
              <a:gd name="T44" fmla="*/ 37 w 401"/>
              <a:gd name="T45" fmla="*/ 27 h 147"/>
              <a:gd name="T46" fmla="*/ 23 w 401"/>
              <a:gd name="T47" fmla="*/ 30 h 147"/>
              <a:gd name="T48" fmla="*/ 20 w 401"/>
              <a:gd name="T49" fmla="*/ 18 h 147"/>
              <a:gd name="T50" fmla="*/ 20 w 401"/>
              <a:gd name="T51" fmla="*/ 18 h 147"/>
              <a:gd name="T52" fmla="*/ 390 w 401"/>
              <a:gd name="T53" fmla="*/ 59 h 147"/>
              <a:gd name="T54" fmla="*/ 386 w 401"/>
              <a:gd name="T55" fmla="*/ 47 h 147"/>
              <a:gd name="T56" fmla="*/ 400 w 401"/>
              <a:gd name="T57" fmla="*/ 46 h 147"/>
              <a:gd name="T58" fmla="*/ 401 w 401"/>
              <a:gd name="T59" fmla="*/ 36 h 147"/>
              <a:gd name="T60" fmla="*/ 383 w 401"/>
              <a:gd name="T61" fmla="*/ 29 h 147"/>
              <a:gd name="T62" fmla="*/ 369 w 401"/>
              <a:gd name="T63" fmla="*/ 22 h 147"/>
              <a:gd name="T64" fmla="*/ 367 w 401"/>
              <a:gd name="T65" fmla="*/ 12 h 147"/>
              <a:gd name="T66" fmla="*/ 356 w 401"/>
              <a:gd name="T67" fmla="*/ 0 h 147"/>
              <a:gd name="T68" fmla="*/ 347 w 401"/>
              <a:gd name="T69" fmla="*/ 0 h 147"/>
              <a:gd name="T70" fmla="*/ 337 w 401"/>
              <a:gd name="T71" fmla="*/ 19 h 147"/>
              <a:gd name="T72" fmla="*/ 323 w 401"/>
              <a:gd name="T73" fmla="*/ 36 h 147"/>
              <a:gd name="T74" fmla="*/ 323 w 401"/>
              <a:gd name="T75" fmla="*/ 47 h 147"/>
              <a:gd name="T76" fmla="*/ 322 w 401"/>
              <a:gd name="T77" fmla="*/ 63 h 147"/>
              <a:gd name="T78" fmla="*/ 311 w 401"/>
              <a:gd name="T79" fmla="*/ 62 h 147"/>
              <a:gd name="T80" fmla="*/ 308 w 401"/>
              <a:gd name="T81" fmla="*/ 70 h 147"/>
              <a:gd name="T82" fmla="*/ 297 w 401"/>
              <a:gd name="T83" fmla="*/ 58 h 147"/>
              <a:gd name="T84" fmla="*/ 288 w 401"/>
              <a:gd name="T85" fmla="*/ 73 h 147"/>
              <a:gd name="T86" fmla="*/ 274 w 401"/>
              <a:gd name="T87" fmla="*/ 92 h 147"/>
              <a:gd name="T88" fmla="*/ 249 w 401"/>
              <a:gd name="T89" fmla="*/ 96 h 147"/>
              <a:gd name="T90" fmla="*/ 239 w 401"/>
              <a:gd name="T91" fmla="*/ 101 h 147"/>
              <a:gd name="T92" fmla="*/ 237 w 401"/>
              <a:gd name="T93" fmla="*/ 121 h 147"/>
              <a:gd name="T94" fmla="*/ 220 w 401"/>
              <a:gd name="T95" fmla="*/ 125 h 147"/>
              <a:gd name="T96" fmla="*/ 205 w 401"/>
              <a:gd name="T97" fmla="*/ 118 h 147"/>
              <a:gd name="T98" fmla="*/ 209 w 401"/>
              <a:gd name="T99" fmla="*/ 134 h 147"/>
              <a:gd name="T100" fmla="*/ 223 w 401"/>
              <a:gd name="T101" fmla="*/ 147 h 147"/>
              <a:gd name="T102" fmla="*/ 237 w 401"/>
              <a:gd name="T103" fmla="*/ 142 h 147"/>
              <a:gd name="T104" fmla="*/ 250 w 401"/>
              <a:gd name="T105" fmla="*/ 144 h 147"/>
              <a:gd name="T106" fmla="*/ 262 w 401"/>
              <a:gd name="T107" fmla="*/ 132 h 147"/>
              <a:gd name="T108" fmla="*/ 272 w 401"/>
              <a:gd name="T109" fmla="*/ 129 h 147"/>
              <a:gd name="T110" fmla="*/ 292 w 401"/>
              <a:gd name="T111" fmla="*/ 136 h 147"/>
              <a:gd name="T112" fmla="*/ 309 w 401"/>
              <a:gd name="T113" fmla="*/ 131 h 147"/>
              <a:gd name="T114" fmla="*/ 319 w 401"/>
              <a:gd name="T115" fmla="*/ 98 h 147"/>
              <a:gd name="T116" fmla="*/ 326 w 401"/>
              <a:gd name="T117" fmla="*/ 90 h 147"/>
              <a:gd name="T118" fmla="*/ 333 w 401"/>
              <a:gd name="T119" fmla="*/ 63 h 147"/>
              <a:gd name="T120" fmla="*/ 356 w 401"/>
              <a:gd name="T121" fmla="*/ 63 h 147"/>
              <a:gd name="T122" fmla="*/ 375 w 401"/>
              <a:gd name="T123" fmla="*/ 66 h 147"/>
              <a:gd name="T124" fmla="*/ 390 w 401"/>
              <a:gd name="T125" fmla="*/ 5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1" h="147">
                <a:moveTo>
                  <a:pt x="20" y="18"/>
                </a:moveTo>
                <a:lnTo>
                  <a:pt x="3" y="8"/>
                </a:lnTo>
                <a:lnTo>
                  <a:pt x="0" y="11"/>
                </a:lnTo>
                <a:lnTo>
                  <a:pt x="5" y="22"/>
                </a:lnTo>
                <a:lnTo>
                  <a:pt x="3" y="39"/>
                </a:lnTo>
                <a:lnTo>
                  <a:pt x="11" y="51"/>
                </a:lnTo>
                <a:lnTo>
                  <a:pt x="14" y="71"/>
                </a:lnTo>
                <a:lnTo>
                  <a:pt x="28" y="88"/>
                </a:lnTo>
                <a:lnTo>
                  <a:pt x="30" y="99"/>
                </a:lnTo>
                <a:lnTo>
                  <a:pt x="56" y="118"/>
                </a:lnTo>
                <a:lnTo>
                  <a:pt x="76" y="136"/>
                </a:lnTo>
                <a:lnTo>
                  <a:pt x="91" y="134"/>
                </a:lnTo>
                <a:lnTo>
                  <a:pt x="91" y="126"/>
                </a:lnTo>
                <a:lnTo>
                  <a:pt x="83" y="106"/>
                </a:lnTo>
                <a:lnTo>
                  <a:pt x="74" y="99"/>
                </a:lnTo>
                <a:lnTo>
                  <a:pt x="72" y="84"/>
                </a:lnTo>
                <a:lnTo>
                  <a:pt x="70" y="77"/>
                </a:lnTo>
                <a:lnTo>
                  <a:pt x="72" y="65"/>
                </a:lnTo>
                <a:lnTo>
                  <a:pt x="70" y="50"/>
                </a:lnTo>
                <a:lnTo>
                  <a:pt x="61" y="34"/>
                </a:lnTo>
                <a:lnTo>
                  <a:pt x="48" y="20"/>
                </a:lnTo>
                <a:lnTo>
                  <a:pt x="42" y="17"/>
                </a:lnTo>
                <a:lnTo>
                  <a:pt x="37" y="27"/>
                </a:lnTo>
                <a:lnTo>
                  <a:pt x="23" y="30"/>
                </a:lnTo>
                <a:lnTo>
                  <a:pt x="20" y="18"/>
                </a:lnTo>
                <a:lnTo>
                  <a:pt x="20" y="18"/>
                </a:lnTo>
                <a:close/>
                <a:moveTo>
                  <a:pt x="390" y="59"/>
                </a:moveTo>
                <a:lnTo>
                  <a:pt x="386" y="47"/>
                </a:lnTo>
                <a:lnTo>
                  <a:pt x="400" y="46"/>
                </a:lnTo>
                <a:lnTo>
                  <a:pt x="401" y="36"/>
                </a:lnTo>
                <a:lnTo>
                  <a:pt x="383" y="29"/>
                </a:lnTo>
                <a:lnTo>
                  <a:pt x="369" y="22"/>
                </a:lnTo>
                <a:lnTo>
                  <a:pt x="367" y="12"/>
                </a:lnTo>
                <a:lnTo>
                  <a:pt x="356" y="0"/>
                </a:lnTo>
                <a:lnTo>
                  <a:pt x="347" y="0"/>
                </a:lnTo>
                <a:lnTo>
                  <a:pt x="337" y="19"/>
                </a:lnTo>
                <a:lnTo>
                  <a:pt x="323" y="36"/>
                </a:lnTo>
                <a:lnTo>
                  <a:pt x="323" y="47"/>
                </a:lnTo>
                <a:lnTo>
                  <a:pt x="322" y="63"/>
                </a:lnTo>
                <a:lnTo>
                  <a:pt x="311" y="62"/>
                </a:lnTo>
                <a:lnTo>
                  <a:pt x="308" y="70"/>
                </a:lnTo>
                <a:lnTo>
                  <a:pt x="297" y="58"/>
                </a:lnTo>
                <a:lnTo>
                  <a:pt x="288" y="73"/>
                </a:lnTo>
                <a:lnTo>
                  <a:pt x="274" y="92"/>
                </a:lnTo>
                <a:lnTo>
                  <a:pt x="249" y="96"/>
                </a:lnTo>
                <a:lnTo>
                  <a:pt x="239" y="101"/>
                </a:lnTo>
                <a:lnTo>
                  <a:pt x="237" y="121"/>
                </a:lnTo>
                <a:lnTo>
                  <a:pt x="220" y="125"/>
                </a:lnTo>
                <a:lnTo>
                  <a:pt x="205" y="118"/>
                </a:lnTo>
                <a:lnTo>
                  <a:pt x="209" y="134"/>
                </a:lnTo>
                <a:lnTo>
                  <a:pt x="223" y="147"/>
                </a:lnTo>
                <a:lnTo>
                  <a:pt x="237" y="142"/>
                </a:lnTo>
                <a:lnTo>
                  <a:pt x="250" y="144"/>
                </a:lnTo>
                <a:lnTo>
                  <a:pt x="262" y="132"/>
                </a:lnTo>
                <a:lnTo>
                  <a:pt x="272" y="129"/>
                </a:lnTo>
                <a:lnTo>
                  <a:pt x="292" y="136"/>
                </a:lnTo>
                <a:lnTo>
                  <a:pt x="309" y="131"/>
                </a:lnTo>
                <a:lnTo>
                  <a:pt x="319" y="98"/>
                </a:lnTo>
                <a:lnTo>
                  <a:pt x="326" y="90"/>
                </a:lnTo>
                <a:lnTo>
                  <a:pt x="333" y="63"/>
                </a:lnTo>
                <a:lnTo>
                  <a:pt x="356" y="63"/>
                </a:lnTo>
                <a:lnTo>
                  <a:pt x="375" y="66"/>
                </a:lnTo>
                <a:lnTo>
                  <a:pt x="390" y="5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22" name="Namibia">
            <a:extLst>
              <a:ext uri="{FF2B5EF4-FFF2-40B4-BE49-F238E27FC236}">
                <a16:creationId xmlns:a16="http://schemas.microsoft.com/office/drawing/2014/main" id="{A185AE79-2423-47BE-9C65-E228F98CC4FF}"/>
              </a:ext>
            </a:extLst>
          </p:cNvPr>
          <p:cNvSpPr>
            <a:spLocks/>
          </p:cNvSpPr>
          <p:nvPr/>
        </p:nvSpPr>
        <p:spPr bwMode="auto">
          <a:xfrm>
            <a:off x="5613279" y="5025878"/>
            <a:ext cx="471236" cy="488250"/>
          </a:xfrm>
          <a:custGeom>
            <a:avLst/>
            <a:gdLst>
              <a:gd name="T0" fmla="*/ 238 w 277"/>
              <a:gd name="T1" fmla="*/ 14 h 287"/>
              <a:gd name="T2" fmla="*/ 199 w 277"/>
              <a:gd name="T3" fmla="*/ 23 h 287"/>
              <a:gd name="T4" fmla="*/ 150 w 277"/>
              <a:gd name="T5" fmla="*/ 19 h 287"/>
              <a:gd name="T6" fmla="*/ 136 w 277"/>
              <a:gd name="T7" fmla="*/ 8 h 287"/>
              <a:gd name="T8" fmla="*/ 52 w 277"/>
              <a:gd name="T9" fmla="*/ 9 h 287"/>
              <a:gd name="T10" fmla="*/ 48 w 277"/>
              <a:gd name="T11" fmla="*/ 11 h 287"/>
              <a:gd name="T12" fmla="*/ 37 w 277"/>
              <a:gd name="T13" fmla="*/ 0 h 287"/>
              <a:gd name="T14" fmla="*/ 23 w 277"/>
              <a:gd name="T15" fmla="*/ 0 h 287"/>
              <a:gd name="T16" fmla="*/ 10 w 277"/>
              <a:gd name="T17" fmla="*/ 3 h 287"/>
              <a:gd name="T18" fmla="*/ 0 w 277"/>
              <a:gd name="T19" fmla="*/ 8 h 287"/>
              <a:gd name="T20" fmla="*/ 1 w 277"/>
              <a:gd name="T21" fmla="*/ 26 h 287"/>
              <a:gd name="T22" fmla="*/ 18 w 277"/>
              <a:gd name="T23" fmla="*/ 49 h 287"/>
              <a:gd name="T24" fmla="*/ 22 w 277"/>
              <a:gd name="T25" fmla="*/ 64 h 287"/>
              <a:gd name="T26" fmla="*/ 32 w 277"/>
              <a:gd name="T27" fmla="*/ 93 h 287"/>
              <a:gd name="T28" fmla="*/ 42 w 277"/>
              <a:gd name="T29" fmla="*/ 113 h 287"/>
              <a:gd name="T30" fmla="*/ 50 w 277"/>
              <a:gd name="T31" fmla="*/ 122 h 287"/>
              <a:gd name="T32" fmla="*/ 52 w 277"/>
              <a:gd name="T33" fmla="*/ 135 h 287"/>
              <a:gd name="T34" fmla="*/ 52 w 277"/>
              <a:gd name="T35" fmla="*/ 164 h 287"/>
              <a:gd name="T36" fmla="*/ 58 w 277"/>
              <a:gd name="T37" fmla="*/ 200 h 287"/>
              <a:gd name="T38" fmla="*/ 63 w 277"/>
              <a:gd name="T39" fmla="*/ 217 h 287"/>
              <a:gd name="T40" fmla="*/ 66 w 277"/>
              <a:gd name="T41" fmla="*/ 241 h 287"/>
              <a:gd name="T42" fmla="*/ 74 w 277"/>
              <a:gd name="T43" fmla="*/ 258 h 287"/>
              <a:gd name="T44" fmla="*/ 88 w 277"/>
              <a:gd name="T45" fmla="*/ 276 h 287"/>
              <a:gd name="T46" fmla="*/ 98 w 277"/>
              <a:gd name="T47" fmla="*/ 264 h 287"/>
              <a:gd name="T48" fmla="*/ 106 w 277"/>
              <a:gd name="T49" fmla="*/ 270 h 287"/>
              <a:gd name="T50" fmla="*/ 109 w 277"/>
              <a:gd name="T51" fmla="*/ 281 h 287"/>
              <a:gd name="T52" fmla="*/ 118 w 277"/>
              <a:gd name="T53" fmla="*/ 283 h 287"/>
              <a:gd name="T54" fmla="*/ 130 w 277"/>
              <a:gd name="T55" fmla="*/ 287 h 287"/>
              <a:gd name="T56" fmla="*/ 141 w 277"/>
              <a:gd name="T57" fmla="*/ 285 h 287"/>
              <a:gd name="T58" fmla="*/ 160 w 277"/>
              <a:gd name="T59" fmla="*/ 273 h 287"/>
              <a:gd name="T60" fmla="*/ 164 w 277"/>
              <a:gd name="T61" fmla="*/ 186 h 287"/>
              <a:gd name="T62" fmla="*/ 166 w 277"/>
              <a:gd name="T63" fmla="*/ 116 h 287"/>
              <a:gd name="T64" fmla="*/ 186 w 277"/>
              <a:gd name="T65" fmla="*/ 115 h 287"/>
              <a:gd name="T66" fmla="*/ 190 w 277"/>
              <a:gd name="T67" fmla="*/ 31 h 287"/>
              <a:gd name="T68" fmla="*/ 205 w 277"/>
              <a:gd name="T69" fmla="*/ 30 h 287"/>
              <a:gd name="T70" fmla="*/ 237 w 277"/>
              <a:gd name="T71" fmla="*/ 22 h 287"/>
              <a:gd name="T72" fmla="*/ 245 w 277"/>
              <a:gd name="T73" fmla="*/ 31 h 287"/>
              <a:gd name="T74" fmla="*/ 259 w 277"/>
              <a:gd name="T75" fmla="*/ 22 h 287"/>
              <a:gd name="T76" fmla="*/ 264 w 277"/>
              <a:gd name="T77" fmla="*/ 22 h 287"/>
              <a:gd name="T78" fmla="*/ 277 w 277"/>
              <a:gd name="T79" fmla="*/ 17 h 287"/>
              <a:gd name="T80" fmla="*/ 277 w 277"/>
              <a:gd name="T81" fmla="*/ 15 h 287"/>
              <a:gd name="T82" fmla="*/ 268 w 277"/>
              <a:gd name="T83" fmla="*/ 9 h 287"/>
              <a:gd name="T84" fmla="*/ 255 w 277"/>
              <a:gd name="T85" fmla="*/ 8 h 287"/>
              <a:gd name="T86" fmla="*/ 238 w 277"/>
              <a:gd name="T87" fmla="*/ 14 h 287"/>
              <a:gd name="T88" fmla="*/ 238 w 277"/>
              <a:gd name="T89" fmla="*/ 1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87">
                <a:moveTo>
                  <a:pt x="238" y="14"/>
                </a:moveTo>
                <a:lnTo>
                  <a:pt x="199" y="23"/>
                </a:lnTo>
                <a:lnTo>
                  <a:pt x="150" y="19"/>
                </a:lnTo>
                <a:lnTo>
                  <a:pt x="136" y="8"/>
                </a:lnTo>
                <a:lnTo>
                  <a:pt x="52" y="9"/>
                </a:lnTo>
                <a:lnTo>
                  <a:pt x="48" y="11"/>
                </a:lnTo>
                <a:lnTo>
                  <a:pt x="37" y="0"/>
                </a:lnTo>
                <a:lnTo>
                  <a:pt x="23" y="0"/>
                </a:lnTo>
                <a:lnTo>
                  <a:pt x="10" y="3"/>
                </a:lnTo>
                <a:lnTo>
                  <a:pt x="0" y="8"/>
                </a:lnTo>
                <a:lnTo>
                  <a:pt x="1" y="26"/>
                </a:lnTo>
                <a:lnTo>
                  <a:pt x="18" y="49"/>
                </a:lnTo>
                <a:lnTo>
                  <a:pt x="22" y="64"/>
                </a:lnTo>
                <a:lnTo>
                  <a:pt x="32" y="93"/>
                </a:lnTo>
                <a:lnTo>
                  <a:pt x="42" y="113"/>
                </a:lnTo>
                <a:lnTo>
                  <a:pt x="50" y="122"/>
                </a:lnTo>
                <a:lnTo>
                  <a:pt x="52" y="135"/>
                </a:lnTo>
                <a:lnTo>
                  <a:pt x="52" y="164"/>
                </a:lnTo>
                <a:lnTo>
                  <a:pt x="58" y="200"/>
                </a:lnTo>
                <a:lnTo>
                  <a:pt x="63" y="217"/>
                </a:lnTo>
                <a:lnTo>
                  <a:pt x="66" y="241"/>
                </a:lnTo>
                <a:lnTo>
                  <a:pt x="74" y="258"/>
                </a:lnTo>
                <a:lnTo>
                  <a:pt x="88" y="276"/>
                </a:lnTo>
                <a:lnTo>
                  <a:pt x="98" y="264"/>
                </a:lnTo>
                <a:lnTo>
                  <a:pt x="106" y="270"/>
                </a:lnTo>
                <a:lnTo>
                  <a:pt x="109" y="281"/>
                </a:lnTo>
                <a:lnTo>
                  <a:pt x="118" y="283"/>
                </a:lnTo>
                <a:lnTo>
                  <a:pt x="130" y="287"/>
                </a:lnTo>
                <a:lnTo>
                  <a:pt x="141" y="285"/>
                </a:lnTo>
                <a:lnTo>
                  <a:pt x="160" y="273"/>
                </a:lnTo>
                <a:lnTo>
                  <a:pt x="164" y="186"/>
                </a:lnTo>
                <a:lnTo>
                  <a:pt x="166" y="116"/>
                </a:lnTo>
                <a:lnTo>
                  <a:pt x="186" y="115"/>
                </a:lnTo>
                <a:lnTo>
                  <a:pt x="190" y="31"/>
                </a:lnTo>
                <a:lnTo>
                  <a:pt x="205" y="30"/>
                </a:lnTo>
                <a:lnTo>
                  <a:pt x="237" y="22"/>
                </a:lnTo>
                <a:lnTo>
                  <a:pt x="245" y="31"/>
                </a:lnTo>
                <a:lnTo>
                  <a:pt x="259" y="22"/>
                </a:lnTo>
                <a:lnTo>
                  <a:pt x="264" y="22"/>
                </a:lnTo>
                <a:lnTo>
                  <a:pt x="277" y="17"/>
                </a:lnTo>
                <a:lnTo>
                  <a:pt x="277" y="15"/>
                </a:lnTo>
                <a:lnTo>
                  <a:pt x="268" y="9"/>
                </a:lnTo>
                <a:lnTo>
                  <a:pt x="255" y="8"/>
                </a:lnTo>
                <a:lnTo>
                  <a:pt x="238" y="14"/>
                </a:lnTo>
                <a:lnTo>
                  <a:pt x="238" y="1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23" name="Niger">
            <a:extLst>
              <a:ext uri="{FF2B5EF4-FFF2-40B4-BE49-F238E27FC236}">
                <a16:creationId xmlns:a16="http://schemas.microsoft.com/office/drawing/2014/main" id="{34EE5262-38B7-46CE-B349-5E763547010D}"/>
              </a:ext>
            </a:extLst>
          </p:cNvPr>
          <p:cNvSpPr>
            <a:spLocks/>
          </p:cNvSpPr>
          <p:nvPr/>
        </p:nvSpPr>
        <p:spPr bwMode="auto">
          <a:xfrm>
            <a:off x="5210091" y="3391011"/>
            <a:ext cx="547791" cy="478042"/>
          </a:xfrm>
          <a:custGeom>
            <a:avLst/>
            <a:gdLst>
              <a:gd name="T0" fmla="*/ 273 w 322"/>
              <a:gd name="T1" fmla="*/ 10 h 281"/>
              <a:gd name="T2" fmla="*/ 240 w 322"/>
              <a:gd name="T3" fmla="*/ 0 h 281"/>
              <a:gd name="T4" fmla="*/ 171 w 322"/>
              <a:gd name="T5" fmla="*/ 46 h 281"/>
              <a:gd name="T6" fmla="*/ 111 w 322"/>
              <a:gd name="T7" fmla="*/ 92 h 281"/>
              <a:gd name="T8" fmla="*/ 82 w 322"/>
              <a:gd name="T9" fmla="*/ 103 h 281"/>
              <a:gd name="T10" fmla="*/ 83 w 322"/>
              <a:gd name="T11" fmla="*/ 158 h 281"/>
              <a:gd name="T12" fmla="*/ 72 w 322"/>
              <a:gd name="T13" fmla="*/ 174 h 281"/>
              <a:gd name="T14" fmla="*/ 70 w 322"/>
              <a:gd name="T15" fmla="*/ 188 h 281"/>
              <a:gd name="T16" fmla="*/ 51 w 322"/>
              <a:gd name="T17" fmla="*/ 191 h 281"/>
              <a:gd name="T18" fmla="*/ 23 w 322"/>
              <a:gd name="T19" fmla="*/ 194 h 281"/>
              <a:gd name="T20" fmla="*/ 16 w 322"/>
              <a:gd name="T21" fmla="*/ 203 h 281"/>
              <a:gd name="T22" fmla="*/ 2 w 322"/>
              <a:gd name="T23" fmla="*/ 204 h 281"/>
              <a:gd name="T24" fmla="*/ 0 w 322"/>
              <a:gd name="T25" fmla="*/ 215 h 281"/>
              <a:gd name="T26" fmla="*/ 3 w 322"/>
              <a:gd name="T27" fmla="*/ 226 h 281"/>
              <a:gd name="T28" fmla="*/ 15 w 322"/>
              <a:gd name="T29" fmla="*/ 241 h 281"/>
              <a:gd name="T30" fmla="*/ 16 w 322"/>
              <a:gd name="T31" fmla="*/ 253 h 281"/>
              <a:gd name="T32" fmla="*/ 39 w 322"/>
              <a:gd name="T33" fmla="*/ 258 h 281"/>
              <a:gd name="T34" fmla="*/ 39 w 322"/>
              <a:gd name="T35" fmla="*/ 274 h 281"/>
              <a:gd name="T36" fmla="*/ 46 w 322"/>
              <a:gd name="T37" fmla="*/ 267 h 281"/>
              <a:gd name="T38" fmla="*/ 53 w 322"/>
              <a:gd name="T39" fmla="*/ 267 h 281"/>
              <a:gd name="T40" fmla="*/ 70 w 322"/>
              <a:gd name="T41" fmla="*/ 281 h 281"/>
              <a:gd name="T42" fmla="*/ 71 w 322"/>
              <a:gd name="T43" fmla="*/ 260 h 281"/>
              <a:gd name="T44" fmla="*/ 77 w 322"/>
              <a:gd name="T45" fmla="*/ 250 h 281"/>
              <a:gd name="T46" fmla="*/ 79 w 322"/>
              <a:gd name="T47" fmla="*/ 236 h 281"/>
              <a:gd name="T48" fmla="*/ 85 w 322"/>
              <a:gd name="T49" fmla="*/ 232 h 281"/>
              <a:gd name="T50" fmla="*/ 107 w 322"/>
              <a:gd name="T51" fmla="*/ 229 h 281"/>
              <a:gd name="T52" fmla="*/ 128 w 322"/>
              <a:gd name="T53" fmla="*/ 237 h 281"/>
              <a:gd name="T54" fmla="*/ 136 w 322"/>
              <a:gd name="T55" fmla="*/ 246 h 281"/>
              <a:gd name="T56" fmla="*/ 147 w 322"/>
              <a:gd name="T57" fmla="*/ 246 h 281"/>
              <a:gd name="T58" fmla="*/ 157 w 322"/>
              <a:gd name="T59" fmla="*/ 241 h 281"/>
              <a:gd name="T60" fmla="*/ 182 w 322"/>
              <a:gd name="T61" fmla="*/ 253 h 281"/>
              <a:gd name="T62" fmla="*/ 192 w 322"/>
              <a:gd name="T63" fmla="*/ 253 h 281"/>
              <a:gd name="T64" fmla="*/ 205 w 322"/>
              <a:gd name="T65" fmla="*/ 243 h 281"/>
              <a:gd name="T66" fmla="*/ 218 w 322"/>
              <a:gd name="T67" fmla="*/ 244 h 281"/>
              <a:gd name="T68" fmla="*/ 223 w 322"/>
              <a:gd name="T69" fmla="*/ 240 h 281"/>
              <a:gd name="T70" fmla="*/ 234 w 322"/>
              <a:gd name="T71" fmla="*/ 242 h 281"/>
              <a:gd name="T72" fmla="*/ 250 w 322"/>
              <a:gd name="T73" fmla="*/ 248 h 281"/>
              <a:gd name="T74" fmla="*/ 266 w 322"/>
              <a:gd name="T75" fmla="*/ 235 h 281"/>
              <a:gd name="T76" fmla="*/ 272 w 322"/>
              <a:gd name="T77" fmla="*/ 236 h 281"/>
              <a:gd name="T78" fmla="*/ 286 w 322"/>
              <a:gd name="T79" fmla="*/ 262 h 281"/>
              <a:gd name="T80" fmla="*/ 289 w 322"/>
              <a:gd name="T81" fmla="*/ 261 h 281"/>
              <a:gd name="T82" fmla="*/ 290 w 322"/>
              <a:gd name="T83" fmla="*/ 254 h 281"/>
              <a:gd name="T84" fmla="*/ 296 w 322"/>
              <a:gd name="T85" fmla="*/ 252 h 281"/>
              <a:gd name="T86" fmla="*/ 298 w 322"/>
              <a:gd name="T87" fmla="*/ 242 h 281"/>
              <a:gd name="T88" fmla="*/ 285 w 322"/>
              <a:gd name="T89" fmla="*/ 241 h 281"/>
              <a:gd name="T90" fmla="*/ 285 w 322"/>
              <a:gd name="T91" fmla="*/ 225 h 281"/>
              <a:gd name="T92" fmla="*/ 275 w 322"/>
              <a:gd name="T93" fmla="*/ 217 h 281"/>
              <a:gd name="T94" fmla="*/ 285 w 322"/>
              <a:gd name="T95" fmla="*/ 186 h 281"/>
              <a:gd name="T96" fmla="*/ 310 w 322"/>
              <a:gd name="T97" fmla="*/ 163 h 281"/>
              <a:gd name="T98" fmla="*/ 311 w 322"/>
              <a:gd name="T99" fmla="*/ 132 h 281"/>
              <a:gd name="T100" fmla="*/ 317 w 322"/>
              <a:gd name="T101" fmla="*/ 84 h 281"/>
              <a:gd name="T102" fmla="*/ 322 w 322"/>
              <a:gd name="T103" fmla="*/ 74 h 281"/>
              <a:gd name="T104" fmla="*/ 313 w 322"/>
              <a:gd name="T105" fmla="*/ 65 h 281"/>
              <a:gd name="T106" fmla="*/ 313 w 322"/>
              <a:gd name="T107" fmla="*/ 58 h 281"/>
              <a:gd name="T108" fmla="*/ 305 w 322"/>
              <a:gd name="T109" fmla="*/ 51 h 281"/>
              <a:gd name="T110" fmla="*/ 299 w 322"/>
              <a:gd name="T111" fmla="*/ 15 h 281"/>
              <a:gd name="T112" fmla="*/ 285 w 322"/>
              <a:gd name="T113" fmla="*/ 23 h 281"/>
              <a:gd name="T114" fmla="*/ 273 w 322"/>
              <a:gd name="T115" fmla="*/ 10 h 281"/>
              <a:gd name="T116" fmla="*/ 273 w 322"/>
              <a:gd name="T117" fmla="*/ 1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2" h="281">
                <a:moveTo>
                  <a:pt x="273" y="10"/>
                </a:moveTo>
                <a:lnTo>
                  <a:pt x="240" y="0"/>
                </a:lnTo>
                <a:lnTo>
                  <a:pt x="171" y="46"/>
                </a:lnTo>
                <a:lnTo>
                  <a:pt x="111" y="92"/>
                </a:lnTo>
                <a:lnTo>
                  <a:pt x="82" y="103"/>
                </a:lnTo>
                <a:lnTo>
                  <a:pt x="83" y="158"/>
                </a:lnTo>
                <a:lnTo>
                  <a:pt x="72" y="174"/>
                </a:lnTo>
                <a:lnTo>
                  <a:pt x="70" y="188"/>
                </a:lnTo>
                <a:lnTo>
                  <a:pt x="51" y="191"/>
                </a:lnTo>
                <a:lnTo>
                  <a:pt x="23" y="194"/>
                </a:lnTo>
                <a:lnTo>
                  <a:pt x="16" y="203"/>
                </a:lnTo>
                <a:lnTo>
                  <a:pt x="2" y="204"/>
                </a:lnTo>
                <a:lnTo>
                  <a:pt x="0" y="215"/>
                </a:lnTo>
                <a:lnTo>
                  <a:pt x="3" y="226"/>
                </a:lnTo>
                <a:lnTo>
                  <a:pt x="15" y="241"/>
                </a:lnTo>
                <a:lnTo>
                  <a:pt x="16" y="253"/>
                </a:lnTo>
                <a:lnTo>
                  <a:pt x="39" y="258"/>
                </a:lnTo>
                <a:lnTo>
                  <a:pt x="39" y="274"/>
                </a:lnTo>
                <a:lnTo>
                  <a:pt x="46" y="267"/>
                </a:lnTo>
                <a:lnTo>
                  <a:pt x="53" y="267"/>
                </a:lnTo>
                <a:lnTo>
                  <a:pt x="70" y="281"/>
                </a:lnTo>
                <a:lnTo>
                  <a:pt x="71" y="260"/>
                </a:lnTo>
                <a:lnTo>
                  <a:pt x="77" y="250"/>
                </a:lnTo>
                <a:lnTo>
                  <a:pt x="79" y="236"/>
                </a:lnTo>
                <a:lnTo>
                  <a:pt x="85" y="232"/>
                </a:lnTo>
                <a:lnTo>
                  <a:pt x="107" y="229"/>
                </a:lnTo>
                <a:lnTo>
                  <a:pt x="128" y="237"/>
                </a:lnTo>
                <a:lnTo>
                  <a:pt x="136" y="246"/>
                </a:lnTo>
                <a:lnTo>
                  <a:pt x="147" y="246"/>
                </a:lnTo>
                <a:lnTo>
                  <a:pt x="157" y="241"/>
                </a:lnTo>
                <a:lnTo>
                  <a:pt x="182" y="253"/>
                </a:lnTo>
                <a:lnTo>
                  <a:pt x="192" y="253"/>
                </a:lnTo>
                <a:lnTo>
                  <a:pt x="205" y="243"/>
                </a:lnTo>
                <a:lnTo>
                  <a:pt x="218" y="244"/>
                </a:lnTo>
                <a:lnTo>
                  <a:pt x="223" y="240"/>
                </a:lnTo>
                <a:lnTo>
                  <a:pt x="234" y="242"/>
                </a:lnTo>
                <a:lnTo>
                  <a:pt x="250" y="248"/>
                </a:lnTo>
                <a:lnTo>
                  <a:pt x="266" y="235"/>
                </a:lnTo>
                <a:lnTo>
                  <a:pt x="272" y="236"/>
                </a:lnTo>
                <a:lnTo>
                  <a:pt x="286" y="262"/>
                </a:lnTo>
                <a:lnTo>
                  <a:pt x="289" y="261"/>
                </a:lnTo>
                <a:lnTo>
                  <a:pt x="290" y="254"/>
                </a:lnTo>
                <a:lnTo>
                  <a:pt x="296" y="252"/>
                </a:lnTo>
                <a:lnTo>
                  <a:pt x="298" y="242"/>
                </a:lnTo>
                <a:lnTo>
                  <a:pt x="285" y="241"/>
                </a:lnTo>
                <a:lnTo>
                  <a:pt x="285" y="225"/>
                </a:lnTo>
                <a:lnTo>
                  <a:pt x="275" y="217"/>
                </a:lnTo>
                <a:lnTo>
                  <a:pt x="285" y="186"/>
                </a:lnTo>
                <a:lnTo>
                  <a:pt x="310" y="163"/>
                </a:lnTo>
                <a:lnTo>
                  <a:pt x="311" y="132"/>
                </a:lnTo>
                <a:lnTo>
                  <a:pt x="317" y="84"/>
                </a:lnTo>
                <a:lnTo>
                  <a:pt x="322" y="74"/>
                </a:lnTo>
                <a:lnTo>
                  <a:pt x="313" y="65"/>
                </a:lnTo>
                <a:lnTo>
                  <a:pt x="313" y="58"/>
                </a:lnTo>
                <a:lnTo>
                  <a:pt x="305" y="51"/>
                </a:lnTo>
                <a:lnTo>
                  <a:pt x="299" y="15"/>
                </a:lnTo>
                <a:lnTo>
                  <a:pt x="285" y="23"/>
                </a:lnTo>
                <a:lnTo>
                  <a:pt x="273" y="10"/>
                </a:lnTo>
                <a:lnTo>
                  <a:pt x="273" y="1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24" name="Nigeria">
            <a:extLst>
              <a:ext uri="{FF2B5EF4-FFF2-40B4-BE49-F238E27FC236}">
                <a16:creationId xmlns:a16="http://schemas.microsoft.com/office/drawing/2014/main" id="{DE5414E0-E0A3-4F81-A1BC-B5D63DDE5EDF}"/>
              </a:ext>
            </a:extLst>
          </p:cNvPr>
          <p:cNvSpPr>
            <a:spLocks/>
          </p:cNvSpPr>
          <p:nvPr/>
        </p:nvSpPr>
        <p:spPr bwMode="auto">
          <a:xfrm>
            <a:off x="5295152" y="3780590"/>
            <a:ext cx="421901" cy="387877"/>
          </a:xfrm>
          <a:custGeom>
            <a:avLst/>
            <a:gdLst>
              <a:gd name="T0" fmla="*/ 239 w 248"/>
              <a:gd name="T1" fmla="*/ 32 h 228"/>
              <a:gd name="T2" fmla="*/ 236 w 248"/>
              <a:gd name="T3" fmla="*/ 33 h 228"/>
              <a:gd name="T4" fmla="*/ 222 w 248"/>
              <a:gd name="T5" fmla="*/ 7 h 228"/>
              <a:gd name="T6" fmla="*/ 216 w 248"/>
              <a:gd name="T7" fmla="*/ 6 h 228"/>
              <a:gd name="T8" fmla="*/ 200 w 248"/>
              <a:gd name="T9" fmla="*/ 19 h 228"/>
              <a:gd name="T10" fmla="*/ 184 w 248"/>
              <a:gd name="T11" fmla="*/ 13 h 228"/>
              <a:gd name="T12" fmla="*/ 173 w 248"/>
              <a:gd name="T13" fmla="*/ 11 h 228"/>
              <a:gd name="T14" fmla="*/ 168 w 248"/>
              <a:gd name="T15" fmla="*/ 15 h 228"/>
              <a:gd name="T16" fmla="*/ 155 w 248"/>
              <a:gd name="T17" fmla="*/ 14 h 228"/>
              <a:gd name="T18" fmla="*/ 142 w 248"/>
              <a:gd name="T19" fmla="*/ 24 h 228"/>
              <a:gd name="T20" fmla="*/ 132 w 248"/>
              <a:gd name="T21" fmla="*/ 24 h 228"/>
              <a:gd name="T22" fmla="*/ 107 w 248"/>
              <a:gd name="T23" fmla="*/ 12 h 228"/>
              <a:gd name="T24" fmla="*/ 97 w 248"/>
              <a:gd name="T25" fmla="*/ 17 h 228"/>
              <a:gd name="T26" fmla="*/ 86 w 248"/>
              <a:gd name="T27" fmla="*/ 17 h 228"/>
              <a:gd name="T28" fmla="*/ 78 w 248"/>
              <a:gd name="T29" fmla="*/ 8 h 228"/>
              <a:gd name="T30" fmla="*/ 57 w 248"/>
              <a:gd name="T31" fmla="*/ 0 h 228"/>
              <a:gd name="T32" fmla="*/ 35 w 248"/>
              <a:gd name="T33" fmla="*/ 3 h 228"/>
              <a:gd name="T34" fmla="*/ 29 w 248"/>
              <a:gd name="T35" fmla="*/ 7 h 228"/>
              <a:gd name="T36" fmla="*/ 27 w 248"/>
              <a:gd name="T37" fmla="*/ 21 h 228"/>
              <a:gd name="T38" fmla="*/ 21 w 248"/>
              <a:gd name="T39" fmla="*/ 31 h 228"/>
              <a:gd name="T40" fmla="*/ 20 w 248"/>
              <a:gd name="T41" fmla="*/ 52 h 228"/>
              <a:gd name="T42" fmla="*/ 19 w 248"/>
              <a:gd name="T43" fmla="*/ 59 h 228"/>
              <a:gd name="T44" fmla="*/ 24 w 248"/>
              <a:gd name="T45" fmla="*/ 74 h 228"/>
              <a:gd name="T46" fmla="*/ 19 w 248"/>
              <a:gd name="T47" fmla="*/ 84 h 228"/>
              <a:gd name="T48" fmla="*/ 22 w 248"/>
              <a:gd name="T49" fmla="*/ 89 h 228"/>
              <a:gd name="T50" fmla="*/ 12 w 248"/>
              <a:gd name="T51" fmla="*/ 104 h 228"/>
              <a:gd name="T52" fmla="*/ 5 w 248"/>
              <a:gd name="T53" fmla="*/ 112 h 228"/>
              <a:gd name="T54" fmla="*/ 1 w 248"/>
              <a:gd name="T55" fmla="*/ 127 h 228"/>
              <a:gd name="T56" fmla="*/ 1 w 248"/>
              <a:gd name="T57" fmla="*/ 142 h 228"/>
              <a:gd name="T58" fmla="*/ 0 w 248"/>
              <a:gd name="T59" fmla="*/ 180 h 228"/>
              <a:gd name="T60" fmla="*/ 19 w 248"/>
              <a:gd name="T61" fmla="*/ 180 h 228"/>
              <a:gd name="T62" fmla="*/ 35 w 248"/>
              <a:gd name="T63" fmla="*/ 180 h 228"/>
              <a:gd name="T64" fmla="*/ 50 w 248"/>
              <a:gd name="T65" fmla="*/ 196 h 228"/>
              <a:gd name="T66" fmla="*/ 56 w 248"/>
              <a:gd name="T67" fmla="*/ 213 h 228"/>
              <a:gd name="T68" fmla="*/ 68 w 248"/>
              <a:gd name="T69" fmla="*/ 228 h 228"/>
              <a:gd name="T70" fmla="*/ 84 w 248"/>
              <a:gd name="T71" fmla="*/ 228 h 228"/>
              <a:gd name="T72" fmla="*/ 93 w 248"/>
              <a:gd name="T73" fmla="*/ 223 h 228"/>
              <a:gd name="T74" fmla="*/ 100 w 248"/>
              <a:gd name="T75" fmla="*/ 224 h 228"/>
              <a:gd name="T76" fmla="*/ 123 w 248"/>
              <a:gd name="T77" fmla="*/ 215 h 228"/>
              <a:gd name="T78" fmla="*/ 127 w 248"/>
              <a:gd name="T79" fmla="*/ 199 h 228"/>
              <a:gd name="T80" fmla="*/ 138 w 248"/>
              <a:gd name="T81" fmla="*/ 176 h 228"/>
              <a:gd name="T82" fmla="*/ 143 w 248"/>
              <a:gd name="T83" fmla="*/ 175 h 228"/>
              <a:gd name="T84" fmla="*/ 156 w 248"/>
              <a:gd name="T85" fmla="*/ 162 h 228"/>
              <a:gd name="T86" fmla="*/ 164 w 248"/>
              <a:gd name="T87" fmla="*/ 161 h 228"/>
              <a:gd name="T88" fmla="*/ 176 w 248"/>
              <a:gd name="T89" fmla="*/ 172 h 228"/>
              <a:gd name="T90" fmla="*/ 190 w 248"/>
              <a:gd name="T91" fmla="*/ 163 h 228"/>
              <a:gd name="T92" fmla="*/ 192 w 248"/>
              <a:gd name="T93" fmla="*/ 153 h 228"/>
              <a:gd name="T94" fmla="*/ 197 w 248"/>
              <a:gd name="T95" fmla="*/ 143 h 228"/>
              <a:gd name="T96" fmla="*/ 199 w 248"/>
              <a:gd name="T97" fmla="*/ 131 h 228"/>
              <a:gd name="T98" fmla="*/ 211 w 248"/>
              <a:gd name="T99" fmla="*/ 122 h 228"/>
              <a:gd name="T100" fmla="*/ 215 w 248"/>
              <a:gd name="T101" fmla="*/ 105 h 228"/>
              <a:gd name="T102" fmla="*/ 220 w 248"/>
              <a:gd name="T103" fmla="*/ 100 h 228"/>
              <a:gd name="T104" fmla="*/ 222 w 248"/>
              <a:gd name="T105" fmla="*/ 87 h 228"/>
              <a:gd name="T106" fmla="*/ 227 w 248"/>
              <a:gd name="T107" fmla="*/ 73 h 228"/>
              <a:gd name="T108" fmla="*/ 245 w 248"/>
              <a:gd name="T109" fmla="*/ 54 h 228"/>
              <a:gd name="T110" fmla="*/ 246 w 248"/>
              <a:gd name="T111" fmla="*/ 46 h 228"/>
              <a:gd name="T112" fmla="*/ 248 w 248"/>
              <a:gd name="T113" fmla="*/ 42 h 228"/>
              <a:gd name="T114" fmla="*/ 239 w 248"/>
              <a:gd name="T115" fmla="*/ 32 h 228"/>
              <a:gd name="T116" fmla="*/ 239 w 248"/>
              <a:gd name="T117" fmla="*/ 3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 h="228">
                <a:moveTo>
                  <a:pt x="239" y="32"/>
                </a:moveTo>
                <a:lnTo>
                  <a:pt x="236" y="33"/>
                </a:lnTo>
                <a:lnTo>
                  <a:pt x="222" y="7"/>
                </a:lnTo>
                <a:lnTo>
                  <a:pt x="216" y="6"/>
                </a:lnTo>
                <a:lnTo>
                  <a:pt x="200" y="19"/>
                </a:lnTo>
                <a:lnTo>
                  <a:pt x="184" y="13"/>
                </a:lnTo>
                <a:lnTo>
                  <a:pt x="173" y="11"/>
                </a:lnTo>
                <a:lnTo>
                  <a:pt x="168" y="15"/>
                </a:lnTo>
                <a:lnTo>
                  <a:pt x="155" y="14"/>
                </a:lnTo>
                <a:lnTo>
                  <a:pt x="142" y="24"/>
                </a:lnTo>
                <a:lnTo>
                  <a:pt x="132" y="24"/>
                </a:lnTo>
                <a:lnTo>
                  <a:pt x="107" y="12"/>
                </a:lnTo>
                <a:lnTo>
                  <a:pt x="97" y="17"/>
                </a:lnTo>
                <a:lnTo>
                  <a:pt x="86" y="17"/>
                </a:lnTo>
                <a:lnTo>
                  <a:pt x="78" y="8"/>
                </a:lnTo>
                <a:lnTo>
                  <a:pt x="57" y="0"/>
                </a:lnTo>
                <a:lnTo>
                  <a:pt x="35" y="3"/>
                </a:lnTo>
                <a:lnTo>
                  <a:pt x="29" y="7"/>
                </a:lnTo>
                <a:lnTo>
                  <a:pt x="27" y="21"/>
                </a:lnTo>
                <a:lnTo>
                  <a:pt x="21" y="31"/>
                </a:lnTo>
                <a:lnTo>
                  <a:pt x="20" y="52"/>
                </a:lnTo>
                <a:lnTo>
                  <a:pt x="19" y="59"/>
                </a:lnTo>
                <a:lnTo>
                  <a:pt x="24" y="74"/>
                </a:lnTo>
                <a:lnTo>
                  <a:pt x="19" y="84"/>
                </a:lnTo>
                <a:lnTo>
                  <a:pt x="22" y="89"/>
                </a:lnTo>
                <a:lnTo>
                  <a:pt x="12" y="104"/>
                </a:lnTo>
                <a:lnTo>
                  <a:pt x="5" y="112"/>
                </a:lnTo>
                <a:lnTo>
                  <a:pt x="1" y="127"/>
                </a:lnTo>
                <a:lnTo>
                  <a:pt x="1" y="142"/>
                </a:lnTo>
                <a:lnTo>
                  <a:pt x="0" y="180"/>
                </a:lnTo>
                <a:lnTo>
                  <a:pt x="19" y="180"/>
                </a:lnTo>
                <a:lnTo>
                  <a:pt x="35" y="180"/>
                </a:lnTo>
                <a:lnTo>
                  <a:pt x="50" y="196"/>
                </a:lnTo>
                <a:lnTo>
                  <a:pt x="56" y="213"/>
                </a:lnTo>
                <a:lnTo>
                  <a:pt x="68" y="228"/>
                </a:lnTo>
                <a:lnTo>
                  <a:pt x="84" y="228"/>
                </a:lnTo>
                <a:lnTo>
                  <a:pt x="93" y="223"/>
                </a:lnTo>
                <a:lnTo>
                  <a:pt x="100" y="224"/>
                </a:lnTo>
                <a:lnTo>
                  <a:pt x="123" y="215"/>
                </a:lnTo>
                <a:lnTo>
                  <a:pt x="127" y="199"/>
                </a:lnTo>
                <a:lnTo>
                  <a:pt x="138" y="176"/>
                </a:lnTo>
                <a:lnTo>
                  <a:pt x="143" y="175"/>
                </a:lnTo>
                <a:lnTo>
                  <a:pt x="156" y="162"/>
                </a:lnTo>
                <a:lnTo>
                  <a:pt x="164" y="161"/>
                </a:lnTo>
                <a:lnTo>
                  <a:pt x="176" y="172"/>
                </a:lnTo>
                <a:lnTo>
                  <a:pt x="190" y="163"/>
                </a:lnTo>
                <a:lnTo>
                  <a:pt x="192" y="153"/>
                </a:lnTo>
                <a:lnTo>
                  <a:pt x="197" y="143"/>
                </a:lnTo>
                <a:lnTo>
                  <a:pt x="199" y="131"/>
                </a:lnTo>
                <a:lnTo>
                  <a:pt x="211" y="122"/>
                </a:lnTo>
                <a:lnTo>
                  <a:pt x="215" y="105"/>
                </a:lnTo>
                <a:lnTo>
                  <a:pt x="220" y="100"/>
                </a:lnTo>
                <a:lnTo>
                  <a:pt x="222" y="87"/>
                </a:lnTo>
                <a:lnTo>
                  <a:pt x="227" y="73"/>
                </a:lnTo>
                <a:lnTo>
                  <a:pt x="245" y="54"/>
                </a:lnTo>
                <a:lnTo>
                  <a:pt x="246" y="46"/>
                </a:lnTo>
                <a:lnTo>
                  <a:pt x="248" y="42"/>
                </a:lnTo>
                <a:lnTo>
                  <a:pt x="239" y="32"/>
                </a:lnTo>
                <a:lnTo>
                  <a:pt x="239" y="3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25" name="Nicaragua">
            <a:extLst>
              <a:ext uri="{FF2B5EF4-FFF2-40B4-BE49-F238E27FC236}">
                <a16:creationId xmlns:a16="http://schemas.microsoft.com/office/drawing/2014/main" id="{8E47B61A-B13A-41D2-B44A-D2A14A7732D9}"/>
              </a:ext>
            </a:extLst>
          </p:cNvPr>
          <p:cNvSpPr>
            <a:spLocks/>
          </p:cNvSpPr>
          <p:nvPr/>
        </p:nvSpPr>
        <p:spPr bwMode="auto">
          <a:xfrm>
            <a:off x="2091765" y="3732956"/>
            <a:ext cx="168420" cy="173523"/>
          </a:xfrm>
          <a:custGeom>
            <a:avLst/>
            <a:gdLst>
              <a:gd name="T0" fmla="*/ 99 w 99"/>
              <a:gd name="T1" fmla="*/ 1 h 102"/>
              <a:gd name="T2" fmla="*/ 93 w 99"/>
              <a:gd name="T3" fmla="*/ 0 h 102"/>
              <a:gd name="T4" fmla="*/ 89 w 99"/>
              <a:gd name="T5" fmla="*/ 3 h 102"/>
              <a:gd name="T6" fmla="*/ 81 w 99"/>
              <a:gd name="T7" fmla="*/ 6 h 102"/>
              <a:gd name="T8" fmla="*/ 77 w 99"/>
              <a:gd name="T9" fmla="*/ 6 h 102"/>
              <a:gd name="T10" fmla="*/ 71 w 99"/>
              <a:gd name="T11" fmla="*/ 9 h 102"/>
              <a:gd name="T12" fmla="*/ 67 w 99"/>
              <a:gd name="T13" fmla="*/ 8 h 102"/>
              <a:gd name="T14" fmla="*/ 64 w 99"/>
              <a:gd name="T15" fmla="*/ 5 h 102"/>
              <a:gd name="T16" fmla="*/ 62 w 99"/>
              <a:gd name="T17" fmla="*/ 5 h 102"/>
              <a:gd name="T18" fmla="*/ 59 w 99"/>
              <a:gd name="T19" fmla="*/ 11 h 102"/>
              <a:gd name="T20" fmla="*/ 57 w 99"/>
              <a:gd name="T21" fmla="*/ 11 h 102"/>
              <a:gd name="T22" fmla="*/ 56 w 99"/>
              <a:gd name="T23" fmla="*/ 16 h 102"/>
              <a:gd name="T24" fmla="*/ 48 w 99"/>
              <a:gd name="T25" fmla="*/ 22 h 102"/>
              <a:gd name="T26" fmla="*/ 44 w 99"/>
              <a:gd name="T27" fmla="*/ 25 h 102"/>
              <a:gd name="T28" fmla="*/ 41 w 99"/>
              <a:gd name="T29" fmla="*/ 28 h 102"/>
              <a:gd name="T30" fmla="*/ 36 w 99"/>
              <a:gd name="T31" fmla="*/ 23 h 102"/>
              <a:gd name="T32" fmla="*/ 31 w 99"/>
              <a:gd name="T33" fmla="*/ 30 h 102"/>
              <a:gd name="T34" fmla="*/ 26 w 99"/>
              <a:gd name="T35" fmla="*/ 30 h 102"/>
              <a:gd name="T36" fmla="*/ 22 w 99"/>
              <a:gd name="T37" fmla="*/ 31 h 102"/>
              <a:gd name="T38" fmla="*/ 21 w 99"/>
              <a:gd name="T39" fmla="*/ 42 h 102"/>
              <a:gd name="T40" fmla="*/ 18 w 99"/>
              <a:gd name="T41" fmla="*/ 42 h 102"/>
              <a:gd name="T42" fmla="*/ 15 w 99"/>
              <a:gd name="T43" fmla="*/ 47 h 102"/>
              <a:gd name="T44" fmla="*/ 8 w 99"/>
              <a:gd name="T45" fmla="*/ 48 h 102"/>
              <a:gd name="T46" fmla="*/ 7 w 99"/>
              <a:gd name="T47" fmla="*/ 50 h 102"/>
              <a:gd name="T48" fmla="*/ 3 w 99"/>
              <a:gd name="T49" fmla="*/ 46 h 102"/>
              <a:gd name="T50" fmla="*/ 0 w 99"/>
              <a:gd name="T51" fmla="*/ 50 h 102"/>
              <a:gd name="T52" fmla="*/ 11 w 99"/>
              <a:gd name="T53" fmla="*/ 61 h 102"/>
              <a:gd name="T54" fmla="*/ 19 w 99"/>
              <a:gd name="T55" fmla="*/ 69 h 102"/>
              <a:gd name="T56" fmla="*/ 23 w 99"/>
              <a:gd name="T57" fmla="*/ 76 h 102"/>
              <a:gd name="T58" fmla="*/ 32 w 99"/>
              <a:gd name="T59" fmla="*/ 86 h 102"/>
              <a:gd name="T60" fmla="*/ 39 w 99"/>
              <a:gd name="T61" fmla="*/ 93 h 102"/>
              <a:gd name="T62" fmla="*/ 41 w 99"/>
              <a:gd name="T63" fmla="*/ 90 h 102"/>
              <a:gd name="T64" fmla="*/ 54 w 99"/>
              <a:gd name="T65" fmla="*/ 97 h 102"/>
              <a:gd name="T66" fmla="*/ 60 w 99"/>
              <a:gd name="T67" fmla="*/ 94 h 102"/>
              <a:gd name="T68" fmla="*/ 67 w 99"/>
              <a:gd name="T69" fmla="*/ 96 h 102"/>
              <a:gd name="T70" fmla="*/ 69 w 99"/>
              <a:gd name="T71" fmla="*/ 101 h 102"/>
              <a:gd name="T72" fmla="*/ 76 w 99"/>
              <a:gd name="T73" fmla="*/ 102 h 102"/>
              <a:gd name="T74" fmla="*/ 81 w 99"/>
              <a:gd name="T75" fmla="*/ 97 h 102"/>
              <a:gd name="T76" fmla="*/ 78 w 99"/>
              <a:gd name="T77" fmla="*/ 93 h 102"/>
              <a:gd name="T78" fmla="*/ 78 w 99"/>
              <a:gd name="T79" fmla="*/ 87 h 102"/>
              <a:gd name="T80" fmla="*/ 82 w 99"/>
              <a:gd name="T81" fmla="*/ 81 h 102"/>
              <a:gd name="T82" fmla="*/ 81 w 99"/>
              <a:gd name="T83" fmla="*/ 74 h 102"/>
              <a:gd name="T84" fmla="*/ 84 w 99"/>
              <a:gd name="T85" fmla="*/ 64 h 102"/>
              <a:gd name="T86" fmla="*/ 87 w 99"/>
              <a:gd name="T87" fmla="*/ 61 h 102"/>
              <a:gd name="T88" fmla="*/ 88 w 99"/>
              <a:gd name="T89" fmla="*/ 51 h 102"/>
              <a:gd name="T90" fmla="*/ 87 w 99"/>
              <a:gd name="T91" fmla="*/ 45 h 102"/>
              <a:gd name="T92" fmla="*/ 88 w 99"/>
              <a:gd name="T93" fmla="*/ 34 h 102"/>
              <a:gd name="T94" fmla="*/ 92 w 99"/>
              <a:gd name="T95" fmla="*/ 25 h 102"/>
              <a:gd name="T96" fmla="*/ 97 w 99"/>
              <a:gd name="T97" fmla="*/ 17 h 102"/>
              <a:gd name="T98" fmla="*/ 95 w 99"/>
              <a:gd name="T99" fmla="*/ 8 h 102"/>
              <a:gd name="T100" fmla="*/ 97 w 99"/>
              <a:gd name="T101" fmla="*/ 3 h 102"/>
              <a:gd name="T102" fmla="*/ 99 w 99"/>
              <a:gd name="T103" fmla="*/ 1 h 102"/>
              <a:gd name="T104" fmla="*/ 99 w 99"/>
              <a:gd name="T105" fmla="*/ 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9" h="102">
                <a:moveTo>
                  <a:pt x="99" y="1"/>
                </a:moveTo>
                <a:lnTo>
                  <a:pt x="93" y="0"/>
                </a:lnTo>
                <a:lnTo>
                  <a:pt x="89" y="3"/>
                </a:lnTo>
                <a:lnTo>
                  <a:pt x="81" y="6"/>
                </a:lnTo>
                <a:lnTo>
                  <a:pt x="77" y="6"/>
                </a:lnTo>
                <a:lnTo>
                  <a:pt x="71" y="9"/>
                </a:lnTo>
                <a:lnTo>
                  <a:pt x="67" y="8"/>
                </a:lnTo>
                <a:lnTo>
                  <a:pt x="64" y="5"/>
                </a:lnTo>
                <a:lnTo>
                  <a:pt x="62" y="5"/>
                </a:lnTo>
                <a:lnTo>
                  <a:pt x="59" y="11"/>
                </a:lnTo>
                <a:lnTo>
                  <a:pt x="57" y="11"/>
                </a:lnTo>
                <a:lnTo>
                  <a:pt x="56" y="16"/>
                </a:lnTo>
                <a:lnTo>
                  <a:pt x="48" y="22"/>
                </a:lnTo>
                <a:lnTo>
                  <a:pt x="44" y="25"/>
                </a:lnTo>
                <a:lnTo>
                  <a:pt x="41" y="28"/>
                </a:lnTo>
                <a:lnTo>
                  <a:pt x="36" y="23"/>
                </a:lnTo>
                <a:lnTo>
                  <a:pt x="31" y="30"/>
                </a:lnTo>
                <a:lnTo>
                  <a:pt x="26" y="30"/>
                </a:lnTo>
                <a:lnTo>
                  <a:pt x="22" y="31"/>
                </a:lnTo>
                <a:lnTo>
                  <a:pt x="21" y="42"/>
                </a:lnTo>
                <a:lnTo>
                  <a:pt x="18" y="42"/>
                </a:lnTo>
                <a:lnTo>
                  <a:pt x="15" y="47"/>
                </a:lnTo>
                <a:lnTo>
                  <a:pt x="8" y="48"/>
                </a:lnTo>
                <a:lnTo>
                  <a:pt x="7" y="50"/>
                </a:lnTo>
                <a:lnTo>
                  <a:pt x="3" y="46"/>
                </a:lnTo>
                <a:lnTo>
                  <a:pt x="0" y="50"/>
                </a:lnTo>
                <a:lnTo>
                  <a:pt x="11" y="61"/>
                </a:lnTo>
                <a:lnTo>
                  <a:pt x="19" y="69"/>
                </a:lnTo>
                <a:lnTo>
                  <a:pt x="23" y="76"/>
                </a:lnTo>
                <a:lnTo>
                  <a:pt x="32" y="86"/>
                </a:lnTo>
                <a:lnTo>
                  <a:pt x="39" y="93"/>
                </a:lnTo>
                <a:lnTo>
                  <a:pt x="41" y="90"/>
                </a:lnTo>
                <a:lnTo>
                  <a:pt x="54" y="97"/>
                </a:lnTo>
                <a:lnTo>
                  <a:pt x="60" y="94"/>
                </a:lnTo>
                <a:lnTo>
                  <a:pt x="67" y="96"/>
                </a:lnTo>
                <a:lnTo>
                  <a:pt x="69" y="101"/>
                </a:lnTo>
                <a:lnTo>
                  <a:pt x="76" y="102"/>
                </a:lnTo>
                <a:lnTo>
                  <a:pt x="81" y="97"/>
                </a:lnTo>
                <a:lnTo>
                  <a:pt x="78" y="93"/>
                </a:lnTo>
                <a:lnTo>
                  <a:pt x="78" y="87"/>
                </a:lnTo>
                <a:lnTo>
                  <a:pt x="82" y="81"/>
                </a:lnTo>
                <a:lnTo>
                  <a:pt x="81" y="74"/>
                </a:lnTo>
                <a:lnTo>
                  <a:pt x="84" y="64"/>
                </a:lnTo>
                <a:lnTo>
                  <a:pt x="87" y="61"/>
                </a:lnTo>
                <a:lnTo>
                  <a:pt x="88" y="51"/>
                </a:lnTo>
                <a:lnTo>
                  <a:pt x="87" y="45"/>
                </a:lnTo>
                <a:lnTo>
                  <a:pt x="88" y="34"/>
                </a:lnTo>
                <a:lnTo>
                  <a:pt x="92" y="25"/>
                </a:lnTo>
                <a:lnTo>
                  <a:pt x="97" y="17"/>
                </a:lnTo>
                <a:lnTo>
                  <a:pt x="95" y="8"/>
                </a:lnTo>
                <a:lnTo>
                  <a:pt x="97" y="3"/>
                </a:lnTo>
                <a:lnTo>
                  <a:pt x="99" y="1"/>
                </a:lnTo>
                <a:lnTo>
                  <a:pt x="99"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26" name="Netherlands">
            <a:extLst>
              <a:ext uri="{FF2B5EF4-FFF2-40B4-BE49-F238E27FC236}">
                <a16:creationId xmlns:a16="http://schemas.microsoft.com/office/drawing/2014/main" id="{1664FA96-165C-4515-88A0-77108A40F7F0}"/>
              </a:ext>
            </a:extLst>
          </p:cNvPr>
          <p:cNvSpPr>
            <a:spLocks/>
          </p:cNvSpPr>
          <p:nvPr/>
        </p:nvSpPr>
        <p:spPr bwMode="auto">
          <a:xfrm>
            <a:off x="5301957" y="2189953"/>
            <a:ext cx="112280" cy="105475"/>
          </a:xfrm>
          <a:custGeom>
            <a:avLst/>
            <a:gdLst>
              <a:gd name="T0" fmla="*/ 48 w 66"/>
              <a:gd name="T1" fmla="*/ 38 h 62"/>
              <a:gd name="T2" fmla="*/ 59 w 66"/>
              <a:gd name="T3" fmla="*/ 38 h 62"/>
              <a:gd name="T4" fmla="*/ 63 w 66"/>
              <a:gd name="T5" fmla="*/ 29 h 62"/>
              <a:gd name="T6" fmla="*/ 66 w 66"/>
              <a:gd name="T7" fmla="*/ 9 h 62"/>
              <a:gd name="T8" fmla="*/ 63 w 66"/>
              <a:gd name="T9" fmla="*/ 1 h 62"/>
              <a:gd name="T10" fmla="*/ 48 w 66"/>
              <a:gd name="T11" fmla="*/ 0 h 62"/>
              <a:gd name="T12" fmla="*/ 24 w 66"/>
              <a:gd name="T13" fmla="*/ 10 h 62"/>
              <a:gd name="T14" fmla="*/ 10 w 66"/>
              <a:gd name="T15" fmla="*/ 43 h 62"/>
              <a:gd name="T16" fmla="*/ 0 w 66"/>
              <a:gd name="T17" fmla="*/ 50 h 62"/>
              <a:gd name="T18" fmla="*/ 0 w 66"/>
              <a:gd name="T19" fmla="*/ 50 h 62"/>
              <a:gd name="T20" fmla="*/ 13 w 66"/>
              <a:gd name="T21" fmla="*/ 51 h 62"/>
              <a:gd name="T22" fmla="*/ 30 w 66"/>
              <a:gd name="T23" fmla="*/ 47 h 62"/>
              <a:gd name="T24" fmla="*/ 41 w 66"/>
              <a:gd name="T25" fmla="*/ 57 h 62"/>
              <a:gd name="T26" fmla="*/ 52 w 66"/>
              <a:gd name="T27" fmla="*/ 62 h 62"/>
              <a:gd name="T28" fmla="*/ 48 w 66"/>
              <a:gd name="T29" fmla="*/ 38 h 62"/>
              <a:gd name="T30" fmla="*/ 48 w 66"/>
              <a:gd name="T31" fmla="*/ 3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62">
                <a:moveTo>
                  <a:pt x="48" y="38"/>
                </a:moveTo>
                <a:lnTo>
                  <a:pt x="59" y="38"/>
                </a:lnTo>
                <a:lnTo>
                  <a:pt x="63" y="29"/>
                </a:lnTo>
                <a:lnTo>
                  <a:pt x="66" y="9"/>
                </a:lnTo>
                <a:lnTo>
                  <a:pt x="63" y="1"/>
                </a:lnTo>
                <a:lnTo>
                  <a:pt x="48" y="0"/>
                </a:lnTo>
                <a:lnTo>
                  <a:pt x="24" y="10"/>
                </a:lnTo>
                <a:lnTo>
                  <a:pt x="10" y="43"/>
                </a:lnTo>
                <a:lnTo>
                  <a:pt x="0" y="50"/>
                </a:lnTo>
                <a:lnTo>
                  <a:pt x="0" y="50"/>
                </a:lnTo>
                <a:lnTo>
                  <a:pt x="13" y="51"/>
                </a:lnTo>
                <a:lnTo>
                  <a:pt x="30" y="47"/>
                </a:lnTo>
                <a:lnTo>
                  <a:pt x="41" y="57"/>
                </a:lnTo>
                <a:lnTo>
                  <a:pt x="52" y="62"/>
                </a:lnTo>
                <a:lnTo>
                  <a:pt x="48" y="38"/>
                </a:lnTo>
                <a:lnTo>
                  <a:pt x="48" y="3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27" name="Norway">
            <a:extLst>
              <a:ext uri="{FF2B5EF4-FFF2-40B4-BE49-F238E27FC236}">
                <a16:creationId xmlns:a16="http://schemas.microsoft.com/office/drawing/2014/main" id="{56EF005B-C422-4965-A092-F1373612B0AA}"/>
              </a:ext>
            </a:extLst>
          </p:cNvPr>
          <p:cNvSpPr>
            <a:spLocks noEditPoints="1"/>
          </p:cNvSpPr>
          <p:nvPr/>
        </p:nvSpPr>
        <p:spPr bwMode="auto">
          <a:xfrm>
            <a:off x="5341085" y="1261092"/>
            <a:ext cx="661772" cy="755339"/>
          </a:xfrm>
          <a:custGeom>
            <a:avLst/>
            <a:gdLst>
              <a:gd name="T0" fmla="*/ 311 w 389"/>
              <a:gd name="T1" fmla="*/ 174 h 444"/>
              <a:gd name="T2" fmla="*/ 264 w 389"/>
              <a:gd name="T3" fmla="*/ 189 h 444"/>
              <a:gd name="T4" fmla="*/ 207 w 389"/>
              <a:gd name="T5" fmla="*/ 197 h 444"/>
              <a:gd name="T6" fmla="*/ 145 w 389"/>
              <a:gd name="T7" fmla="*/ 237 h 444"/>
              <a:gd name="T8" fmla="*/ 86 w 389"/>
              <a:gd name="T9" fmla="*/ 306 h 444"/>
              <a:gd name="T10" fmla="*/ 14 w 389"/>
              <a:gd name="T11" fmla="*/ 346 h 444"/>
              <a:gd name="T12" fmla="*/ 6 w 389"/>
              <a:gd name="T13" fmla="*/ 410 h 444"/>
              <a:gd name="T14" fmla="*/ 38 w 389"/>
              <a:gd name="T15" fmla="*/ 444 h 444"/>
              <a:gd name="T16" fmla="*/ 92 w 389"/>
              <a:gd name="T17" fmla="*/ 414 h 444"/>
              <a:gd name="T18" fmla="*/ 111 w 389"/>
              <a:gd name="T19" fmla="*/ 414 h 444"/>
              <a:gd name="T20" fmla="*/ 127 w 389"/>
              <a:gd name="T21" fmla="*/ 374 h 444"/>
              <a:gd name="T22" fmla="*/ 111 w 389"/>
              <a:gd name="T23" fmla="*/ 335 h 444"/>
              <a:gd name="T24" fmla="*/ 136 w 389"/>
              <a:gd name="T25" fmla="*/ 315 h 444"/>
              <a:gd name="T26" fmla="*/ 134 w 389"/>
              <a:gd name="T27" fmla="*/ 301 h 444"/>
              <a:gd name="T28" fmla="*/ 168 w 389"/>
              <a:gd name="T29" fmla="*/ 248 h 444"/>
              <a:gd name="T30" fmla="*/ 191 w 389"/>
              <a:gd name="T31" fmla="*/ 233 h 444"/>
              <a:gd name="T32" fmla="*/ 223 w 389"/>
              <a:gd name="T33" fmla="*/ 226 h 444"/>
              <a:gd name="T34" fmla="*/ 232 w 389"/>
              <a:gd name="T35" fmla="*/ 211 h 444"/>
              <a:gd name="T36" fmla="*/ 259 w 389"/>
              <a:gd name="T37" fmla="*/ 217 h 444"/>
              <a:gd name="T38" fmla="*/ 297 w 389"/>
              <a:gd name="T39" fmla="*/ 220 h 444"/>
              <a:gd name="T40" fmla="*/ 313 w 389"/>
              <a:gd name="T41" fmla="*/ 197 h 444"/>
              <a:gd name="T42" fmla="*/ 356 w 389"/>
              <a:gd name="T43" fmla="*/ 198 h 444"/>
              <a:gd name="T44" fmla="*/ 365 w 389"/>
              <a:gd name="T45" fmla="*/ 211 h 444"/>
              <a:gd name="T46" fmla="*/ 389 w 389"/>
              <a:gd name="T47" fmla="*/ 203 h 444"/>
              <a:gd name="T48" fmla="*/ 387 w 389"/>
              <a:gd name="T49" fmla="*/ 185 h 444"/>
              <a:gd name="T50" fmla="*/ 336 w 389"/>
              <a:gd name="T51" fmla="*/ 170 h 444"/>
              <a:gd name="T52" fmla="*/ 230 w 389"/>
              <a:gd name="T53" fmla="*/ 42 h 444"/>
              <a:gd name="T54" fmla="*/ 197 w 389"/>
              <a:gd name="T55" fmla="*/ 39 h 444"/>
              <a:gd name="T56" fmla="*/ 198 w 389"/>
              <a:gd name="T57" fmla="*/ 49 h 444"/>
              <a:gd name="T58" fmla="*/ 252 w 389"/>
              <a:gd name="T59" fmla="*/ 46 h 444"/>
              <a:gd name="T60" fmla="*/ 139 w 389"/>
              <a:gd name="T61" fmla="*/ 9 h 444"/>
              <a:gd name="T62" fmla="*/ 116 w 389"/>
              <a:gd name="T63" fmla="*/ 15 h 444"/>
              <a:gd name="T64" fmla="*/ 89 w 389"/>
              <a:gd name="T65" fmla="*/ 9 h 444"/>
              <a:gd name="T66" fmla="*/ 66 w 389"/>
              <a:gd name="T67" fmla="*/ 29 h 444"/>
              <a:gd name="T68" fmla="*/ 116 w 389"/>
              <a:gd name="T69" fmla="*/ 48 h 444"/>
              <a:gd name="T70" fmla="*/ 136 w 389"/>
              <a:gd name="T71" fmla="*/ 65 h 444"/>
              <a:gd name="T72" fmla="*/ 156 w 389"/>
              <a:gd name="T73" fmla="*/ 50 h 444"/>
              <a:gd name="T74" fmla="*/ 171 w 389"/>
              <a:gd name="T75" fmla="*/ 34 h 444"/>
              <a:gd name="T76" fmla="*/ 156 w 389"/>
              <a:gd name="T77" fmla="*/ 15 h 444"/>
              <a:gd name="T78" fmla="*/ 213 w 389"/>
              <a:gd name="T79" fmla="*/ 0 h 444"/>
              <a:gd name="T80" fmla="*/ 182 w 389"/>
              <a:gd name="T81" fmla="*/ 0 h 444"/>
              <a:gd name="T82" fmla="*/ 158 w 389"/>
              <a:gd name="T83" fmla="*/ 12 h 444"/>
              <a:gd name="T84" fmla="*/ 181 w 389"/>
              <a:gd name="T85" fmla="*/ 17 h 444"/>
              <a:gd name="T86" fmla="*/ 258 w 389"/>
              <a:gd name="T87" fmla="*/ 18 h 444"/>
              <a:gd name="T88" fmla="*/ 247 w 389"/>
              <a:gd name="T89" fmla="*/ 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9" h="444">
                <a:moveTo>
                  <a:pt x="336" y="170"/>
                </a:moveTo>
                <a:lnTo>
                  <a:pt x="311" y="174"/>
                </a:lnTo>
                <a:lnTo>
                  <a:pt x="282" y="174"/>
                </a:lnTo>
                <a:lnTo>
                  <a:pt x="264" y="189"/>
                </a:lnTo>
                <a:lnTo>
                  <a:pt x="239" y="188"/>
                </a:lnTo>
                <a:lnTo>
                  <a:pt x="207" y="197"/>
                </a:lnTo>
                <a:lnTo>
                  <a:pt x="170" y="222"/>
                </a:lnTo>
                <a:lnTo>
                  <a:pt x="145" y="237"/>
                </a:lnTo>
                <a:lnTo>
                  <a:pt x="113" y="277"/>
                </a:lnTo>
                <a:lnTo>
                  <a:pt x="86" y="306"/>
                </a:lnTo>
                <a:lnTo>
                  <a:pt x="56" y="329"/>
                </a:lnTo>
                <a:lnTo>
                  <a:pt x="14" y="346"/>
                </a:lnTo>
                <a:lnTo>
                  <a:pt x="0" y="359"/>
                </a:lnTo>
                <a:lnTo>
                  <a:pt x="6" y="410"/>
                </a:lnTo>
                <a:lnTo>
                  <a:pt x="14" y="433"/>
                </a:lnTo>
                <a:lnTo>
                  <a:pt x="38" y="444"/>
                </a:lnTo>
                <a:lnTo>
                  <a:pt x="60" y="439"/>
                </a:lnTo>
                <a:lnTo>
                  <a:pt x="92" y="414"/>
                </a:lnTo>
                <a:lnTo>
                  <a:pt x="104" y="428"/>
                </a:lnTo>
                <a:lnTo>
                  <a:pt x="111" y="414"/>
                </a:lnTo>
                <a:lnTo>
                  <a:pt x="123" y="400"/>
                </a:lnTo>
                <a:lnTo>
                  <a:pt x="127" y="374"/>
                </a:lnTo>
                <a:lnTo>
                  <a:pt x="114" y="363"/>
                </a:lnTo>
                <a:lnTo>
                  <a:pt x="111" y="335"/>
                </a:lnTo>
                <a:lnTo>
                  <a:pt x="120" y="315"/>
                </a:lnTo>
                <a:lnTo>
                  <a:pt x="136" y="315"/>
                </a:lnTo>
                <a:lnTo>
                  <a:pt x="141" y="307"/>
                </a:lnTo>
                <a:lnTo>
                  <a:pt x="134" y="301"/>
                </a:lnTo>
                <a:lnTo>
                  <a:pt x="156" y="271"/>
                </a:lnTo>
                <a:lnTo>
                  <a:pt x="168" y="248"/>
                </a:lnTo>
                <a:lnTo>
                  <a:pt x="176" y="233"/>
                </a:lnTo>
                <a:lnTo>
                  <a:pt x="191" y="233"/>
                </a:lnTo>
                <a:lnTo>
                  <a:pt x="193" y="222"/>
                </a:lnTo>
                <a:lnTo>
                  <a:pt x="223" y="226"/>
                </a:lnTo>
                <a:lnTo>
                  <a:pt x="223" y="213"/>
                </a:lnTo>
                <a:lnTo>
                  <a:pt x="232" y="211"/>
                </a:lnTo>
                <a:lnTo>
                  <a:pt x="240" y="206"/>
                </a:lnTo>
                <a:lnTo>
                  <a:pt x="259" y="217"/>
                </a:lnTo>
                <a:lnTo>
                  <a:pt x="279" y="216"/>
                </a:lnTo>
                <a:lnTo>
                  <a:pt x="297" y="220"/>
                </a:lnTo>
                <a:lnTo>
                  <a:pt x="309" y="212"/>
                </a:lnTo>
                <a:lnTo>
                  <a:pt x="313" y="197"/>
                </a:lnTo>
                <a:lnTo>
                  <a:pt x="335" y="190"/>
                </a:lnTo>
                <a:lnTo>
                  <a:pt x="356" y="198"/>
                </a:lnTo>
                <a:lnTo>
                  <a:pt x="353" y="213"/>
                </a:lnTo>
                <a:lnTo>
                  <a:pt x="365" y="211"/>
                </a:lnTo>
                <a:lnTo>
                  <a:pt x="389" y="203"/>
                </a:lnTo>
                <a:lnTo>
                  <a:pt x="389" y="203"/>
                </a:lnTo>
                <a:lnTo>
                  <a:pt x="368" y="190"/>
                </a:lnTo>
                <a:lnTo>
                  <a:pt x="387" y="185"/>
                </a:lnTo>
                <a:lnTo>
                  <a:pt x="336" y="170"/>
                </a:lnTo>
                <a:lnTo>
                  <a:pt x="336" y="170"/>
                </a:lnTo>
                <a:close/>
                <a:moveTo>
                  <a:pt x="252" y="46"/>
                </a:moveTo>
                <a:lnTo>
                  <a:pt x="230" y="42"/>
                </a:lnTo>
                <a:lnTo>
                  <a:pt x="224" y="35"/>
                </a:lnTo>
                <a:lnTo>
                  <a:pt x="197" y="39"/>
                </a:lnTo>
                <a:lnTo>
                  <a:pt x="206" y="45"/>
                </a:lnTo>
                <a:lnTo>
                  <a:pt x="198" y="49"/>
                </a:lnTo>
                <a:lnTo>
                  <a:pt x="223" y="53"/>
                </a:lnTo>
                <a:lnTo>
                  <a:pt x="252" y="46"/>
                </a:lnTo>
                <a:close/>
                <a:moveTo>
                  <a:pt x="156" y="15"/>
                </a:moveTo>
                <a:lnTo>
                  <a:pt x="139" y="9"/>
                </a:lnTo>
                <a:lnTo>
                  <a:pt x="120" y="9"/>
                </a:lnTo>
                <a:lnTo>
                  <a:pt x="116" y="15"/>
                </a:lnTo>
                <a:lnTo>
                  <a:pt x="98" y="15"/>
                </a:lnTo>
                <a:lnTo>
                  <a:pt x="89" y="9"/>
                </a:lnTo>
                <a:lnTo>
                  <a:pt x="55" y="16"/>
                </a:lnTo>
                <a:lnTo>
                  <a:pt x="66" y="29"/>
                </a:lnTo>
                <a:lnTo>
                  <a:pt x="95" y="43"/>
                </a:lnTo>
                <a:lnTo>
                  <a:pt x="116" y="48"/>
                </a:lnTo>
                <a:lnTo>
                  <a:pt x="105" y="54"/>
                </a:lnTo>
                <a:lnTo>
                  <a:pt x="136" y="65"/>
                </a:lnTo>
                <a:lnTo>
                  <a:pt x="153" y="64"/>
                </a:lnTo>
                <a:lnTo>
                  <a:pt x="156" y="50"/>
                </a:lnTo>
                <a:lnTo>
                  <a:pt x="167" y="47"/>
                </a:lnTo>
                <a:lnTo>
                  <a:pt x="171" y="34"/>
                </a:lnTo>
                <a:lnTo>
                  <a:pt x="203" y="27"/>
                </a:lnTo>
                <a:lnTo>
                  <a:pt x="156" y="15"/>
                </a:lnTo>
                <a:close/>
                <a:moveTo>
                  <a:pt x="247" y="4"/>
                </a:moveTo>
                <a:lnTo>
                  <a:pt x="213" y="0"/>
                </a:lnTo>
                <a:lnTo>
                  <a:pt x="201" y="4"/>
                </a:lnTo>
                <a:lnTo>
                  <a:pt x="182" y="0"/>
                </a:lnTo>
                <a:lnTo>
                  <a:pt x="142" y="5"/>
                </a:lnTo>
                <a:lnTo>
                  <a:pt x="158" y="12"/>
                </a:lnTo>
                <a:lnTo>
                  <a:pt x="178" y="12"/>
                </a:lnTo>
                <a:lnTo>
                  <a:pt x="181" y="17"/>
                </a:lnTo>
                <a:lnTo>
                  <a:pt x="221" y="20"/>
                </a:lnTo>
                <a:lnTo>
                  <a:pt x="258" y="18"/>
                </a:lnTo>
                <a:lnTo>
                  <a:pt x="274" y="9"/>
                </a:lnTo>
                <a:lnTo>
                  <a:pt x="247" y="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28" name="New Zealand">
            <a:extLst>
              <a:ext uri="{FF2B5EF4-FFF2-40B4-BE49-F238E27FC236}">
                <a16:creationId xmlns:a16="http://schemas.microsoft.com/office/drawing/2014/main" id="{CC7B64B0-0BD9-47C2-A8D6-07C042542F20}"/>
              </a:ext>
            </a:extLst>
          </p:cNvPr>
          <p:cNvSpPr>
            <a:spLocks noEditPoints="1"/>
          </p:cNvSpPr>
          <p:nvPr/>
        </p:nvSpPr>
        <p:spPr bwMode="auto">
          <a:xfrm>
            <a:off x="10494065" y="5731882"/>
            <a:ext cx="644760" cy="489949"/>
          </a:xfrm>
          <a:custGeom>
            <a:avLst/>
            <a:gdLst>
              <a:gd name="T0" fmla="*/ 223 w 379"/>
              <a:gd name="T1" fmla="*/ 146 h 288"/>
              <a:gd name="T2" fmla="*/ 188 w 379"/>
              <a:gd name="T3" fmla="*/ 169 h 288"/>
              <a:gd name="T4" fmla="*/ 154 w 379"/>
              <a:gd name="T5" fmla="*/ 193 h 288"/>
              <a:gd name="T6" fmla="*/ 107 w 379"/>
              <a:gd name="T7" fmla="*/ 216 h 288"/>
              <a:gd name="T8" fmla="*/ 70 w 379"/>
              <a:gd name="T9" fmla="*/ 229 h 288"/>
              <a:gd name="T10" fmla="*/ 4 w 379"/>
              <a:gd name="T11" fmla="*/ 269 h 288"/>
              <a:gd name="T12" fmla="*/ 19 w 379"/>
              <a:gd name="T13" fmla="*/ 279 h 288"/>
              <a:gd name="T14" fmla="*/ 41 w 379"/>
              <a:gd name="T15" fmla="*/ 288 h 288"/>
              <a:gd name="T16" fmla="*/ 81 w 379"/>
              <a:gd name="T17" fmla="*/ 270 h 288"/>
              <a:gd name="T18" fmla="*/ 128 w 379"/>
              <a:gd name="T19" fmla="*/ 232 h 288"/>
              <a:gd name="T20" fmla="*/ 167 w 379"/>
              <a:gd name="T21" fmla="*/ 223 h 288"/>
              <a:gd name="T22" fmla="*/ 185 w 379"/>
              <a:gd name="T23" fmla="*/ 203 h 288"/>
              <a:gd name="T24" fmla="*/ 227 w 379"/>
              <a:gd name="T25" fmla="*/ 175 h 288"/>
              <a:gd name="T26" fmla="*/ 237 w 379"/>
              <a:gd name="T27" fmla="*/ 156 h 288"/>
              <a:gd name="T28" fmla="*/ 219 w 379"/>
              <a:gd name="T29" fmla="*/ 155 h 288"/>
              <a:gd name="T30" fmla="*/ 327 w 379"/>
              <a:gd name="T31" fmla="*/ 41 h 288"/>
              <a:gd name="T32" fmla="*/ 322 w 379"/>
              <a:gd name="T33" fmla="*/ 14 h 288"/>
              <a:gd name="T34" fmla="*/ 310 w 379"/>
              <a:gd name="T35" fmla="*/ 2 h 288"/>
              <a:gd name="T36" fmla="*/ 312 w 379"/>
              <a:gd name="T37" fmla="*/ 40 h 288"/>
              <a:gd name="T38" fmla="*/ 312 w 379"/>
              <a:gd name="T39" fmla="*/ 55 h 288"/>
              <a:gd name="T40" fmla="*/ 301 w 379"/>
              <a:gd name="T41" fmla="*/ 87 h 288"/>
              <a:gd name="T42" fmla="*/ 265 w 379"/>
              <a:gd name="T43" fmla="*/ 113 h 288"/>
              <a:gd name="T44" fmla="*/ 273 w 379"/>
              <a:gd name="T45" fmla="*/ 132 h 288"/>
              <a:gd name="T46" fmla="*/ 244 w 379"/>
              <a:gd name="T47" fmla="*/ 164 h 288"/>
              <a:gd name="T48" fmla="*/ 248 w 379"/>
              <a:gd name="T49" fmla="*/ 173 h 288"/>
              <a:gd name="T50" fmla="*/ 292 w 379"/>
              <a:gd name="T51" fmla="*/ 149 h 288"/>
              <a:gd name="T52" fmla="*/ 315 w 379"/>
              <a:gd name="T53" fmla="*/ 131 h 288"/>
              <a:gd name="T54" fmla="*/ 331 w 379"/>
              <a:gd name="T55" fmla="*/ 113 h 288"/>
              <a:gd name="T56" fmla="*/ 361 w 379"/>
              <a:gd name="T57" fmla="*/ 100 h 288"/>
              <a:gd name="T58" fmla="*/ 372 w 379"/>
              <a:gd name="T59" fmla="*/ 76 h 288"/>
              <a:gd name="T60" fmla="*/ 343 w 379"/>
              <a:gd name="T61" fmla="*/ 83 h 288"/>
              <a:gd name="T62" fmla="*/ 340 w 379"/>
              <a:gd name="T63" fmla="*/ 57 h 288"/>
              <a:gd name="T64" fmla="*/ 325 w 379"/>
              <a:gd name="T65" fmla="*/ 66 h 288"/>
              <a:gd name="T66" fmla="*/ 327 w 379"/>
              <a:gd name="T67" fmla="*/ 4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9" h="288">
                <a:moveTo>
                  <a:pt x="219" y="155"/>
                </a:moveTo>
                <a:lnTo>
                  <a:pt x="223" y="146"/>
                </a:lnTo>
                <a:lnTo>
                  <a:pt x="201" y="156"/>
                </a:lnTo>
                <a:lnTo>
                  <a:pt x="188" y="169"/>
                </a:lnTo>
                <a:lnTo>
                  <a:pt x="176" y="175"/>
                </a:lnTo>
                <a:lnTo>
                  <a:pt x="154" y="193"/>
                </a:lnTo>
                <a:lnTo>
                  <a:pt x="133" y="205"/>
                </a:lnTo>
                <a:lnTo>
                  <a:pt x="107" y="216"/>
                </a:lnTo>
                <a:lnTo>
                  <a:pt x="86" y="225"/>
                </a:lnTo>
                <a:lnTo>
                  <a:pt x="70" y="229"/>
                </a:lnTo>
                <a:lnTo>
                  <a:pt x="28" y="252"/>
                </a:lnTo>
                <a:lnTo>
                  <a:pt x="4" y="269"/>
                </a:lnTo>
                <a:lnTo>
                  <a:pt x="0" y="278"/>
                </a:lnTo>
                <a:lnTo>
                  <a:pt x="19" y="279"/>
                </a:lnTo>
                <a:lnTo>
                  <a:pt x="25" y="287"/>
                </a:lnTo>
                <a:lnTo>
                  <a:pt x="41" y="288"/>
                </a:lnTo>
                <a:lnTo>
                  <a:pt x="56" y="281"/>
                </a:lnTo>
                <a:lnTo>
                  <a:pt x="81" y="270"/>
                </a:lnTo>
                <a:lnTo>
                  <a:pt x="111" y="248"/>
                </a:lnTo>
                <a:lnTo>
                  <a:pt x="128" y="232"/>
                </a:lnTo>
                <a:lnTo>
                  <a:pt x="152" y="223"/>
                </a:lnTo>
                <a:lnTo>
                  <a:pt x="167" y="223"/>
                </a:lnTo>
                <a:lnTo>
                  <a:pt x="168" y="212"/>
                </a:lnTo>
                <a:lnTo>
                  <a:pt x="185" y="203"/>
                </a:lnTo>
                <a:lnTo>
                  <a:pt x="211" y="186"/>
                </a:lnTo>
                <a:lnTo>
                  <a:pt x="227" y="175"/>
                </a:lnTo>
                <a:lnTo>
                  <a:pt x="236" y="165"/>
                </a:lnTo>
                <a:lnTo>
                  <a:pt x="237" y="156"/>
                </a:lnTo>
                <a:lnTo>
                  <a:pt x="216" y="165"/>
                </a:lnTo>
                <a:lnTo>
                  <a:pt x="219" y="155"/>
                </a:lnTo>
                <a:lnTo>
                  <a:pt x="219" y="155"/>
                </a:lnTo>
                <a:close/>
                <a:moveTo>
                  <a:pt x="327" y="41"/>
                </a:moveTo>
                <a:lnTo>
                  <a:pt x="334" y="20"/>
                </a:lnTo>
                <a:lnTo>
                  <a:pt x="322" y="14"/>
                </a:lnTo>
                <a:lnTo>
                  <a:pt x="320" y="0"/>
                </a:lnTo>
                <a:lnTo>
                  <a:pt x="310" y="2"/>
                </a:lnTo>
                <a:lnTo>
                  <a:pt x="309" y="20"/>
                </a:lnTo>
                <a:lnTo>
                  <a:pt x="312" y="40"/>
                </a:lnTo>
                <a:lnTo>
                  <a:pt x="316" y="51"/>
                </a:lnTo>
                <a:lnTo>
                  <a:pt x="312" y="55"/>
                </a:lnTo>
                <a:lnTo>
                  <a:pt x="310" y="71"/>
                </a:lnTo>
                <a:lnTo>
                  <a:pt x="301" y="87"/>
                </a:lnTo>
                <a:lnTo>
                  <a:pt x="285" y="106"/>
                </a:lnTo>
                <a:lnTo>
                  <a:pt x="265" y="113"/>
                </a:lnTo>
                <a:lnTo>
                  <a:pt x="259" y="123"/>
                </a:lnTo>
                <a:lnTo>
                  <a:pt x="273" y="132"/>
                </a:lnTo>
                <a:lnTo>
                  <a:pt x="270" y="145"/>
                </a:lnTo>
                <a:lnTo>
                  <a:pt x="244" y="164"/>
                </a:lnTo>
                <a:lnTo>
                  <a:pt x="250" y="167"/>
                </a:lnTo>
                <a:lnTo>
                  <a:pt x="248" y="173"/>
                </a:lnTo>
                <a:lnTo>
                  <a:pt x="270" y="164"/>
                </a:lnTo>
                <a:lnTo>
                  <a:pt x="292" y="149"/>
                </a:lnTo>
                <a:lnTo>
                  <a:pt x="308" y="136"/>
                </a:lnTo>
                <a:lnTo>
                  <a:pt x="315" y="131"/>
                </a:lnTo>
                <a:lnTo>
                  <a:pt x="321" y="121"/>
                </a:lnTo>
                <a:lnTo>
                  <a:pt x="331" y="113"/>
                </a:lnTo>
                <a:lnTo>
                  <a:pt x="345" y="114"/>
                </a:lnTo>
                <a:lnTo>
                  <a:pt x="361" y="100"/>
                </a:lnTo>
                <a:lnTo>
                  <a:pt x="379" y="79"/>
                </a:lnTo>
                <a:lnTo>
                  <a:pt x="372" y="76"/>
                </a:lnTo>
                <a:lnTo>
                  <a:pt x="355" y="85"/>
                </a:lnTo>
                <a:lnTo>
                  <a:pt x="343" y="83"/>
                </a:lnTo>
                <a:lnTo>
                  <a:pt x="332" y="76"/>
                </a:lnTo>
                <a:lnTo>
                  <a:pt x="340" y="57"/>
                </a:lnTo>
                <a:lnTo>
                  <a:pt x="336" y="51"/>
                </a:lnTo>
                <a:lnTo>
                  <a:pt x="325" y="66"/>
                </a:lnTo>
                <a:lnTo>
                  <a:pt x="327" y="41"/>
                </a:lnTo>
                <a:lnTo>
                  <a:pt x="327" y="4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29" name="Nepal">
            <a:extLst>
              <a:ext uri="{FF2B5EF4-FFF2-40B4-BE49-F238E27FC236}">
                <a16:creationId xmlns:a16="http://schemas.microsoft.com/office/drawing/2014/main" id="{8F2FFCB0-BD71-43E2-B75B-5F54FF8DD8B3}"/>
              </a:ext>
            </a:extLst>
          </p:cNvPr>
          <p:cNvSpPr>
            <a:spLocks/>
          </p:cNvSpPr>
          <p:nvPr/>
        </p:nvSpPr>
        <p:spPr bwMode="auto">
          <a:xfrm>
            <a:off x="7955852" y="3110311"/>
            <a:ext cx="294309" cy="163316"/>
          </a:xfrm>
          <a:custGeom>
            <a:avLst/>
            <a:gdLst>
              <a:gd name="T0" fmla="*/ 167 w 173"/>
              <a:gd name="T1" fmla="*/ 60 h 96"/>
              <a:gd name="T2" fmla="*/ 143 w 173"/>
              <a:gd name="T3" fmla="*/ 59 h 96"/>
              <a:gd name="T4" fmla="*/ 119 w 173"/>
              <a:gd name="T5" fmla="*/ 53 h 96"/>
              <a:gd name="T6" fmla="*/ 100 w 173"/>
              <a:gd name="T7" fmla="*/ 43 h 96"/>
              <a:gd name="T8" fmla="*/ 83 w 173"/>
              <a:gd name="T9" fmla="*/ 38 h 96"/>
              <a:gd name="T10" fmla="*/ 74 w 173"/>
              <a:gd name="T11" fmla="*/ 26 h 96"/>
              <a:gd name="T12" fmla="*/ 62 w 173"/>
              <a:gd name="T13" fmla="*/ 23 h 96"/>
              <a:gd name="T14" fmla="*/ 39 w 173"/>
              <a:gd name="T15" fmla="*/ 7 h 96"/>
              <a:gd name="T16" fmla="*/ 21 w 173"/>
              <a:gd name="T17" fmla="*/ 0 h 96"/>
              <a:gd name="T18" fmla="*/ 13 w 173"/>
              <a:gd name="T19" fmla="*/ 5 h 96"/>
              <a:gd name="T20" fmla="*/ 3 w 173"/>
              <a:gd name="T21" fmla="*/ 17 h 96"/>
              <a:gd name="T22" fmla="*/ 0 w 173"/>
              <a:gd name="T23" fmla="*/ 39 h 96"/>
              <a:gd name="T24" fmla="*/ 21 w 173"/>
              <a:gd name="T25" fmla="*/ 48 h 96"/>
              <a:gd name="T26" fmla="*/ 43 w 173"/>
              <a:gd name="T27" fmla="*/ 59 h 96"/>
              <a:gd name="T28" fmla="*/ 71 w 173"/>
              <a:gd name="T29" fmla="*/ 73 h 96"/>
              <a:gd name="T30" fmla="*/ 100 w 173"/>
              <a:gd name="T31" fmla="*/ 76 h 96"/>
              <a:gd name="T32" fmla="*/ 114 w 173"/>
              <a:gd name="T33" fmla="*/ 87 h 96"/>
              <a:gd name="T34" fmla="*/ 130 w 173"/>
              <a:gd name="T35" fmla="*/ 90 h 96"/>
              <a:gd name="T36" fmla="*/ 155 w 173"/>
              <a:gd name="T37" fmla="*/ 96 h 96"/>
              <a:gd name="T38" fmla="*/ 173 w 173"/>
              <a:gd name="T39" fmla="*/ 95 h 96"/>
              <a:gd name="T40" fmla="*/ 173 w 173"/>
              <a:gd name="T41" fmla="*/ 86 h 96"/>
              <a:gd name="T42" fmla="*/ 167 w 173"/>
              <a:gd name="T43" fmla="*/ 71 h 96"/>
              <a:gd name="T44" fmla="*/ 167 w 173"/>
              <a:gd name="T45" fmla="*/ 60 h 96"/>
              <a:gd name="T46" fmla="*/ 167 w 173"/>
              <a:gd name="T47" fmla="*/ 6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3" h="96">
                <a:moveTo>
                  <a:pt x="167" y="60"/>
                </a:moveTo>
                <a:lnTo>
                  <a:pt x="143" y="59"/>
                </a:lnTo>
                <a:lnTo>
                  <a:pt x="119" y="53"/>
                </a:lnTo>
                <a:lnTo>
                  <a:pt x="100" y="43"/>
                </a:lnTo>
                <a:lnTo>
                  <a:pt x="83" y="38"/>
                </a:lnTo>
                <a:lnTo>
                  <a:pt x="74" y="26"/>
                </a:lnTo>
                <a:lnTo>
                  <a:pt x="62" y="23"/>
                </a:lnTo>
                <a:lnTo>
                  <a:pt x="39" y="7"/>
                </a:lnTo>
                <a:lnTo>
                  <a:pt x="21" y="0"/>
                </a:lnTo>
                <a:lnTo>
                  <a:pt x="13" y="5"/>
                </a:lnTo>
                <a:lnTo>
                  <a:pt x="3" y="17"/>
                </a:lnTo>
                <a:lnTo>
                  <a:pt x="0" y="39"/>
                </a:lnTo>
                <a:lnTo>
                  <a:pt x="21" y="48"/>
                </a:lnTo>
                <a:lnTo>
                  <a:pt x="43" y="59"/>
                </a:lnTo>
                <a:lnTo>
                  <a:pt x="71" y="73"/>
                </a:lnTo>
                <a:lnTo>
                  <a:pt x="100" y="76"/>
                </a:lnTo>
                <a:lnTo>
                  <a:pt x="114" y="87"/>
                </a:lnTo>
                <a:lnTo>
                  <a:pt x="130" y="90"/>
                </a:lnTo>
                <a:lnTo>
                  <a:pt x="155" y="96"/>
                </a:lnTo>
                <a:lnTo>
                  <a:pt x="173" y="95"/>
                </a:lnTo>
                <a:lnTo>
                  <a:pt x="173" y="86"/>
                </a:lnTo>
                <a:lnTo>
                  <a:pt x="167" y="71"/>
                </a:lnTo>
                <a:lnTo>
                  <a:pt x="167" y="60"/>
                </a:lnTo>
                <a:lnTo>
                  <a:pt x="167" y="6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30" name="Oman">
            <a:extLst>
              <a:ext uri="{FF2B5EF4-FFF2-40B4-BE49-F238E27FC236}">
                <a16:creationId xmlns:a16="http://schemas.microsoft.com/office/drawing/2014/main" id="{356B7C97-EC11-43D3-8DFB-826F667A8AF0}"/>
              </a:ext>
            </a:extLst>
          </p:cNvPr>
          <p:cNvSpPr>
            <a:spLocks noEditPoints="1"/>
          </p:cNvSpPr>
          <p:nvPr/>
        </p:nvSpPr>
        <p:spPr bwMode="auto">
          <a:xfrm>
            <a:off x="7026988" y="3273626"/>
            <a:ext cx="261987" cy="392980"/>
          </a:xfrm>
          <a:custGeom>
            <a:avLst/>
            <a:gdLst>
              <a:gd name="T0" fmla="*/ 137 w 154"/>
              <a:gd name="T1" fmla="*/ 125 h 231"/>
              <a:gd name="T2" fmla="*/ 145 w 154"/>
              <a:gd name="T3" fmla="*/ 118 h 231"/>
              <a:gd name="T4" fmla="*/ 149 w 154"/>
              <a:gd name="T5" fmla="*/ 111 h 231"/>
              <a:gd name="T6" fmla="*/ 154 w 154"/>
              <a:gd name="T7" fmla="*/ 97 h 231"/>
              <a:gd name="T8" fmla="*/ 154 w 154"/>
              <a:gd name="T9" fmla="*/ 91 h 231"/>
              <a:gd name="T10" fmla="*/ 146 w 154"/>
              <a:gd name="T11" fmla="*/ 89 h 231"/>
              <a:gd name="T12" fmla="*/ 140 w 154"/>
              <a:gd name="T13" fmla="*/ 81 h 231"/>
              <a:gd name="T14" fmla="*/ 129 w 154"/>
              <a:gd name="T15" fmla="*/ 67 h 231"/>
              <a:gd name="T16" fmla="*/ 117 w 154"/>
              <a:gd name="T17" fmla="*/ 62 h 231"/>
              <a:gd name="T18" fmla="*/ 102 w 154"/>
              <a:gd name="T19" fmla="*/ 60 h 231"/>
              <a:gd name="T20" fmla="*/ 89 w 154"/>
              <a:gd name="T21" fmla="*/ 51 h 231"/>
              <a:gd name="T22" fmla="*/ 79 w 154"/>
              <a:gd name="T23" fmla="*/ 34 h 231"/>
              <a:gd name="T24" fmla="*/ 68 w 154"/>
              <a:gd name="T25" fmla="*/ 34 h 231"/>
              <a:gd name="T26" fmla="*/ 67 w 154"/>
              <a:gd name="T27" fmla="*/ 50 h 231"/>
              <a:gd name="T28" fmla="*/ 72 w 154"/>
              <a:gd name="T29" fmla="*/ 53 h 231"/>
              <a:gd name="T30" fmla="*/ 63 w 154"/>
              <a:gd name="T31" fmla="*/ 59 h 231"/>
              <a:gd name="T32" fmla="*/ 64 w 154"/>
              <a:gd name="T33" fmla="*/ 68 h 231"/>
              <a:gd name="T34" fmla="*/ 59 w 154"/>
              <a:gd name="T35" fmla="*/ 77 h 231"/>
              <a:gd name="T36" fmla="*/ 59 w 154"/>
              <a:gd name="T37" fmla="*/ 88 h 231"/>
              <a:gd name="T38" fmla="*/ 70 w 154"/>
              <a:gd name="T39" fmla="*/ 104 h 231"/>
              <a:gd name="T40" fmla="*/ 60 w 154"/>
              <a:gd name="T41" fmla="*/ 152 h 231"/>
              <a:gd name="T42" fmla="*/ 0 w 154"/>
              <a:gd name="T43" fmla="*/ 175 h 231"/>
              <a:gd name="T44" fmla="*/ 20 w 154"/>
              <a:gd name="T45" fmla="*/ 215 h 231"/>
              <a:gd name="T46" fmla="*/ 27 w 154"/>
              <a:gd name="T47" fmla="*/ 231 h 231"/>
              <a:gd name="T48" fmla="*/ 37 w 154"/>
              <a:gd name="T49" fmla="*/ 230 h 231"/>
              <a:gd name="T50" fmla="*/ 50 w 154"/>
              <a:gd name="T51" fmla="*/ 222 h 231"/>
              <a:gd name="T52" fmla="*/ 62 w 154"/>
              <a:gd name="T53" fmla="*/ 224 h 231"/>
              <a:gd name="T54" fmla="*/ 71 w 154"/>
              <a:gd name="T55" fmla="*/ 217 h 231"/>
              <a:gd name="T56" fmla="*/ 70 w 154"/>
              <a:gd name="T57" fmla="*/ 208 h 231"/>
              <a:gd name="T58" fmla="*/ 78 w 154"/>
              <a:gd name="T59" fmla="*/ 202 h 231"/>
              <a:gd name="T60" fmla="*/ 91 w 154"/>
              <a:gd name="T61" fmla="*/ 202 h 231"/>
              <a:gd name="T62" fmla="*/ 95 w 154"/>
              <a:gd name="T63" fmla="*/ 197 h 231"/>
              <a:gd name="T64" fmla="*/ 96 w 154"/>
              <a:gd name="T65" fmla="*/ 186 h 231"/>
              <a:gd name="T66" fmla="*/ 108 w 154"/>
              <a:gd name="T67" fmla="*/ 176 h 231"/>
              <a:gd name="T68" fmla="*/ 118 w 154"/>
              <a:gd name="T69" fmla="*/ 176 h 231"/>
              <a:gd name="T70" fmla="*/ 120 w 154"/>
              <a:gd name="T71" fmla="*/ 174 h 231"/>
              <a:gd name="T72" fmla="*/ 116 w 154"/>
              <a:gd name="T73" fmla="*/ 158 h 231"/>
              <a:gd name="T74" fmla="*/ 118 w 154"/>
              <a:gd name="T75" fmla="*/ 146 h 231"/>
              <a:gd name="T76" fmla="*/ 122 w 154"/>
              <a:gd name="T77" fmla="*/ 141 h 231"/>
              <a:gd name="T78" fmla="*/ 131 w 154"/>
              <a:gd name="T79" fmla="*/ 142 h 231"/>
              <a:gd name="T80" fmla="*/ 137 w 154"/>
              <a:gd name="T81" fmla="*/ 125 h 231"/>
              <a:gd name="T82" fmla="*/ 137 w 154"/>
              <a:gd name="T83" fmla="*/ 125 h 231"/>
              <a:gd name="T84" fmla="*/ 76 w 154"/>
              <a:gd name="T85" fmla="*/ 12 h 231"/>
              <a:gd name="T86" fmla="*/ 76 w 154"/>
              <a:gd name="T87" fmla="*/ 2 h 231"/>
              <a:gd name="T88" fmla="*/ 74 w 154"/>
              <a:gd name="T89" fmla="*/ 0 h 231"/>
              <a:gd name="T90" fmla="*/ 68 w 154"/>
              <a:gd name="T91" fmla="*/ 8 h 231"/>
              <a:gd name="T92" fmla="*/ 74 w 154"/>
              <a:gd name="T93" fmla="*/ 16 h 231"/>
              <a:gd name="T94" fmla="*/ 76 w 154"/>
              <a:gd name="T95" fmla="*/ 1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231">
                <a:moveTo>
                  <a:pt x="137" y="125"/>
                </a:moveTo>
                <a:lnTo>
                  <a:pt x="145" y="118"/>
                </a:lnTo>
                <a:lnTo>
                  <a:pt x="149" y="111"/>
                </a:lnTo>
                <a:lnTo>
                  <a:pt x="154" y="97"/>
                </a:lnTo>
                <a:lnTo>
                  <a:pt x="154" y="91"/>
                </a:lnTo>
                <a:lnTo>
                  <a:pt x="146" y="89"/>
                </a:lnTo>
                <a:lnTo>
                  <a:pt x="140" y="81"/>
                </a:lnTo>
                <a:lnTo>
                  <a:pt x="129" y="67"/>
                </a:lnTo>
                <a:lnTo>
                  <a:pt x="117" y="62"/>
                </a:lnTo>
                <a:lnTo>
                  <a:pt x="102" y="60"/>
                </a:lnTo>
                <a:lnTo>
                  <a:pt x="89" y="51"/>
                </a:lnTo>
                <a:lnTo>
                  <a:pt x="79" y="34"/>
                </a:lnTo>
                <a:lnTo>
                  <a:pt x="68" y="34"/>
                </a:lnTo>
                <a:lnTo>
                  <a:pt x="67" y="50"/>
                </a:lnTo>
                <a:lnTo>
                  <a:pt x="72" y="53"/>
                </a:lnTo>
                <a:lnTo>
                  <a:pt x="63" y="59"/>
                </a:lnTo>
                <a:lnTo>
                  <a:pt x="64" y="68"/>
                </a:lnTo>
                <a:lnTo>
                  <a:pt x="59" y="77"/>
                </a:lnTo>
                <a:lnTo>
                  <a:pt x="59" y="88"/>
                </a:lnTo>
                <a:lnTo>
                  <a:pt x="70" y="104"/>
                </a:lnTo>
                <a:lnTo>
                  <a:pt x="60" y="152"/>
                </a:lnTo>
                <a:lnTo>
                  <a:pt x="0" y="175"/>
                </a:lnTo>
                <a:lnTo>
                  <a:pt x="20" y="215"/>
                </a:lnTo>
                <a:lnTo>
                  <a:pt x="27" y="231"/>
                </a:lnTo>
                <a:lnTo>
                  <a:pt x="37" y="230"/>
                </a:lnTo>
                <a:lnTo>
                  <a:pt x="50" y="222"/>
                </a:lnTo>
                <a:lnTo>
                  <a:pt x="62" y="224"/>
                </a:lnTo>
                <a:lnTo>
                  <a:pt x="71" y="217"/>
                </a:lnTo>
                <a:lnTo>
                  <a:pt x="70" y="208"/>
                </a:lnTo>
                <a:lnTo>
                  <a:pt x="78" y="202"/>
                </a:lnTo>
                <a:lnTo>
                  <a:pt x="91" y="202"/>
                </a:lnTo>
                <a:lnTo>
                  <a:pt x="95" y="197"/>
                </a:lnTo>
                <a:lnTo>
                  <a:pt x="96" y="186"/>
                </a:lnTo>
                <a:lnTo>
                  <a:pt x="108" y="176"/>
                </a:lnTo>
                <a:lnTo>
                  <a:pt x="118" y="176"/>
                </a:lnTo>
                <a:lnTo>
                  <a:pt x="120" y="174"/>
                </a:lnTo>
                <a:lnTo>
                  <a:pt x="116" y="158"/>
                </a:lnTo>
                <a:lnTo>
                  <a:pt x="118" y="146"/>
                </a:lnTo>
                <a:lnTo>
                  <a:pt x="122" y="141"/>
                </a:lnTo>
                <a:lnTo>
                  <a:pt x="131" y="142"/>
                </a:lnTo>
                <a:lnTo>
                  <a:pt x="137" y="125"/>
                </a:lnTo>
                <a:lnTo>
                  <a:pt x="137" y="125"/>
                </a:lnTo>
                <a:close/>
                <a:moveTo>
                  <a:pt x="76" y="12"/>
                </a:moveTo>
                <a:lnTo>
                  <a:pt x="76" y="2"/>
                </a:lnTo>
                <a:lnTo>
                  <a:pt x="74" y="0"/>
                </a:lnTo>
                <a:lnTo>
                  <a:pt x="68" y="8"/>
                </a:lnTo>
                <a:lnTo>
                  <a:pt x="74" y="16"/>
                </a:lnTo>
                <a:lnTo>
                  <a:pt x="76" y="1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31" name="Pakistan">
            <a:extLst>
              <a:ext uri="{FF2B5EF4-FFF2-40B4-BE49-F238E27FC236}">
                <a16:creationId xmlns:a16="http://schemas.microsoft.com/office/drawing/2014/main" id="{9810EC25-D229-49EE-BB6E-C770BD53F75C}"/>
              </a:ext>
            </a:extLst>
          </p:cNvPr>
          <p:cNvSpPr>
            <a:spLocks/>
          </p:cNvSpPr>
          <p:nvPr/>
        </p:nvSpPr>
        <p:spPr bwMode="auto">
          <a:xfrm>
            <a:off x="7287273" y="2838116"/>
            <a:ext cx="527377" cy="544389"/>
          </a:xfrm>
          <a:custGeom>
            <a:avLst/>
            <a:gdLst>
              <a:gd name="T0" fmla="*/ 276 w 310"/>
              <a:gd name="T1" fmla="*/ 30 h 320"/>
              <a:gd name="T2" fmla="*/ 247 w 310"/>
              <a:gd name="T3" fmla="*/ 0 h 320"/>
              <a:gd name="T4" fmla="*/ 227 w 310"/>
              <a:gd name="T5" fmla="*/ 7 h 320"/>
              <a:gd name="T6" fmla="*/ 186 w 310"/>
              <a:gd name="T7" fmla="*/ 15 h 320"/>
              <a:gd name="T8" fmla="*/ 184 w 310"/>
              <a:gd name="T9" fmla="*/ 36 h 320"/>
              <a:gd name="T10" fmla="*/ 182 w 310"/>
              <a:gd name="T11" fmla="*/ 58 h 320"/>
              <a:gd name="T12" fmla="*/ 181 w 310"/>
              <a:gd name="T13" fmla="*/ 76 h 320"/>
              <a:gd name="T14" fmla="*/ 174 w 310"/>
              <a:gd name="T15" fmla="*/ 91 h 320"/>
              <a:gd name="T16" fmla="*/ 157 w 310"/>
              <a:gd name="T17" fmla="*/ 111 h 320"/>
              <a:gd name="T18" fmla="*/ 154 w 310"/>
              <a:gd name="T19" fmla="*/ 132 h 320"/>
              <a:gd name="T20" fmla="*/ 132 w 310"/>
              <a:gd name="T21" fmla="*/ 133 h 320"/>
              <a:gd name="T22" fmla="*/ 116 w 310"/>
              <a:gd name="T23" fmla="*/ 139 h 320"/>
              <a:gd name="T24" fmla="*/ 110 w 310"/>
              <a:gd name="T25" fmla="*/ 173 h 320"/>
              <a:gd name="T26" fmla="*/ 72 w 310"/>
              <a:gd name="T27" fmla="*/ 180 h 320"/>
              <a:gd name="T28" fmla="*/ 56 w 310"/>
              <a:gd name="T29" fmla="*/ 183 h 320"/>
              <a:gd name="T30" fmla="*/ 0 w 310"/>
              <a:gd name="T31" fmla="*/ 175 h 320"/>
              <a:gd name="T32" fmla="*/ 23 w 310"/>
              <a:gd name="T33" fmla="*/ 201 h 320"/>
              <a:gd name="T34" fmla="*/ 48 w 310"/>
              <a:gd name="T35" fmla="*/ 233 h 320"/>
              <a:gd name="T36" fmla="*/ 61 w 310"/>
              <a:gd name="T37" fmla="*/ 247 h 320"/>
              <a:gd name="T38" fmla="*/ 29 w 310"/>
              <a:gd name="T39" fmla="*/ 287 h 320"/>
              <a:gd name="T40" fmla="*/ 91 w 310"/>
              <a:gd name="T41" fmla="*/ 283 h 320"/>
              <a:gd name="T42" fmla="*/ 146 w 310"/>
              <a:gd name="T43" fmla="*/ 297 h 320"/>
              <a:gd name="T44" fmla="*/ 169 w 310"/>
              <a:gd name="T45" fmla="*/ 320 h 320"/>
              <a:gd name="T46" fmla="*/ 226 w 310"/>
              <a:gd name="T47" fmla="*/ 304 h 320"/>
              <a:gd name="T48" fmla="*/ 207 w 310"/>
              <a:gd name="T49" fmla="*/ 272 h 320"/>
              <a:gd name="T50" fmla="*/ 186 w 310"/>
              <a:gd name="T51" fmla="*/ 243 h 320"/>
              <a:gd name="T52" fmla="*/ 229 w 310"/>
              <a:gd name="T53" fmla="*/ 219 h 320"/>
              <a:gd name="T54" fmla="*/ 253 w 310"/>
              <a:gd name="T55" fmla="*/ 171 h 320"/>
              <a:gd name="T56" fmla="*/ 264 w 310"/>
              <a:gd name="T57" fmla="*/ 130 h 320"/>
              <a:gd name="T58" fmla="*/ 259 w 310"/>
              <a:gd name="T59" fmla="*/ 105 h 320"/>
              <a:gd name="T60" fmla="*/ 236 w 310"/>
              <a:gd name="T61" fmla="*/ 68 h 320"/>
              <a:gd name="T62" fmla="*/ 276 w 310"/>
              <a:gd name="T63" fmla="*/ 64 h 320"/>
              <a:gd name="T64" fmla="*/ 310 w 310"/>
              <a:gd name="T65" fmla="*/ 3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0" h="320">
                <a:moveTo>
                  <a:pt x="310" y="39"/>
                </a:moveTo>
                <a:lnTo>
                  <a:pt x="276" y="30"/>
                </a:lnTo>
                <a:lnTo>
                  <a:pt x="264" y="11"/>
                </a:lnTo>
                <a:lnTo>
                  <a:pt x="247" y="0"/>
                </a:lnTo>
                <a:lnTo>
                  <a:pt x="236" y="3"/>
                </a:lnTo>
                <a:lnTo>
                  <a:pt x="227" y="7"/>
                </a:lnTo>
                <a:lnTo>
                  <a:pt x="206" y="10"/>
                </a:lnTo>
                <a:lnTo>
                  <a:pt x="186" y="15"/>
                </a:lnTo>
                <a:lnTo>
                  <a:pt x="177" y="25"/>
                </a:lnTo>
                <a:lnTo>
                  <a:pt x="184" y="36"/>
                </a:lnTo>
                <a:lnTo>
                  <a:pt x="190" y="48"/>
                </a:lnTo>
                <a:lnTo>
                  <a:pt x="182" y="58"/>
                </a:lnTo>
                <a:lnTo>
                  <a:pt x="185" y="67"/>
                </a:lnTo>
                <a:lnTo>
                  <a:pt x="181" y="76"/>
                </a:lnTo>
                <a:lnTo>
                  <a:pt x="163" y="75"/>
                </a:lnTo>
                <a:lnTo>
                  <a:pt x="174" y="91"/>
                </a:lnTo>
                <a:lnTo>
                  <a:pt x="163" y="96"/>
                </a:lnTo>
                <a:lnTo>
                  <a:pt x="157" y="111"/>
                </a:lnTo>
                <a:lnTo>
                  <a:pt x="161" y="125"/>
                </a:lnTo>
                <a:lnTo>
                  <a:pt x="154" y="132"/>
                </a:lnTo>
                <a:lnTo>
                  <a:pt x="147" y="130"/>
                </a:lnTo>
                <a:lnTo>
                  <a:pt x="132" y="133"/>
                </a:lnTo>
                <a:lnTo>
                  <a:pt x="131" y="139"/>
                </a:lnTo>
                <a:lnTo>
                  <a:pt x="116" y="139"/>
                </a:lnTo>
                <a:lnTo>
                  <a:pt x="108" y="152"/>
                </a:lnTo>
                <a:lnTo>
                  <a:pt x="110" y="173"/>
                </a:lnTo>
                <a:lnTo>
                  <a:pt x="86" y="182"/>
                </a:lnTo>
                <a:lnTo>
                  <a:pt x="72" y="180"/>
                </a:lnTo>
                <a:lnTo>
                  <a:pt x="68" y="186"/>
                </a:lnTo>
                <a:lnTo>
                  <a:pt x="56" y="183"/>
                </a:lnTo>
                <a:lnTo>
                  <a:pt x="37" y="186"/>
                </a:lnTo>
                <a:lnTo>
                  <a:pt x="0" y="175"/>
                </a:lnTo>
                <a:lnTo>
                  <a:pt x="12" y="187"/>
                </a:lnTo>
                <a:lnTo>
                  <a:pt x="23" y="201"/>
                </a:lnTo>
                <a:lnTo>
                  <a:pt x="44" y="211"/>
                </a:lnTo>
                <a:lnTo>
                  <a:pt x="48" y="233"/>
                </a:lnTo>
                <a:lnTo>
                  <a:pt x="57" y="236"/>
                </a:lnTo>
                <a:lnTo>
                  <a:pt x="61" y="247"/>
                </a:lnTo>
                <a:lnTo>
                  <a:pt x="33" y="260"/>
                </a:lnTo>
                <a:lnTo>
                  <a:pt x="29" y="287"/>
                </a:lnTo>
                <a:lnTo>
                  <a:pt x="57" y="284"/>
                </a:lnTo>
                <a:lnTo>
                  <a:pt x="91" y="283"/>
                </a:lnTo>
                <a:lnTo>
                  <a:pt x="127" y="279"/>
                </a:lnTo>
                <a:lnTo>
                  <a:pt x="146" y="297"/>
                </a:lnTo>
                <a:lnTo>
                  <a:pt x="153" y="314"/>
                </a:lnTo>
                <a:lnTo>
                  <a:pt x="169" y="320"/>
                </a:lnTo>
                <a:lnTo>
                  <a:pt x="181" y="304"/>
                </a:lnTo>
                <a:lnTo>
                  <a:pt x="226" y="304"/>
                </a:lnTo>
                <a:lnTo>
                  <a:pt x="220" y="284"/>
                </a:lnTo>
                <a:lnTo>
                  <a:pt x="207" y="272"/>
                </a:lnTo>
                <a:lnTo>
                  <a:pt x="201" y="253"/>
                </a:lnTo>
                <a:lnTo>
                  <a:pt x="186" y="243"/>
                </a:lnTo>
                <a:lnTo>
                  <a:pt x="205" y="218"/>
                </a:lnTo>
                <a:lnTo>
                  <a:pt x="229" y="219"/>
                </a:lnTo>
                <a:lnTo>
                  <a:pt x="246" y="195"/>
                </a:lnTo>
                <a:lnTo>
                  <a:pt x="253" y="171"/>
                </a:lnTo>
                <a:lnTo>
                  <a:pt x="268" y="147"/>
                </a:lnTo>
                <a:lnTo>
                  <a:pt x="264" y="130"/>
                </a:lnTo>
                <a:lnTo>
                  <a:pt x="278" y="117"/>
                </a:lnTo>
                <a:lnTo>
                  <a:pt x="259" y="105"/>
                </a:lnTo>
                <a:lnTo>
                  <a:pt x="249" y="89"/>
                </a:lnTo>
                <a:lnTo>
                  <a:pt x="236" y="68"/>
                </a:lnTo>
                <a:lnTo>
                  <a:pt x="244" y="57"/>
                </a:lnTo>
                <a:lnTo>
                  <a:pt x="276" y="64"/>
                </a:lnTo>
                <a:lnTo>
                  <a:pt x="296" y="60"/>
                </a:lnTo>
                <a:lnTo>
                  <a:pt x="310" y="39"/>
                </a:lnTo>
                <a:lnTo>
                  <a:pt x="310" y="3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32" name="Panama">
            <a:extLst>
              <a:ext uri="{FF2B5EF4-FFF2-40B4-BE49-F238E27FC236}">
                <a16:creationId xmlns:a16="http://schemas.microsoft.com/office/drawing/2014/main" id="{5C444449-1D85-44D9-8FD7-3322969D1FB7}"/>
              </a:ext>
            </a:extLst>
          </p:cNvPr>
          <p:cNvSpPr>
            <a:spLocks/>
          </p:cNvSpPr>
          <p:nvPr/>
        </p:nvSpPr>
        <p:spPr bwMode="auto">
          <a:xfrm>
            <a:off x="2248277" y="3952413"/>
            <a:ext cx="202444" cy="96969"/>
          </a:xfrm>
          <a:custGeom>
            <a:avLst/>
            <a:gdLst>
              <a:gd name="T0" fmla="*/ 117 w 119"/>
              <a:gd name="T1" fmla="*/ 22 h 57"/>
              <a:gd name="T2" fmla="*/ 110 w 119"/>
              <a:gd name="T3" fmla="*/ 15 h 57"/>
              <a:gd name="T4" fmla="*/ 103 w 119"/>
              <a:gd name="T5" fmla="*/ 8 h 57"/>
              <a:gd name="T6" fmla="*/ 94 w 119"/>
              <a:gd name="T7" fmla="*/ 4 h 57"/>
              <a:gd name="T8" fmla="*/ 83 w 119"/>
              <a:gd name="T9" fmla="*/ 3 h 57"/>
              <a:gd name="T10" fmla="*/ 84 w 119"/>
              <a:gd name="T11" fmla="*/ 1 h 57"/>
              <a:gd name="T12" fmla="*/ 73 w 119"/>
              <a:gd name="T13" fmla="*/ 0 h 57"/>
              <a:gd name="T14" fmla="*/ 65 w 119"/>
              <a:gd name="T15" fmla="*/ 7 h 57"/>
              <a:gd name="T16" fmla="*/ 52 w 119"/>
              <a:gd name="T17" fmla="*/ 12 h 57"/>
              <a:gd name="T18" fmla="*/ 43 w 119"/>
              <a:gd name="T19" fmla="*/ 17 h 57"/>
              <a:gd name="T20" fmla="*/ 32 w 119"/>
              <a:gd name="T21" fmla="*/ 19 h 57"/>
              <a:gd name="T22" fmla="*/ 27 w 119"/>
              <a:gd name="T23" fmla="*/ 14 h 57"/>
              <a:gd name="T24" fmla="*/ 25 w 119"/>
              <a:gd name="T25" fmla="*/ 15 h 57"/>
              <a:gd name="T26" fmla="*/ 17 w 119"/>
              <a:gd name="T27" fmla="*/ 14 h 57"/>
              <a:gd name="T28" fmla="*/ 17 w 119"/>
              <a:gd name="T29" fmla="*/ 9 h 57"/>
              <a:gd name="T30" fmla="*/ 10 w 119"/>
              <a:gd name="T31" fmla="*/ 0 h 57"/>
              <a:gd name="T32" fmla="*/ 2 w 119"/>
              <a:gd name="T33" fmla="*/ 3 h 57"/>
              <a:gd name="T34" fmla="*/ 2 w 119"/>
              <a:gd name="T35" fmla="*/ 13 h 57"/>
              <a:gd name="T36" fmla="*/ 5 w 119"/>
              <a:gd name="T37" fmla="*/ 16 h 57"/>
              <a:gd name="T38" fmla="*/ 3 w 119"/>
              <a:gd name="T39" fmla="*/ 18 h 57"/>
              <a:gd name="T40" fmla="*/ 3 w 119"/>
              <a:gd name="T41" fmla="*/ 23 h 57"/>
              <a:gd name="T42" fmla="*/ 1 w 119"/>
              <a:gd name="T43" fmla="*/ 28 h 57"/>
              <a:gd name="T44" fmla="*/ 0 w 119"/>
              <a:gd name="T45" fmla="*/ 32 h 57"/>
              <a:gd name="T46" fmla="*/ 2 w 119"/>
              <a:gd name="T47" fmla="*/ 36 h 57"/>
              <a:gd name="T48" fmla="*/ 3 w 119"/>
              <a:gd name="T49" fmla="*/ 31 h 57"/>
              <a:gd name="T50" fmla="*/ 12 w 119"/>
              <a:gd name="T51" fmla="*/ 31 h 57"/>
              <a:gd name="T52" fmla="*/ 17 w 119"/>
              <a:gd name="T53" fmla="*/ 33 h 57"/>
              <a:gd name="T54" fmla="*/ 26 w 119"/>
              <a:gd name="T55" fmla="*/ 35 h 57"/>
              <a:gd name="T56" fmla="*/ 30 w 119"/>
              <a:gd name="T57" fmla="*/ 44 h 57"/>
              <a:gd name="T58" fmla="*/ 36 w 119"/>
              <a:gd name="T59" fmla="*/ 46 h 57"/>
              <a:gd name="T60" fmla="*/ 39 w 119"/>
              <a:gd name="T61" fmla="*/ 42 h 57"/>
              <a:gd name="T62" fmla="*/ 42 w 119"/>
              <a:gd name="T63" fmla="*/ 57 h 57"/>
              <a:gd name="T64" fmla="*/ 52 w 119"/>
              <a:gd name="T65" fmla="*/ 56 h 57"/>
              <a:gd name="T66" fmla="*/ 55 w 119"/>
              <a:gd name="T67" fmla="*/ 52 h 57"/>
              <a:gd name="T68" fmla="*/ 60 w 119"/>
              <a:gd name="T69" fmla="*/ 48 h 57"/>
              <a:gd name="T70" fmla="*/ 51 w 119"/>
              <a:gd name="T71" fmla="*/ 36 h 57"/>
              <a:gd name="T72" fmla="*/ 54 w 119"/>
              <a:gd name="T73" fmla="*/ 31 h 57"/>
              <a:gd name="T74" fmla="*/ 59 w 119"/>
              <a:gd name="T75" fmla="*/ 29 h 57"/>
              <a:gd name="T76" fmla="*/ 67 w 119"/>
              <a:gd name="T77" fmla="*/ 24 h 57"/>
              <a:gd name="T78" fmla="*/ 72 w 119"/>
              <a:gd name="T79" fmla="*/ 15 h 57"/>
              <a:gd name="T80" fmla="*/ 81 w 119"/>
              <a:gd name="T81" fmla="*/ 14 h 57"/>
              <a:gd name="T82" fmla="*/ 91 w 119"/>
              <a:gd name="T83" fmla="*/ 21 h 57"/>
              <a:gd name="T84" fmla="*/ 95 w 119"/>
              <a:gd name="T85" fmla="*/ 28 h 57"/>
              <a:gd name="T86" fmla="*/ 100 w 119"/>
              <a:gd name="T87" fmla="*/ 30 h 57"/>
              <a:gd name="T88" fmla="*/ 94 w 119"/>
              <a:gd name="T89" fmla="*/ 37 h 57"/>
              <a:gd name="T90" fmla="*/ 98 w 119"/>
              <a:gd name="T91" fmla="*/ 50 h 57"/>
              <a:gd name="T92" fmla="*/ 104 w 119"/>
              <a:gd name="T93" fmla="*/ 57 h 57"/>
              <a:gd name="T94" fmla="*/ 108 w 119"/>
              <a:gd name="T95" fmla="*/ 44 h 57"/>
              <a:gd name="T96" fmla="*/ 115 w 119"/>
              <a:gd name="T97" fmla="*/ 46 h 57"/>
              <a:gd name="T98" fmla="*/ 119 w 119"/>
              <a:gd name="T99" fmla="*/ 40 h 57"/>
              <a:gd name="T100" fmla="*/ 115 w 119"/>
              <a:gd name="T101" fmla="*/ 26 h 57"/>
              <a:gd name="T102" fmla="*/ 117 w 119"/>
              <a:gd name="T103" fmla="*/ 2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9" h="57">
                <a:moveTo>
                  <a:pt x="117" y="22"/>
                </a:moveTo>
                <a:lnTo>
                  <a:pt x="110" y="15"/>
                </a:lnTo>
                <a:lnTo>
                  <a:pt x="103" y="8"/>
                </a:lnTo>
                <a:lnTo>
                  <a:pt x="94" y="4"/>
                </a:lnTo>
                <a:lnTo>
                  <a:pt x="83" y="3"/>
                </a:lnTo>
                <a:lnTo>
                  <a:pt x="84" y="1"/>
                </a:lnTo>
                <a:lnTo>
                  <a:pt x="73" y="0"/>
                </a:lnTo>
                <a:lnTo>
                  <a:pt x="65" y="7"/>
                </a:lnTo>
                <a:lnTo>
                  <a:pt x="52" y="12"/>
                </a:lnTo>
                <a:lnTo>
                  <a:pt x="43" y="17"/>
                </a:lnTo>
                <a:lnTo>
                  <a:pt x="32" y="19"/>
                </a:lnTo>
                <a:lnTo>
                  <a:pt x="27" y="14"/>
                </a:lnTo>
                <a:lnTo>
                  <a:pt x="25" y="15"/>
                </a:lnTo>
                <a:lnTo>
                  <a:pt x="17" y="14"/>
                </a:lnTo>
                <a:lnTo>
                  <a:pt x="17" y="9"/>
                </a:lnTo>
                <a:lnTo>
                  <a:pt x="10" y="0"/>
                </a:lnTo>
                <a:lnTo>
                  <a:pt x="2" y="3"/>
                </a:lnTo>
                <a:lnTo>
                  <a:pt x="2" y="13"/>
                </a:lnTo>
                <a:lnTo>
                  <a:pt x="5" y="16"/>
                </a:lnTo>
                <a:lnTo>
                  <a:pt x="3" y="18"/>
                </a:lnTo>
                <a:lnTo>
                  <a:pt x="3" y="23"/>
                </a:lnTo>
                <a:lnTo>
                  <a:pt x="1" y="28"/>
                </a:lnTo>
                <a:lnTo>
                  <a:pt x="0" y="32"/>
                </a:lnTo>
                <a:lnTo>
                  <a:pt x="2" y="36"/>
                </a:lnTo>
                <a:lnTo>
                  <a:pt x="3" y="31"/>
                </a:lnTo>
                <a:lnTo>
                  <a:pt x="12" y="31"/>
                </a:lnTo>
                <a:lnTo>
                  <a:pt x="17" y="33"/>
                </a:lnTo>
                <a:lnTo>
                  <a:pt x="26" y="35"/>
                </a:lnTo>
                <a:lnTo>
                  <a:pt x="30" y="44"/>
                </a:lnTo>
                <a:lnTo>
                  <a:pt x="36" y="46"/>
                </a:lnTo>
                <a:lnTo>
                  <a:pt x="39" y="42"/>
                </a:lnTo>
                <a:lnTo>
                  <a:pt x="42" y="57"/>
                </a:lnTo>
                <a:lnTo>
                  <a:pt x="52" y="56"/>
                </a:lnTo>
                <a:lnTo>
                  <a:pt x="55" y="52"/>
                </a:lnTo>
                <a:lnTo>
                  <a:pt x="60" y="48"/>
                </a:lnTo>
                <a:lnTo>
                  <a:pt x="51" y="36"/>
                </a:lnTo>
                <a:lnTo>
                  <a:pt x="54" y="31"/>
                </a:lnTo>
                <a:lnTo>
                  <a:pt x="59" y="29"/>
                </a:lnTo>
                <a:lnTo>
                  <a:pt x="67" y="24"/>
                </a:lnTo>
                <a:lnTo>
                  <a:pt x="72" y="15"/>
                </a:lnTo>
                <a:lnTo>
                  <a:pt x="81" y="14"/>
                </a:lnTo>
                <a:lnTo>
                  <a:pt x="91" y="21"/>
                </a:lnTo>
                <a:lnTo>
                  <a:pt x="95" y="28"/>
                </a:lnTo>
                <a:lnTo>
                  <a:pt x="100" y="30"/>
                </a:lnTo>
                <a:lnTo>
                  <a:pt x="94" y="37"/>
                </a:lnTo>
                <a:lnTo>
                  <a:pt x="98" y="50"/>
                </a:lnTo>
                <a:lnTo>
                  <a:pt x="104" y="57"/>
                </a:lnTo>
                <a:lnTo>
                  <a:pt x="108" y="44"/>
                </a:lnTo>
                <a:lnTo>
                  <a:pt x="115" y="46"/>
                </a:lnTo>
                <a:lnTo>
                  <a:pt x="119" y="40"/>
                </a:lnTo>
                <a:lnTo>
                  <a:pt x="115" y="26"/>
                </a:lnTo>
                <a:lnTo>
                  <a:pt x="117" y="2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33" name="Peru">
            <a:extLst>
              <a:ext uri="{FF2B5EF4-FFF2-40B4-BE49-F238E27FC236}">
                <a16:creationId xmlns:a16="http://schemas.microsoft.com/office/drawing/2014/main" id="{293570A5-498E-470B-8729-86DFE3357B8A}"/>
              </a:ext>
            </a:extLst>
          </p:cNvPr>
          <p:cNvSpPr>
            <a:spLocks/>
          </p:cNvSpPr>
          <p:nvPr/>
        </p:nvSpPr>
        <p:spPr bwMode="auto">
          <a:xfrm>
            <a:off x="2297613" y="4341990"/>
            <a:ext cx="469535" cy="740029"/>
          </a:xfrm>
          <a:custGeom>
            <a:avLst/>
            <a:gdLst>
              <a:gd name="T0" fmla="*/ 230 w 276"/>
              <a:gd name="T1" fmla="*/ 88 h 435"/>
              <a:gd name="T2" fmla="*/ 237 w 276"/>
              <a:gd name="T3" fmla="*/ 64 h 435"/>
              <a:gd name="T4" fmla="*/ 208 w 276"/>
              <a:gd name="T5" fmla="*/ 54 h 435"/>
              <a:gd name="T6" fmla="*/ 189 w 276"/>
              <a:gd name="T7" fmla="*/ 57 h 435"/>
              <a:gd name="T8" fmla="*/ 160 w 276"/>
              <a:gd name="T9" fmla="*/ 29 h 435"/>
              <a:gd name="T10" fmla="*/ 143 w 276"/>
              <a:gd name="T11" fmla="*/ 11 h 435"/>
              <a:gd name="T12" fmla="*/ 124 w 276"/>
              <a:gd name="T13" fmla="*/ 2 h 435"/>
              <a:gd name="T14" fmla="*/ 121 w 276"/>
              <a:gd name="T15" fmla="*/ 36 h 435"/>
              <a:gd name="T16" fmla="*/ 73 w 276"/>
              <a:gd name="T17" fmla="*/ 70 h 435"/>
              <a:gd name="T18" fmla="*/ 58 w 276"/>
              <a:gd name="T19" fmla="*/ 107 h 435"/>
              <a:gd name="T20" fmla="*/ 37 w 276"/>
              <a:gd name="T21" fmla="*/ 105 h 435"/>
              <a:gd name="T22" fmla="*/ 19 w 276"/>
              <a:gd name="T23" fmla="*/ 104 h 435"/>
              <a:gd name="T24" fmla="*/ 25 w 276"/>
              <a:gd name="T25" fmla="*/ 90 h 435"/>
              <a:gd name="T26" fmla="*/ 5 w 276"/>
              <a:gd name="T27" fmla="*/ 95 h 435"/>
              <a:gd name="T28" fmla="*/ 11 w 276"/>
              <a:gd name="T29" fmla="*/ 135 h 435"/>
              <a:gd name="T30" fmla="*/ 19 w 276"/>
              <a:gd name="T31" fmla="*/ 154 h 435"/>
              <a:gd name="T32" fmla="*/ 44 w 276"/>
              <a:gd name="T33" fmla="*/ 187 h 435"/>
              <a:gd name="T34" fmla="*/ 75 w 276"/>
              <a:gd name="T35" fmla="*/ 246 h 435"/>
              <a:gd name="T36" fmla="*/ 118 w 276"/>
              <a:gd name="T37" fmla="*/ 320 h 435"/>
              <a:gd name="T38" fmla="*/ 126 w 276"/>
              <a:gd name="T39" fmla="*/ 348 h 435"/>
              <a:gd name="T40" fmla="*/ 184 w 276"/>
              <a:gd name="T41" fmla="*/ 388 h 435"/>
              <a:gd name="T42" fmla="*/ 229 w 276"/>
              <a:gd name="T43" fmla="*/ 421 h 435"/>
              <a:gd name="T44" fmla="*/ 261 w 276"/>
              <a:gd name="T45" fmla="*/ 429 h 435"/>
              <a:gd name="T46" fmla="*/ 276 w 276"/>
              <a:gd name="T47" fmla="*/ 391 h 435"/>
              <a:gd name="T48" fmla="*/ 270 w 276"/>
              <a:gd name="T49" fmla="*/ 363 h 435"/>
              <a:gd name="T50" fmla="*/ 272 w 276"/>
              <a:gd name="T51" fmla="*/ 342 h 435"/>
              <a:gd name="T52" fmla="*/ 271 w 276"/>
              <a:gd name="T53" fmla="*/ 306 h 435"/>
              <a:gd name="T54" fmla="*/ 255 w 276"/>
              <a:gd name="T55" fmla="*/ 259 h 435"/>
              <a:gd name="T56" fmla="*/ 234 w 276"/>
              <a:gd name="T57" fmla="*/ 261 h 435"/>
              <a:gd name="T58" fmla="*/ 216 w 276"/>
              <a:gd name="T59" fmla="*/ 238 h 435"/>
              <a:gd name="T60" fmla="*/ 189 w 276"/>
              <a:gd name="T61" fmla="*/ 225 h 435"/>
              <a:gd name="T62" fmla="*/ 180 w 276"/>
              <a:gd name="T63" fmla="*/ 213 h 435"/>
              <a:gd name="T64" fmla="*/ 157 w 276"/>
              <a:gd name="T65" fmla="*/ 178 h 435"/>
              <a:gd name="T66" fmla="*/ 163 w 276"/>
              <a:gd name="T67" fmla="*/ 164 h 435"/>
              <a:gd name="T68" fmla="*/ 172 w 276"/>
              <a:gd name="T69" fmla="*/ 144 h 435"/>
              <a:gd name="T70" fmla="*/ 179 w 276"/>
              <a:gd name="T71" fmla="*/ 124 h 435"/>
              <a:gd name="T72" fmla="*/ 219 w 276"/>
              <a:gd name="T73" fmla="*/ 104 h 435"/>
              <a:gd name="T74" fmla="*/ 241 w 276"/>
              <a:gd name="T75" fmla="*/ 101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6" h="435">
                <a:moveTo>
                  <a:pt x="241" y="101"/>
                </a:moveTo>
                <a:lnTo>
                  <a:pt x="230" y="88"/>
                </a:lnTo>
                <a:lnTo>
                  <a:pt x="224" y="88"/>
                </a:lnTo>
                <a:lnTo>
                  <a:pt x="237" y="64"/>
                </a:lnTo>
                <a:lnTo>
                  <a:pt x="220" y="53"/>
                </a:lnTo>
                <a:lnTo>
                  <a:pt x="208" y="54"/>
                </a:lnTo>
                <a:lnTo>
                  <a:pt x="200" y="51"/>
                </a:lnTo>
                <a:lnTo>
                  <a:pt x="189" y="57"/>
                </a:lnTo>
                <a:lnTo>
                  <a:pt x="173" y="54"/>
                </a:lnTo>
                <a:lnTo>
                  <a:pt x="160" y="29"/>
                </a:lnTo>
                <a:lnTo>
                  <a:pt x="150" y="23"/>
                </a:lnTo>
                <a:lnTo>
                  <a:pt x="143" y="11"/>
                </a:lnTo>
                <a:lnTo>
                  <a:pt x="129" y="0"/>
                </a:lnTo>
                <a:lnTo>
                  <a:pt x="124" y="2"/>
                </a:lnTo>
                <a:lnTo>
                  <a:pt x="128" y="21"/>
                </a:lnTo>
                <a:lnTo>
                  <a:pt x="121" y="36"/>
                </a:lnTo>
                <a:lnTo>
                  <a:pt x="99" y="61"/>
                </a:lnTo>
                <a:lnTo>
                  <a:pt x="73" y="70"/>
                </a:lnTo>
                <a:lnTo>
                  <a:pt x="61" y="91"/>
                </a:lnTo>
                <a:lnTo>
                  <a:pt x="58" y="107"/>
                </a:lnTo>
                <a:lnTo>
                  <a:pt x="46" y="117"/>
                </a:lnTo>
                <a:lnTo>
                  <a:pt x="37" y="105"/>
                </a:lnTo>
                <a:lnTo>
                  <a:pt x="29" y="102"/>
                </a:lnTo>
                <a:lnTo>
                  <a:pt x="19" y="104"/>
                </a:lnTo>
                <a:lnTo>
                  <a:pt x="19" y="95"/>
                </a:lnTo>
                <a:lnTo>
                  <a:pt x="25" y="90"/>
                </a:lnTo>
                <a:lnTo>
                  <a:pt x="22" y="80"/>
                </a:lnTo>
                <a:lnTo>
                  <a:pt x="5" y="95"/>
                </a:lnTo>
                <a:lnTo>
                  <a:pt x="0" y="111"/>
                </a:lnTo>
                <a:lnTo>
                  <a:pt x="11" y="135"/>
                </a:lnTo>
                <a:lnTo>
                  <a:pt x="4" y="145"/>
                </a:lnTo>
                <a:lnTo>
                  <a:pt x="19" y="154"/>
                </a:lnTo>
                <a:lnTo>
                  <a:pt x="36" y="170"/>
                </a:lnTo>
                <a:lnTo>
                  <a:pt x="44" y="187"/>
                </a:lnTo>
                <a:lnTo>
                  <a:pt x="53" y="198"/>
                </a:lnTo>
                <a:lnTo>
                  <a:pt x="75" y="246"/>
                </a:lnTo>
                <a:lnTo>
                  <a:pt x="99" y="290"/>
                </a:lnTo>
                <a:lnTo>
                  <a:pt x="118" y="320"/>
                </a:lnTo>
                <a:lnTo>
                  <a:pt x="115" y="327"/>
                </a:lnTo>
                <a:lnTo>
                  <a:pt x="126" y="348"/>
                </a:lnTo>
                <a:lnTo>
                  <a:pt x="143" y="362"/>
                </a:lnTo>
                <a:lnTo>
                  <a:pt x="184" y="388"/>
                </a:lnTo>
                <a:lnTo>
                  <a:pt x="227" y="411"/>
                </a:lnTo>
                <a:lnTo>
                  <a:pt x="229" y="421"/>
                </a:lnTo>
                <a:lnTo>
                  <a:pt x="251" y="435"/>
                </a:lnTo>
                <a:lnTo>
                  <a:pt x="261" y="429"/>
                </a:lnTo>
                <a:lnTo>
                  <a:pt x="266" y="417"/>
                </a:lnTo>
                <a:lnTo>
                  <a:pt x="276" y="391"/>
                </a:lnTo>
                <a:lnTo>
                  <a:pt x="266" y="371"/>
                </a:lnTo>
                <a:lnTo>
                  <a:pt x="270" y="363"/>
                </a:lnTo>
                <a:lnTo>
                  <a:pt x="266" y="354"/>
                </a:lnTo>
                <a:lnTo>
                  <a:pt x="272" y="342"/>
                </a:lnTo>
                <a:lnTo>
                  <a:pt x="271" y="322"/>
                </a:lnTo>
                <a:lnTo>
                  <a:pt x="271" y="306"/>
                </a:lnTo>
                <a:lnTo>
                  <a:pt x="275" y="297"/>
                </a:lnTo>
                <a:lnTo>
                  <a:pt x="255" y="259"/>
                </a:lnTo>
                <a:lnTo>
                  <a:pt x="243" y="264"/>
                </a:lnTo>
                <a:lnTo>
                  <a:pt x="234" y="261"/>
                </a:lnTo>
                <a:lnTo>
                  <a:pt x="233" y="224"/>
                </a:lnTo>
                <a:lnTo>
                  <a:pt x="216" y="238"/>
                </a:lnTo>
                <a:lnTo>
                  <a:pt x="199" y="237"/>
                </a:lnTo>
                <a:lnTo>
                  <a:pt x="189" y="225"/>
                </a:lnTo>
                <a:lnTo>
                  <a:pt x="176" y="224"/>
                </a:lnTo>
                <a:lnTo>
                  <a:pt x="180" y="213"/>
                </a:lnTo>
                <a:lnTo>
                  <a:pt x="167" y="199"/>
                </a:lnTo>
                <a:lnTo>
                  <a:pt x="157" y="178"/>
                </a:lnTo>
                <a:lnTo>
                  <a:pt x="163" y="174"/>
                </a:lnTo>
                <a:lnTo>
                  <a:pt x="163" y="164"/>
                </a:lnTo>
                <a:lnTo>
                  <a:pt x="175" y="156"/>
                </a:lnTo>
                <a:lnTo>
                  <a:pt x="172" y="144"/>
                </a:lnTo>
                <a:lnTo>
                  <a:pt x="177" y="136"/>
                </a:lnTo>
                <a:lnTo>
                  <a:pt x="179" y="124"/>
                </a:lnTo>
                <a:lnTo>
                  <a:pt x="202" y="109"/>
                </a:lnTo>
                <a:lnTo>
                  <a:pt x="219" y="104"/>
                </a:lnTo>
                <a:lnTo>
                  <a:pt x="222" y="100"/>
                </a:lnTo>
                <a:lnTo>
                  <a:pt x="241" y="101"/>
                </a:lnTo>
                <a:lnTo>
                  <a:pt x="241" y="10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34" name="The Philippines">
            <a:extLst>
              <a:ext uri="{FF2B5EF4-FFF2-40B4-BE49-F238E27FC236}">
                <a16:creationId xmlns:a16="http://schemas.microsoft.com/office/drawing/2014/main" id="{4D2EA01F-D143-491C-8A2B-CD38398EFD2C}"/>
              </a:ext>
            </a:extLst>
          </p:cNvPr>
          <p:cNvSpPr>
            <a:spLocks noEditPoints="1"/>
          </p:cNvSpPr>
          <p:nvPr/>
        </p:nvSpPr>
        <p:spPr bwMode="auto">
          <a:xfrm>
            <a:off x="9369560" y="3593455"/>
            <a:ext cx="336842" cy="522273"/>
          </a:xfrm>
          <a:custGeom>
            <a:avLst/>
            <a:gdLst>
              <a:gd name="T0" fmla="*/ 191 w 198"/>
              <a:gd name="T1" fmla="*/ 230 h 307"/>
              <a:gd name="T2" fmla="*/ 170 w 198"/>
              <a:gd name="T3" fmla="*/ 207 h 307"/>
              <a:gd name="T4" fmla="*/ 158 w 198"/>
              <a:gd name="T5" fmla="*/ 226 h 307"/>
              <a:gd name="T6" fmla="*/ 140 w 198"/>
              <a:gd name="T7" fmla="*/ 243 h 307"/>
              <a:gd name="T8" fmla="*/ 122 w 198"/>
              <a:gd name="T9" fmla="*/ 241 h 307"/>
              <a:gd name="T10" fmla="*/ 101 w 198"/>
              <a:gd name="T11" fmla="*/ 268 h 307"/>
              <a:gd name="T12" fmla="*/ 120 w 198"/>
              <a:gd name="T13" fmla="*/ 262 h 307"/>
              <a:gd name="T14" fmla="*/ 136 w 198"/>
              <a:gd name="T15" fmla="*/ 253 h 307"/>
              <a:gd name="T16" fmla="*/ 144 w 198"/>
              <a:gd name="T17" fmla="*/ 276 h 307"/>
              <a:gd name="T18" fmla="*/ 177 w 198"/>
              <a:gd name="T19" fmla="*/ 307 h 307"/>
              <a:gd name="T20" fmla="*/ 174 w 198"/>
              <a:gd name="T21" fmla="*/ 278 h 307"/>
              <a:gd name="T22" fmla="*/ 193 w 198"/>
              <a:gd name="T23" fmla="*/ 290 h 307"/>
              <a:gd name="T24" fmla="*/ 196 w 198"/>
              <a:gd name="T25" fmla="*/ 255 h 307"/>
              <a:gd name="T26" fmla="*/ 193 w 198"/>
              <a:gd name="T27" fmla="*/ 239 h 307"/>
              <a:gd name="T28" fmla="*/ 138 w 198"/>
              <a:gd name="T29" fmla="*/ 172 h 307"/>
              <a:gd name="T30" fmla="*/ 127 w 198"/>
              <a:gd name="T31" fmla="*/ 179 h 307"/>
              <a:gd name="T32" fmla="*/ 115 w 198"/>
              <a:gd name="T33" fmla="*/ 196 h 307"/>
              <a:gd name="T34" fmla="*/ 107 w 198"/>
              <a:gd name="T35" fmla="*/ 209 h 307"/>
              <a:gd name="T36" fmla="*/ 127 w 198"/>
              <a:gd name="T37" fmla="*/ 218 h 307"/>
              <a:gd name="T38" fmla="*/ 138 w 198"/>
              <a:gd name="T39" fmla="*/ 195 h 307"/>
              <a:gd name="T40" fmla="*/ 26 w 198"/>
              <a:gd name="T41" fmla="*/ 218 h 307"/>
              <a:gd name="T42" fmla="*/ 49 w 198"/>
              <a:gd name="T43" fmla="*/ 188 h 307"/>
              <a:gd name="T44" fmla="*/ 34 w 198"/>
              <a:gd name="T45" fmla="*/ 192 h 307"/>
              <a:gd name="T46" fmla="*/ 10 w 198"/>
              <a:gd name="T47" fmla="*/ 224 h 307"/>
              <a:gd name="T48" fmla="*/ 26 w 198"/>
              <a:gd name="T49" fmla="*/ 218 h 307"/>
              <a:gd name="T50" fmla="*/ 92 w 198"/>
              <a:gd name="T51" fmla="*/ 156 h 307"/>
              <a:gd name="T52" fmla="*/ 96 w 198"/>
              <a:gd name="T53" fmla="*/ 180 h 307"/>
              <a:gd name="T54" fmla="*/ 110 w 198"/>
              <a:gd name="T55" fmla="*/ 183 h 307"/>
              <a:gd name="T56" fmla="*/ 118 w 198"/>
              <a:gd name="T57" fmla="*/ 164 h 307"/>
              <a:gd name="T58" fmla="*/ 92 w 198"/>
              <a:gd name="T59" fmla="*/ 156 h 307"/>
              <a:gd name="T60" fmla="*/ 166 w 198"/>
              <a:gd name="T61" fmla="*/ 150 h 307"/>
              <a:gd name="T62" fmla="*/ 139 w 198"/>
              <a:gd name="T63" fmla="*/ 141 h 307"/>
              <a:gd name="T64" fmla="*/ 155 w 198"/>
              <a:gd name="T65" fmla="*/ 168 h 307"/>
              <a:gd name="T66" fmla="*/ 148 w 198"/>
              <a:gd name="T67" fmla="*/ 181 h 307"/>
              <a:gd name="T68" fmla="*/ 156 w 198"/>
              <a:gd name="T69" fmla="*/ 198 h 307"/>
              <a:gd name="T70" fmla="*/ 159 w 198"/>
              <a:gd name="T71" fmla="*/ 178 h 307"/>
              <a:gd name="T72" fmla="*/ 175 w 198"/>
              <a:gd name="T73" fmla="*/ 177 h 307"/>
              <a:gd name="T74" fmla="*/ 166 w 198"/>
              <a:gd name="T75" fmla="*/ 150 h 307"/>
              <a:gd name="T76" fmla="*/ 72 w 198"/>
              <a:gd name="T77" fmla="*/ 120 h 307"/>
              <a:gd name="T78" fmla="*/ 68 w 198"/>
              <a:gd name="T79" fmla="*/ 137 h 307"/>
              <a:gd name="T80" fmla="*/ 81 w 198"/>
              <a:gd name="T81" fmla="*/ 128 h 307"/>
              <a:gd name="T82" fmla="*/ 56 w 198"/>
              <a:gd name="T83" fmla="*/ 0 h 307"/>
              <a:gd name="T84" fmla="*/ 41 w 198"/>
              <a:gd name="T85" fmla="*/ 21 h 307"/>
              <a:gd name="T86" fmla="*/ 36 w 198"/>
              <a:gd name="T87" fmla="*/ 50 h 307"/>
              <a:gd name="T88" fmla="*/ 44 w 198"/>
              <a:gd name="T89" fmla="*/ 84 h 307"/>
              <a:gd name="T90" fmla="*/ 58 w 198"/>
              <a:gd name="T91" fmla="*/ 88 h 307"/>
              <a:gd name="T92" fmla="*/ 59 w 198"/>
              <a:gd name="T93" fmla="*/ 100 h 307"/>
              <a:gd name="T94" fmla="*/ 70 w 198"/>
              <a:gd name="T95" fmla="*/ 115 h 307"/>
              <a:gd name="T96" fmla="*/ 104 w 198"/>
              <a:gd name="T97" fmla="*/ 126 h 307"/>
              <a:gd name="T98" fmla="*/ 118 w 198"/>
              <a:gd name="T99" fmla="*/ 129 h 307"/>
              <a:gd name="T100" fmla="*/ 137 w 198"/>
              <a:gd name="T101" fmla="*/ 130 h 307"/>
              <a:gd name="T102" fmla="*/ 129 w 198"/>
              <a:gd name="T103" fmla="*/ 112 h 307"/>
              <a:gd name="T104" fmla="*/ 93 w 198"/>
              <a:gd name="T105" fmla="*/ 101 h 307"/>
              <a:gd name="T106" fmla="*/ 73 w 198"/>
              <a:gd name="T107" fmla="*/ 80 h 307"/>
              <a:gd name="T108" fmla="*/ 85 w 198"/>
              <a:gd name="T109" fmla="*/ 53 h 307"/>
              <a:gd name="T110" fmla="*/ 77 w 198"/>
              <a:gd name="T111" fmla="*/ 15 h 307"/>
              <a:gd name="T112" fmla="*/ 76 w 198"/>
              <a:gd name="T113" fmla="*/ 0 h 307"/>
              <a:gd name="T114" fmla="*/ 56 w 198"/>
              <a:gd name="T115"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8" h="307">
                <a:moveTo>
                  <a:pt x="193" y="239"/>
                </a:moveTo>
                <a:lnTo>
                  <a:pt x="191" y="230"/>
                </a:lnTo>
                <a:lnTo>
                  <a:pt x="188" y="218"/>
                </a:lnTo>
                <a:lnTo>
                  <a:pt x="170" y="207"/>
                </a:lnTo>
                <a:lnTo>
                  <a:pt x="173" y="225"/>
                </a:lnTo>
                <a:lnTo>
                  <a:pt x="158" y="226"/>
                </a:lnTo>
                <a:lnTo>
                  <a:pt x="155" y="237"/>
                </a:lnTo>
                <a:lnTo>
                  <a:pt x="140" y="243"/>
                </a:lnTo>
                <a:lnTo>
                  <a:pt x="132" y="233"/>
                </a:lnTo>
                <a:lnTo>
                  <a:pt x="122" y="241"/>
                </a:lnTo>
                <a:lnTo>
                  <a:pt x="109" y="248"/>
                </a:lnTo>
                <a:lnTo>
                  <a:pt x="101" y="268"/>
                </a:lnTo>
                <a:lnTo>
                  <a:pt x="106" y="275"/>
                </a:lnTo>
                <a:lnTo>
                  <a:pt x="120" y="262"/>
                </a:lnTo>
                <a:lnTo>
                  <a:pt x="130" y="263"/>
                </a:lnTo>
                <a:lnTo>
                  <a:pt x="136" y="253"/>
                </a:lnTo>
                <a:lnTo>
                  <a:pt x="150" y="264"/>
                </a:lnTo>
                <a:lnTo>
                  <a:pt x="144" y="276"/>
                </a:lnTo>
                <a:lnTo>
                  <a:pt x="152" y="293"/>
                </a:lnTo>
                <a:lnTo>
                  <a:pt x="177" y="307"/>
                </a:lnTo>
                <a:lnTo>
                  <a:pt x="182" y="296"/>
                </a:lnTo>
                <a:lnTo>
                  <a:pt x="174" y="278"/>
                </a:lnTo>
                <a:lnTo>
                  <a:pt x="183" y="266"/>
                </a:lnTo>
                <a:lnTo>
                  <a:pt x="193" y="290"/>
                </a:lnTo>
                <a:lnTo>
                  <a:pt x="198" y="268"/>
                </a:lnTo>
                <a:lnTo>
                  <a:pt x="196" y="255"/>
                </a:lnTo>
                <a:lnTo>
                  <a:pt x="193" y="239"/>
                </a:lnTo>
                <a:lnTo>
                  <a:pt x="193" y="239"/>
                </a:lnTo>
                <a:close/>
                <a:moveTo>
                  <a:pt x="138" y="195"/>
                </a:moveTo>
                <a:lnTo>
                  <a:pt x="138" y="172"/>
                </a:lnTo>
                <a:lnTo>
                  <a:pt x="125" y="195"/>
                </a:lnTo>
                <a:lnTo>
                  <a:pt x="127" y="179"/>
                </a:lnTo>
                <a:lnTo>
                  <a:pt x="116" y="181"/>
                </a:lnTo>
                <a:lnTo>
                  <a:pt x="115" y="196"/>
                </a:lnTo>
                <a:lnTo>
                  <a:pt x="110" y="202"/>
                </a:lnTo>
                <a:lnTo>
                  <a:pt x="107" y="209"/>
                </a:lnTo>
                <a:lnTo>
                  <a:pt x="121" y="225"/>
                </a:lnTo>
                <a:lnTo>
                  <a:pt x="127" y="218"/>
                </a:lnTo>
                <a:lnTo>
                  <a:pt x="132" y="203"/>
                </a:lnTo>
                <a:lnTo>
                  <a:pt x="138" y="195"/>
                </a:lnTo>
                <a:lnTo>
                  <a:pt x="138" y="195"/>
                </a:lnTo>
                <a:close/>
                <a:moveTo>
                  <a:pt x="26" y="218"/>
                </a:moveTo>
                <a:lnTo>
                  <a:pt x="36" y="201"/>
                </a:lnTo>
                <a:lnTo>
                  <a:pt x="49" y="188"/>
                </a:lnTo>
                <a:lnTo>
                  <a:pt x="43" y="169"/>
                </a:lnTo>
                <a:lnTo>
                  <a:pt x="34" y="192"/>
                </a:lnTo>
                <a:lnTo>
                  <a:pt x="24" y="209"/>
                </a:lnTo>
                <a:lnTo>
                  <a:pt x="10" y="224"/>
                </a:lnTo>
                <a:lnTo>
                  <a:pt x="0" y="240"/>
                </a:lnTo>
                <a:lnTo>
                  <a:pt x="26" y="218"/>
                </a:lnTo>
                <a:lnTo>
                  <a:pt x="26" y="218"/>
                </a:lnTo>
                <a:close/>
                <a:moveTo>
                  <a:pt x="92" y="156"/>
                </a:moveTo>
                <a:lnTo>
                  <a:pt x="96" y="168"/>
                </a:lnTo>
                <a:lnTo>
                  <a:pt x="96" y="180"/>
                </a:lnTo>
                <a:lnTo>
                  <a:pt x="97" y="191"/>
                </a:lnTo>
                <a:lnTo>
                  <a:pt x="110" y="183"/>
                </a:lnTo>
                <a:lnTo>
                  <a:pt x="119" y="173"/>
                </a:lnTo>
                <a:lnTo>
                  <a:pt x="118" y="164"/>
                </a:lnTo>
                <a:lnTo>
                  <a:pt x="105" y="164"/>
                </a:lnTo>
                <a:lnTo>
                  <a:pt x="92" y="156"/>
                </a:lnTo>
                <a:lnTo>
                  <a:pt x="92" y="156"/>
                </a:lnTo>
                <a:close/>
                <a:moveTo>
                  <a:pt x="166" y="150"/>
                </a:moveTo>
                <a:lnTo>
                  <a:pt x="159" y="141"/>
                </a:lnTo>
                <a:lnTo>
                  <a:pt x="139" y="141"/>
                </a:lnTo>
                <a:lnTo>
                  <a:pt x="154" y="158"/>
                </a:lnTo>
                <a:lnTo>
                  <a:pt x="155" y="168"/>
                </a:lnTo>
                <a:lnTo>
                  <a:pt x="143" y="166"/>
                </a:lnTo>
                <a:lnTo>
                  <a:pt x="148" y="181"/>
                </a:lnTo>
                <a:lnTo>
                  <a:pt x="153" y="182"/>
                </a:lnTo>
                <a:lnTo>
                  <a:pt x="156" y="198"/>
                </a:lnTo>
                <a:lnTo>
                  <a:pt x="166" y="193"/>
                </a:lnTo>
                <a:lnTo>
                  <a:pt x="159" y="178"/>
                </a:lnTo>
                <a:lnTo>
                  <a:pt x="158" y="170"/>
                </a:lnTo>
                <a:lnTo>
                  <a:pt x="175" y="177"/>
                </a:lnTo>
                <a:lnTo>
                  <a:pt x="166" y="150"/>
                </a:lnTo>
                <a:lnTo>
                  <a:pt x="166" y="150"/>
                </a:lnTo>
                <a:close/>
                <a:moveTo>
                  <a:pt x="81" y="128"/>
                </a:moveTo>
                <a:lnTo>
                  <a:pt x="72" y="120"/>
                </a:lnTo>
                <a:lnTo>
                  <a:pt x="54" y="119"/>
                </a:lnTo>
                <a:lnTo>
                  <a:pt x="68" y="137"/>
                </a:lnTo>
                <a:lnTo>
                  <a:pt x="78" y="149"/>
                </a:lnTo>
                <a:lnTo>
                  <a:pt x="81" y="128"/>
                </a:lnTo>
                <a:lnTo>
                  <a:pt x="81" y="128"/>
                </a:lnTo>
                <a:close/>
                <a:moveTo>
                  <a:pt x="56" y="0"/>
                </a:moveTo>
                <a:lnTo>
                  <a:pt x="44" y="0"/>
                </a:lnTo>
                <a:lnTo>
                  <a:pt x="41" y="21"/>
                </a:lnTo>
                <a:lnTo>
                  <a:pt x="45" y="57"/>
                </a:lnTo>
                <a:lnTo>
                  <a:pt x="36" y="50"/>
                </a:lnTo>
                <a:lnTo>
                  <a:pt x="40" y="72"/>
                </a:lnTo>
                <a:lnTo>
                  <a:pt x="44" y="84"/>
                </a:lnTo>
                <a:lnTo>
                  <a:pt x="56" y="97"/>
                </a:lnTo>
                <a:lnTo>
                  <a:pt x="58" y="88"/>
                </a:lnTo>
                <a:lnTo>
                  <a:pt x="65" y="94"/>
                </a:lnTo>
                <a:lnTo>
                  <a:pt x="59" y="100"/>
                </a:lnTo>
                <a:lnTo>
                  <a:pt x="60" y="110"/>
                </a:lnTo>
                <a:lnTo>
                  <a:pt x="70" y="115"/>
                </a:lnTo>
                <a:lnTo>
                  <a:pt x="89" y="112"/>
                </a:lnTo>
                <a:lnTo>
                  <a:pt x="104" y="126"/>
                </a:lnTo>
                <a:lnTo>
                  <a:pt x="109" y="117"/>
                </a:lnTo>
                <a:lnTo>
                  <a:pt x="118" y="129"/>
                </a:lnTo>
                <a:lnTo>
                  <a:pt x="136" y="141"/>
                </a:lnTo>
                <a:lnTo>
                  <a:pt x="137" y="130"/>
                </a:lnTo>
                <a:lnTo>
                  <a:pt x="129" y="125"/>
                </a:lnTo>
                <a:lnTo>
                  <a:pt x="129" y="112"/>
                </a:lnTo>
                <a:lnTo>
                  <a:pt x="101" y="99"/>
                </a:lnTo>
                <a:lnTo>
                  <a:pt x="93" y="101"/>
                </a:lnTo>
                <a:lnTo>
                  <a:pt x="81" y="99"/>
                </a:lnTo>
                <a:lnTo>
                  <a:pt x="73" y="80"/>
                </a:lnTo>
                <a:lnTo>
                  <a:pt x="74" y="60"/>
                </a:lnTo>
                <a:lnTo>
                  <a:pt x="85" y="53"/>
                </a:lnTo>
                <a:lnTo>
                  <a:pt x="87" y="33"/>
                </a:lnTo>
                <a:lnTo>
                  <a:pt x="77" y="15"/>
                </a:lnTo>
                <a:lnTo>
                  <a:pt x="79" y="6"/>
                </a:lnTo>
                <a:lnTo>
                  <a:pt x="76" y="0"/>
                </a:lnTo>
                <a:lnTo>
                  <a:pt x="70" y="6"/>
                </a:lnTo>
                <a:lnTo>
                  <a:pt x="56" y="0"/>
                </a:lnTo>
                <a:lnTo>
                  <a:pt x="56"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35" name="Papua New Guinea">
            <a:extLst>
              <a:ext uri="{FF2B5EF4-FFF2-40B4-BE49-F238E27FC236}">
                <a16:creationId xmlns:a16="http://schemas.microsoft.com/office/drawing/2014/main" id="{19B8AF52-7D1C-4DE7-94AD-4BEE5B3FE153}"/>
              </a:ext>
            </a:extLst>
          </p:cNvPr>
          <p:cNvSpPr>
            <a:spLocks noEditPoints="1"/>
          </p:cNvSpPr>
          <p:nvPr/>
        </p:nvSpPr>
        <p:spPr bwMode="auto">
          <a:xfrm>
            <a:off x="10216765" y="4440660"/>
            <a:ext cx="540986" cy="330036"/>
          </a:xfrm>
          <a:custGeom>
            <a:avLst/>
            <a:gdLst>
              <a:gd name="T0" fmla="*/ 318 w 318"/>
              <a:gd name="T1" fmla="*/ 96 h 194"/>
              <a:gd name="T2" fmla="*/ 301 w 318"/>
              <a:gd name="T3" fmla="*/ 73 h 194"/>
              <a:gd name="T4" fmla="*/ 292 w 318"/>
              <a:gd name="T5" fmla="*/ 61 h 194"/>
              <a:gd name="T6" fmla="*/ 293 w 318"/>
              <a:gd name="T7" fmla="*/ 81 h 194"/>
              <a:gd name="T8" fmla="*/ 309 w 318"/>
              <a:gd name="T9" fmla="*/ 106 h 194"/>
              <a:gd name="T10" fmla="*/ 316 w 318"/>
              <a:gd name="T11" fmla="*/ 103 h 194"/>
              <a:gd name="T12" fmla="*/ 244 w 318"/>
              <a:gd name="T13" fmla="*/ 56 h 194"/>
              <a:gd name="T14" fmla="*/ 242 w 318"/>
              <a:gd name="T15" fmla="*/ 39 h 194"/>
              <a:gd name="T16" fmla="*/ 231 w 318"/>
              <a:gd name="T17" fmla="*/ 54 h 194"/>
              <a:gd name="T18" fmla="*/ 212 w 318"/>
              <a:gd name="T19" fmla="*/ 71 h 194"/>
              <a:gd name="T20" fmla="*/ 198 w 318"/>
              <a:gd name="T21" fmla="*/ 60 h 194"/>
              <a:gd name="T22" fmla="*/ 191 w 318"/>
              <a:gd name="T23" fmla="*/ 72 h 194"/>
              <a:gd name="T24" fmla="*/ 161 w 318"/>
              <a:gd name="T25" fmla="*/ 70 h 194"/>
              <a:gd name="T26" fmla="*/ 171 w 318"/>
              <a:gd name="T27" fmla="*/ 84 h 194"/>
              <a:gd name="T28" fmla="*/ 198 w 318"/>
              <a:gd name="T29" fmla="*/ 92 h 194"/>
              <a:gd name="T30" fmla="*/ 221 w 318"/>
              <a:gd name="T31" fmla="*/ 79 h 194"/>
              <a:gd name="T32" fmla="*/ 236 w 318"/>
              <a:gd name="T33" fmla="*/ 71 h 194"/>
              <a:gd name="T34" fmla="*/ 133 w 318"/>
              <a:gd name="T35" fmla="*/ 117 h 194"/>
              <a:gd name="T36" fmla="*/ 148 w 318"/>
              <a:gd name="T37" fmla="*/ 98 h 194"/>
              <a:gd name="T38" fmla="*/ 110 w 318"/>
              <a:gd name="T39" fmla="*/ 71 h 194"/>
              <a:gd name="T40" fmla="*/ 97 w 318"/>
              <a:gd name="T41" fmla="*/ 45 h 194"/>
              <a:gd name="T42" fmla="*/ 46 w 318"/>
              <a:gd name="T43" fmla="*/ 19 h 194"/>
              <a:gd name="T44" fmla="*/ 6 w 318"/>
              <a:gd name="T45" fmla="*/ 80 h 194"/>
              <a:gd name="T46" fmla="*/ 21 w 318"/>
              <a:gd name="T47" fmla="*/ 159 h 194"/>
              <a:gd name="T48" fmla="*/ 50 w 318"/>
              <a:gd name="T49" fmla="*/ 154 h 194"/>
              <a:gd name="T50" fmla="*/ 62 w 318"/>
              <a:gd name="T51" fmla="*/ 129 h 194"/>
              <a:gd name="T52" fmla="*/ 107 w 318"/>
              <a:gd name="T53" fmla="*/ 133 h 194"/>
              <a:gd name="T54" fmla="*/ 127 w 318"/>
              <a:gd name="T55" fmla="*/ 166 h 194"/>
              <a:gd name="T56" fmla="*/ 161 w 318"/>
              <a:gd name="T57" fmla="*/ 185 h 194"/>
              <a:gd name="T58" fmla="*/ 184 w 318"/>
              <a:gd name="T59" fmla="*/ 194 h 194"/>
              <a:gd name="T60" fmla="*/ 201 w 318"/>
              <a:gd name="T61" fmla="*/ 186 h 194"/>
              <a:gd name="T62" fmla="*/ 187 w 318"/>
              <a:gd name="T63" fmla="*/ 171 h 194"/>
              <a:gd name="T64" fmla="*/ 173 w 318"/>
              <a:gd name="T65" fmla="*/ 157 h 194"/>
              <a:gd name="T66" fmla="*/ 150 w 318"/>
              <a:gd name="T67" fmla="*/ 132 h 194"/>
              <a:gd name="T68" fmla="*/ 133 w 318"/>
              <a:gd name="T69" fmla="*/ 117 h 194"/>
              <a:gd name="T70" fmla="*/ 260 w 318"/>
              <a:gd name="T71" fmla="*/ 36 h 194"/>
              <a:gd name="T72" fmla="*/ 245 w 318"/>
              <a:gd name="T73" fmla="*/ 18 h 194"/>
              <a:gd name="T74" fmla="*/ 229 w 318"/>
              <a:gd name="T75" fmla="*/ 8 h 194"/>
              <a:gd name="T76" fmla="*/ 212 w 318"/>
              <a:gd name="T77" fmla="*/ 6 h 194"/>
              <a:gd name="T78" fmla="*/ 238 w 318"/>
              <a:gd name="T79" fmla="*/ 23 h 194"/>
              <a:gd name="T80" fmla="*/ 252 w 318"/>
              <a:gd name="T81" fmla="*/ 40 h 194"/>
              <a:gd name="T82" fmla="*/ 262 w 318"/>
              <a:gd name="T83" fmla="*/ 4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4">
                <a:moveTo>
                  <a:pt x="316" y="103"/>
                </a:moveTo>
                <a:lnTo>
                  <a:pt x="318" y="96"/>
                </a:lnTo>
                <a:lnTo>
                  <a:pt x="310" y="88"/>
                </a:lnTo>
                <a:lnTo>
                  <a:pt x="301" y="73"/>
                </a:lnTo>
                <a:lnTo>
                  <a:pt x="294" y="67"/>
                </a:lnTo>
                <a:lnTo>
                  <a:pt x="292" y="61"/>
                </a:lnTo>
                <a:lnTo>
                  <a:pt x="289" y="64"/>
                </a:lnTo>
                <a:lnTo>
                  <a:pt x="293" y="81"/>
                </a:lnTo>
                <a:lnTo>
                  <a:pt x="302" y="96"/>
                </a:lnTo>
                <a:lnTo>
                  <a:pt x="309" y="106"/>
                </a:lnTo>
                <a:lnTo>
                  <a:pt x="316" y="103"/>
                </a:lnTo>
                <a:lnTo>
                  <a:pt x="316" y="103"/>
                </a:lnTo>
                <a:close/>
                <a:moveTo>
                  <a:pt x="236" y="71"/>
                </a:moveTo>
                <a:lnTo>
                  <a:pt x="244" y="56"/>
                </a:lnTo>
                <a:lnTo>
                  <a:pt x="245" y="43"/>
                </a:lnTo>
                <a:lnTo>
                  <a:pt x="242" y="39"/>
                </a:lnTo>
                <a:lnTo>
                  <a:pt x="229" y="40"/>
                </a:lnTo>
                <a:lnTo>
                  <a:pt x="231" y="54"/>
                </a:lnTo>
                <a:lnTo>
                  <a:pt x="217" y="63"/>
                </a:lnTo>
                <a:lnTo>
                  <a:pt x="212" y="71"/>
                </a:lnTo>
                <a:lnTo>
                  <a:pt x="200" y="73"/>
                </a:lnTo>
                <a:lnTo>
                  <a:pt x="198" y="60"/>
                </a:lnTo>
                <a:lnTo>
                  <a:pt x="195" y="60"/>
                </a:lnTo>
                <a:lnTo>
                  <a:pt x="191" y="72"/>
                </a:lnTo>
                <a:lnTo>
                  <a:pt x="180" y="74"/>
                </a:lnTo>
                <a:lnTo>
                  <a:pt x="161" y="70"/>
                </a:lnTo>
                <a:lnTo>
                  <a:pt x="159" y="78"/>
                </a:lnTo>
                <a:lnTo>
                  <a:pt x="171" y="84"/>
                </a:lnTo>
                <a:lnTo>
                  <a:pt x="188" y="92"/>
                </a:lnTo>
                <a:lnTo>
                  <a:pt x="198" y="92"/>
                </a:lnTo>
                <a:lnTo>
                  <a:pt x="209" y="86"/>
                </a:lnTo>
                <a:lnTo>
                  <a:pt x="221" y="79"/>
                </a:lnTo>
                <a:lnTo>
                  <a:pt x="225" y="73"/>
                </a:lnTo>
                <a:lnTo>
                  <a:pt x="236" y="71"/>
                </a:lnTo>
                <a:lnTo>
                  <a:pt x="236" y="71"/>
                </a:lnTo>
                <a:close/>
                <a:moveTo>
                  <a:pt x="133" y="117"/>
                </a:moveTo>
                <a:lnTo>
                  <a:pt x="129" y="101"/>
                </a:lnTo>
                <a:lnTo>
                  <a:pt x="148" y="98"/>
                </a:lnTo>
                <a:lnTo>
                  <a:pt x="145" y="86"/>
                </a:lnTo>
                <a:lnTo>
                  <a:pt x="110" y="71"/>
                </a:lnTo>
                <a:lnTo>
                  <a:pt x="108" y="57"/>
                </a:lnTo>
                <a:lnTo>
                  <a:pt x="97" y="45"/>
                </a:lnTo>
                <a:lnTo>
                  <a:pt x="83" y="33"/>
                </a:lnTo>
                <a:lnTo>
                  <a:pt x="46" y="19"/>
                </a:lnTo>
                <a:lnTo>
                  <a:pt x="9" y="3"/>
                </a:lnTo>
                <a:lnTo>
                  <a:pt x="6" y="80"/>
                </a:lnTo>
                <a:lnTo>
                  <a:pt x="0" y="158"/>
                </a:lnTo>
                <a:lnTo>
                  <a:pt x="21" y="159"/>
                </a:lnTo>
                <a:lnTo>
                  <a:pt x="33" y="163"/>
                </a:lnTo>
                <a:lnTo>
                  <a:pt x="50" y="154"/>
                </a:lnTo>
                <a:lnTo>
                  <a:pt x="49" y="136"/>
                </a:lnTo>
                <a:lnTo>
                  <a:pt x="62" y="129"/>
                </a:lnTo>
                <a:lnTo>
                  <a:pt x="81" y="122"/>
                </a:lnTo>
                <a:lnTo>
                  <a:pt x="107" y="133"/>
                </a:lnTo>
                <a:lnTo>
                  <a:pt x="116" y="153"/>
                </a:lnTo>
                <a:lnTo>
                  <a:pt x="127" y="166"/>
                </a:lnTo>
                <a:lnTo>
                  <a:pt x="141" y="181"/>
                </a:lnTo>
                <a:lnTo>
                  <a:pt x="161" y="185"/>
                </a:lnTo>
                <a:lnTo>
                  <a:pt x="180" y="188"/>
                </a:lnTo>
                <a:lnTo>
                  <a:pt x="184" y="194"/>
                </a:lnTo>
                <a:lnTo>
                  <a:pt x="198" y="192"/>
                </a:lnTo>
                <a:lnTo>
                  <a:pt x="201" y="186"/>
                </a:lnTo>
                <a:lnTo>
                  <a:pt x="180" y="176"/>
                </a:lnTo>
                <a:lnTo>
                  <a:pt x="187" y="171"/>
                </a:lnTo>
                <a:lnTo>
                  <a:pt x="171" y="167"/>
                </a:lnTo>
                <a:lnTo>
                  <a:pt x="173" y="157"/>
                </a:lnTo>
                <a:lnTo>
                  <a:pt x="161" y="157"/>
                </a:lnTo>
                <a:lnTo>
                  <a:pt x="150" y="132"/>
                </a:lnTo>
                <a:lnTo>
                  <a:pt x="133" y="117"/>
                </a:lnTo>
                <a:lnTo>
                  <a:pt x="133" y="117"/>
                </a:lnTo>
                <a:close/>
                <a:moveTo>
                  <a:pt x="262" y="48"/>
                </a:moveTo>
                <a:lnTo>
                  <a:pt x="260" y="36"/>
                </a:lnTo>
                <a:lnTo>
                  <a:pt x="253" y="28"/>
                </a:lnTo>
                <a:lnTo>
                  <a:pt x="245" y="18"/>
                </a:lnTo>
                <a:lnTo>
                  <a:pt x="236" y="12"/>
                </a:lnTo>
                <a:lnTo>
                  <a:pt x="229" y="8"/>
                </a:lnTo>
                <a:lnTo>
                  <a:pt x="218" y="0"/>
                </a:lnTo>
                <a:lnTo>
                  <a:pt x="212" y="6"/>
                </a:lnTo>
                <a:lnTo>
                  <a:pt x="227" y="13"/>
                </a:lnTo>
                <a:lnTo>
                  <a:pt x="238" y="23"/>
                </a:lnTo>
                <a:lnTo>
                  <a:pt x="247" y="31"/>
                </a:lnTo>
                <a:lnTo>
                  <a:pt x="252" y="40"/>
                </a:lnTo>
                <a:lnTo>
                  <a:pt x="255" y="54"/>
                </a:lnTo>
                <a:lnTo>
                  <a:pt x="262" y="48"/>
                </a:lnTo>
                <a:lnTo>
                  <a:pt x="262" y="4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36" name="Poland">
            <a:extLst>
              <a:ext uri="{FF2B5EF4-FFF2-40B4-BE49-F238E27FC236}">
                <a16:creationId xmlns:a16="http://schemas.microsoft.com/office/drawing/2014/main" id="{18B5CABA-44E6-42B2-ADE4-B23CEB8EEA95}"/>
              </a:ext>
            </a:extLst>
          </p:cNvPr>
          <p:cNvSpPr>
            <a:spLocks/>
          </p:cNvSpPr>
          <p:nvPr/>
        </p:nvSpPr>
        <p:spPr bwMode="auto">
          <a:xfrm>
            <a:off x="5625188" y="2138918"/>
            <a:ext cx="316426" cy="226262"/>
          </a:xfrm>
          <a:custGeom>
            <a:avLst/>
            <a:gdLst>
              <a:gd name="T0" fmla="*/ 97 w 186"/>
              <a:gd name="T1" fmla="*/ 10 h 133"/>
              <a:gd name="T2" fmla="*/ 79 w 186"/>
              <a:gd name="T3" fmla="*/ 10 h 133"/>
              <a:gd name="T4" fmla="*/ 77 w 186"/>
              <a:gd name="T5" fmla="*/ 4 h 133"/>
              <a:gd name="T6" fmla="*/ 59 w 186"/>
              <a:gd name="T7" fmla="*/ 0 h 133"/>
              <a:gd name="T8" fmla="*/ 38 w 186"/>
              <a:gd name="T9" fmla="*/ 8 h 133"/>
              <a:gd name="T10" fmla="*/ 12 w 186"/>
              <a:gd name="T11" fmla="*/ 18 h 133"/>
              <a:gd name="T12" fmla="*/ 0 w 186"/>
              <a:gd name="T13" fmla="*/ 24 h 133"/>
              <a:gd name="T14" fmla="*/ 5 w 186"/>
              <a:gd name="T15" fmla="*/ 37 h 133"/>
              <a:gd name="T16" fmla="*/ 1 w 186"/>
              <a:gd name="T17" fmla="*/ 42 h 133"/>
              <a:gd name="T18" fmla="*/ 8 w 186"/>
              <a:gd name="T19" fmla="*/ 51 h 133"/>
              <a:gd name="T20" fmla="*/ 14 w 186"/>
              <a:gd name="T21" fmla="*/ 63 h 133"/>
              <a:gd name="T22" fmla="*/ 13 w 186"/>
              <a:gd name="T23" fmla="*/ 70 h 133"/>
              <a:gd name="T24" fmla="*/ 22 w 186"/>
              <a:gd name="T25" fmla="*/ 85 h 133"/>
              <a:gd name="T26" fmla="*/ 31 w 186"/>
              <a:gd name="T27" fmla="*/ 93 h 133"/>
              <a:gd name="T28" fmla="*/ 45 w 186"/>
              <a:gd name="T29" fmla="*/ 95 h 133"/>
              <a:gd name="T30" fmla="*/ 45 w 186"/>
              <a:gd name="T31" fmla="*/ 101 h 133"/>
              <a:gd name="T32" fmla="*/ 54 w 186"/>
              <a:gd name="T33" fmla="*/ 106 h 133"/>
              <a:gd name="T34" fmla="*/ 57 w 186"/>
              <a:gd name="T35" fmla="*/ 100 h 133"/>
              <a:gd name="T36" fmla="*/ 69 w 186"/>
              <a:gd name="T37" fmla="*/ 102 h 133"/>
              <a:gd name="T38" fmla="*/ 72 w 186"/>
              <a:gd name="T39" fmla="*/ 109 h 133"/>
              <a:gd name="T40" fmla="*/ 86 w 186"/>
              <a:gd name="T41" fmla="*/ 110 h 133"/>
              <a:gd name="T42" fmla="*/ 95 w 186"/>
              <a:gd name="T43" fmla="*/ 123 h 133"/>
              <a:gd name="T44" fmla="*/ 96 w 186"/>
              <a:gd name="T45" fmla="*/ 123 h 133"/>
              <a:gd name="T46" fmla="*/ 103 w 186"/>
              <a:gd name="T47" fmla="*/ 121 h 133"/>
              <a:gd name="T48" fmla="*/ 114 w 186"/>
              <a:gd name="T49" fmla="*/ 128 h 133"/>
              <a:gd name="T50" fmla="*/ 124 w 186"/>
              <a:gd name="T51" fmla="*/ 123 h 133"/>
              <a:gd name="T52" fmla="*/ 132 w 186"/>
              <a:gd name="T53" fmla="*/ 126 h 133"/>
              <a:gd name="T54" fmla="*/ 145 w 186"/>
              <a:gd name="T55" fmla="*/ 123 h 133"/>
              <a:gd name="T56" fmla="*/ 164 w 186"/>
              <a:gd name="T57" fmla="*/ 132 h 133"/>
              <a:gd name="T58" fmla="*/ 168 w 186"/>
              <a:gd name="T59" fmla="*/ 133 h 133"/>
              <a:gd name="T60" fmla="*/ 162 w 186"/>
              <a:gd name="T61" fmla="*/ 123 h 133"/>
              <a:gd name="T62" fmla="*/ 176 w 186"/>
              <a:gd name="T63" fmla="*/ 104 h 133"/>
              <a:gd name="T64" fmla="*/ 185 w 186"/>
              <a:gd name="T65" fmla="*/ 101 h 133"/>
              <a:gd name="T66" fmla="*/ 186 w 186"/>
              <a:gd name="T67" fmla="*/ 95 h 133"/>
              <a:gd name="T68" fmla="*/ 174 w 186"/>
              <a:gd name="T69" fmla="*/ 74 h 133"/>
              <a:gd name="T70" fmla="*/ 172 w 186"/>
              <a:gd name="T71" fmla="*/ 65 h 133"/>
              <a:gd name="T72" fmla="*/ 165 w 186"/>
              <a:gd name="T73" fmla="*/ 53 h 133"/>
              <a:gd name="T74" fmla="*/ 175 w 186"/>
              <a:gd name="T75" fmla="*/ 49 h 133"/>
              <a:gd name="T76" fmla="*/ 174 w 186"/>
              <a:gd name="T77" fmla="*/ 40 h 133"/>
              <a:gd name="T78" fmla="*/ 168 w 186"/>
              <a:gd name="T79" fmla="*/ 31 h 133"/>
              <a:gd name="T80" fmla="*/ 166 w 186"/>
              <a:gd name="T81" fmla="*/ 22 h 133"/>
              <a:gd name="T82" fmla="*/ 160 w 186"/>
              <a:gd name="T83" fmla="*/ 14 h 133"/>
              <a:gd name="T84" fmla="*/ 151 w 186"/>
              <a:gd name="T85" fmla="*/ 12 h 133"/>
              <a:gd name="T86" fmla="*/ 118 w 186"/>
              <a:gd name="T87" fmla="*/ 12 h 133"/>
              <a:gd name="T88" fmla="*/ 97 w 186"/>
              <a:gd name="T89" fmla="*/ 10 h 133"/>
              <a:gd name="T90" fmla="*/ 97 w 186"/>
              <a:gd name="T91" fmla="*/ 1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133">
                <a:moveTo>
                  <a:pt x="97" y="10"/>
                </a:moveTo>
                <a:lnTo>
                  <a:pt x="79" y="10"/>
                </a:lnTo>
                <a:lnTo>
                  <a:pt x="77" y="4"/>
                </a:lnTo>
                <a:lnTo>
                  <a:pt x="59" y="0"/>
                </a:lnTo>
                <a:lnTo>
                  <a:pt x="38" y="8"/>
                </a:lnTo>
                <a:lnTo>
                  <a:pt x="12" y="18"/>
                </a:lnTo>
                <a:lnTo>
                  <a:pt x="0" y="24"/>
                </a:lnTo>
                <a:lnTo>
                  <a:pt x="5" y="37"/>
                </a:lnTo>
                <a:lnTo>
                  <a:pt x="1" y="42"/>
                </a:lnTo>
                <a:lnTo>
                  <a:pt x="8" y="51"/>
                </a:lnTo>
                <a:lnTo>
                  <a:pt x="14" y="63"/>
                </a:lnTo>
                <a:lnTo>
                  <a:pt x="13" y="70"/>
                </a:lnTo>
                <a:lnTo>
                  <a:pt x="22" y="85"/>
                </a:lnTo>
                <a:lnTo>
                  <a:pt x="31" y="93"/>
                </a:lnTo>
                <a:lnTo>
                  <a:pt x="45" y="95"/>
                </a:lnTo>
                <a:lnTo>
                  <a:pt x="45" y="101"/>
                </a:lnTo>
                <a:lnTo>
                  <a:pt x="54" y="106"/>
                </a:lnTo>
                <a:lnTo>
                  <a:pt x="57" y="100"/>
                </a:lnTo>
                <a:lnTo>
                  <a:pt x="69" y="102"/>
                </a:lnTo>
                <a:lnTo>
                  <a:pt x="72" y="109"/>
                </a:lnTo>
                <a:lnTo>
                  <a:pt x="86" y="110"/>
                </a:lnTo>
                <a:lnTo>
                  <a:pt x="95" y="123"/>
                </a:lnTo>
                <a:lnTo>
                  <a:pt x="96" y="123"/>
                </a:lnTo>
                <a:lnTo>
                  <a:pt x="103" y="121"/>
                </a:lnTo>
                <a:lnTo>
                  <a:pt x="114" y="128"/>
                </a:lnTo>
                <a:lnTo>
                  <a:pt x="124" y="123"/>
                </a:lnTo>
                <a:lnTo>
                  <a:pt x="132" y="126"/>
                </a:lnTo>
                <a:lnTo>
                  <a:pt x="145" y="123"/>
                </a:lnTo>
                <a:lnTo>
                  <a:pt x="164" y="132"/>
                </a:lnTo>
                <a:lnTo>
                  <a:pt x="168" y="133"/>
                </a:lnTo>
                <a:lnTo>
                  <a:pt x="162" y="123"/>
                </a:lnTo>
                <a:lnTo>
                  <a:pt x="176" y="104"/>
                </a:lnTo>
                <a:lnTo>
                  <a:pt x="185" y="101"/>
                </a:lnTo>
                <a:lnTo>
                  <a:pt x="186" y="95"/>
                </a:lnTo>
                <a:lnTo>
                  <a:pt x="174" y="74"/>
                </a:lnTo>
                <a:lnTo>
                  <a:pt x="172" y="65"/>
                </a:lnTo>
                <a:lnTo>
                  <a:pt x="165" y="53"/>
                </a:lnTo>
                <a:lnTo>
                  <a:pt x="175" y="49"/>
                </a:lnTo>
                <a:lnTo>
                  <a:pt x="174" y="40"/>
                </a:lnTo>
                <a:lnTo>
                  <a:pt x="168" y="31"/>
                </a:lnTo>
                <a:lnTo>
                  <a:pt x="166" y="22"/>
                </a:lnTo>
                <a:lnTo>
                  <a:pt x="160" y="14"/>
                </a:lnTo>
                <a:lnTo>
                  <a:pt x="151" y="12"/>
                </a:lnTo>
                <a:lnTo>
                  <a:pt x="118" y="12"/>
                </a:lnTo>
                <a:lnTo>
                  <a:pt x="97" y="10"/>
                </a:lnTo>
                <a:lnTo>
                  <a:pt x="97" y="1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37" name="North Korea">
            <a:extLst>
              <a:ext uri="{FF2B5EF4-FFF2-40B4-BE49-F238E27FC236}">
                <a16:creationId xmlns:a16="http://schemas.microsoft.com/office/drawing/2014/main" id="{375E8A02-A70A-4F44-AF8C-5C8E72997502}"/>
              </a:ext>
            </a:extLst>
          </p:cNvPr>
          <p:cNvSpPr>
            <a:spLocks/>
          </p:cNvSpPr>
          <p:nvPr/>
        </p:nvSpPr>
        <p:spPr bwMode="auto">
          <a:xfrm>
            <a:off x="9291304" y="2603348"/>
            <a:ext cx="161615" cy="212652"/>
          </a:xfrm>
          <a:custGeom>
            <a:avLst/>
            <a:gdLst>
              <a:gd name="T0" fmla="*/ 90 w 95"/>
              <a:gd name="T1" fmla="*/ 13 h 125"/>
              <a:gd name="T2" fmla="*/ 90 w 95"/>
              <a:gd name="T3" fmla="*/ 13 h 125"/>
              <a:gd name="T4" fmla="*/ 70 w 95"/>
              <a:gd name="T5" fmla="*/ 0 h 125"/>
              <a:gd name="T6" fmla="*/ 70 w 95"/>
              <a:gd name="T7" fmla="*/ 13 h 125"/>
              <a:gd name="T8" fmla="*/ 46 w 95"/>
              <a:gd name="T9" fmla="*/ 22 h 125"/>
              <a:gd name="T10" fmla="*/ 57 w 95"/>
              <a:gd name="T11" fmla="*/ 34 h 125"/>
              <a:gd name="T12" fmla="*/ 39 w 95"/>
              <a:gd name="T13" fmla="*/ 34 h 125"/>
              <a:gd name="T14" fmla="*/ 26 w 95"/>
              <a:gd name="T15" fmla="*/ 27 h 125"/>
              <a:gd name="T16" fmla="*/ 22 w 95"/>
              <a:gd name="T17" fmla="*/ 43 h 125"/>
              <a:gd name="T18" fmla="*/ 8 w 95"/>
              <a:gd name="T19" fmla="*/ 56 h 125"/>
              <a:gd name="T20" fmla="*/ 0 w 95"/>
              <a:gd name="T21" fmla="*/ 71 h 125"/>
              <a:gd name="T22" fmla="*/ 13 w 95"/>
              <a:gd name="T23" fmla="*/ 77 h 125"/>
              <a:gd name="T24" fmla="*/ 25 w 95"/>
              <a:gd name="T25" fmla="*/ 79 h 125"/>
              <a:gd name="T26" fmla="*/ 28 w 95"/>
              <a:gd name="T27" fmla="*/ 83 h 125"/>
              <a:gd name="T28" fmla="*/ 29 w 95"/>
              <a:gd name="T29" fmla="*/ 96 h 125"/>
              <a:gd name="T30" fmla="*/ 33 w 95"/>
              <a:gd name="T31" fmla="*/ 101 h 125"/>
              <a:gd name="T32" fmla="*/ 30 w 95"/>
              <a:gd name="T33" fmla="*/ 103 h 125"/>
              <a:gd name="T34" fmla="*/ 29 w 95"/>
              <a:gd name="T35" fmla="*/ 115 h 125"/>
              <a:gd name="T36" fmla="*/ 37 w 95"/>
              <a:gd name="T37" fmla="*/ 118 h 125"/>
              <a:gd name="T38" fmla="*/ 43 w 95"/>
              <a:gd name="T39" fmla="*/ 120 h 125"/>
              <a:gd name="T40" fmla="*/ 46 w 95"/>
              <a:gd name="T41" fmla="*/ 125 h 125"/>
              <a:gd name="T42" fmla="*/ 51 w 95"/>
              <a:gd name="T43" fmla="*/ 123 h 125"/>
              <a:gd name="T44" fmla="*/ 51 w 95"/>
              <a:gd name="T45" fmla="*/ 118 h 125"/>
              <a:gd name="T46" fmla="*/ 62 w 95"/>
              <a:gd name="T47" fmla="*/ 123 h 125"/>
              <a:gd name="T48" fmla="*/ 63 w 95"/>
              <a:gd name="T49" fmla="*/ 120 h 125"/>
              <a:gd name="T50" fmla="*/ 72 w 95"/>
              <a:gd name="T51" fmla="*/ 121 h 125"/>
              <a:gd name="T52" fmla="*/ 74 w 95"/>
              <a:gd name="T53" fmla="*/ 111 h 125"/>
              <a:gd name="T54" fmla="*/ 87 w 95"/>
              <a:gd name="T55" fmla="*/ 109 h 125"/>
              <a:gd name="T56" fmla="*/ 95 w 95"/>
              <a:gd name="T57" fmla="*/ 108 h 125"/>
              <a:gd name="T58" fmla="*/ 95 w 95"/>
              <a:gd name="T59" fmla="*/ 102 h 125"/>
              <a:gd name="T60" fmla="*/ 79 w 95"/>
              <a:gd name="T61" fmla="*/ 91 h 125"/>
              <a:gd name="T62" fmla="*/ 69 w 95"/>
              <a:gd name="T63" fmla="*/ 88 h 125"/>
              <a:gd name="T64" fmla="*/ 70 w 95"/>
              <a:gd name="T65" fmla="*/ 85 h 125"/>
              <a:gd name="T66" fmla="*/ 65 w 95"/>
              <a:gd name="T67" fmla="*/ 75 h 125"/>
              <a:gd name="T68" fmla="*/ 71 w 95"/>
              <a:gd name="T69" fmla="*/ 68 h 125"/>
              <a:gd name="T70" fmla="*/ 81 w 95"/>
              <a:gd name="T71" fmla="*/ 64 h 125"/>
              <a:gd name="T72" fmla="*/ 85 w 95"/>
              <a:gd name="T73" fmla="*/ 58 h 125"/>
              <a:gd name="T74" fmla="*/ 86 w 95"/>
              <a:gd name="T75" fmla="*/ 53 h 125"/>
              <a:gd name="T76" fmla="*/ 93 w 95"/>
              <a:gd name="T77" fmla="*/ 48 h 125"/>
              <a:gd name="T78" fmla="*/ 83 w 95"/>
              <a:gd name="T79" fmla="*/ 32 h 125"/>
              <a:gd name="T80" fmla="*/ 84 w 95"/>
              <a:gd name="T81" fmla="*/ 23 h 125"/>
              <a:gd name="T82" fmla="*/ 87 w 95"/>
              <a:gd name="T83" fmla="*/ 16 h 125"/>
              <a:gd name="T84" fmla="*/ 95 w 95"/>
              <a:gd name="T85" fmla="*/ 18 h 125"/>
              <a:gd name="T86" fmla="*/ 95 w 95"/>
              <a:gd name="T87" fmla="*/ 18 h 125"/>
              <a:gd name="T88" fmla="*/ 95 w 95"/>
              <a:gd name="T89" fmla="*/ 18 h 125"/>
              <a:gd name="T90" fmla="*/ 95 w 95"/>
              <a:gd name="T91" fmla="*/ 18 h 125"/>
              <a:gd name="T92" fmla="*/ 90 w 95"/>
              <a:gd name="T93" fmla="*/ 13 h 125"/>
              <a:gd name="T94" fmla="*/ 90 w 95"/>
              <a:gd name="T95" fmla="*/ 1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 h="125">
                <a:moveTo>
                  <a:pt x="90" y="13"/>
                </a:moveTo>
                <a:lnTo>
                  <a:pt x="90" y="13"/>
                </a:lnTo>
                <a:lnTo>
                  <a:pt x="70" y="0"/>
                </a:lnTo>
                <a:lnTo>
                  <a:pt x="70" y="13"/>
                </a:lnTo>
                <a:lnTo>
                  <a:pt x="46" y="22"/>
                </a:lnTo>
                <a:lnTo>
                  <a:pt x="57" y="34"/>
                </a:lnTo>
                <a:lnTo>
                  <a:pt x="39" y="34"/>
                </a:lnTo>
                <a:lnTo>
                  <a:pt x="26" y="27"/>
                </a:lnTo>
                <a:lnTo>
                  <a:pt x="22" y="43"/>
                </a:lnTo>
                <a:lnTo>
                  <a:pt x="8" y="56"/>
                </a:lnTo>
                <a:lnTo>
                  <a:pt x="0" y="71"/>
                </a:lnTo>
                <a:lnTo>
                  <a:pt x="13" y="77"/>
                </a:lnTo>
                <a:lnTo>
                  <a:pt x="25" y="79"/>
                </a:lnTo>
                <a:lnTo>
                  <a:pt x="28" y="83"/>
                </a:lnTo>
                <a:lnTo>
                  <a:pt x="29" y="96"/>
                </a:lnTo>
                <a:lnTo>
                  <a:pt x="33" y="101"/>
                </a:lnTo>
                <a:lnTo>
                  <a:pt x="30" y="103"/>
                </a:lnTo>
                <a:lnTo>
                  <a:pt x="29" y="115"/>
                </a:lnTo>
                <a:lnTo>
                  <a:pt x="37" y="118"/>
                </a:lnTo>
                <a:lnTo>
                  <a:pt x="43" y="120"/>
                </a:lnTo>
                <a:lnTo>
                  <a:pt x="46" y="125"/>
                </a:lnTo>
                <a:lnTo>
                  <a:pt x="51" y="123"/>
                </a:lnTo>
                <a:lnTo>
                  <a:pt x="51" y="118"/>
                </a:lnTo>
                <a:lnTo>
                  <a:pt x="62" y="123"/>
                </a:lnTo>
                <a:lnTo>
                  <a:pt x="63" y="120"/>
                </a:lnTo>
                <a:lnTo>
                  <a:pt x="72" y="121"/>
                </a:lnTo>
                <a:lnTo>
                  <a:pt x="74" y="111"/>
                </a:lnTo>
                <a:lnTo>
                  <a:pt x="87" y="109"/>
                </a:lnTo>
                <a:lnTo>
                  <a:pt x="95" y="108"/>
                </a:lnTo>
                <a:lnTo>
                  <a:pt x="95" y="102"/>
                </a:lnTo>
                <a:lnTo>
                  <a:pt x="79" y="91"/>
                </a:lnTo>
                <a:lnTo>
                  <a:pt x="69" y="88"/>
                </a:lnTo>
                <a:lnTo>
                  <a:pt x="70" y="85"/>
                </a:lnTo>
                <a:lnTo>
                  <a:pt x="65" y="75"/>
                </a:lnTo>
                <a:lnTo>
                  <a:pt x="71" y="68"/>
                </a:lnTo>
                <a:lnTo>
                  <a:pt x="81" y="64"/>
                </a:lnTo>
                <a:lnTo>
                  <a:pt x="85" y="58"/>
                </a:lnTo>
                <a:lnTo>
                  <a:pt x="86" y="53"/>
                </a:lnTo>
                <a:lnTo>
                  <a:pt x="93" y="48"/>
                </a:lnTo>
                <a:lnTo>
                  <a:pt x="83" y="32"/>
                </a:lnTo>
                <a:lnTo>
                  <a:pt x="84" y="23"/>
                </a:lnTo>
                <a:lnTo>
                  <a:pt x="87" y="16"/>
                </a:lnTo>
                <a:lnTo>
                  <a:pt x="95" y="18"/>
                </a:lnTo>
                <a:lnTo>
                  <a:pt x="95" y="18"/>
                </a:lnTo>
                <a:lnTo>
                  <a:pt x="95" y="18"/>
                </a:lnTo>
                <a:lnTo>
                  <a:pt x="95" y="18"/>
                </a:lnTo>
                <a:lnTo>
                  <a:pt x="90" y="13"/>
                </a:lnTo>
                <a:lnTo>
                  <a:pt x="90" y="1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38" name="Portugal">
            <a:extLst>
              <a:ext uri="{FF2B5EF4-FFF2-40B4-BE49-F238E27FC236}">
                <a16:creationId xmlns:a16="http://schemas.microsoft.com/office/drawing/2014/main" id="{7D52E702-9328-4405-8599-6FD614CDBC88}"/>
              </a:ext>
            </a:extLst>
          </p:cNvPr>
          <p:cNvSpPr>
            <a:spLocks/>
          </p:cNvSpPr>
          <p:nvPr/>
        </p:nvSpPr>
        <p:spPr bwMode="auto">
          <a:xfrm>
            <a:off x="4885158" y="2630568"/>
            <a:ext cx="105475" cy="219457"/>
          </a:xfrm>
          <a:custGeom>
            <a:avLst/>
            <a:gdLst>
              <a:gd name="T0" fmla="*/ 39 w 62"/>
              <a:gd name="T1" fmla="*/ 123 h 129"/>
              <a:gd name="T2" fmla="*/ 38 w 62"/>
              <a:gd name="T3" fmla="*/ 115 h 129"/>
              <a:gd name="T4" fmla="*/ 45 w 62"/>
              <a:gd name="T5" fmla="*/ 105 h 129"/>
              <a:gd name="T6" fmla="*/ 48 w 62"/>
              <a:gd name="T7" fmla="*/ 99 h 129"/>
              <a:gd name="T8" fmla="*/ 42 w 62"/>
              <a:gd name="T9" fmla="*/ 92 h 129"/>
              <a:gd name="T10" fmla="*/ 47 w 62"/>
              <a:gd name="T11" fmla="*/ 76 h 129"/>
              <a:gd name="T12" fmla="*/ 40 w 62"/>
              <a:gd name="T13" fmla="*/ 61 h 129"/>
              <a:gd name="T14" fmla="*/ 48 w 62"/>
              <a:gd name="T15" fmla="*/ 59 h 129"/>
              <a:gd name="T16" fmla="*/ 49 w 62"/>
              <a:gd name="T17" fmla="*/ 48 h 129"/>
              <a:gd name="T18" fmla="*/ 53 w 62"/>
              <a:gd name="T19" fmla="*/ 45 h 129"/>
              <a:gd name="T20" fmla="*/ 54 w 62"/>
              <a:gd name="T21" fmla="*/ 27 h 129"/>
              <a:gd name="T22" fmla="*/ 62 w 62"/>
              <a:gd name="T23" fmla="*/ 20 h 129"/>
              <a:gd name="T24" fmla="*/ 58 w 62"/>
              <a:gd name="T25" fmla="*/ 9 h 129"/>
              <a:gd name="T26" fmla="*/ 46 w 62"/>
              <a:gd name="T27" fmla="*/ 8 h 129"/>
              <a:gd name="T28" fmla="*/ 43 w 62"/>
              <a:gd name="T29" fmla="*/ 11 h 129"/>
              <a:gd name="T30" fmla="*/ 31 w 62"/>
              <a:gd name="T31" fmla="*/ 11 h 129"/>
              <a:gd name="T32" fmla="*/ 28 w 62"/>
              <a:gd name="T33" fmla="*/ 0 h 129"/>
              <a:gd name="T34" fmla="*/ 19 w 62"/>
              <a:gd name="T35" fmla="*/ 3 h 129"/>
              <a:gd name="T36" fmla="*/ 13 w 62"/>
              <a:gd name="T37" fmla="*/ 9 h 129"/>
              <a:gd name="T38" fmla="*/ 13 w 62"/>
              <a:gd name="T39" fmla="*/ 17 h 129"/>
              <a:gd name="T40" fmla="*/ 16 w 62"/>
              <a:gd name="T41" fmla="*/ 25 h 129"/>
              <a:gd name="T42" fmla="*/ 16 w 62"/>
              <a:gd name="T43" fmla="*/ 35 h 129"/>
              <a:gd name="T44" fmla="*/ 12 w 62"/>
              <a:gd name="T45" fmla="*/ 49 h 129"/>
              <a:gd name="T46" fmla="*/ 10 w 62"/>
              <a:gd name="T47" fmla="*/ 59 h 129"/>
              <a:gd name="T48" fmla="*/ 2 w 62"/>
              <a:gd name="T49" fmla="*/ 67 h 129"/>
              <a:gd name="T50" fmla="*/ 0 w 62"/>
              <a:gd name="T51" fmla="*/ 83 h 129"/>
              <a:gd name="T52" fmla="*/ 4 w 62"/>
              <a:gd name="T53" fmla="*/ 92 h 129"/>
              <a:gd name="T54" fmla="*/ 13 w 62"/>
              <a:gd name="T55" fmla="*/ 94 h 129"/>
              <a:gd name="T56" fmla="*/ 15 w 62"/>
              <a:gd name="T57" fmla="*/ 109 h 129"/>
              <a:gd name="T58" fmla="*/ 11 w 62"/>
              <a:gd name="T59" fmla="*/ 129 h 129"/>
              <a:gd name="T60" fmla="*/ 21 w 62"/>
              <a:gd name="T61" fmla="*/ 126 h 129"/>
              <a:gd name="T62" fmla="*/ 31 w 62"/>
              <a:gd name="T63" fmla="*/ 129 h 129"/>
              <a:gd name="T64" fmla="*/ 39 w 62"/>
              <a:gd name="T65" fmla="*/ 123 h 129"/>
              <a:gd name="T66" fmla="*/ 39 w 62"/>
              <a:gd name="T67" fmla="*/ 1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 h="129">
                <a:moveTo>
                  <a:pt x="39" y="123"/>
                </a:moveTo>
                <a:lnTo>
                  <a:pt x="38" y="115"/>
                </a:lnTo>
                <a:lnTo>
                  <a:pt x="45" y="105"/>
                </a:lnTo>
                <a:lnTo>
                  <a:pt x="48" y="99"/>
                </a:lnTo>
                <a:lnTo>
                  <a:pt x="42" y="92"/>
                </a:lnTo>
                <a:lnTo>
                  <a:pt x="47" y="76"/>
                </a:lnTo>
                <a:lnTo>
                  <a:pt x="40" y="61"/>
                </a:lnTo>
                <a:lnTo>
                  <a:pt x="48" y="59"/>
                </a:lnTo>
                <a:lnTo>
                  <a:pt x="49" y="48"/>
                </a:lnTo>
                <a:lnTo>
                  <a:pt x="53" y="45"/>
                </a:lnTo>
                <a:lnTo>
                  <a:pt x="54" y="27"/>
                </a:lnTo>
                <a:lnTo>
                  <a:pt x="62" y="20"/>
                </a:lnTo>
                <a:lnTo>
                  <a:pt x="58" y="9"/>
                </a:lnTo>
                <a:lnTo>
                  <a:pt x="46" y="8"/>
                </a:lnTo>
                <a:lnTo>
                  <a:pt x="43" y="11"/>
                </a:lnTo>
                <a:lnTo>
                  <a:pt x="31" y="11"/>
                </a:lnTo>
                <a:lnTo>
                  <a:pt x="28" y="0"/>
                </a:lnTo>
                <a:lnTo>
                  <a:pt x="19" y="3"/>
                </a:lnTo>
                <a:lnTo>
                  <a:pt x="13" y="9"/>
                </a:lnTo>
                <a:lnTo>
                  <a:pt x="13" y="17"/>
                </a:lnTo>
                <a:lnTo>
                  <a:pt x="16" y="25"/>
                </a:lnTo>
                <a:lnTo>
                  <a:pt x="16" y="35"/>
                </a:lnTo>
                <a:lnTo>
                  <a:pt x="12" y="49"/>
                </a:lnTo>
                <a:lnTo>
                  <a:pt x="10" y="59"/>
                </a:lnTo>
                <a:lnTo>
                  <a:pt x="2" y="67"/>
                </a:lnTo>
                <a:lnTo>
                  <a:pt x="0" y="83"/>
                </a:lnTo>
                <a:lnTo>
                  <a:pt x="4" y="92"/>
                </a:lnTo>
                <a:lnTo>
                  <a:pt x="13" y="94"/>
                </a:lnTo>
                <a:lnTo>
                  <a:pt x="15" y="109"/>
                </a:lnTo>
                <a:lnTo>
                  <a:pt x="11" y="129"/>
                </a:lnTo>
                <a:lnTo>
                  <a:pt x="21" y="126"/>
                </a:lnTo>
                <a:lnTo>
                  <a:pt x="31" y="129"/>
                </a:lnTo>
                <a:lnTo>
                  <a:pt x="39" y="123"/>
                </a:lnTo>
                <a:lnTo>
                  <a:pt x="39" y="12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39" name="Paraguay">
            <a:extLst>
              <a:ext uri="{FF2B5EF4-FFF2-40B4-BE49-F238E27FC236}">
                <a16:creationId xmlns:a16="http://schemas.microsoft.com/office/drawing/2014/main" id="{DCCED2D2-7121-4EE5-AD4E-60B4AB9BA399}"/>
              </a:ext>
            </a:extLst>
          </p:cNvPr>
          <p:cNvSpPr>
            <a:spLocks/>
          </p:cNvSpPr>
          <p:nvPr/>
        </p:nvSpPr>
        <p:spPr bwMode="auto">
          <a:xfrm>
            <a:off x="3010419" y="5122847"/>
            <a:ext cx="301114" cy="331737"/>
          </a:xfrm>
          <a:custGeom>
            <a:avLst/>
            <a:gdLst>
              <a:gd name="T0" fmla="*/ 89 w 177"/>
              <a:gd name="T1" fmla="*/ 19 h 195"/>
              <a:gd name="T2" fmla="*/ 88 w 177"/>
              <a:gd name="T3" fmla="*/ 12 h 195"/>
              <a:gd name="T4" fmla="*/ 67 w 177"/>
              <a:gd name="T5" fmla="*/ 0 h 195"/>
              <a:gd name="T6" fmla="*/ 48 w 177"/>
              <a:gd name="T7" fmla="*/ 0 h 195"/>
              <a:gd name="T8" fmla="*/ 13 w 177"/>
              <a:gd name="T9" fmla="*/ 6 h 195"/>
              <a:gd name="T10" fmla="*/ 5 w 177"/>
              <a:gd name="T11" fmla="*/ 28 h 195"/>
              <a:gd name="T12" fmla="*/ 6 w 177"/>
              <a:gd name="T13" fmla="*/ 40 h 195"/>
              <a:gd name="T14" fmla="*/ 0 w 177"/>
              <a:gd name="T15" fmla="*/ 69 h 195"/>
              <a:gd name="T16" fmla="*/ 42 w 177"/>
              <a:gd name="T17" fmla="*/ 107 h 195"/>
              <a:gd name="T18" fmla="*/ 59 w 177"/>
              <a:gd name="T19" fmla="*/ 111 h 195"/>
              <a:gd name="T20" fmla="*/ 86 w 177"/>
              <a:gd name="T21" fmla="*/ 129 h 195"/>
              <a:gd name="T22" fmla="*/ 108 w 177"/>
              <a:gd name="T23" fmla="*/ 138 h 195"/>
              <a:gd name="T24" fmla="*/ 112 w 177"/>
              <a:gd name="T25" fmla="*/ 148 h 195"/>
              <a:gd name="T26" fmla="*/ 96 w 177"/>
              <a:gd name="T27" fmla="*/ 185 h 195"/>
              <a:gd name="T28" fmla="*/ 118 w 177"/>
              <a:gd name="T29" fmla="*/ 191 h 195"/>
              <a:gd name="T30" fmla="*/ 141 w 177"/>
              <a:gd name="T31" fmla="*/ 195 h 195"/>
              <a:gd name="T32" fmla="*/ 157 w 177"/>
              <a:gd name="T33" fmla="*/ 191 h 195"/>
              <a:gd name="T34" fmla="*/ 173 w 177"/>
              <a:gd name="T35" fmla="*/ 172 h 195"/>
              <a:gd name="T36" fmla="*/ 174 w 177"/>
              <a:gd name="T37" fmla="*/ 152 h 195"/>
              <a:gd name="T38" fmla="*/ 176 w 177"/>
              <a:gd name="T39" fmla="*/ 138 h 195"/>
              <a:gd name="T40" fmla="*/ 177 w 177"/>
              <a:gd name="T41" fmla="*/ 124 h 195"/>
              <a:gd name="T42" fmla="*/ 176 w 177"/>
              <a:gd name="T43" fmla="*/ 111 h 195"/>
              <a:gd name="T44" fmla="*/ 168 w 177"/>
              <a:gd name="T45" fmla="*/ 106 h 195"/>
              <a:gd name="T46" fmla="*/ 161 w 177"/>
              <a:gd name="T47" fmla="*/ 111 h 195"/>
              <a:gd name="T48" fmla="*/ 153 w 177"/>
              <a:gd name="T49" fmla="*/ 109 h 195"/>
              <a:gd name="T50" fmla="*/ 150 w 177"/>
              <a:gd name="T51" fmla="*/ 100 h 195"/>
              <a:gd name="T52" fmla="*/ 147 w 177"/>
              <a:gd name="T53" fmla="*/ 78 h 195"/>
              <a:gd name="T54" fmla="*/ 142 w 177"/>
              <a:gd name="T55" fmla="*/ 72 h 195"/>
              <a:gd name="T56" fmla="*/ 127 w 177"/>
              <a:gd name="T57" fmla="*/ 65 h 195"/>
              <a:gd name="T58" fmla="*/ 119 w 177"/>
              <a:gd name="T59" fmla="*/ 70 h 195"/>
              <a:gd name="T60" fmla="*/ 97 w 177"/>
              <a:gd name="T61" fmla="*/ 65 h 195"/>
              <a:gd name="T62" fmla="*/ 95 w 177"/>
              <a:gd name="T63" fmla="*/ 32 h 195"/>
              <a:gd name="T64" fmla="*/ 89 w 177"/>
              <a:gd name="T65" fmla="*/ 19 h 195"/>
              <a:gd name="T66" fmla="*/ 89 w 177"/>
              <a:gd name="T67" fmla="*/ 1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7" h="195">
                <a:moveTo>
                  <a:pt x="89" y="19"/>
                </a:moveTo>
                <a:lnTo>
                  <a:pt x="88" y="12"/>
                </a:lnTo>
                <a:lnTo>
                  <a:pt x="67" y="0"/>
                </a:lnTo>
                <a:lnTo>
                  <a:pt x="48" y="0"/>
                </a:lnTo>
                <a:lnTo>
                  <a:pt x="13" y="6"/>
                </a:lnTo>
                <a:lnTo>
                  <a:pt x="5" y="28"/>
                </a:lnTo>
                <a:lnTo>
                  <a:pt x="6" y="40"/>
                </a:lnTo>
                <a:lnTo>
                  <a:pt x="0" y="69"/>
                </a:lnTo>
                <a:lnTo>
                  <a:pt x="42" y="107"/>
                </a:lnTo>
                <a:lnTo>
                  <a:pt x="59" y="111"/>
                </a:lnTo>
                <a:lnTo>
                  <a:pt x="86" y="129"/>
                </a:lnTo>
                <a:lnTo>
                  <a:pt x="108" y="138"/>
                </a:lnTo>
                <a:lnTo>
                  <a:pt x="112" y="148"/>
                </a:lnTo>
                <a:lnTo>
                  <a:pt x="96" y="185"/>
                </a:lnTo>
                <a:lnTo>
                  <a:pt x="118" y="191"/>
                </a:lnTo>
                <a:lnTo>
                  <a:pt x="141" y="195"/>
                </a:lnTo>
                <a:lnTo>
                  <a:pt x="157" y="191"/>
                </a:lnTo>
                <a:lnTo>
                  <a:pt x="173" y="172"/>
                </a:lnTo>
                <a:lnTo>
                  <a:pt x="174" y="152"/>
                </a:lnTo>
                <a:lnTo>
                  <a:pt x="176" y="138"/>
                </a:lnTo>
                <a:lnTo>
                  <a:pt x="177" y="124"/>
                </a:lnTo>
                <a:lnTo>
                  <a:pt x="176" y="111"/>
                </a:lnTo>
                <a:lnTo>
                  <a:pt x="168" y="106"/>
                </a:lnTo>
                <a:lnTo>
                  <a:pt x="161" y="111"/>
                </a:lnTo>
                <a:lnTo>
                  <a:pt x="153" y="109"/>
                </a:lnTo>
                <a:lnTo>
                  <a:pt x="150" y="100"/>
                </a:lnTo>
                <a:lnTo>
                  <a:pt x="147" y="78"/>
                </a:lnTo>
                <a:lnTo>
                  <a:pt x="142" y="72"/>
                </a:lnTo>
                <a:lnTo>
                  <a:pt x="127" y="65"/>
                </a:lnTo>
                <a:lnTo>
                  <a:pt x="119" y="70"/>
                </a:lnTo>
                <a:lnTo>
                  <a:pt x="97" y="65"/>
                </a:lnTo>
                <a:lnTo>
                  <a:pt x="95" y="32"/>
                </a:lnTo>
                <a:lnTo>
                  <a:pt x="89" y="19"/>
                </a:lnTo>
                <a:lnTo>
                  <a:pt x="89" y="1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40" name="Cisjordania">
            <a:extLst>
              <a:ext uri="{FF2B5EF4-FFF2-40B4-BE49-F238E27FC236}">
                <a16:creationId xmlns:a16="http://schemas.microsoft.com/office/drawing/2014/main" id="{778E5001-8B94-4C7D-95EE-D6099F2A64AC}"/>
              </a:ext>
            </a:extLst>
          </p:cNvPr>
          <p:cNvSpPr>
            <a:spLocks/>
          </p:cNvSpPr>
          <p:nvPr/>
        </p:nvSpPr>
        <p:spPr bwMode="auto">
          <a:xfrm>
            <a:off x="6392434" y="3025249"/>
            <a:ext cx="18713" cy="47634"/>
          </a:xfrm>
          <a:custGeom>
            <a:avLst/>
            <a:gdLst>
              <a:gd name="T0" fmla="*/ 10 w 11"/>
              <a:gd name="T1" fmla="*/ 3 h 28"/>
              <a:gd name="T2" fmla="*/ 2 w 11"/>
              <a:gd name="T3" fmla="*/ 0 h 28"/>
              <a:gd name="T4" fmla="*/ 0 w 11"/>
              <a:gd name="T5" fmla="*/ 16 h 28"/>
              <a:gd name="T6" fmla="*/ 4 w 11"/>
              <a:gd name="T7" fmla="*/ 19 h 28"/>
              <a:gd name="T8" fmla="*/ 1 w 11"/>
              <a:gd name="T9" fmla="*/ 22 h 28"/>
              <a:gd name="T10" fmla="*/ 0 w 11"/>
              <a:gd name="T11" fmla="*/ 28 h 28"/>
              <a:gd name="T12" fmla="*/ 9 w 11"/>
              <a:gd name="T13" fmla="*/ 25 h 28"/>
              <a:gd name="T14" fmla="*/ 11 w 11"/>
              <a:gd name="T15" fmla="*/ 18 h 28"/>
              <a:gd name="T16" fmla="*/ 10 w 11"/>
              <a:gd name="T17" fmla="*/ 3 h 28"/>
              <a:gd name="T18" fmla="*/ 10 w 11"/>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8">
                <a:moveTo>
                  <a:pt x="10" y="3"/>
                </a:moveTo>
                <a:lnTo>
                  <a:pt x="2" y="0"/>
                </a:lnTo>
                <a:lnTo>
                  <a:pt x="0" y="16"/>
                </a:lnTo>
                <a:lnTo>
                  <a:pt x="4" y="19"/>
                </a:lnTo>
                <a:lnTo>
                  <a:pt x="1" y="22"/>
                </a:lnTo>
                <a:lnTo>
                  <a:pt x="0" y="28"/>
                </a:lnTo>
                <a:lnTo>
                  <a:pt x="9" y="25"/>
                </a:lnTo>
                <a:lnTo>
                  <a:pt x="11" y="18"/>
                </a:lnTo>
                <a:lnTo>
                  <a:pt x="10" y="3"/>
                </a:lnTo>
                <a:lnTo>
                  <a:pt x="10" y="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41" name="Bahrain">
            <a:extLst>
              <a:ext uri="{FF2B5EF4-FFF2-40B4-BE49-F238E27FC236}">
                <a16:creationId xmlns:a16="http://schemas.microsoft.com/office/drawing/2014/main" id="{7BBCD3B8-B7CF-4F1D-8A01-F073DF47418D}"/>
              </a:ext>
            </a:extLst>
          </p:cNvPr>
          <p:cNvSpPr>
            <a:spLocks/>
          </p:cNvSpPr>
          <p:nvPr/>
        </p:nvSpPr>
        <p:spPr bwMode="auto">
          <a:xfrm>
            <a:off x="6962343" y="3283833"/>
            <a:ext cx="30622" cy="64646"/>
          </a:xfrm>
          <a:custGeom>
            <a:avLst/>
            <a:gdLst>
              <a:gd name="T0" fmla="*/ 15 w 18"/>
              <a:gd name="T1" fmla="*/ 36 h 38"/>
              <a:gd name="T2" fmla="*/ 18 w 18"/>
              <a:gd name="T3" fmla="*/ 22 h 38"/>
              <a:gd name="T4" fmla="*/ 16 w 18"/>
              <a:gd name="T5" fmla="*/ 8 h 38"/>
              <a:gd name="T6" fmla="*/ 9 w 18"/>
              <a:gd name="T7" fmla="*/ 0 h 38"/>
              <a:gd name="T8" fmla="*/ 4 w 18"/>
              <a:gd name="T9" fmla="*/ 3 h 38"/>
              <a:gd name="T10" fmla="*/ 0 w 18"/>
              <a:gd name="T11" fmla="*/ 15 h 38"/>
              <a:gd name="T12" fmla="*/ 3 w 18"/>
              <a:gd name="T13" fmla="*/ 33 h 38"/>
              <a:gd name="T14" fmla="*/ 9 w 18"/>
              <a:gd name="T15" fmla="*/ 38 h 38"/>
              <a:gd name="T16" fmla="*/ 15 w 18"/>
              <a:gd name="T17" fmla="*/ 36 h 38"/>
              <a:gd name="T18" fmla="*/ 15 w 18"/>
              <a:gd name="T19" fmla="*/ 3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8">
                <a:moveTo>
                  <a:pt x="15" y="36"/>
                </a:moveTo>
                <a:lnTo>
                  <a:pt x="18" y="22"/>
                </a:lnTo>
                <a:lnTo>
                  <a:pt x="16" y="8"/>
                </a:lnTo>
                <a:lnTo>
                  <a:pt x="9" y="0"/>
                </a:lnTo>
                <a:lnTo>
                  <a:pt x="4" y="3"/>
                </a:lnTo>
                <a:lnTo>
                  <a:pt x="0" y="15"/>
                </a:lnTo>
                <a:lnTo>
                  <a:pt x="3" y="33"/>
                </a:lnTo>
                <a:lnTo>
                  <a:pt x="9" y="38"/>
                </a:lnTo>
                <a:lnTo>
                  <a:pt x="15" y="36"/>
                </a:lnTo>
                <a:lnTo>
                  <a:pt x="15" y="3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42" name="Romania">
            <a:extLst>
              <a:ext uri="{FF2B5EF4-FFF2-40B4-BE49-F238E27FC236}">
                <a16:creationId xmlns:a16="http://schemas.microsoft.com/office/drawing/2014/main" id="{0E084169-2DBD-4C57-992A-0DC0FCB12703}"/>
              </a:ext>
            </a:extLst>
          </p:cNvPr>
          <p:cNvSpPr>
            <a:spLocks/>
          </p:cNvSpPr>
          <p:nvPr/>
        </p:nvSpPr>
        <p:spPr bwMode="auto">
          <a:xfrm>
            <a:off x="5844644" y="2395799"/>
            <a:ext cx="304517" cy="180328"/>
          </a:xfrm>
          <a:custGeom>
            <a:avLst/>
            <a:gdLst>
              <a:gd name="T0" fmla="*/ 112 w 179"/>
              <a:gd name="T1" fmla="*/ 0 h 106"/>
              <a:gd name="T2" fmla="*/ 104 w 179"/>
              <a:gd name="T3" fmla="*/ 0 h 106"/>
              <a:gd name="T4" fmla="*/ 100 w 179"/>
              <a:gd name="T5" fmla="*/ 6 h 106"/>
              <a:gd name="T6" fmla="*/ 87 w 179"/>
              <a:gd name="T7" fmla="*/ 9 h 106"/>
              <a:gd name="T8" fmla="*/ 81 w 179"/>
              <a:gd name="T9" fmla="*/ 12 h 106"/>
              <a:gd name="T10" fmla="*/ 72 w 179"/>
              <a:gd name="T11" fmla="*/ 6 h 106"/>
              <a:gd name="T12" fmla="*/ 60 w 179"/>
              <a:gd name="T13" fmla="*/ 6 h 106"/>
              <a:gd name="T14" fmla="*/ 48 w 179"/>
              <a:gd name="T15" fmla="*/ 3 h 106"/>
              <a:gd name="T16" fmla="*/ 41 w 179"/>
              <a:gd name="T17" fmla="*/ 9 h 106"/>
              <a:gd name="T18" fmla="*/ 30 w 179"/>
              <a:gd name="T19" fmla="*/ 14 h 106"/>
              <a:gd name="T20" fmla="*/ 23 w 179"/>
              <a:gd name="T21" fmla="*/ 29 h 106"/>
              <a:gd name="T22" fmla="*/ 14 w 179"/>
              <a:gd name="T23" fmla="*/ 45 h 106"/>
              <a:gd name="T24" fmla="*/ 0 w 179"/>
              <a:gd name="T25" fmla="*/ 49 h 106"/>
              <a:gd name="T26" fmla="*/ 10 w 179"/>
              <a:gd name="T27" fmla="*/ 58 h 106"/>
              <a:gd name="T28" fmla="*/ 13 w 179"/>
              <a:gd name="T29" fmla="*/ 66 h 106"/>
              <a:gd name="T30" fmla="*/ 25 w 179"/>
              <a:gd name="T31" fmla="*/ 71 h 106"/>
              <a:gd name="T32" fmla="*/ 28 w 179"/>
              <a:gd name="T33" fmla="*/ 81 h 106"/>
              <a:gd name="T34" fmla="*/ 39 w 179"/>
              <a:gd name="T35" fmla="*/ 87 h 106"/>
              <a:gd name="T36" fmla="*/ 44 w 179"/>
              <a:gd name="T37" fmla="*/ 83 h 106"/>
              <a:gd name="T38" fmla="*/ 50 w 179"/>
              <a:gd name="T39" fmla="*/ 85 h 106"/>
              <a:gd name="T40" fmla="*/ 45 w 179"/>
              <a:gd name="T41" fmla="*/ 89 h 106"/>
              <a:gd name="T42" fmla="*/ 49 w 179"/>
              <a:gd name="T43" fmla="*/ 93 h 106"/>
              <a:gd name="T44" fmla="*/ 56 w 179"/>
              <a:gd name="T45" fmla="*/ 102 h 106"/>
              <a:gd name="T46" fmla="*/ 63 w 179"/>
              <a:gd name="T47" fmla="*/ 100 h 106"/>
              <a:gd name="T48" fmla="*/ 78 w 179"/>
              <a:gd name="T49" fmla="*/ 104 h 106"/>
              <a:gd name="T50" fmla="*/ 106 w 179"/>
              <a:gd name="T51" fmla="*/ 106 h 106"/>
              <a:gd name="T52" fmla="*/ 114 w 179"/>
              <a:gd name="T53" fmla="*/ 99 h 106"/>
              <a:gd name="T54" fmla="*/ 136 w 179"/>
              <a:gd name="T55" fmla="*/ 95 h 106"/>
              <a:gd name="T56" fmla="*/ 151 w 179"/>
              <a:gd name="T57" fmla="*/ 102 h 106"/>
              <a:gd name="T58" fmla="*/ 162 w 179"/>
              <a:gd name="T59" fmla="*/ 105 h 106"/>
              <a:gd name="T60" fmla="*/ 164 w 179"/>
              <a:gd name="T61" fmla="*/ 78 h 106"/>
              <a:gd name="T62" fmla="*/ 169 w 179"/>
              <a:gd name="T63" fmla="*/ 80 h 106"/>
              <a:gd name="T64" fmla="*/ 179 w 179"/>
              <a:gd name="T65" fmla="*/ 74 h 106"/>
              <a:gd name="T66" fmla="*/ 177 w 179"/>
              <a:gd name="T67" fmla="*/ 69 h 106"/>
              <a:gd name="T68" fmla="*/ 168 w 179"/>
              <a:gd name="T69" fmla="*/ 65 h 106"/>
              <a:gd name="T70" fmla="*/ 160 w 179"/>
              <a:gd name="T71" fmla="*/ 69 h 106"/>
              <a:gd name="T72" fmla="*/ 151 w 179"/>
              <a:gd name="T73" fmla="*/ 64 h 106"/>
              <a:gd name="T74" fmla="*/ 146 w 179"/>
              <a:gd name="T75" fmla="*/ 54 h 106"/>
              <a:gd name="T76" fmla="*/ 147 w 179"/>
              <a:gd name="T77" fmla="*/ 43 h 106"/>
              <a:gd name="T78" fmla="*/ 144 w 179"/>
              <a:gd name="T79" fmla="*/ 33 h 106"/>
              <a:gd name="T80" fmla="*/ 132 w 179"/>
              <a:gd name="T81" fmla="*/ 20 h 106"/>
              <a:gd name="T82" fmla="*/ 125 w 179"/>
              <a:gd name="T83" fmla="*/ 10 h 106"/>
              <a:gd name="T84" fmla="*/ 118 w 179"/>
              <a:gd name="T85" fmla="*/ 3 h 106"/>
              <a:gd name="T86" fmla="*/ 112 w 179"/>
              <a:gd name="T87" fmla="*/ 0 h 106"/>
              <a:gd name="T88" fmla="*/ 112 w 179"/>
              <a:gd name="T8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9" h="106">
                <a:moveTo>
                  <a:pt x="112" y="0"/>
                </a:moveTo>
                <a:lnTo>
                  <a:pt x="104" y="0"/>
                </a:lnTo>
                <a:lnTo>
                  <a:pt x="100" y="6"/>
                </a:lnTo>
                <a:lnTo>
                  <a:pt x="87" y="9"/>
                </a:lnTo>
                <a:lnTo>
                  <a:pt x="81" y="12"/>
                </a:lnTo>
                <a:lnTo>
                  <a:pt x="72" y="6"/>
                </a:lnTo>
                <a:lnTo>
                  <a:pt x="60" y="6"/>
                </a:lnTo>
                <a:lnTo>
                  <a:pt x="48" y="3"/>
                </a:lnTo>
                <a:lnTo>
                  <a:pt x="41" y="9"/>
                </a:lnTo>
                <a:lnTo>
                  <a:pt x="30" y="14"/>
                </a:lnTo>
                <a:lnTo>
                  <a:pt x="23" y="29"/>
                </a:lnTo>
                <a:lnTo>
                  <a:pt x="14" y="45"/>
                </a:lnTo>
                <a:lnTo>
                  <a:pt x="0" y="49"/>
                </a:lnTo>
                <a:lnTo>
                  <a:pt x="10" y="58"/>
                </a:lnTo>
                <a:lnTo>
                  <a:pt x="13" y="66"/>
                </a:lnTo>
                <a:lnTo>
                  <a:pt x="25" y="71"/>
                </a:lnTo>
                <a:lnTo>
                  <a:pt x="28" y="81"/>
                </a:lnTo>
                <a:lnTo>
                  <a:pt x="39" y="87"/>
                </a:lnTo>
                <a:lnTo>
                  <a:pt x="44" y="83"/>
                </a:lnTo>
                <a:lnTo>
                  <a:pt x="50" y="85"/>
                </a:lnTo>
                <a:lnTo>
                  <a:pt x="45" y="89"/>
                </a:lnTo>
                <a:lnTo>
                  <a:pt x="49" y="93"/>
                </a:lnTo>
                <a:lnTo>
                  <a:pt x="56" y="102"/>
                </a:lnTo>
                <a:lnTo>
                  <a:pt x="63" y="100"/>
                </a:lnTo>
                <a:lnTo>
                  <a:pt x="78" y="104"/>
                </a:lnTo>
                <a:lnTo>
                  <a:pt x="106" y="106"/>
                </a:lnTo>
                <a:lnTo>
                  <a:pt x="114" y="99"/>
                </a:lnTo>
                <a:lnTo>
                  <a:pt x="136" y="95"/>
                </a:lnTo>
                <a:lnTo>
                  <a:pt x="151" y="102"/>
                </a:lnTo>
                <a:lnTo>
                  <a:pt x="162" y="105"/>
                </a:lnTo>
                <a:lnTo>
                  <a:pt x="164" y="78"/>
                </a:lnTo>
                <a:lnTo>
                  <a:pt x="169" y="80"/>
                </a:lnTo>
                <a:lnTo>
                  <a:pt x="179" y="74"/>
                </a:lnTo>
                <a:lnTo>
                  <a:pt x="177" y="69"/>
                </a:lnTo>
                <a:lnTo>
                  <a:pt x="168" y="65"/>
                </a:lnTo>
                <a:lnTo>
                  <a:pt x="160" y="69"/>
                </a:lnTo>
                <a:lnTo>
                  <a:pt x="151" y="64"/>
                </a:lnTo>
                <a:lnTo>
                  <a:pt x="146" y="54"/>
                </a:lnTo>
                <a:lnTo>
                  <a:pt x="147" y="43"/>
                </a:lnTo>
                <a:lnTo>
                  <a:pt x="144" y="33"/>
                </a:lnTo>
                <a:lnTo>
                  <a:pt x="132" y="20"/>
                </a:lnTo>
                <a:lnTo>
                  <a:pt x="125" y="10"/>
                </a:lnTo>
                <a:lnTo>
                  <a:pt x="118" y="3"/>
                </a:lnTo>
                <a:lnTo>
                  <a:pt x="112" y="0"/>
                </a:lnTo>
                <a:lnTo>
                  <a:pt x="112"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43" name="Russia">
            <a:extLst>
              <a:ext uri="{FF2B5EF4-FFF2-40B4-BE49-F238E27FC236}">
                <a16:creationId xmlns:a16="http://schemas.microsoft.com/office/drawing/2014/main" id="{3F4EF3F6-97A6-4405-8584-2EC8FC46E3CF}"/>
              </a:ext>
            </a:extLst>
          </p:cNvPr>
          <p:cNvSpPr>
            <a:spLocks noEditPoints="1"/>
          </p:cNvSpPr>
          <p:nvPr/>
        </p:nvSpPr>
        <p:spPr bwMode="auto">
          <a:xfrm>
            <a:off x="5790207" y="1245781"/>
            <a:ext cx="4407846" cy="1429020"/>
          </a:xfrm>
          <a:custGeom>
            <a:avLst/>
            <a:gdLst>
              <a:gd name="T0" fmla="*/ 955 w 2591"/>
              <a:gd name="T1" fmla="*/ 40 h 840"/>
              <a:gd name="T2" fmla="*/ 261 w 2591"/>
              <a:gd name="T3" fmla="*/ 10 h 840"/>
              <a:gd name="T4" fmla="*/ 999 w 2591"/>
              <a:gd name="T5" fmla="*/ 29 h 840"/>
              <a:gd name="T6" fmla="*/ 1046 w 2591"/>
              <a:gd name="T7" fmla="*/ 80 h 840"/>
              <a:gd name="T8" fmla="*/ 899 w 2591"/>
              <a:gd name="T9" fmla="*/ 127 h 840"/>
              <a:gd name="T10" fmla="*/ 771 w 2591"/>
              <a:gd name="T11" fmla="*/ 176 h 840"/>
              <a:gd name="T12" fmla="*/ 798 w 2591"/>
              <a:gd name="T13" fmla="*/ 236 h 840"/>
              <a:gd name="T14" fmla="*/ 746 w 2591"/>
              <a:gd name="T15" fmla="*/ 195 h 840"/>
              <a:gd name="T16" fmla="*/ 668 w 2591"/>
              <a:gd name="T17" fmla="*/ 204 h 840"/>
              <a:gd name="T18" fmla="*/ 586 w 2591"/>
              <a:gd name="T19" fmla="*/ 224 h 840"/>
              <a:gd name="T20" fmla="*/ 400 w 2591"/>
              <a:gd name="T21" fmla="*/ 253 h 840"/>
              <a:gd name="T22" fmla="*/ 350 w 2591"/>
              <a:gd name="T23" fmla="*/ 268 h 840"/>
              <a:gd name="T24" fmla="*/ 250 w 2591"/>
              <a:gd name="T25" fmla="*/ 328 h 840"/>
              <a:gd name="T26" fmla="*/ 291 w 2591"/>
              <a:gd name="T27" fmla="*/ 254 h 840"/>
              <a:gd name="T28" fmla="*/ 117 w 2591"/>
              <a:gd name="T29" fmla="*/ 249 h 840"/>
              <a:gd name="T30" fmla="*/ 121 w 2591"/>
              <a:gd name="T31" fmla="*/ 400 h 840"/>
              <a:gd name="T32" fmla="*/ 142 w 2591"/>
              <a:gd name="T33" fmla="*/ 496 h 840"/>
              <a:gd name="T34" fmla="*/ 228 w 2591"/>
              <a:gd name="T35" fmla="*/ 553 h 840"/>
              <a:gd name="T36" fmla="*/ 240 w 2591"/>
              <a:gd name="T37" fmla="*/ 584 h 840"/>
              <a:gd name="T38" fmla="*/ 346 w 2591"/>
              <a:gd name="T39" fmla="*/ 637 h 840"/>
              <a:gd name="T40" fmla="*/ 379 w 2591"/>
              <a:gd name="T41" fmla="*/ 699 h 840"/>
              <a:gd name="T42" fmla="*/ 430 w 2591"/>
              <a:gd name="T43" fmla="*/ 789 h 840"/>
              <a:gd name="T44" fmla="*/ 573 w 2591"/>
              <a:gd name="T45" fmla="*/ 840 h 840"/>
              <a:gd name="T46" fmla="*/ 558 w 2591"/>
              <a:gd name="T47" fmla="*/ 715 h 840"/>
              <a:gd name="T48" fmla="*/ 567 w 2591"/>
              <a:gd name="T49" fmla="*/ 597 h 840"/>
              <a:gd name="T50" fmla="*/ 730 w 2591"/>
              <a:gd name="T51" fmla="*/ 591 h 840"/>
              <a:gd name="T52" fmla="*/ 893 w 2591"/>
              <a:gd name="T53" fmla="*/ 518 h 840"/>
              <a:gd name="T54" fmla="*/ 1106 w 2591"/>
              <a:gd name="T55" fmla="*/ 604 h 840"/>
              <a:gd name="T56" fmla="*/ 1277 w 2591"/>
              <a:gd name="T57" fmla="*/ 648 h 840"/>
              <a:gd name="T58" fmla="*/ 1427 w 2591"/>
              <a:gd name="T59" fmla="*/ 589 h 840"/>
              <a:gd name="T60" fmla="*/ 1639 w 2591"/>
              <a:gd name="T61" fmla="*/ 652 h 840"/>
              <a:gd name="T62" fmla="*/ 1824 w 2591"/>
              <a:gd name="T63" fmla="*/ 633 h 840"/>
              <a:gd name="T64" fmla="*/ 1901 w 2591"/>
              <a:gd name="T65" fmla="*/ 572 h 840"/>
              <a:gd name="T66" fmla="*/ 2139 w 2591"/>
              <a:gd name="T67" fmla="*/ 671 h 840"/>
              <a:gd name="T68" fmla="*/ 2148 w 2591"/>
              <a:gd name="T69" fmla="*/ 811 h 840"/>
              <a:gd name="T70" fmla="*/ 2214 w 2591"/>
              <a:gd name="T71" fmla="*/ 789 h 840"/>
              <a:gd name="T72" fmla="*/ 2122 w 2591"/>
              <a:gd name="T73" fmla="*/ 540 h 840"/>
              <a:gd name="T74" fmla="*/ 2172 w 2591"/>
              <a:gd name="T75" fmla="*/ 419 h 840"/>
              <a:gd name="T76" fmla="*/ 2325 w 2591"/>
              <a:gd name="T77" fmla="*/ 358 h 840"/>
              <a:gd name="T78" fmla="*/ 2428 w 2591"/>
              <a:gd name="T79" fmla="*/ 564 h 840"/>
              <a:gd name="T80" fmla="*/ 2483 w 2591"/>
              <a:gd name="T81" fmla="*/ 496 h 840"/>
              <a:gd name="T82" fmla="*/ 2511 w 2591"/>
              <a:gd name="T83" fmla="*/ 414 h 840"/>
              <a:gd name="T84" fmla="*/ 2524 w 2591"/>
              <a:gd name="T85" fmla="*/ 324 h 840"/>
              <a:gd name="T86" fmla="*/ 2228 w 2591"/>
              <a:gd name="T87" fmla="*/ 210 h 840"/>
              <a:gd name="T88" fmla="*/ 2027 w 2591"/>
              <a:gd name="T89" fmla="*/ 185 h 840"/>
              <a:gd name="T90" fmla="*/ 1657 w 2591"/>
              <a:gd name="T91" fmla="*/ 170 h 840"/>
              <a:gd name="T92" fmla="*/ 1426 w 2591"/>
              <a:gd name="T93" fmla="*/ 130 h 840"/>
              <a:gd name="T94" fmla="*/ 1217 w 2591"/>
              <a:gd name="T95" fmla="*/ 122 h 840"/>
              <a:gd name="T96" fmla="*/ 1119 w 2591"/>
              <a:gd name="T97" fmla="*/ 71 h 840"/>
              <a:gd name="T98" fmla="*/ 588 w 2591"/>
              <a:gd name="T99" fmla="*/ 71 h 840"/>
              <a:gd name="T100" fmla="*/ 424 w 2591"/>
              <a:gd name="T101" fmla="*/ 159 h 840"/>
              <a:gd name="T102" fmla="*/ 1581 w 2591"/>
              <a:gd name="T103" fmla="*/ 85 h 840"/>
              <a:gd name="T104" fmla="*/ 1712 w 2591"/>
              <a:gd name="T105" fmla="*/ 103 h 840"/>
              <a:gd name="T106" fmla="*/ 1679 w 2591"/>
              <a:gd name="T107" fmla="*/ 138 h 840"/>
              <a:gd name="T108" fmla="*/ 52 w 2591"/>
              <a:gd name="T109" fmla="*/ 525 h 840"/>
              <a:gd name="T110" fmla="*/ 2185 w 2591"/>
              <a:gd name="T111" fmla="*/ 551 h 840"/>
              <a:gd name="T112" fmla="*/ 2293 w 2591"/>
              <a:gd name="T113" fmla="*/ 70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1" h="840">
                <a:moveTo>
                  <a:pt x="981" y="37"/>
                </a:moveTo>
                <a:lnTo>
                  <a:pt x="964" y="22"/>
                </a:lnTo>
                <a:lnTo>
                  <a:pt x="914" y="7"/>
                </a:lnTo>
                <a:lnTo>
                  <a:pt x="878" y="0"/>
                </a:lnTo>
                <a:lnTo>
                  <a:pt x="855" y="2"/>
                </a:lnTo>
                <a:lnTo>
                  <a:pt x="835" y="14"/>
                </a:lnTo>
                <a:lnTo>
                  <a:pt x="857" y="16"/>
                </a:lnTo>
                <a:lnTo>
                  <a:pt x="882" y="29"/>
                </a:lnTo>
                <a:lnTo>
                  <a:pt x="912" y="35"/>
                </a:lnTo>
                <a:lnTo>
                  <a:pt x="955" y="40"/>
                </a:lnTo>
                <a:lnTo>
                  <a:pt x="981" y="37"/>
                </a:lnTo>
                <a:close/>
                <a:moveTo>
                  <a:pt x="314" y="10"/>
                </a:moveTo>
                <a:lnTo>
                  <a:pt x="317" y="8"/>
                </a:lnTo>
                <a:lnTo>
                  <a:pt x="296" y="4"/>
                </a:lnTo>
                <a:lnTo>
                  <a:pt x="286" y="7"/>
                </a:lnTo>
                <a:lnTo>
                  <a:pt x="281" y="11"/>
                </a:lnTo>
                <a:lnTo>
                  <a:pt x="275" y="6"/>
                </a:lnTo>
                <a:lnTo>
                  <a:pt x="256" y="7"/>
                </a:lnTo>
                <a:lnTo>
                  <a:pt x="232" y="10"/>
                </a:lnTo>
                <a:lnTo>
                  <a:pt x="261" y="10"/>
                </a:lnTo>
                <a:lnTo>
                  <a:pt x="258" y="14"/>
                </a:lnTo>
                <a:lnTo>
                  <a:pt x="273" y="18"/>
                </a:lnTo>
                <a:lnTo>
                  <a:pt x="287" y="16"/>
                </a:lnTo>
                <a:lnTo>
                  <a:pt x="287" y="14"/>
                </a:lnTo>
                <a:lnTo>
                  <a:pt x="299" y="13"/>
                </a:lnTo>
                <a:lnTo>
                  <a:pt x="314" y="10"/>
                </a:lnTo>
                <a:close/>
                <a:moveTo>
                  <a:pt x="1062" y="47"/>
                </a:moveTo>
                <a:lnTo>
                  <a:pt x="1057" y="41"/>
                </a:lnTo>
                <a:lnTo>
                  <a:pt x="1010" y="30"/>
                </a:lnTo>
                <a:lnTo>
                  <a:pt x="999" y="29"/>
                </a:lnTo>
                <a:lnTo>
                  <a:pt x="991" y="31"/>
                </a:lnTo>
                <a:lnTo>
                  <a:pt x="995" y="54"/>
                </a:lnTo>
                <a:lnTo>
                  <a:pt x="1062" y="47"/>
                </a:lnTo>
                <a:close/>
                <a:moveTo>
                  <a:pt x="1119" y="71"/>
                </a:moveTo>
                <a:lnTo>
                  <a:pt x="1085" y="68"/>
                </a:lnTo>
                <a:lnTo>
                  <a:pt x="1098" y="63"/>
                </a:lnTo>
                <a:lnTo>
                  <a:pt x="1067" y="57"/>
                </a:lnTo>
                <a:lnTo>
                  <a:pt x="1045" y="65"/>
                </a:lnTo>
                <a:lnTo>
                  <a:pt x="1041" y="72"/>
                </a:lnTo>
                <a:lnTo>
                  <a:pt x="1046" y="80"/>
                </a:lnTo>
                <a:lnTo>
                  <a:pt x="1020" y="80"/>
                </a:lnTo>
                <a:lnTo>
                  <a:pt x="1001" y="89"/>
                </a:lnTo>
                <a:lnTo>
                  <a:pt x="985" y="85"/>
                </a:lnTo>
                <a:lnTo>
                  <a:pt x="950" y="87"/>
                </a:lnTo>
                <a:lnTo>
                  <a:pt x="951" y="92"/>
                </a:lnTo>
                <a:lnTo>
                  <a:pt x="917" y="95"/>
                </a:lnTo>
                <a:lnTo>
                  <a:pt x="898" y="104"/>
                </a:lnTo>
                <a:lnTo>
                  <a:pt x="883" y="104"/>
                </a:lnTo>
                <a:lnTo>
                  <a:pt x="878" y="117"/>
                </a:lnTo>
                <a:lnTo>
                  <a:pt x="899" y="127"/>
                </a:lnTo>
                <a:lnTo>
                  <a:pt x="870" y="129"/>
                </a:lnTo>
                <a:lnTo>
                  <a:pt x="835" y="128"/>
                </a:lnTo>
                <a:lnTo>
                  <a:pt x="813" y="132"/>
                </a:lnTo>
                <a:lnTo>
                  <a:pt x="831" y="153"/>
                </a:lnTo>
                <a:lnTo>
                  <a:pt x="857" y="169"/>
                </a:lnTo>
                <a:lnTo>
                  <a:pt x="821" y="157"/>
                </a:lnTo>
                <a:lnTo>
                  <a:pt x="792" y="158"/>
                </a:lnTo>
                <a:lnTo>
                  <a:pt x="772" y="166"/>
                </a:lnTo>
                <a:lnTo>
                  <a:pt x="789" y="180"/>
                </a:lnTo>
                <a:lnTo>
                  <a:pt x="771" y="176"/>
                </a:lnTo>
                <a:lnTo>
                  <a:pt x="763" y="157"/>
                </a:lnTo>
                <a:lnTo>
                  <a:pt x="747" y="147"/>
                </a:lnTo>
                <a:lnTo>
                  <a:pt x="740" y="147"/>
                </a:lnTo>
                <a:lnTo>
                  <a:pt x="754" y="161"/>
                </a:lnTo>
                <a:lnTo>
                  <a:pt x="736" y="174"/>
                </a:lnTo>
                <a:lnTo>
                  <a:pt x="767" y="190"/>
                </a:lnTo>
                <a:lnTo>
                  <a:pt x="768" y="211"/>
                </a:lnTo>
                <a:lnTo>
                  <a:pt x="779" y="221"/>
                </a:lnTo>
                <a:lnTo>
                  <a:pt x="797" y="223"/>
                </a:lnTo>
                <a:lnTo>
                  <a:pt x="798" y="236"/>
                </a:lnTo>
                <a:lnTo>
                  <a:pt x="815" y="248"/>
                </a:lnTo>
                <a:lnTo>
                  <a:pt x="807" y="257"/>
                </a:lnTo>
                <a:lnTo>
                  <a:pt x="809" y="268"/>
                </a:lnTo>
                <a:lnTo>
                  <a:pt x="795" y="272"/>
                </a:lnTo>
                <a:lnTo>
                  <a:pt x="793" y="280"/>
                </a:lnTo>
                <a:lnTo>
                  <a:pt x="774" y="277"/>
                </a:lnTo>
                <a:lnTo>
                  <a:pt x="787" y="248"/>
                </a:lnTo>
                <a:lnTo>
                  <a:pt x="785" y="235"/>
                </a:lnTo>
                <a:lnTo>
                  <a:pt x="760" y="222"/>
                </a:lnTo>
                <a:lnTo>
                  <a:pt x="746" y="195"/>
                </a:lnTo>
                <a:lnTo>
                  <a:pt x="732" y="181"/>
                </a:lnTo>
                <a:lnTo>
                  <a:pt x="719" y="175"/>
                </a:lnTo>
                <a:lnTo>
                  <a:pt x="722" y="159"/>
                </a:lnTo>
                <a:lnTo>
                  <a:pt x="711" y="149"/>
                </a:lnTo>
                <a:lnTo>
                  <a:pt x="668" y="143"/>
                </a:lnTo>
                <a:lnTo>
                  <a:pt x="661" y="147"/>
                </a:lnTo>
                <a:lnTo>
                  <a:pt x="663" y="165"/>
                </a:lnTo>
                <a:lnTo>
                  <a:pt x="647" y="183"/>
                </a:lnTo>
                <a:lnTo>
                  <a:pt x="652" y="188"/>
                </a:lnTo>
                <a:lnTo>
                  <a:pt x="668" y="204"/>
                </a:lnTo>
                <a:lnTo>
                  <a:pt x="669" y="213"/>
                </a:lnTo>
                <a:lnTo>
                  <a:pt x="689" y="215"/>
                </a:lnTo>
                <a:lnTo>
                  <a:pt x="692" y="220"/>
                </a:lnTo>
                <a:lnTo>
                  <a:pt x="713" y="230"/>
                </a:lnTo>
                <a:lnTo>
                  <a:pt x="709" y="240"/>
                </a:lnTo>
                <a:lnTo>
                  <a:pt x="640" y="218"/>
                </a:lnTo>
                <a:lnTo>
                  <a:pt x="616" y="212"/>
                </a:lnTo>
                <a:lnTo>
                  <a:pt x="568" y="206"/>
                </a:lnTo>
                <a:lnTo>
                  <a:pt x="564" y="212"/>
                </a:lnTo>
                <a:lnTo>
                  <a:pt x="586" y="224"/>
                </a:lnTo>
                <a:lnTo>
                  <a:pt x="576" y="237"/>
                </a:lnTo>
                <a:lnTo>
                  <a:pt x="552" y="226"/>
                </a:lnTo>
                <a:lnTo>
                  <a:pt x="533" y="233"/>
                </a:lnTo>
                <a:lnTo>
                  <a:pt x="505" y="234"/>
                </a:lnTo>
                <a:lnTo>
                  <a:pt x="497" y="240"/>
                </a:lnTo>
                <a:lnTo>
                  <a:pt x="477" y="239"/>
                </a:lnTo>
                <a:lnTo>
                  <a:pt x="486" y="226"/>
                </a:lnTo>
                <a:lnTo>
                  <a:pt x="474" y="226"/>
                </a:lnTo>
                <a:lnTo>
                  <a:pt x="428" y="242"/>
                </a:lnTo>
                <a:lnTo>
                  <a:pt x="400" y="253"/>
                </a:lnTo>
                <a:lnTo>
                  <a:pt x="401" y="266"/>
                </a:lnTo>
                <a:lnTo>
                  <a:pt x="379" y="270"/>
                </a:lnTo>
                <a:lnTo>
                  <a:pt x="364" y="263"/>
                </a:lnTo>
                <a:lnTo>
                  <a:pt x="360" y="252"/>
                </a:lnTo>
                <a:lnTo>
                  <a:pt x="379" y="249"/>
                </a:lnTo>
                <a:lnTo>
                  <a:pt x="365" y="238"/>
                </a:lnTo>
                <a:lnTo>
                  <a:pt x="319" y="231"/>
                </a:lnTo>
                <a:lnTo>
                  <a:pt x="336" y="244"/>
                </a:lnTo>
                <a:lnTo>
                  <a:pt x="332" y="255"/>
                </a:lnTo>
                <a:lnTo>
                  <a:pt x="350" y="268"/>
                </a:lnTo>
                <a:lnTo>
                  <a:pt x="346" y="282"/>
                </a:lnTo>
                <a:lnTo>
                  <a:pt x="328" y="275"/>
                </a:lnTo>
                <a:lnTo>
                  <a:pt x="314" y="274"/>
                </a:lnTo>
                <a:lnTo>
                  <a:pt x="284" y="295"/>
                </a:lnTo>
                <a:lnTo>
                  <a:pt x="300" y="310"/>
                </a:lnTo>
                <a:lnTo>
                  <a:pt x="287" y="315"/>
                </a:lnTo>
                <a:lnTo>
                  <a:pt x="245" y="302"/>
                </a:lnTo>
                <a:lnTo>
                  <a:pt x="237" y="310"/>
                </a:lnTo>
                <a:lnTo>
                  <a:pt x="250" y="319"/>
                </a:lnTo>
                <a:lnTo>
                  <a:pt x="250" y="328"/>
                </a:lnTo>
                <a:lnTo>
                  <a:pt x="236" y="324"/>
                </a:lnTo>
                <a:lnTo>
                  <a:pt x="214" y="317"/>
                </a:lnTo>
                <a:lnTo>
                  <a:pt x="207" y="296"/>
                </a:lnTo>
                <a:lnTo>
                  <a:pt x="203" y="285"/>
                </a:lnTo>
                <a:lnTo>
                  <a:pt x="173" y="270"/>
                </a:lnTo>
                <a:lnTo>
                  <a:pt x="184" y="268"/>
                </a:lnTo>
                <a:lnTo>
                  <a:pt x="259" y="283"/>
                </a:lnTo>
                <a:lnTo>
                  <a:pt x="283" y="278"/>
                </a:lnTo>
                <a:lnTo>
                  <a:pt x="297" y="268"/>
                </a:lnTo>
                <a:lnTo>
                  <a:pt x="291" y="254"/>
                </a:lnTo>
                <a:lnTo>
                  <a:pt x="276" y="244"/>
                </a:lnTo>
                <a:lnTo>
                  <a:pt x="210" y="222"/>
                </a:lnTo>
                <a:lnTo>
                  <a:pt x="167" y="216"/>
                </a:lnTo>
                <a:lnTo>
                  <a:pt x="138" y="205"/>
                </a:lnTo>
                <a:lnTo>
                  <a:pt x="125" y="212"/>
                </a:lnTo>
                <a:lnTo>
                  <a:pt x="125" y="212"/>
                </a:lnTo>
                <a:lnTo>
                  <a:pt x="101" y="220"/>
                </a:lnTo>
                <a:lnTo>
                  <a:pt x="89" y="222"/>
                </a:lnTo>
                <a:lnTo>
                  <a:pt x="90" y="235"/>
                </a:lnTo>
                <a:lnTo>
                  <a:pt x="117" y="249"/>
                </a:lnTo>
                <a:lnTo>
                  <a:pt x="107" y="265"/>
                </a:lnTo>
                <a:lnTo>
                  <a:pt x="131" y="288"/>
                </a:lnTo>
                <a:lnTo>
                  <a:pt x="125" y="306"/>
                </a:lnTo>
                <a:lnTo>
                  <a:pt x="143" y="321"/>
                </a:lnTo>
                <a:lnTo>
                  <a:pt x="140" y="335"/>
                </a:lnTo>
                <a:lnTo>
                  <a:pt x="167" y="350"/>
                </a:lnTo>
                <a:lnTo>
                  <a:pt x="163" y="360"/>
                </a:lnTo>
                <a:lnTo>
                  <a:pt x="151" y="373"/>
                </a:lnTo>
                <a:lnTo>
                  <a:pt x="121" y="400"/>
                </a:lnTo>
                <a:lnTo>
                  <a:pt x="121" y="400"/>
                </a:lnTo>
                <a:lnTo>
                  <a:pt x="142" y="410"/>
                </a:lnTo>
                <a:lnTo>
                  <a:pt x="125" y="423"/>
                </a:lnTo>
                <a:lnTo>
                  <a:pt x="125" y="423"/>
                </a:lnTo>
                <a:lnTo>
                  <a:pt x="128" y="426"/>
                </a:lnTo>
                <a:lnTo>
                  <a:pt x="118" y="439"/>
                </a:lnTo>
                <a:lnTo>
                  <a:pt x="128" y="460"/>
                </a:lnTo>
                <a:lnTo>
                  <a:pt x="121" y="466"/>
                </a:lnTo>
                <a:lnTo>
                  <a:pt x="131" y="472"/>
                </a:lnTo>
                <a:lnTo>
                  <a:pt x="134" y="482"/>
                </a:lnTo>
                <a:lnTo>
                  <a:pt x="142" y="496"/>
                </a:lnTo>
                <a:lnTo>
                  <a:pt x="161" y="502"/>
                </a:lnTo>
                <a:lnTo>
                  <a:pt x="165" y="507"/>
                </a:lnTo>
                <a:lnTo>
                  <a:pt x="173" y="504"/>
                </a:lnTo>
                <a:lnTo>
                  <a:pt x="192" y="509"/>
                </a:lnTo>
                <a:lnTo>
                  <a:pt x="196" y="521"/>
                </a:lnTo>
                <a:lnTo>
                  <a:pt x="193" y="526"/>
                </a:lnTo>
                <a:lnTo>
                  <a:pt x="207" y="541"/>
                </a:lnTo>
                <a:lnTo>
                  <a:pt x="216" y="545"/>
                </a:lnTo>
                <a:lnTo>
                  <a:pt x="215" y="549"/>
                </a:lnTo>
                <a:lnTo>
                  <a:pt x="228" y="553"/>
                </a:lnTo>
                <a:lnTo>
                  <a:pt x="234" y="559"/>
                </a:lnTo>
                <a:lnTo>
                  <a:pt x="228" y="564"/>
                </a:lnTo>
                <a:lnTo>
                  <a:pt x="214" y="564"/>
                </a:lnTo>
                <a:lnTo>
                  <a:pt x="211" y="565"/>
                </a:lnTo>
                <a:lnTo>
                  <a:pt x="216" y="573"/>
                </a:lnTo>
                <a:lnTo>
                  <a:pt x="224" y="588"/>
                </a:lnTo>
                <a:lnTo>
                  <a:pt x="224" y="588"/>
                </a:lnTo>
                <a:lnTo>
                  <a:pt x="230" y="588"/>
                </a:lnTo>
                <a:lnTo>
                  <a:pt x="234" y="583"/>
                </a:lnTo>
                <a:lnTo>
                  <a:pt x="240" y="584"/>
                </a:lnTo>
                <a:lnTo>
                  <a:pt x="258" y="582"/>
                </a:lnTo>
                <a:lnTo>
                  <a:pt x="272" y="595"/>
                </a:lnTo>
                <a:lnTo>
                  <a:pt x="269" y="600"/>
                </a:lnTo>
                <a:lnTo>
                  <a:pt x="271" y="606"/>
                </a:lnTo>
                <a:lnTo>
                  <a:pt x="286" y="607"/>
                </a:lnTo>
                <a:lnTo>
                  <a:pt x="294" y="618"/>
                </a:lnTo>
                <a:lnTo>
                  <a:pt x="295" y="622"/>
                </a:lnTo>
                <a:lnTo>
                  <a:pt x="319" y="631"/>
                </a:lnTo>
                <a:lnTo>
                  <a:pt x="332" y="627"/>
                </a:lnTo>
                <a:lnTo>
                  <a:pt x="346" y="637"/>
                </a:lnTo>
                <a:lnTo>
                  <a:pt x="356" y="637"/>
                </a:lnTo>
                <a:lnTo>
                  <a:pt x="385" y="645"/>
                </a:lnTo>
                <a:lnTo>
                  <a:pt x="386" y="651"/>
                </a:lnTo>
                <a:lnTo>
                  <a:pt x="382" y="663"/>
                </a:lnTo>
                <a:lnTo>
                  <a:pt x="388" y="676"/>
                </a:lnTo>
                <a:lnTo>
                  <a:pt x="387" y="684"/>
                </a:lnTo>
                <a:lnTo>
                  <a:pt x="370" y="686"/>
                </a:lnTo>
                <a:lnTo>
                  <a:pt x="362" y="692"/>
                </a:lnTo>
                <a:lnTo>
                  <a:pt x="363" y="703"/>
                </a:lnTo>
                <a:lnTo>
                  <a:pt x="379" y="699"/>
                </a:lnTo>
                <a:lnTo>
                  <a:pt x="381" y="704"/>
                </a:lnTo>
                <a:lnTo>
                  <a:pt x="355" y="714"/>
                </a:lnTo>
                <a:lnTo>
                  <a:pt x="367" y="722"/>
                </a:lnTo>
                <a:lnTo>
                  <a:pt x="355" y="742"/>
                </a:lnTo>
                <a:lnTo>
                  <a:pt x="342" y="746"/>
                </a:lnTo>
                <a:lnTo>
                  <a:pt x="361" y="760"/>
                </a:lnTo>
                <a:lnTo>
                  <a:pt x="384" y="768"/>
                </a:lnTo>
                <a:lnTo>
                  <a:pt x="412" y="788"/>
                </a:lnTo>
                <a:lnTo>
                  <a:pt x="413" y="785"/>
                </a:lnTo>
                <a:lnTo>
                  <a:pt x="430" y="789"/>
                </a:lnTo>
                <a:lnTo>
                  <a:pt x="459" y="792"/>
                </a:lnTo>
                <a:lnTo>
                  <a:pt x="487" y="803"/>
                </a:lnTo>
                <a:lnTo>
                  <a:pt x="491" y="808"/>
                </a:lnTo>
                <a:lnTo>
                  <a:pt x="502" y="804"/>
                </a:lnTo>
                <a:lnTo>
                  <a:pt x="521" y="809"/>
                </a:lnTo>
                <a:lnTo>
                  <a:pt x="529" y="818"/>
                </a:lnTo>
                <a:lnTo>
                  <a:pt x="542" y="823"/>
                </a:lnTo>
                <a:lnTo>
                  <a:pt x="548" y="824"/>
                </a:lnTo>
                <a:lnTo>
                  <a:pt x="564" y="838"/>
                </a:lnTo>
                <a:lnTo>
                  <a:pt x="573" y="840"/>
                </a:lnTo>
                <a:lnTo>
                  <a:pt x="575" y="834"/>
                </a:lnTo>
                <a:lnTo>
                  <a:pt x="584" y="825"/>
                </a:lnTo>
                <a:lnTo>
                  <a:pt x="584" y="825"/>
                </a:lnTo>
                <a:lnTo>
                  <a:pt x="557" y="798"/>
                </a:lnTo>
                <a:lnTo>
                  <a:pt x="555" y="782"/>
                </a:lnTo>
                <a:lnTo>
                  <a:pt x="534" y="761"/>
                </a:lnTo>
                <a:lnTo>
                  <a:pt x="547" y="737"/>
                </a:lnTo>
                <a:lnTo>
                  <a:pt x="564" y="732"/>
                </a:lnTo>
                <a:lnTo>
                  <a:pt x="569" y="718"/>
                </a:lnTo>
                <a:lnTo>
                  <a:pt x="558" y="715"/>
                </a:lnTo>
                <a:lnTo>
                  <a:pt x="558" y="704"/>
                </a:lnTo>
                <a:lnTo>
                  <a:pt x="542" y="688"/>
                </a:lnTo>
                <a:lnTo>
                  <a:pt x="528" y="689"/>
                </a:lnTo>
                <a:lnTo>
                  <a:pt x="509" y="673"/>
                </a:lnTo>
                <a:lnTo>
                  <a:pt x="515" y="655"/>
                </a:lnTo>
                <a:lnTo>
                  <a:pt x="509" y="650"/>
                </a:lnTo>
                <a:lnTo>
                  <a:pt x="517" y="625"/>
                </a:lnTo>
                <a:lnTo>
                  <a:pt x="539" y="638"/>
                </a:lnTo>
                <a:lnTo>
                  <a:pt x="537" y="621"/>
                </a:lnTo>
                <a:lnTo>
                  <a:pt x="567" y="597"/>
                </a:lnTo>
                <a:lnTo>
                  <a:pt x="595" y="596"/>
                </a:lnTo>
                <a:lnTo>
                  <a:pt x="639" y="612"/>
                </a:lnTo>
                <a:lnTo>
                  <a:pt x="664" y="621"/>
                </a:lnTo>
                <a:lnTo>
                  <a:pt x="680" y="612"/>
                </a:lnTo>
                <a:lnTo>
                  <a:pt x="708" y="611"/>
                </a:lnTo>
                <a:lnTo>
                  <a:pt x="736" y="623"/>
                </a:lnTo>
                <a:lnTo>
                  <a:pt x="738" y="616"/>
                </a:lnTo>
                <a:lnTo>
                  <a:pt x="764" y="618"/>
                </a:lnTo>
                <a:lnTo>
                  <a:pt x="765" y="606"/>
                </a:lnTo>
                <a:lnTo>
                  <a:pt x="730" y="591"/>
                </a:lnTo>
                <a:lnTo>
                  <a:pt x="743" y="579"/>
                </a:lnTo>
                <a:lnTo>
                  <a:pt x="737" y="573"/>
                </a:lnTo>
                <a:lnTo>
                  <a:pt x="752" y="567"/>
                </a:lnTo>
                <a:lnTo>
                  <a:pt x="734" y="552"/>
                </a:lnTo>
                <a:lnTo>
                  <a:pt x="739" y="544"/>
                </a:lnTo>
                <a:lnTo>
                  <a:pt x="802" y="536"/>
                </a:lnTo>
                <a:lnTo>
                  <a:pt x="808" y="531"/>
                </a:lnTo>
                <a:lnTo>
                  <a:pt x="849" y="522"/>
                </a:lnTo>
                <a:lnTo>
                  <a:pt x="860" y="513"/>
                </a:lnTo>
                <a:lnTo>
                  <a:pt x="893" y="518"/>
                </a:lnTo>
                <a:lnTo>
                  <a:pt x="909" y="541"/>
                </a:lnTo>
                <a:lnTo>
                  <a:pt x="926" y="535"/>
                </a:lnTo>
                <a:lnTo>
                  <a:pt x="952" y="544"/>
                </a:lnTo>
                <a:lnTo>
                  <a:pt x="956" y="556"/>
                </a:lnTo>
                <a:lnTo>
                  <a:pt x="973" y="554"/>
                </a:lnTo>
                <a:lnTo>
                  <a:pt x="1006" y="534"/>
                </a:lnTo>
                <a:lnTo>
                  <a:pt x="1004" y="540"/>
                </a:lnTo>
                <a:lnTo>
                  <a:pt x="1034" y="558"/>
                </a:lnTo>
                <a:lnTo>
                  <a:pt x="1102" y="616"/>
                </a:lnTo>
                <a:lnTo>
                  <a:pt x="1106" y="604"/>
                </a:lnTo>
                <a:lnTo>
                  <a:pt x="1137" y="617"/>
                </a:lnTo>
                <a:lnTo>
                  <a:pt x="1160" y="611"/>
                </a:lnTo>
                <a:lnTo>
                  <a:pt x="1173" y="615"/>
                </a:lnTo>
                <a:lnTo>
                  <a:pt x="1187" y="629"/>
                </a:lnTo>
                <a:lnTo>
                  <a:pt x="1202" y="633"/>
                </a:lnTo>
                <a:lnTo>
                  <a:pt x="1215" y="643"/>
                </a:lnTo>
                <a:lnTo>
                  <a:pt x="1237" y="639"/>
                </a:lnTo>
                <a:lnTo>
                  <a:pt x="1253" y="653"/>
                </a:lnTo>
                <a:lnTo>
                  <a:pt x="1259" y="651"/>
                </a:lnTo>
                <a:lnTo>
                  <a:pt x="1277" y="648"/>
                </a:lnTo>
                <a:lnTo>
                  <a:pt x="1301" y="628"/>
                </a:lnTo>
                <a:lnTo>
                  <a:pt x="1324" y="617"/>
                </a:lnTo>
                <a:lnTo>
                  <a:pt x="1343" y="624"/>
                </a:lnTo>
                <a:lnTo>
                  <a:pt x="1363" y="624"/>
                </a:lnTo>
                <a:lnTo>
                  <a:pt x="1380" y="635"/>
                </a:lnTo>
                <a:lnTo>
                  <a:pt x="1398" y="636"/>
                </a:lnTo>
                <a:lnTo>
                  <a:pt x="1428" y="642"/>
                </a:lnTo>
                <a:lnTo>
                  <a:pt x="1438" y="626"/>
                </a:lnTo>
                <a:lnTo>
                  <a:pt x="1423" y="612"/>
                </a:lnTo>
                <a:lnTo>
                  <a:pt x="1427" y="589"/>
                </a:lnTo>
                <a:lnTo>
                  <a:pt x="1453" y="598"/>
                </a:lnTo>
                <a:lnTo>
                  <a:pt x="1471" y="601"/>
                </a:lnTo>
                <a:lnTo>
                  <a:pt x="1496" y="606"/>
                </a:lnTo>
                <a:lnTo>
                  <a:pt x="1510" y="623"/>
                </a:lnTo>
                <a:lnTo>
                  <a:pt x="1540" y="634"/>
                </a:lnTo>
                <a:lnTo>
                  <a:pt x="1555" y="629"/>
                </a:lnTo>
                <a:lnTo>
                  <a:pt x="1577" y="626"/>
                </a:lnTo>
                <a:lnTo>
                  <a:pt x="1596" y="629"/>
                </a:lnTo>
                <a:lnTo>
                  <a:pt x="1621" y="640"/>
                </a:lnTo>
                <a:lnTo>
                  <a:pt x="1639" y="652"/>
                </a:lnTo>
                <a:lnTo>
                  <a:pt x="1656" y="652"/>
                </a:lnTo>
                <a:lnTo>
                  <a:pt x="1681" y="656"/>
                </a:lnTo>
                <a:lnTo>
                  <a:pt x="1694" y="649"/>
                </a:lnTo>
                <a:lnTo>
                  <a:pt x="1716" y="646"/>
                </a:lnTo>
                <a:lnTo>
                  <a:pt x="1733" y="630"/>
                </a:lnTo>
                <a:lnTo>
                  <a:pt x="1746" y="633"/>
                </a:lnTo>
                <a:lnTo>
                  <a:pt x="1760" y="640"/>
                </a:lnTo>
                <a:lnTo>
                  <a:pt x="1780" y="638"/>
                </a:lnTo>
                <a:lnTo>
                  <a:pt x="1807" y="647"/>
                </a:lnTo>
                <a:lnTo>
                  <a:pt x="1824" y="633"/>
                </a:lnTo>
                <a:lnTo>
                  <a:pt x="1817" y="622"/>
                </a:lnTo>
                <a:lnTo>
                  <a:pt x="1817" y="598"/>
                </a:lnTo>
                <a:lnTo>
                  <a:pt x="1821" y="591"/>
                </a:lnTo>
                <a:lnTo>
                  <a:pt x="1812" y="578"/>
                </a:lnTo>
                <a:lnTo>
                  <a:pt x="1798" y="573"/>
                </a:lnTo>
                <a:lnTo>
                  <a:pt x="1805" y="562"/>
                </a:lnTo>
                <a:lnTo>
                  <a:pt x="1823" y="557"/>
                </a:lnTo>
                <a:lnTo>
                  <a:pt x="1847" y="556"/>
                </a:lnTo>
                <a:lnTo>
                  <a:pt x="1878" y="564"/>
                </a:lnTo>
                <a:lnTo>
                  <a:pt x="1901" y="572"/>
                </a:lnTo>
                <a:lnTo>
                  <a:pt x="1929" y="594"/>
                </a:lnTo>
                <a:lnTo>
                  <a:pt x="1944" y="605"/>
                </a:lnTo>
                <a:lnTo>
                  <a:pt x="1960" y="619"/>
                </a:lnTo>
                <a:lnTo>
                  <a:pt x="1983" y="641"/>
                </a:lnTo>
                <a:lnTo>
                  <a:pt x="2019" y="648"/>
                </a:lnTo>
                <a:lnTo>
                  <a:pt x="2053" y="665"/>
                </a:lnTo>
                <a:lnTo>
                  <a:pt x="2075" y="687"/>
                </a:lnTo>
                <a:lnTo>
                  <a:pt x="2103" y="687"/>
                </a:lnTo>
                <a:lnTo>
                  <a:pt x="2113" y="677"/>
                </a:lnTo>
                <a:lnTo>
                  <a:pt x="2139" y="671"/>
                </a:lnTo>
                <a:lnTo>
                  <a:pt x="2144" y="691"/>
                </a:lnTo>
                <a:lnTo>
                  <a:pt x="2142" y="700"/>
                </a:lnTo>
                <a:lnTo>
                  <a:pt x="2153" y="726"/>
                </a:lnTo>
                <a:lnTo>
                  <a:pt x="2155" y="748"/>
                </a:lnTo>
                <a:lnTo>
                  <a:pt x="2130" y="744"/>
                </a:lnTo>
                <a:lnTo>
                  <a:pt x="2118" y="752"/>
                </a:lnTo>
                <a:lnTo>
                  <a:pt x="2136" y="772"/>
                </a:lnTo>
                <a:lnTo>
                  <a:pt x="2150" y="799"/>
                </a:lnTo>
                <a:lnTo>
                  <a:pt x="2141" y="800"/>
                </a:lnTo>
                <a:lnTo>
                  <a:pt x="2148" y="811"/>
                </a:lnTo>
                <a:lnTo>
                  <a:pt x="2148" y="811"/>
                </a:lnTo>
                <a:lnTo>
                  <a:pt x="2153" y="816"/>
                </a:lnTo>
                <a:lnTo>
                  <a:pt x="2153" y="816"/>
                </a:lnTo>
                <a:lnTo>
                  <a:pt x="2153" y="816"/>
                </a:lnTo>
                <a:lnTo>
                  <a:pt x="2153" y="816"/>
                </a:lnTo>
                <a:lnTo>
                  <a:pt x="2152" y="808"/>
                </a:lnTo>
                <a:lnTo>
                  <a:pt x="2167" y="791"/>
                </a:lnTo>
                <a:lnTo>
                  <a:pt x="2186" y="803"/>
                </a:lnTo>
                <a:lnTo>
                  <a:pt x="2198" y="802"/>
                </a:lnTo>
                <a:lnTo>
                  <a:pt x="2214" y="789"/>
                </a:lnTo>
                <a:lnTo>
                  <a:pt x="2218" y="775"/>
                </a:lnTo>
                <a:lnTo>
                  <a:pt x="2226" y="748"/>
                </a:lnTo>
                <a:lnTo>
                  <a:pt x="2233" y="721"/>
                </a:lnTo>
                <a:lnTo>
                  <a:pt x="2228" y="705"/>
                </a:lnTo>
                <a:lnTo>
                  <a:pt x="2231" y="672"/>
                </a:lnTo>
                <a:lnTo>
                  <a:pt x="2213" y="634"/>
                </a:lnTo>
                <a:lnTo>
                  <a:pt x="2192" y="607"/>
                </a:lnTo>
                <a:lnTo>
                  <a:pt x="2186" y="584"/>
                </a:lnTo>
                <a:lnTo>
                  <a:pt x="2170" y="565"/>
                </a:lnTo>
                <a:lnTo>
                  <a:pt x="2122" y="540"/>
                </a:lnTo>
                <a:lnTo>
                  <a:pt x="2101" y="538"/>
                </a:lnTo>
                <a:lnTo>
                  <a:pt x="2100" y="549"/>
                </a:lnTo>
                <a:lnTo>
                  <a:pt x="2078" y="545"/>
                </a:lnTo>
                <a:lnTo>
                  <a:pt x="2057" y="531"/>
                </a:lnTo>
                <a:lnTo>
                  <a:pt x="2027" y="528"/>
                </a:lnTo>
                <a:lnTo>
                  <a:pt x="2045" y="476"/>
                </a:lnTo>
                <a:lnTo>
                  <a:pt x="2059" y="433"/>
                </a:lnTo>
                <a:lnTo>
                  <a:pt x="2107" y="425"/>
                </a:lnTo>
                <a:lnTo>
                  <a:pt x="2163" y="429"/>
                </a:lnTo>
                <a:lnTo>
                  <a:pt x="2172" y="419"/>
                </a:lnTo>
                <a:lnTo>
                  <a:pt x="2201" y="422"/>
                </a:lnTo>
                <a:lnTo>
                  <a:pt x="2218" y="438"/>
                </a:lnTo>
                <a:lnTo>
                  <a:pt x="2242" y="436"/>
                </a:lnTo>
                <a:lnTo>
                  <a:pt x="2273" y="430"/>
                </a:lnTo>
                <a:lnTo>
                  <a:pt x="2244" y="417"/>
                </a:lnTo>
                <a:lnTo>
                  <a:pt x="2244" y="380"/>
                </a:lnTo>
                <a:lnTo>
                  <a:pt x="2278" y="373"/>
                </a:lnTo>
                <a:lnTo>
                  <a:pt x="2324" y="399"/>
                </a:lnTo>
                <a:lnTo>
                  <a:pt x="2337" y="376"/>
                </a:lnTo>
                <a:lnTo>
                  <a:pt x="2325" y="358"/>
                </a:lnTo>
                <a:lnTo>
                  <a:pt x="2342" y="356"/>
                </a:lnTo>
                <a:lnTo>
                  <a:pt x="2367" y="386"/>
                </a:lnTo>
                <a:lnTo>
                  <a:pt x="2358" y="404"/>
                </a:lnTo>
                <a:lnTo>
                  <a:pt x="2355" y="426"/>
                </a:lnTo>
                <a:lnTo>
                  <a:pt x="2356" y="454"/>
                </a:lnTo>
                <a:lnTo>
                  <a:pt x="2335" y="459"/>
                </a:lnTo>
                <a:lnTo>
                  <a:pt x="2345" y="469"/>
                </a:lnTo>
                <a:lnTo>
                  <a:pt x="2345" y="482"/>
                </a:lnTo>
                <a:lnTo>
                  <a:pt x="2369" y="513"/>
                </a:lnTo>
                <a:lnTo>
                  <a:pt x="2428" y="564"/>
                </a:lnTo>
                <a:lnTo>
                  <a:pt x="2467" y="596"/>
                </a:lnTo>
                <a:lnTo>
                  <a:pt x="2489" y="612"/>
                </a:lnTo>
                <a:lnTo>
                  <a:pt x="2495" y="592"/>
                </a:lnTo>
                <a:lnTo>
                  <a:pt x="2478" y="568"/>
                </a:lnTo>
                <a:lnTo>
                  <a:pt x="2499" y="563"/>
                </a:lnTo>
                <a:lnTo>
                  <a:pt x="2480" y="536"/>
                </a:lnTo>
                <a:lnTo>
                  <a:pt x="2498" y="525"/>
                </a:lnTo>
                <a:lnTo>
                  <a:pt x="2481" y="515"/>
                </a:lnTo>
                <a:lnTo>
                  <a:pt x="2467" y="496"/>
                </a:lnTo>
                <a:lnTo>
                  <a:pt x="2483" y="496"/>
                </a:lnTo>
                <a:lnTo>
                  <a:pt x="2450" y="464"/>
                </a:lnTo>
                <a:lnTo>
                  <a:pt x="2425" y="459"/>
                </a:lnTo>
                <a:lnTo>
                  <a:pt x="2413" y="450"/>
                </a:lnTo>
                <a:lnTo>
                  <a:pt x="2410" y="429"/>
                </a:lnTo>
                <a:lnTo>
                  <a:pt x="2397" y="414"/>
                </a:lnTo>
                <a:lnTo>
                  <a:pt x="2424" y="417"/>
                </a:lnTo>
                <a:lnTo>
                  <a:pt x="2429" y="408"/>
                </a:lnTo>
                <a:lnTo>
                  <a:pt x="2446" y="416"/>
                </a:lnTo>
                <a:lnTo>
                  <a:pt x="2469" y="399"/>
                </a:lnTo>
                <a:lnTo>
                  <a:pt x="2511" y="414"/>
                </a:lnTo>
                <a:lnTo>
                  <a:pt x="2506" y="404"/>
                </a:lnTo>
                <a:lnTo>
                  <a:pt x="2513" y="391"/>
                </a:lnTo>
                <a:lnTo>
                  <a:pt x="2519" y="376"/>
                </a:lnTo>
                <a:lnTo>
                  <a:pt x="2530" y="373"/>
                </a:lnTo>
                <a:lnTo>
                  <a:pt x="2554" y="357"/>
                </a:lnTo>
                <a:lnTo>
                  <a:pt x="2591" y="362"/>
                </a:lnTo>
                <a:lnTo>
                  <a:pt x="2588" y="356"/>
                </a:lnTo>
                <a:lnTo>
                  <a:pt x="2573" y="347"/>
                </a:lnTo>
                <a:lnTo>
                  <a:pt x="2558" y="341"/>
                </a:lnTo>
                <a:lnTo>
                  <a:pt x="2524" y="324"/>
                </a:lnTo>
                <a:lnTo>
                  <a:pt x="2494" y="313"/>
                </a:lnTo>
                <a:lnTo>
                  <a:pt x="2517" y="314"/>
                </a:lnTo>
                <a:lnTo>
                  <a:pt x="2524" y="305"/>
                </a:lnTo>
                <a:lnTo>
                  <a:pt x="2524" y="305"/>
                </a:lnTo>
                <a:lnTo>
                  <a:pt x="2401" y="224"/>
                </a:lnTo>
                <a:lnTo>
                  <a:pt x="2366" y="214"/>
                </a:lnTo>
                <a:lnTo>
                  <a:pt x="2308" y="205"/>
                </a:lnTo>
                <a:lnTo>
                  <a:pt x="2278" y="206"/>
                </a:lnTo>
                <a:lnTo>
                  <a:pt x="2221" y="201"/>
                </a:lnTo>
                <a:lnTo>
                  <a:pt x="2228" y="210"/>
                </a:lnTo>
                <a:lnTo>
                  <a:pt x="2259" y="222"/>
                </a:lnTo>
                <a:lnTo>
                  <a:pt x="2250" y="229"/>
                </a:lnTo>
                <a:lnTo>
                  <a:pt x="2198" y="211"/>
                </a:lnTo>
                <a:lnTo>
                  <a:pt x="2172" y="213"/>
                </a:lnTo>
                <a:lnTo>
                  <a:pt x="2138" y="209"/>
                </a:lnTo>
                <a:lnTo>
                  <a:pt x="2112" y="210"/>
                </a:lnTo>
                <a:lnTo>
                  <a:pt x="2097" y="214"/>
                </a:lnTo>
                <a:lnTo>
                  <a:pt x="2070" y="208"/>
                </a:lnTo>
                <a:lnTo>
                  <a:pt x="2051" y="194"/>
                </a:lnTo>
                <a:lnTo>
                  <a:pt x="2027" y="185"/>
                </a:lnTo>
                <a:lnTo>
                  <a:pt x="1992" y="183"/>
                </a:lnTo>
                <a:lnTo>
                  <a:pt x="1937" y="186"/>
                </a:lnTo>
                <a:lnTo>
                  <a:pt x="1877" y="171"/>
                </a:lnTo>
                <a:lnTo>
                  <a:pt x="1848" y="160"/>
                </a:lnTo>
                <a:lnTo>
                  <a:pt x="1698" y="147"/>
                </a:lnTo>
                <a:lnTo>
                  <a:pt x="1691" y="155"/>
                </a:lnTo>
                <a:lnTo>
                  <a:pt x="1725" y="173"/>
                </a:lnTo>
                <a:lnTo>
                  <a:pt x="1697" y="170"/>
                </a:lnTo>
                <a:lnTo>
                  <a:pt x="1693" y="176"/>
                </a:lnTo>
                <a:lnTo>
                  <a:pt x="1657" y="170"/>
                </a:lnTo>
                <a:lnTo>
                  <a:pt x="1638" y="175"/>
                </a:lnTo>
                <a:lnTo>
                  <a:pt x="1604" y="167"/>
                </a:lnTo>
                <a:lnTo>
                  <a:pt x="1615" y="187"/>
                </a:lnTo>
                <a:lnTo>
                  <a:pt x="1581" y="179"/>
                </a:lnTo>
                <a:lnTo>
                  <a:pt x="1544" y="164"/>
                </a:lnTo>
                <a:lnTo>
                  <a:pt x="1543" y="155"/>
                </a:lnTo>
                <a:lnTo>
                  <a:pt x="1521" y="143"/>
                </a:lnTo>
                <a:lnTo>
                  <a:pt x="1484" y="134"/>
                </a:lnTo>
                <a:lnTo>
                  <a:pt x="1461" y="134"/>
                </a:lnTo>
                <a:lnTo>
                  <a:pt x="1426" y="130"/>
                </a:lnTo>
                <a:lnTo>
                  <a:pt x="1444" y="145"/>
                </a:lnTo>
                <a:lnTo>
                  <a:pt x="1380" y="141"/>
                </a:lnTo>
                <a:lnTo>
                  <a:pt x="1365" y="133"/>
                </a:lnTo>
                <a:lnTo>
                  <a:pt x="1315" y="130"/>
                </a:lnTo>
                <a:lnTo>
                  <a:pt x="1296" y="133"/>
                </a:lnTo>
                <a:lnTo>
                  <a:pt x="1296" y="138"/>
                </a:lnTo>
                <a:lnTo>
                  <a:pt x="1273" y="126"/>
                </a:lnTo>
                <a:lnTo>
                  <a:pt x="1265" y="129"/>
                </a:lnTo>
                <a:lnTo>
                  <a:pt x="1238" y="125"/>
                </a:lnTo>
                <a:lnTo>
                  <a:pt x="1217" y="122"/>
                </a:lnTo>
                <a:lnTo>
                  <a:pt x="1221" y="116"/>
                </a:lnTo>
                <a:lnTo>
                  <a:pt x="1246" y="106"/>
                </a:lnTo>
                <a:lnTo>
                  <a:pt x="1255" y="100"/>
                </a:lnTo>
                <a:lnTo>
                  <a:pt x="1245" y="91"/>
                </a:lnTo>
                <a:lnTo>
                  <a:pt x="1225" y="84"/>
                </a:lnTo>
                <a:lnTo>
                  <a:pt x="1182" y="75"/>
                </a:lnTo>
                <a:lnTo>
                  <a:pt x="1142" y="75"/>
                </a:lnTo>
                <a:lnTo>
                  <a:pt x="1135" y="80"/>
                </a:lnTo>
                <a:lnTo>
                  <a:pt x="1119" y="71"/>
                </a:lnTo>
                <a:lnTo>
                  <a:pt x="1119" y="71"/>
                </a:lnTo>
                <a:close/>
                <a:moveTo>
                  <a:pt x="513" y="188"/>
                </a:moveTo>
                <a:lnTo>
                  <a:pt x="477" y="172"/>
                </a:lnTo>
                <a:lnTo>
                  <a:pt x="465" y="156"/>
                </a:lnTo>
                <a:lnTo>
                  <a:pt x="478" y="138"/>
                </a:lnTo>
                <a:lnTo>
                  <a:pt x="488" y="119"/>
                </a:lnTo>
                <a:lnTo>
                  <a:pt x="520" y="102"/>
                </a:lnTo>
                <a:lnTo>
                  <a:pt x="556" y="93"/>
                </a:lnTo>
                <a:lnTo>
                  <a:pt x="599" y="84"/>
                </a:lnTo>
                <a:lnTo>
                  <a:pt x="604" y="78"/>
                </a:lnTo>
                <a:lnTo>
                  <a:pt x="588" y="71"/>
                </a:lnTo>
                <a:lnTo>
                  <a:pt x="564" y="73"/>
                </a:lnTo>
                <a:lnTo>
                  <a:pt x="545" y="80"/>
                </a:lnTo>
                <a:lnTo>
                  <a:pt x="501" y="84"/>
                </a:lnTo>
                <a:lnTo>
                  <a:pt x="464" y="95"/>
                </a:lnTo>
                <a:lnTo>
                  <a:pt x="439" y="105"/>
                </a:lnTo>
                <a:lnTo>
                  <a:pt x="448" y="113"/>
                </a:lnTo>
                <a:lnTo>
                  <a:pt x="423" y="130"/>
                </a:lnTo>
                <a:lnTo>
                  <a:pt x="438" y="132"/>
                </a:lnTo>
                <a:lnTo>
                  <a:pt x="417" y="149"/>
                </a:lnTo>
                <a:lnTo>
                  <a:pt x="424" y="159"/>
                </a:lnTo>
                <a:lnTo>
                  <a:pt x="411" y="163"/>
                </a:lnTo>
                <a:lnTo>
                  <a:pt x="418" y="173"/>
                </a:lnTo>
                <a:lnTo>
                  <a:pt x="447" y="179"/>
                </a:lnTo>
                <a:lnTo>
                  <a:pt x="455" y="187"/>
                </a:lnTo>
                <a:lnTo>
                  <a:pt x="506" y="190"/>
                </a:lnTo>
                <a:lnTo>
                  <a:pt x="513" y="188"/>
                </a:lnTo>
                <a:lnTo>
                  <a:pt x="513" y="188"/>
                </a:lnTo>
                <a:close/>
                <a:moveTo>
                  <a:pt x="1686" y="97"/>
                </a:moveTo>
                <a:lnTo>
                  <a:pt x="1620" y="86"/>
                </a:lnTo>
                <a:lnTo>
                  <a:pt x="1581" y="85"/>
                </a:lnTo>
                <a:lnTo>
                  <a:pt x="1568" y="89"/>
                </a:lnTo>
                <a:lnTo>
                  <a:pt x="1581" y="102"/>
                </a:lnTo>
                <a:lnTo>
                  <a:pt x="1628" y="113"/>
                </a:lnTo>
                <a:lnTo>
                  <a:pt x="1645" y="110"/>
                </a:lnTo>
                <a:lnTo>
                  <a:pt x="1697" y="110"/>
                </a:lnTo>
                <a:lnTo>
                  <a:pt x="1686" y="97"/>
                </a:lnTo>
                <a:close/>
                <a:moveTo>
                  <a:pt x="1780" y="105"/>
                </a:moveTo>
                <a:lnTo>
                  <a:pt x="1736" y="100"/>
                </a:lnTo>
                <a:lnTo>
                  <a:pt x="1707" y="98"/>
                </a:lnTo>
                <a:lnTo>
                  <a:pt x="1712" y="103"/>
                </a:lnTo>
                <a:lnTo>
                  <a:pt x="1751" y="111"/>
                </a:lnTo>
                <a:lnTo>
                  <a:pt x="1777" y="113"/>
                </a:lnTo>
                <a:lnTo>
                  <a:pt x="1780" y="105"/>
                </a:lnTo>
                <a:lnTo>
                  <a:pt x="1780" y="105"/>
                </a:lnTo>
                <a:close/>
                <a:moveTo>
                  <a:pt x="1734" y="141"/>
                </a:moveTo>
                <a:lnTo>
                  <a:pt x="1724" y="135"/>
                </a:lnTo>
                <a:lnTo>
                  <a:pt x="1693" y="128"/>
                </a:lnTo>
                <a:lnTo>
                  <a:pt x="1679" y="130"/>
                </a:lnTo>
                <a:lnTo>
                  <a:pt x="1675" y="138"/>
                </a:lnTo>
                <a:lnTo>
                  <a:pt x="1679" y="138"/>
                </a:lnTo>
                <a:lnTo>
                  <a:pt x="1712" y="141"/>
                </a:lnTo>
                <a:lnTo>
                  <a:pt x="1734" y="141"/>
                </a:lnTo>
                <a:close/>
                <a:moveTo>
                  <a:pt x="2341" y="186"/>
                </a:moveTo>
                <a:lnTo>
                  <a:pt x="2319" y="173"/>
                </a:lnTo>
                <a:lnTo>
                  <a:pt x="2313" y="181"/>
                </a:lnTo>
                <a:lnTo>
                  <a:pt x="2327" y="187"/>
                </a:lnTo>
                <a:lnTo>
                  <a:pt x="2341" y="186"/>
                </a:lnTo>
                <a:close/>
                <a:moveTo>
                  <a:pt x="54" y="537"/>
                </a:moveTo>
                <a:lnTo>
                  <a:pt x="52" y="532"/>
                </a:lnTo>
                <a:lnTo>
                  <a:pt x="52" y="525"/>
                </a:lnTo>
                <a:lnTo>
                  <a:pt x="45" y="521"/>
                </a:lnTo>
                <a:lnTo>
                  <a:pt x="26" y="518"/>
                </a:lnTo>
                <a:lnTo>
                  <a:pt x="2" y="525"/>
                </a:lnTo>
                <a:lnTo>
                  <a:pt x="0" y="535"/>
                </a:lnTo>
                <a:lnTo>
                  <a:pt x="21" y="537"/>
                </a:lnTo>
                <a:lnTo>
                  <a:pt x="54" y="537"/>
                </a:lnTo>
                <a:close/>
                <a:moveTo>
                  <a:pt x="2256" y="619"/>
                </a:moveTo>
                <a:lnTo>
                  <a:pt x="2229" y="595"/>
                </a:lnTo>
                <a:lnTo>
                  <a:pt x="2211" y="573"/>
                </a:lnTo>
                <a:lnTo>
                  <a:pt x="2185" y="551"/>
                </a:lnTo>
                <a:lnTo>
                  <a:pt x="2167" y="536"/>
                </a:lnTo>
                <a:lnTo>
                  <a:pt x="2162" y="539"/>
                </a:lnTo>
                <a:lnTo>
                  <a:pt x="2178" y="549"/>
                </a:lnTo>
                <a:lnTo>
                  <a:pt x="2172" y="560"/>
                </a:lnTo>
                <a:lnTo>
                  <a:pt x="2197" y="592"/>
                </a:lnTo>
                <a:lnTo>
                  <a:pt x="2226" y="614"/>
                </a:lnTo>
                <a:lnTo>
                  <a:pt x="2250" y="645"/>
                </a:lnTo>
                <a:lnTo>
                  <a:pt x="2258" y="662"/>
                </a:lnTo>
                <a:lnTo>
                  <a:pt x="2279" y="687"/>
                </a:lnTo>
                <a:lnTo>
                  <a:pt x="2293" y="709"/>
                </a:lnTo>
                <a:lnTo>
                  <a:pt x="2311" y="729"/>
                </a:lnTo>
                <a:lnTo>
                  <a:pt x="2310" y="711"/>
                </a:lnTo>
                <a:lnTo>
                  <a:pt x="2334" y="725"/>
                </a:lnTo>
                <a:lnTo>
                  <a:pt x="2323" y="709"/>
                </a:lnTo>
                <a:lnTo>
                  <a:pt x="2287" y="685"/>
                </a:lnTo>
                <a:lnTo>
                  <a:pt x="2274" y="651"/>
                </a:lnTo>
                <a:lnTo>
                  <a:pt x="2307" y="659"/>
                </a:lnTo>
                <a:lnTo>
                  <a:pt x="2256" y="619"/>
                </a:lnTo>
                <a:lnTo>
                  <a:pt x="2256" y="61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44" name="Rwanda">
            <a:extLst>
              <a:ext uri="{FF2B5EF4-FFF2-40B4-BE49-F238E27FC236}">
                <a16:creationId xmlns:a16="http://schemas.microsoft.com/office/drawing/2014/main" id="{A4EAAF15-2FC4-4253-A358-B0D86B79D27A}"/>
              </a:ext>
            </a:extLst>
          </p:cNvPr>
          <p:cNvSpPr>
            <a:spLocks/>
          </p:cNvSpPr>
          <p:nvPr/>
        </p:nvSpPr>
        <p:spPr bwMode="auto">
          <a:xfrm>
            <a:off x="6235922" y="4386221"/>
            <a:ext cx="64646" cy="71451"/>
          </a:xfrm>
          <a:custGeom>
            <a:avLst/>
            <a:gdLst>
              <a:gd name="T0" fmla="*/ 29 w 38"/>
              <a:gd name="T1" fmla="*/ 0 h 42"/>
              <a:gd name="T2" fmla="*/ 17 w 38"/>
              <a:gd name="T3" fmla="*/ 7 h 42"/>
              <a:gd name="T4" fmla="*/ 12 w 38"/>
              <a:gd name="T5" fmla="*/ 5 h 42"/>
              <a:gd name="T6" fmla="*/ 6 w 38"/>
              <a:gd name="T7" fmla="*/ 12 h 42"/>
              <a:gd name="T8" fmla="*/ 5 w 38"/>
              <a:gd name="T9" fmla="*/ 26 h 42"/>
              <a:gd name="T10" fmla="*/ 2 w 38"/>
              <a:gd name="T11" fmla="*/ 27 h 42"/>
              <a:gd name="T12" fmla="*/ 0 w 38"/>
              <a:gd name="T13" fmla="*/ 41 h 42"/>
              <a:gd name="T14" fmla="*/ 13 w 38"/>
              <a:gd name="T15" fmla="*/ 42 h 42"/>
              <a:gd name="T16" fmla="*/ 20 w 38"/>
              <a:gd name="T17" fmla="*/ 28 h 42"/>
              <a:gd name="T18" fmla="*/ 31 w 38"/>
              <a:gd name="T19" fmla="*/ 30 h 42"/>
              <a:gd name="T20" fmla="*/ 31 w 38"/>
              <a:gd name="T21" fmla="*/ 30 h 42"/>
              <a:gd name="T22" fmla="*/ 37 w 38"/>
              <a:gd name="T23" fmla="*/ 27 h 42"/>
              <a:gd name="T24" fmla="*/ 38 w 38"/>
              <a:gd name="T25" fmla="*/ 13 h 42"/>
              <a:gd name="T26" fmla="*/ 29 w 38"/>
              <a:gd name="T27" fmla="*/ 0 h 42"/>
              <a:gd name="T28" fmla="*/ 29 w 38"/>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42">
                <a:moveTo>
                  <a:pt x="29" y="0"/>
                </a:moveTo>
                <a:lnTo>
                  <a:pt x="17" y="7"/>
                </a:lnTo>
                <a:lnTo>
                  <a:pt x="12" y="5"/>
                </a:lnTo>
                <a:lnTo>
                  <a:pt x="6" y="12"/>
                </a:lnTo>
                <a:lnTo>
                  <a:pt x="5" y="26"/>
                </a:lnTo>
                <a:lnTo>
                  <a:pt x="2" y="27"/>
                </a:lnTo>
                <a:lnTo>
                  <a:pt x="0" y="41"/>
                </a:lnTo>
                <a:lnTo>
                  <a:pt x="13" y="42"/>
                </a:lnTo>
                <a:lnTo>
                  <a:pt x="20" y="28"/>
                </a:lnTo>
                <a:lnTo>
                  <a:pt x="31" y="30"/>
                </a:lnTo>
                <a:lnTo>
                  <a:pt x="31" y="30"/>
                </a:lnTo>
                <a:lnTo>
                  <a:pt x="37" y="27"/>
                </a:lnTo>
                <a:lnTo>
                  <a:pt x="38" y="13"/>
                </a:lnTo>
                <a:lnTo>
                  <a:pt x="29" y="0"/>
                </a:lnTo>
                <a:lnTo>
                  <a:pt x="29"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45" name="Western Sahara">
            <a:extLst>
              <a:ext uri="{FF2B5EF4-FFF2-40B4-BE49-F238E27FC236}">
                <a16:creationId xmlns:a16="http://schemas.microsoft.com/office/drawing/2014/main" id="{1D200D90-4C12-4923-A023-0D76346A408B}"/>
              </a:ext>
            </a:extLst>
          </p:cNvPr>
          <p:cNvSpPr>
            <a:spLocks/>
          </p:cNvSpPr>
          <p:nvPr/>
        </p:nvSpPr>
        <p:spPr bwMode="auto">
          <a:xfrm>
            <a:off x="4602757" y="3222591"/>
            <a:ext cx="297713" cy="268792"/>
          </a:xfrm>
          <a:custGeom>
            <a:avLst/>
            <a:gdLst>
              <a:gd name="T0" fmla="*/ 175 w 175"/>
              <a:gd name="T1" fmla="*/ 0 h 158"/>
              <a:gd name="T2" fmla="*/ 172 w 175"/>
              <a:gd name="T3" fmla="*/ 0 h 158"/>
              <a:gd name="T4" fmla="*/ 172 w 175"/>
              <a:gd name="T5" fmla="*/ 0 h 158"/>
              <a:gd name="T6" fmla="*/ 173 w 175"/>
              <a:gd name="T7" fmla="*/ 12 h 158"/>
              <a:gd name="T8" fmla="*/ 160 w 175"/>
              <a:gd name="T9" fmla="*/ 13 h 158"/>
              <a:gd name="T10" fmla="*/ 154 w 175"/>
              <a:gd name="T11" fmla="*/ 19 h 158"/>
              <a:gd name="T12" fmla="*/ 144 w 175"/>
              <a:gd name="T13" fmla="*/ 19 h 158"/>
              <a:gd name="T14" fmla="*/ 137 w 175"/>
              <a:gd name="T15" fmla="*/ 16 h 158"/>
              <a:gd name="T16" fmla="*/ 120 w 175"/>
              <a:gd name="T17" fmla="*/ 18 h 158"/>
              <a:gd name="T18" fmla="*/ 112 w 175"/>
              <a:gd name="T19" fmla="*/ 36 h 158"/>
              <a:gd name="T20" fmla="*/ 106 w 175"/>
              <a:gd name="T21" fmla="*/ 38 h 158"/>
              <a:gd name="T22" fmla="*/ 96 w 175"/>
              <a:gd name="T23" fmla="*/ 68 h 158"/>
              <a:gd name="T24" fmla="*/ 67 w 175"/>
              <a:gd name="T25" fmla="*/ 94 h 158"/>
              <a:gd name="T26" fmla="*/ 59 w 175"/>
              <a:gd name="T27" fmla="*/ 127 h 158"/>
              <a:gd name="T28" fmla="*/ 51 w 175"/>
              <a:gd name="T29" fmla="*/ 137 h 158"/>
              <a:gd name="T30" fmla="*/ 48 w 175"/>
              <a:gd name="T31" fmla="*/ 147 h 158"/>
              <a:gd name="T32" fmla="*/ 1 w 175"/>
              <a:gd name="T33" fmla="*/ 148 h 158"/>
              <a:gd name="T34" fmla="*/ 1 w 175"/>
              <a:gd name="T35" fmla="*/ 148 h 158"/>
              <a:gd name="T36" fmla="*/ 0 w 175"/>
              <a:gd name="T37" fmla="*/ 158 h 158"/>
              <a:gd name="T38" fmla="*/ 5 w 175"/>
              <a:gd name="T39" fmla="*/ 150 h 158"/>
              <a:gd name="T40" fmla="*/ 85 w 175"/>
              <a:gd name="T41" fmla="*/ 150 h 158"/>
              <a:gd name="T42" fmla="*/ 82 w 175"/>
              <a:gd name="T43" fmla="*/ 116 h 158"/>
              <a:gd name="T44" fmla="*/ 87 w 175"/>
              <a:gd name="T45" fmla="*/ 104 h 158"/>
              <a:gd name="T46" fmla="*/ 107 w 175"/>
              <a:gd name="T47" fmla="*/ 102 h 158"/>
              <a:gd name="T48" fmla="*/ 108 w 175"/>
              <a:gd name="T49" fmla="*/ 41 h 158"/>
              <a:gd name="T50" fmla="*/ 174 w 175"/>
              <a:gd name="T51" fmla="*/ 42 h 158"/>
              <a:gd name="T52" fmla="*/ 175 w 175"/>
              <a:gd name="T53" fmla="*/ 6 h 158"/>
              <a:gd name="T54" fmla="*/ 175 w 175"/>
              <a:gd name="T55" fmla="*/ 1 h 158"/>
              <a:gd name="T56" fmla="*/ 175 w 175"/>
              <a:gd name="T57" fmla="*/ 0 h 158"/>
              <a:gd name="T58" fmla="*/ 175 w 175"/>
              <a:gd name="T59"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5" h="158">
                <a:moveTo>
                  <a:pt x="175" y="0"/>
                </a:moveTo>
                <a:lnTo>
                  <a:pt x="172" y="0"/>
                </a:lnTo>
                <a:lnTo>
                  <a:pt x="172" y="0"/>
                </a:lnTo>
                <a:lnTo>
                  <a:pt x="173" y="12"/>
                </a:lnTo>
                <a:lnTo>
                  <a:pt x="160" y="13"/>
                </a:lnTo>
                <a:lnTo>
                  <a:pt x="154" y="19"/>
                </a:lnTo>
                <a:lnTo>
                  <a:pt x="144" y="19"/>
                </a:lnTo>
                <a:lnTo>
                  <a:pt x="137" y="16"/>
                </a:lnTo>
                <a:lnTo>
                  <a:pt x="120" y="18"/>
                </a:lnTo>
                <a:lnTo>
                  <a:pt x="112" y="36"/>
                </a:lnTo>
                <a:lnTo>
                  <a:pt x="106" y="38"/>
                </a:lnTo>
                <a:lnTo>
                  <a:pt x="96" y="68"/>
                </a:lnTo>
                <a:lnTo>
                  <a:pt x="67" y="94"/>
                </a:lnTo>
                <a:lnTo>
                  <a:pt x="59" y="127"/>
                </a:lnTo>
                <a:lnTo>
                  <a:pt x="51" y="137"/>
                </a:lnTo>
                <a:lnTo>
                  <a:pt x="48" y="147"/>
                </a:lnTo>
                <a:lnTo>
                  <a:pt x="1" y="148"/>
                </a:lnTo>
                <a:lnTo>
                  <a:pt x="1" y="148"/>
                </a:lnTo>
                <a:lnTo>
                  <a:pt x="0" y="158"/>
                </a:lnTo>
                <a:lnTo>
                  <a:pt x="5" y="150"/>
                </a:lnTo>
                <a:lnTo>
                  <a:pt x="85" y="150"/>
                </a:lnTo>
                <a:lnTo>
                  <a:pt x="82" y="116"/>
                </a:lnTo>
                <a:lnTo>
                  <a:pt x="87" y="104"/>
                </a:lnTo>
                <a:lnTo>
                  <a:pt x="107" y="102"/>
                </a:lnTo>
                <a:lnTo>
                  <a:pt x="108" y="41"/>
                </a:lnTo>
                <a:lnTo>
                  <a:pt x="174" y="42"/>
                </a:lnTo>
                <a:lnTo>
                  <a:pt x="175" y="6"/>
                </a:lnTo>
                <a:lnTo>
                  <a:pt x="175" y="1"/>
                </a:lnTo>
                <a:lnTo>
                  <a:pt x="175" y="0"/>
                </a:lnTo>
                <a:lnTo>
                  <a:pt x="175"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46" name="Saudi Arabia">
            <a:extLst>
              <a:ext uri="{FF2B5EF4-FFF2-40B4-BE49-F238E27FC236}">
                <a16:creationId xmlns:a16="http://schemas.microsoft.com/office/drawing/2014/main" id="{5D5B38F2-17EF-483F-B6C2-A33E04384563}"/>
              </a:ext>
            </a:extLst>
          </p:cNvPr>
          <p:cNvSpPr>
            <a:spLocks/>
          </p:cNvSpPr>
          <p:nvPr/>
        </p:nvSpPr>
        <p:spPr bwMode="auto">
          <a:xfrm>
            <a:off x="6394136" y="3040562"/>
            <a:ext cx="751937" cy="639657"/>
          </a:xfrm>
          <a:custGeom>
            <a:avLst/>
            <a:gdLst>
              <a:gd name="T0" fmla="*/ 201 w 442"/>
              <a:gd name="T1" fmla="*/ 71 h 376"/>
              <a:gd name="T2" fmla="*/ 107 w 442"/>
              <a:gd name="T3" fmla="*/ 6 h 376"/>
              <a:gd name="T4" fmla="*/ 79 w 442"/>
              <a:gd name="T5" fmla="*/ 3 h 376"/>
              <a:gd name="T6" fmla="*/ 63 w 442"/>
              <a:gd name="T7" fmla="*/ 39 h 376"/>
              <a:gd name="T8" fmla="*/ 54 w 442"/>
              <a:gd name="T9" fmla="*/ 51 h 376"/>
              <a:gd name="T10" fmla="*/ 35 w 442"/>
              <a:gd name="T11" fmla="*/ 63 h 376"/>
              <a:gd name="T12" fmla="*/ 4 w 442"/>
              <a:gd name="T13" fmla="*/ 67 h 376"/>
              <a:gd name="T14" fmla="*/ 2 w 442"/>
              <a:gd name="T15" fmla="*/ 84 h 376"/>
              <a:gd name="T16" fmla="*/ 10 w 442"/>
              <a:gd name="T17" fmla="*/ 97 h 376"/>
              <a:gd name="T18" fmla="*/ 36 w 442"/>
              <a:gd name="T19" fmla="*/ 132 h 376"/>
              <a:gd name="T20" fmla="*/ 52 w 442"/>
              <a:gd name="T21" fmla="*/ 156 h 376"/>
              <a:gd name="T22" fmla="*/ 58 w 442"/>
              <a:gd name="T23" fmla="*/ 173 h 376"/>
              <a:gd name="T24" fmla="*/ 76 w 442"/>
              <a:gd name="T25" fmla="*/ 192 h 376"/>
              <a:gd name="T26" fmla="*/ 100 w 442"/>
              <a:gd name="T27" fmla="*/ 227 h 376"/>
              <a:gd name="T28" fmla="*/ 103 w 442"/>
              <a:gd name="T29" fmla="*/ 258 h 376"/>
              <a:gd name="T30" fmla="*/ 128 w 442"/>
              <a:gd name="T31" fmla="*/ 284 h 376"/>
              <a:gd name="T32" fmla="*/ 150 w 442"/>
              <a:gd name="T33" fmla="*/ 321 h 376"/>
              <a:gd name="T34" fmla="*/ 173 w 442"/>
              <a:gd name="T35" fmla="*/ 349 h 376"/>
              <a:gd name="T36" fmla="*/ 183 w 442"/>
              <a:gd name="T37" fmla="*/ 366 h 376"/>
              <a:gd name="T38" fmla="*/ 194 w 442"/>
              <a:gd name="T39" fmla="*/ 367 h 376"/>
              <a:gd name="T40" fmla="*/ 196 w 442"/>
              <a:gd name="T41" fmla="*/ 346 h 376"/>
              <a:gd name="T42" fmla="*/ 211 w 442"/>
              <a:gd name="T43" fmla="*/ 351 h 376"/>
              <a:gd name="T44" fmla="*/ 239 w 442"/>
              <a:gd name="T45" fmla="*/ 353 h 376"/>
              <a:gd name="T46" fmla="*/ 267 w 442"/>
              <a:gd name="T47" fmla="*/ 353 h 376"/>
              <a:gd name="T48" fmla="*/ 282 w 442"/>
              <a:gd name="T49" fmla="*/ 357 h 376"/>
              <a:gd name="T50" fmla="*/ 313 w 442"/>
              <a:gd name="T51" fmla="*/ 322 h 376"/>
              <a:gd name="T52" fmla="*/ 432 w 442"/>
              <a:gd name="T53" fmla="*/ 289 h 376"/>
              <a:gd name="T54" fmla="*/ 431 w 442"/>
              <a:gd name="T55" fmla="*/ 225 h 376"/>
              <a:gd name="T56" fmla="*/ 365 w 442"/>
              <a:gd name="T57" fmla="*/ 217 h 376"/>
              <a:gd name="T58" fmla="*/ 353 w 442"/>
              <a:gd name="T59" fmla="*/ 188 h 376"/>
              <a:gd name="T60" fmla="*/ 343 w 442"/>
              <a:gd name="T61" fmla="*/ 181 h 376"/>
              <a:gd name="T62" fmla="*/ 333 w 442"/>
              <a:gd name="T63" fmla="*/ 170 h 376"/>
              <a:gd name="T64" fmla="*/ 323 w 442"/>
              <a:gd name="T65" fmla="*/ 156 h 376"/>
              <a:gd name="T66" fmla="*/ 321 w 442"/>
              <a:gd name="T67" fmla="*/ 140 h 376"/>
              <a:gd name="T68" fmla="*/ 304 w 442"/>
              <a:gd name="T69" fmla="*/ 120 h 376"/>
              <a:gd name="T70" fmla="*/ 288 w 442"/>
              <a:gd name="T71" fmla="*/ 106 h 376"/>
              <a:gd name="T72" fmla="*/ 264 w 442"/>
              <a:gd name="T73" fmla="*/ 86 h 376"/>
              <a:gd name="T74" fmla="*/ 240 w 442"/>
              <a:gd name="T75" fmla="*/ 72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2" h="376">
                <a:moveTo>
                  <a:pt x="240" y="72"/>
                </a:moveTo>
                <a:lnTo>
                  <a:pt x="201" y="71"/>
                </a:lnTo>
                <a:lnTo>
                  <a:pt x="139" y="23"/>
                </a:lnTo>
                <a:lnTo>
                  <a:pt x="107" y="6"/>
                </a:lnTo>
                <a:lnTo>
                  <a:pt x="82" y="0"/>
                </a:lnTo>
                <a:lnTo>
                  <a:pt x="79" y="3"/>
                </a:lnTo>
                <a:lnTo>
                  <a:pt x="40" y="15"/>
                </a:lnTo>
                <a:lnTo>
                  <a:pt x="63" y="39"/>
                </a:lnTo>
                <a:lnTo>
                  <a:pt x="57" y="43"/>
                </a:lnTo>
                <a:lnTo>
                  <a:pt x="54" y="51"/>
                </a:lnTo>
                <a:lnTo>
                  <a:pt x="39" y="54"/>
                </a:lnTo>
                <a:lnTo>
                  <a:pt x="35" y="63"/>
                </a:lnTo>
                <a:lnTo>
                  <a:pt x="27" y="71"/>
                </a:lnTo>
                <a:lnTo>
                  <a:pt x="4" y="67"/>
                </a:lnTo>
                <a:lnTo>
                  <a:pt x="2" y="76"/>
                </a:lnTo>
                <a:lnTo>
                  <a:pt x="2" y="84"/>
                </a:lnTo>
                <a:lnTo>
                  <a:pt x="0" y="97"/>
                </a:lnTo>
                <a:lnTo>
                  <a:pt x="10" y="97"/>
                </a:lnTo>
                <a:lnTo>
                  <a:pt x="22" y="114"/>
                </a:lnTo>
                <a:lnTo>
                  <a:pt x="36" y="132"/>
                </a:lnTo>
                <a:lnTo>
                  <a:pt x="45" y="150"/>
                </a:lnTo>
                <a:lnTo>
                  <a:pt x="52" y="156"/>
                </a:lnTo>
                <a:lnTo>
                  <a:pt x="58" y="168"/>
                </a:lnTo>
                <a:lnTo>
                  <a:pt x="58" y="173"/>
                </a:lnTo>
                <a:lnTo>
                  <a:pt x="65" y="187"/>
                </a:lnTo>
                <a:lnTo>
                  <a:pt x="76" y="192"/>
                </a:lnTo>
                <a:lnTo>
                  <a:pt x="86" y="201"/>
                </a:lnTo>
                <a:lnTo>
                  <a:pt x="100" y="227"/>
                </a:lnTo>
                <a:lnTo>
                  <a:pt x="100" y="241"/>
                </a:lnTo>
                <a:lnTo>
                  <a:pt x="103" y="258"/>
                </a:lnTo>
                <a:lnTo>
                  <a:pt x="118" y="281"/>
                </a:lnTo>
                <a:lnTo>
                  <a:pt x="128" y="284"/>
                </a:lnTo>
                <a:lnTo>
                  <a:pt x="143" y="301"/>
                </a:lnTo>
                <a:lnTo>
                  <a:pt x="150" y="321"/>
                </a:lnTo>
                <a:lnTo>
                  <a:pt x="162" y="340"/>
                </a:lnTo>
                <a:lnTo>
                  <a:pt x="173" y="349"/>
                </a:lnTo>
                <a:lnTo>
                  <a:pt x="175" y="358"/>
                </a:lnTo>
                <a:lnTo>
                  <a:pt x="183" y="366"/>
                </a:lnTo>
                <a:lnTo>
                  <a:pt x="185" y="376"/>
                </a:lnTo>
                <a:lnTo>
                  <a:pt x="194" y="367"/>
                </a:lnTo>
                <a:lnTo>
                  <a:pt x="192" y="358"/>
                </a:lnTo>
                <a:lnTo>
                  <a:pt x="196" y="346"/>
                </a:lnTo>
                <a:lnTo>
                  <a:pt x="205" y="353"/>
                </a:lnTo>
                <a:lnTo>
                  <a:pt x="211" y="351"/>
                </a:lnTo>
                <a:lnTo>
                  <a:pt x="235" y="350"/>
                </a:lnTo>
                <a:lnTo>
                  <a:pt x="239" y="353"/>
                </a:lnTo>
                <a:lnTo>
                  <a:pt x="258" y="354"/>
                </a:lnTo>
                <a:lnTo>
                  <a:pt x="267" y="353"/>
                </a:lnTo>
                <a:lnTo>
                  <a:pt x="272" y="361"/>
                </a:lnTo>
                <a:lnTo>
                  <a:pt x="282" y="357"/>
                </a:lnTo>
                <a:lnTo>
                  <a:pt x="295" y="332"/>
                </a:lnTo>
                <a:lnTo>
                  <a:pt x="313" y="322"/>
                </a:lnTo>
                <a:lnTo>
                  <a:pt x="372" y="312"/>
                </a:lnTo>
                <a:lnTo>
                  <a:pt x="432" y="289"/>
                </a:lnTo>
                <a:lnTo>
                  <a:pt x="442" y="241"/>
                </a:lnTo>
                <a:lnTo>
                  <a:pt x="431" y="225"/>
                </a:lnTo>
                <a:lnTo>
                  <a:pt x="427" y="229"/>
                </a:lnTo>
                <a:lnTo>
                  <a:pt x="365" y="217"/>
                </a:lnTo>
                <a:lnTo>
                  <a:pt x="354" y="194"/>
                </a:lnTo>
                <a:lnTo>
                  <a:pt x="353" y="188"/>
                </a:lnTo>
                <a:lnTo>
                  <a:pt x="349" y="179"/>
                </a:lnTo>
                <a:lnTo>
                  <a:pt x="343" y="181"/>
                </a:lnTo>
                <a:lnTo>
                  <a:pt x="337" y="176"/>
                </a:lnTo>
                <a:lnTo>
                  <a:pt x="333" y="170"/>
                </a:lnTo>
                <a:lnTo>
                  <a:pt x="329" y="162"/>
                </a:lnTo>
                <a:lnTo>
                  <a:pt x="323" y="156"/>
                </a:lnTo>
                <a:lnTo>
                  <a:pt x="319" y="147"/>
                </a:lnTo>
                <a:lnTo>
                  <a:pt x="321" y="140"/>
                </a:lnTo>
                <a:lnTo>
                  <a:pt x="319" y="129"/>
                </a:lnTo>
                <a:lnTo>
                  <a:pt x="304" y="120"/>
                </a:lnTo>
                <a:lnTo>
                  <a:pt x="299" y="112"/>
                </a:lnTo>
                <a:lnTo>
                  <a:pt x="288" y="106"/>
                </a:lnTo>
                <a:lnTo>
                  <a:pt x="278" y="86"/>
                </a:lnTo>
                <a:lnTo>
                  <a:pt x="264" y="86"/>
                </a:lnTo>
                <a:lnTo>
                  <a:pt x="257" y="74"/>
                </a:lnTo>
                <a:lnTo>
                  <a:pt x="240" y="72"/>
                </a:lnTo>
                <a:lnTo>
                  <a:pt x="240" y="7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47" name="Sudan">
            <a:extLst>
              <a:ext uri="{FF2B5EF4-FFF2-40B4-BE49-F238E27FC236}">
                <a16:creationId xmlns:a16="http://schemas.microsoft.com/office/drawing/2014/main" id="{E897C542-CF73-4221-B788-7196487F9966}"/>
              </a:ext>
            </a:extLst>
          </p:cNvPr>
          <p:cNvSpPr>
            <a:spLocks/>
          </p:cNvSpPr>
          <p:nvPr/>
        </p:nvSpPr>
        <p:spPr bwMode="auto">
          <a:xfrm>
            <a:off x="5977340" y="3450553"/>
            <a:ext cx="575011" cy="540987"/>
          </a:xfrm>
          <a:custGeom>
            <a:avLst/>
            <a:gdLst>
              <a:gd name="T0" fmla="*/ 307 w 338"/>
              <a:gd name="T1" fmla="*/ 120 h 318"/>
              <a:gd name="T2" fmla="*/ 328 w 338"/>
              <a:gd name="T3" fmla="*/ 109 h 318"/>
              <a:gd name="T4" fmla="*/ 326 w 338"/>
              <a:gd name="T5" fmla="*/ 86 h 318"/>
              <a:gd name="T6" fmla="*/ 308 w 338"/>
              <a:gd name="T7" fmla="*/ 52 h 318"/>
              <a:gd name="T8" fmla="*/ 308 w 338"/>
              <a:gd name="T9" fmla="*/ 24 h 318"/>
              <a:gd name="T10" fmla="*/ 219 w 338"/>
              <a:gd name="T11" fmla="*/ 0 h 318"/>
              <a:gd name="T12" fmla="*/ 57 w 338"/>
              <a:gd name="T13" fmla="*/ 0 h 318"/>
              <a:gd name="T14" fmla="*/ 35 w 338"/>
              <a:gd name="T15" fmla="*/ 48 h 318"/>
              <a:gd name="T16" fmla="*/ 39 w 338"/>
              <a:gd name="T17" fmla="*/ 152 h 318"/>
              <a:gd name="T18" fmla="*/ 12 w 338"/>
              <a:gd name="T19" fmla="*/ 168 h 318"/>
              <a:gd name="T20" fmla="*/ 11 w 338"/>
              <a:gd name="T21" fmla="*/ 188 h 318"/>
              <a:gd name="T22" fmla="*/ 7 w 338"/>
              <a:gd name="T23" fmla="*/ 205 h 318"/>
              <a:gd name="T24" fmla="*/ 0 w 338"/>
              <a:gd name="T25" fmla="*/ 224 h 318"/>
              <a:gd name="T26" fmla="*/ 12 w 338"/>
              <a:gd name="T27" fmla="*/ 232 h 318"/>
              <a:gd name="T28" fmla="*/ 21 w 338"/>
              <a:gd name="T29" fmla="*/ 253 h 318"/>
              <a:gd name="T30" fmla="*/ 23 w 338"/>
              <a:gd name="T31" fmla="*/ 268 h 318"/>
              <a:gd name="T32" fmla="*/ 35 w 338"/>
              <a:gd name="T33" fmla="*/ 293 h 318"/>
              <a:gd name="T34" fmla="*/ 34 w 338"/>
              <a:gd name="T35" fmla="*/ 310 h 318"/>
              <a:gd name="T36" fmla="*/ 43 w 338"/>
              <a:gd name="T37" fmla="*/ 318 h 318"/>
              <a:gd name="T38" fmla="*/ 56 w 338"/>
              <a:gd name="T39" fmla="*/ 311 h 318"/>
              <a:gd name="T40" fmla="*/ 67 w 338"/>
              <a:gd name="T41" fmla="*/ 279 h 318"/>
              <a:gd name="T42" fmla="*/ 86 w 338"/>
              <a:gd name="T43" fmla="*/ 282 h 318"/>
              <a:gd name="T44" fmla="*/ 103 w 338"/>
              <a:gd name="T45" fmla="*/ 298 h 318"/>
              <a:gd name="T46" fmla="*/ 125 w 338"/>
              <a:gd name="T47" fmla="*/ 295 h 318"/>
              <a:gd name="T48" fmla="*/ 148 w 338"/>
              <a:gd name="T49" fmla="*/ 300 h 318"/>
              <a:gd name="T50" fmla="*/ 161 w 338"/>
              <a:gd name="T51" fmla="*/ 291 h 318"/>
              <a:gd name="T52" fmla="*/ 170 w 338"/>
              <a:gd name="T53" fmla="*/ 279 h 318"/>
              <a:gd name="T54" fmla="*/ 198 w 338"/>
              <a:gd name="T55" fmla="*/ 290 h 318"/>
              <a:gd name="T56" fmla="*/ 219 w 338"/>
              <a:gd name="T57" fmla="*/ 260 h 318"/>
              <a:gd name="T58" fmla="*/ 212 w 338"/>
              <a:gd name="T59" fmla="*/ 239 h 318"/>
              <a:gd name="T60" fmla="*/ 226 w 338"/>
              <a:gd name="T61" fmla="*/ 232 h 318"/>
              <a:gd name="T62" fmla="*/ 233 w 338"/>
              <a:gd name="T63" fmla="*/ 252 h 318"/>
              <a:gd name="T64" fmla="*/ 247 w 338"/>
              <a:gd name="T65" fmla="*/ 278 h 318"/>
              <a:gd name="T66" fmla="*/ 250 w 338"/>
              <a:gd name="T67" fmla="*/ 297 h 318"/>
              <a:gd name="T68" fmla="*/ 253 w 338"/>
              <a:gd name="T69" fmla="*/ 295 h 318"/>
              <a:gd name="T70" fmla="*/ 268 w 338"/>
              <a:gd name="T71" fmla="*/ 264 h 318"/>
              <a:gd name="T72" fmla="*/ 278 w 338"/>
              <a:gd name="T73" fmla="*/ 236 h 318"/>
              <a:gd name="T74" fmla="*/ 299 w 338"/>
              <a:gd name="T75" fmla="*/ 201 h 318"/>
              <a:gd name="T76" fmla="*/ 299 w 338"/>
              <a:gd name="T77" fmla="*/ 171 h 318"/>
              <a:gd name="T78" fmla="*/ 305 w 338"/>
              <a:gd name="T79" fmla="*/ 13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318">
                <a:moveTo>
                  <a:pt x="305" y="136"/>
                </a:moveTo>
                <a:lnTo>
                  <a:pt x="307" y="120"/>
                </a:lnTo>
                <a:lnTo>
                  <a:pt x="313" y="112"/>
                </a:lnTo>
                <a:lnTo>
                  <a:pt x="328" y="109"/>
                </a:lnTo>
                <a:lnTo>
                  <a:pt x="338" y="96"/>
                </a:lnTo>
                <a:lnTo>
                  <a:pt x="326" y="86"/>
                </a:lnTo>
                <a:lnTo>
                  <a:pt x="317" y="81"/>
                </a:lnTo>
                <a:lnTo>
                  <a:pt x="308" y="52"/>
                </a:lnTo>
                <a:lnTo>
                  <a:pt x="304" y="28"/>
                </a:lnTo>
                <a:lnTo>
                  <a:pt x="308" y="24"/>
                </a:lnTo>
                <a:lnTo>
                  <a:pt x="301" y="0"/>
                </a:lnTo>
                <a:lnTo>
                  <a:pt x="219" y="0"/>
                </a:lnTo>
                <a:lnTo>
                  <a:pt x="139" y="0"/>
                </a:lnTo>
                <a:lnTo>
                  <a:pt x="57" y="0"/>
                </a:lnTo>
                <a:lnTo>
                  <a:pt x="59" y="48"/>
                </a:lnTo>
                <a:lnTo>
                  <a:pt x="35" y="48"/>
                </a:lnTo>
                <a:lnTo>
                  <a:pt x="35" y="57"/>
                </a:lnTo>
                <a:lnTo>
                  <a:pt x="39" y="152"/>
                </a:lnTo>
                <a:lnTo>
                  <a:pt x="21" y="151"/>
                </a:lnTo>
                <a:lnTo>
                  <a:pt x="12" y="168"/>
                </a:lnTo>
                <a:lnTo>
                  <a:pt x="7" y="183"/>
                </a:lnTo>
                <a:lnTo>
                  <a:pt x="11" y="188"/>
                </a:lnTo>
                <a:lnTo>
                  <a:pt x="5" y="196"/>
                </a:lnTo>
                <a:lnTo>
                  <a:pt x="7" y="205"/>
                </a:lnTo>
                <a:lnTo>
                  <a:pt x="2" y="215"/>
                </a:lnTo>
                <a:lnTo>
                  <a:pt x="0" y="224"/>
                </a:lnTo>
                <a:lnTo>
                  <a:pt x="7" y="223"/>
                </a:lnTo>
                <a:lnTo>
                  <a:pt x="12" y="232"/>
                </a:lnTo>
                <a:lnTo>
                  <a:pt x="13" y="246"/>
                </a:lnTo>
                <a:lnTo>
                  <a:pt x="21" y="253"/>
                </a:lnTo>
                <a:lnTo>
                  <a:pt x="21" y="258"/>
                </a:lnTo>
                <a:lnTo>
                  <a:pt x="23" y="268"/>
                </a:lnTo>
                <a:lnTo>
                  <a:pt x="35" y="283"/>
                </a:lnTo>
                <a:lnTo>
                  <a:pt x="35" y="293"/>
                </a:lnTo>
                <a:lnTo>
                  <a:pt x="33" y="303"/>
                </a:lnTo>
                <a:lnTo>
                  <a:pt x="34" y="310"/>
                </a:lnTo>
                <a:lnTo>
                  <a:pt x="41" y="317"/>
                </a:lnTo>
                <a:lnTo>
                  <a:pt x="43" y="318"/>
                </a:lnTo>
                <a:lnTo>
                  <a:pt x="49" y="315"/>
                </a:lnTo>
                <a:lnTo>
                  <a:pt x="56" y="311"/>
                </a:lnTo>
                <a:lnTo>
                  <a:pt x="62" y="290"/>
                </a:lnTo>
                <a:lnTo>
                  <a:pt x="67" y="279"/>
                </a:lnTo>
                <a:lnTo>
                  <a:pt x="82" y="276"/>
                </a:lnTo>
                <a:lnTo>
                  <a:pt x="86" y="282"/>
                </a:lnTo>
                <a:lnTo>
                  <a:pt x="97" y="296"/>
                </a:lnTo>
                <a:lnTo>
                  <a:pt x="103" y="298"/>
                </a:lnTo>
                <a:lnTo>
                  <a:pt x="110" y="294"/>
                </a:lnTo>
                <a:lnTo>
                  <a:pt x="125" y="295"/>
                </a:lnTo>
                <a:lnTo>
                  <a:pt x="128" y="300"/>
                </a:lnTo>
                <a:lnTo>
                  <a:pt x="148" y="300"/>
                </a:lnTo>
                <a:lnTo>
                  <a:pt x="149" y="295"/>
                </a:lnTo>
                <a:lnTo>
                  <a:pt x="161" y="291"/>
                </a:lnTo>
                <a:lnTo>
                  <a:pt x="162" y="283"/>
                </a:lnTo>
                <a:lnTo>
                  <a:pt x="170" y="279"/>
                </a:lnTo>
                <a:lnTo>
                  <a:pt x="188" y="293"/>
                </a:lnTo>
                <a:lnTo>
                  <a:pt x="198" y="290"/>
                </a:lnTo>
                <a:lnTo>
                  <a:pt x="208" y="273"/>
                </a:lnTo>
                <a:lnTo>
                  <a:pt x="219" y="260"/>
                </a:lnTo>
                <a:lnTo>
                  <a:pt x="218" y="245"/>
                </a:lnTo>
                <a:lnTo>
                  <a:pt x="212" y="239"/>
                </a:lnTo>
                <a:lnTo>
                  <a:pt x="225" y="238"/>
                </a:lnTo>
                <a:lnTo>
                  <a:pt x="226" y="232"/>
                </a:lnTo>
                <a:lnTo>
                  <a:pt x="235" y="234"/>
                </a:lnTo>
                <a:lnTo>
                  <a:pt x="233" y="252"/>
                </a:lnTo>
                <a:lnTo>
                  <a:pt x="237" y="268"/>
                </a:lnTo>
                <a:lnTo>
                  <a:pt x="247" y="278"/>
                </a:lnTo>
                <a:lnTo>
                  <a:pt x="250" y="286"/>
                </a:lnTo>
                <a:lnTo>
                  <a:pt x="250" y="297"/>
                </a:lnTo>
                <a:lnTo>
                  <a:pt x="253" y="298"/>
                </a:lnTo>
                <a:lnTo>
                  <a:pt x="253" y="295"/>
                </a:lnTo>
                <a:lnTo>
                  <a:pt x="259" y="270"/>
                </a:lnTo>
                <a:lnTo>
                  <a:pt x="268" y="264"/>
                </a:lnTo>
                <a:lnTo>
                  <a:pt x="270" y="253"/>
                </a:lnTo>
                <a:lnTo>
                  <a:pt x="278" y="236"/>
                </a:lnTo>
                <a:lnTo>
                  <a:pt x="290" y="224"/>
                </a:lnTo>
                <a:lnTo>
                  <a:pt x="299" y="201"/>
                </a:lnTo>
                <a:lnTo>
                  <a:pt x="301" y="181"/>
                </a:lnTo>
                <a:lnTo>
                  <a:pt x="299" y="171"/>
                </a:lnTo>
                <a:lnTo>
                  <a:pt x="305" y="136"/>
                </a:lnTo>
                <a:lnTo>
                  <a:pt x="305" y="13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48" name="South Sudan">
            <a:extLst>
              <a:ext uri="{FF2B5EF4-FFF2-40B4-BE49-F238E27FC236}">
                <a16:creationId xmlns:a16="http://schemas.microsoft.com/office/drawing/2014/main" id="{2FBFDECA-7AB2-4F12-B01E-01F9B541142A}"/>
              </a:ext>
            </a:extLst>
          </p:cNvPr>
          <p:cNvSpPr>
            <a:spLocks/>
          </p:cNvSpPr>
          <p:nvPr/>
        </p:nvSpPr>
        <p:spPr bwMode="auto">
          <a:xfrm>
            <a:off x="6050491" y="3845236"/>
            <a:ext cx="408292" cy="352152"/>
          </a:xfrm>
          <a:custGeom>
            <a:avLst/>
            <a:gdLst>
              <a:gd name="T0" fmla="*/ 204 w 240"/>
              <a:gd name="T1" fmla="*/ 46 h 207"/>
              <a:gd name="T2" fmla="*/ 190 w 240"/>
              <a:gd name="T3" fmla="*/ 20 h 207"/>
              <a:gd name="T4" fmla="*/ 183 w 240"/>
              <a:gd name="T5" fmla="*/ 0 h 207"/>
              <a:gd name="T6" fmla="*/ 169 w 240"/>
              <a:gd name="T7" fmla="*/ 7 h 207"/>
              <a:gd name="T8" fmla="*/ 176 w 240"/>
              <a:gd name="T9" fmla="*/ 28 h 207"/>
              <a:gd name="T10" fmla="*/ 155 w 240"/>
              <a:gd name="T11" fmla="*/ 58 h 207"/>
              <a:gd name="T12" fmla="*/ 127 w 240"/>
              <a:gd name="T13" fmla="*/ 47 h 207"/>
              <a:gd name="T14" fmla="*/ 118 w 240"/>
              <a:gd name="T15" fmla="*/ 59 h 207"/>
              <a:gd name="T16" fmla="*/ 105 w 240"/>
              <a:gd name="T17" fmla="*/ 68 h 207"/>
              <a:gd name="T18" fmla="*/ 82 w 240"/>
              <a:gd name="T19" fmla="*/ 63 h 207"/>
              <a:gd name="T20" fmla="*/ 60 w 240"/>
              <a:gd name="T21" fmla="*/ 66 h 207"/>
              <a:gd name="T22" fmla="*/ 43 w 240"/>
              <a:gd name="T23" fmla="*/ 50 h 207"/>
              <a:gd name="T24" fmla="*/ 24 w 240"/>
              <a:gd name="T25" fmla="*/ 47 h 207"/>
              <a:gd name="T26" fmla="*/ 13 w 240"/>
              <a:gd name="T27" fmla="*/ 79 h 207"/>
              <a:gd name="T28" fmla="*/ 0 w 240"/>
              <a:gd name="T29" fmla="*/ 86 h 207"/>
              <a:gd name="T30" fmla="*/ 26 w 240"/>
              <a:gd name="T31" fmla="*/ 105 h 207"/>
              <a:gd name="T32" fmla="*/ 40 w 240"/>
              <a:gd name="T33" fmla="*/ 125 h 207"/>
              <a:gd name="T34" fmla="*/ 55 w 240"/>
              <a:gd name="T35" fmla="*/ 149 h 207"/>
              <a:gd name="T36" fmla="*/ 74 w 240"/>
              <a:gd name="T37" fmla="*/ 167 h 207"/>
              <a:gd name="T38" fmla="*/ 96 w 240"/>
              <a:gd name="T39" fmla="*/ 190 h 207"/>
              <a:gd name="T40" fmla="*/ 112 w 240"/>
              <a:gd name="T41" fmla="*/ 187 h 207"/>
              <a:gd name="T42" fmla="*/ 129 w 240"/>
              <a:gd name="T43" fmla="*/ 191 h 207"/>
              <a:gd name="T44" fmla="*/ 147 w 240"/>
              <a:gd name="T45" fmla="*/ 207 h 207"/>
              <a:gd name="T46" fmla="*/ 169 w 240"/>
              <a:gd name="T47" fmla="*/ 206 h 207"/>
              <a:gd name="T48" fmla="*/ 201 w 240"/>
              <a:gd name="T49" fmla="*/ 201 h 207"/>
              <a:gd name="T50" fmla="*/ 226 w 240"/>
              <a:gd name="T51" fmla="*/ 176 h 207"/>
              <a:gd name="T52" fmla="*/ 227 w 240"/>
              <a:gd name="T53" fmla="*/ 134 h 207"/>
              <a:gd name="T54" fmla="*/ 214 w 240"/>
              <a:gd name="T55" fmla="*/ 120 h 207"/>
              <a:gd name="T56" fmla="*/ 190 w 240"/>
              <a:gd name="T57" fmla="*/ 105 h 207"/>
              <a:gd name="T58" fmla="*/ 208 w 240"/>
              <a:gd name="T59" fmla="*/ 92 h 207"/>
              <a:gd name="T60" fmla="*/ 210 w 240"/>
              <a:gd name="T61" fmla="*/ 66 h 207"/>
              <a:gd name="T62" fmla="*/ 207 w 240"/>
              <a:gd name="T63" fmla="*/ 5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207">
                <a:moveTo>
                  <a:pt x="207" y="54"/>
                </a:moveTo>
                <a:lnTo>
                  <a:pt x="204" y="46"/>
                </a:lnTo>
                <a:lnTo>
                  <a:pt x="194" y="36"/>
                </a:lnTo>
                <a:lnTo>
                  <a:pt x="190" y="20"/>
                </a:lnTo>
                <a:lnTo>
                  <a:pt x="192" y="2"/>
                </a:lnTo>
                <a:lnTo>
                  <a:pt x="183" y="0"/>
                </a:lnTo>
                <a:lnTo>
                  <a:pt x="182" y="6"/>
                </a:lnTo>
                <a:lnTo>
                  <a:pt x="169" y="7"/>
                </a:lnTo>
                <a:lnTo>
                  <a:pt x="175" y="13"/>
                </a:lnTo>
                <a:lnTo>
                  <a:pt x="176" y="28"/>
                </a:lnTo>
                <a:lnTo>
                  <a:pt x="165" y="41"/>
                </a:lnTo>
                <a:lnTo>
                  <a:pt x="155" y="58"/>
                </a:lnTo>
                <a:lnTo>
                  <a:pt x="145" y="61"/>
                </a:lnTo>
                <a:lnTo>
                  <a:pt x="127" y="47"/>
                </a:lnTo>
                <a:lnTo>
                  <a:pt x="119" y="51"/>
                </a:lnTo>
                <a:lnTo>
                  <a:pt x="118" y="59"/>
                </a:lnTo>
                <a:lnTo>
                  <a:pt x="106" y="63"/>
                </a:lnTo>
                <a:lnTo>
                  <a:pt x="105" y="68"/>
                </a:lnTo>
                <a:lnTo>
                  <a:pt x="85" y="68"/>
                </a:lnTo>
                <a:lnTo>
                  <a:pt x="82" y="63"/>
                </a:lnTo>
                <a:lnTo>
                  <a:pt x="67" y="62"/>
                </a:lnTo>
                <a:lnTo>
                  <a:pt x="60" y="66"/>
                </a:lnTo>
                <a:lnTo>
                  <a:pt x="54" y="64"/>
                </a:lnTo>
                <a:lnTo>
                  <a:pt x="43" y="50"/>
                </a:lnTo>
                <a:lnTo>
                  <a:pt x="39" y="44"/>
                </a:lnTo>
                <a:lnTo>
                  <a:pt x="24" y="47"/>
                </a:lnTo>
                <a:lnTo>
                  <a:pt x="19" y="58"/>
                </a:lnTo>
                <a:lnTo>
                  <a:pt x="13" y="79"/>
                </a:lnTo>
                <a:lnTo>
                  <a:pt x="6" y="83"/>
                </a:lnTo>
                <a:lnTo>
                  <a:pt x="0" y="86"/>
                </a:lnTo>
                <a:lnTo>
                  <a:pt x="14" y="95"/>
                </a:lnTo>
                <a:lnTo>
                  <a:pt x="26" y="105"/>
                </a:lnTo>
                <a:lnTo>
                  <a:pt x="26" y="113"/>
                </a:lnTo>
                <a:lnTo>
                  <a:pt x="40" y="125"/>
                </a:lnTo>
                <a:lnTo>
                  <a:pt x="49" y="135"/>
                </a:lnTo>
                <a:lnTo>
                  <a:pt x="55" y="149"/>
                </a:lnTo>
                <a:lnTo>
                  <a:pt x="71" y="159"/>
                </a:lnTo>
                <a:lnTo>
                  <a:pt x="74" y="167"/>
                </a:lnTo>
                <a:lnTo>
                  <a:pt x="87" y="186"/>
                </a:lnTo>
                <a:lnTo>
                  <a:pt x="96" y="190"/>
                </a:lnTo>
                <a:lnTo>
                  <a:pt x="102" y="185"/>
                </a:lnTo>
                <a:lnTo>
                  <a:pt x="112" y="187"/>
                </a:lnTo>
                <a:lnTo>
                  <a:pt x="123" y="182"/>
                </a:lnTo>
                <a:lnTo>
                  <a:pt x="129" y="191"/>
                </a:lnTo>
                <a:lnTo>
                  <a:pt x="147" y="207"/>
                </a:lnTo>
                <a:lnTo>
                  <a:pt x="147" y="207"/>
                </a:lnTo>
                <a:lnTo>
                  <a:pt x="156" y="201"/>
                </a:lnTo>
                <a:lnTo>
                  <a:pt x="169" y="206"/>
                </a:lnTo>
                <a:lnTo>
                  <a:pt x="186" y="201"/>
                </a:lnTo>
                <a:lnTo>
                  <a:pt x="201" y="201"/>
                </a:lnTo>
                <a:lnTo>
                  <a:pt x="213" y="190"/>
                </a:lnTo>
                <a:lnTo>
                  <a:pt x="226" y="176"/>
                </a:lnTo>
                <a:lnTo>
                  <a:pt x="240" y="160"/>
                </a:lnTo>
                <a:lnTo>
                  <a:pt x="227" y="134"/>
                </a:lnTo>
                <a:lnTo>
                  <a:pt x="217" y="129"/>
                </a:lnTo>
                <a:lnTo>
                  <a:pt x="214" y="120"/>
                </a:lnTo>
                <a:lnTo>
                  <a:pt x="203" y="107"/>
                </a:lnTo>
                <a:lnTo>
                  <a:pt x="190" y="105"/>
                </a:lnTo>
                <a:lnTo>
                  <a:pt x="197" y="92"/>
                </a:lnTo>
                <a:lnTo>
                  <a:pt x="208" y="92"/>
                </a:lnTo>
                <a:lnTo>
                  <a:pt x="211" y="85"/>
                </a:lnTo>
                <a:lnTo>
                  <a:pt x="210" y="66"/>
                </a:lnTo>
                <a:lnTo>
                  <a:pt x="207" y="65"/>
                </a:lnTo>
                <a:lnTo>
                  <a:pt x="207" y="54"/>
                </a:lnTo>
                <a:lnTo>
                  <a:pt x="207" y="5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49" name="Senegal">
            <a:extLst>
              <a:ext uri="{FF2B5EF4-FFF2-40B4-BE49-F238E27FC236}">
                <a16:creationId xmlns:a16="http://schemas.microsoft.com/office/drawing/2014/main" id="{F83F3FEB-0826-48E7-B536-454713DCF0D3}"/>
              </a:ext>
            </a:extLst>
          </p:cNvPr>
          <p:cNvSpPr>
            <a:spLocks/>
          </p:cNvSpPr>
          <p:nvPr/>
        </p:nvSpPr>
        <p:spPr bwMode="auto">
          <a:xfrm>
            <a:off x="4577239" y="3668310"/>
            <a:ext cx="216054" cy="173523"/>
          </a:xfrm>
          <a:custGeom>
            <a:avLst/>
            <a:gdLst>
              <a:gd name="T0" fmla="*/ 113 w 127"/>
              <a:gd name="T1" fmla="*/ 48 h 102"/>
              <a:gd name="T2" fmla="*/ 99 w 127"/>
              <a:gd name="T3" fmla="*/ 31 h 102"/>
              <a:gd name="T4" fmla="*/ 87 w 127"/>
              <a:gd name="T5" fmla="*/ 13 h 102"/>
              <a:gd name="T6" fmla="*/ 74 w 127"/>
              <a:gd name="T7" fmla="*/ 8 h 102"/>
              <a:gd name="T8" fmla="*/ 64 w 127"/>
              <a:gd name="T9" fmla="*/ 0 h 102"/>
              <a:gd name="T10" fmla="*/ 53 w 127"/>
              <a:gd name="T11" fmla="*/ 0 h 102"/>
              <a:gd name="T12" fmla="*/ 42 w 127"/>
              <a:gd name="T13" fmla="*/ 6 h 102"/>
              <a:gd name="T14" fmla="*/ 32 w 127"/>
              <a:gd name="T15" fmla="*/ 4 h 102"/>
              <a:gd name="T16" fmla="*/ 25 w 127"/>
              <a:gd name="T17" fmla="*/ 12 h 102"/>
              <a:gd name="T18" fmla="*/ 20 w 127"/>
              <a:gd name="T19" fmla="*/ 24 h 102"/>
              <a:gd name="T20" fmla="*/ 9 w 127"/>
              <a:gd name="T21" fmla="*/ 41 h 102"/>
              <a:gd name="T22" fmla="*/ 0 w 127"/>
              <a:gd name="T23" fmla="*/ 45 h 102"/>
              <a:gd name="T24" fmla="*/ 10 w 127"/>
              <a:gd name="T25" fmla="*/ 54 h 102"/>
              <a:gd name="T26" fmla="*/ 18 w 127"/>
              <a:gd name="T27" fmla="*/ 72 h 102"/>
              <a:gd name="T28" fmla="*/ 41 w 127"/>
              <a:gd name="T29" fmla="*/ 71 h 102"/>
              <a:gd name="T30" fmla="*/ 46 w 127"/>
              <a:gd name="T31" fmla="*/ 66 h 102"/>
              <a:gd name="T32" fmla="*/ 53 w 127"/>
              <a:gd name="T33" fmla="*/ 66 h 102"/>
              <a:gd name="T34" fmla="*/ 60 w 127"/>
              <a:gd name="T35" fmla="*/ 71 h 102"/>
              <a:gd name="T36" fmla="*/ 67 w 127"/>
              <a:gd name="T37" fmla="*/ 71 h 102"/>
              <a:gd name="T38" fmla="*/ 74 w 127"/>
              <a:gd name="T39" fmla="*/ 68 h 102"/>
              <a:gd name="T40" fmla="*/ 78 w 127"/>
              <a:gd name="T41" fmla="*/ 74 h 102"/>
              <a:gd name="T42" fmla="*/ 69 w 127"/>
              <a:gd name="T43" fmla="*/ 80 h 102"/>
              <a:gd name="T44" fmla="*/ 60 w 127"/>
              <a:gd name="T45" fmla="*/ 79 h 102"/>
              <a:gd name="T46" fmla="*/ 51 w 127"/>
              <a:gd name="T47" fmla="*/ 74 h 102"/>
              <a:gd name="T48" fmla="*/ 43 w 127"/>
              <a:gd name="T49" fmla="*/ 80 h 102"/>
              <a:gd name="T50" fmla="*/ 40 w 127"/>
              <a:gd name="T51" fmla="*/ 80 h 102"/>
              <a:gd name="T52" fmla="*/ 34 w 127"/>
              <a:gd name="T53" fmla="*/ 83 h 102"/>
              <a:gd name="T54" fmla="*/ 15 w 127"/>
              <a:gd name="T55" fmla="*/ 83 h 102"/>
              <a:gd name="T56" fmla="*/ 18 w 127"/>
              <a:gd name="T57" fmla="*/ 101 h 102"/>
              <a:gd name="T58" fmla="*/ 29 w 127"/>
              <a:gd name="T59" fmla="*/ 97 h 102"/>
              <a:gd name="T60" fmla="*/ 37 w 127"/>
              <a:gd name="T61" fmla="*/ 97 h 102"/>
              <a:gd name="T62" fmla="*/ 42 w 127"/>
              <a:gd name="T63" fmla="*/ 95 h 102"/>
              <a:gd name="T64" fmla="*/ 81 w 127"/>
              <a:gd name="T65" fmla="*/ 96 h 102"/>
              <a:gd name="T66" fmla="*/ 91 w 127"/>
              <a:gd name="T67" fmla="*/ 97 h 102"/>
              <a:gd name="T68" fmla="*/ 106 w 127"/>
              <a:gd name="T69" fmla="*/ 102 h 102"/>
              <a:gd name="T70" fmla="*/ 111 w 127"/>
              <a:gd name="T71" fmla="*/ 101 h 102"/>
              <a:gd name="T72" fmla="*/ 112 w 127"/>
              <a:gd name="T73" fmla="*/ 99 h 102"/>
              <a:gd name="T74" fmla="*/ 123 w 127"/>
              <a:gd name="T75" fmla="*/ 101 h 102"/>
              <a:gd name="T76" fmla="*/ 126 w 127"/>
              <a:gd name="T77" fmla="*/ 99 h 102"/>
              <a:gd name="T78" fmla="*/ 127 w 127"/>
              <a:gd name="T79" fmla="*/ 92 h 102"/>
              <a:gd name="T80" fmla="*/ 126 w 127"/>
              <a:gd name="T81" fmla="*/ 83 h 102"/>
              <a:gd name="T82" fmla="*/ 118 w 127"/>
              <a:gd name="T83" fmla="*/ 76 h 102"/>
              <a:gd name="T84" fmla="*/ 113 w 127"/>
              <a:gd name="T85" fmla="*/ 62 h 102"/>
              <a:gd name="T86" fmla="*/ 113 w 127"/>
              <a:gd name="T87" fmla="*/ 48 h 102"/>
              <a:gd name="T88" fmla="*/ 113 w 127"/>
              <a:gd name="T89" fmla="*/ 4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7" h="102">
                <a:moveTo>
                  <a:pt x="113" y="48"/>
                </a:moveTo>
                <a:lnTo>
                  <a:pt x="99" y="31"/>
                </a:lnTo>
                <a:lnTo>
                  <a:pt x="87" y="13"/>
                </a:lnTo>
                <a:lnTo>
                  <a:pt x="74" y="8"/>
                </a:lnTo>
                <a:lnTo>
                  <a:pt x="64" y="0"/>
                </a:lnTo>
                <a:lnTo>
                  <a:pt x="53" y="0"/>
                </a:lnTo>
                <a:lnTo>
                  <a:pt x="42" y="6"/>
                </a:lnTo>
                <a:lnTo>
                  <a:pt x="32" y="4"/>
                </a:lnTo>
                <a:lnTo>
                  <a:pt x="25" y="12"/>
                </a:lnTo>
                <a:lnTo>
                  <a:pt x="20" y="24"/>
                </a:lnTo>
                <a:lnTo>
                  <a:pt x="9" y="41"/>
                </a:lnTo>
                <a:lnTo>
                  <a:pt x="0" y="45"/>
                </a:lnTo>
                <a:lnTo>
                  <a:pt x="10" y="54"/>
                </a:lnTo>
                <a:lnTo>
                  <a:pt x="18" y="72"/>
                </a:lnTo>
                <a:lnTo>
                  <a:pt x="41" y="71"/>
                </a:lnTo>
                <a:lnTo>
                  <a:pt x="46" y="66"/>
                </a:lnTo>
                <a:lnTo>
                  <a:pt x="53" y="66"/>
                </a:lnTo>
                <a:lnTo>
                  <a:pt x="60" y="71"/>
                </a:lnTo>
                <a:lnTo>
                  <a:pt x="67" y="71"/>
                </a:lnTo>
                <a:lnTo>
                  <a:pt x="74" y="68"/>
                </a:lnTo>
                <a:lnTo>
                  <a:pt x="78" y="74"/>
                </a:lnTo>
                <a:lnTo>
                  <a:pt x="69" y="80"/>
                </a:lnTo>
                <a:lnTo>
                  <a:pt x="60" y="79"/>
                </a:lnTo>
                <a:lnTo>
                  <a:pt x="51" y="74"/>
                </a:lnTo>
                <a:lnTo>
                  <a:pt x="43" y="80"/>
                </a:lnTo>
                <a:lnTo>
                  <a:pt x="40" y="80"/>
                </a:lnTo>
                <a:lnTo>
                  <a:pt x="34" y="83"/>
                </a:lnTo>
                <a:lnTo>
                  <a:pt x="15" y="83"/>
                </a:lnTo>
                <a:lnTo>
                  <a:pt x="18" y="101"/>
                </a:lnTo>
                <a:lnTo>
                  <a:pt x="29" y="97"/>
                </a:lnTo>
                <a:lnTo>
                  <a:pt x="37" y="97"/>
                </a:lnTo>
                <a:lnTo>
                  <a:pt x="42" y="95"/>
                </a:lnTo>
                <a:lnTo>
                  <a:pt x="81" y="96"/>
                </a:lnTo>
                <a:lnTo>
                  <a:pt x="91" y="97"/>
                </a:lnTo>
                <a:lnTo>
                  <a:pt x="106" y="102"/>
                </a:lnTo>
                <a:lnTo>
                  <a:pt x="111" y="101"/>
                </a:lnTo>
                <a:lnTo>
                  <a:pt x="112" y="99"/>
                </a:lnTo>
                <a:lnTo>
                  <a:pt x="123" y="101"/>
                </a:lnTo>
                <a:lnTo>
                  <a:pt x="126" y="99"/>
                </a:lnTo>
                <a:lnTo>
                  <a:pt x="127" y="92"/>
                </a:lnTo>
                <a:lnTo>
                  <a:pt x="126" y="83"/>
                </a:lnTo>
                <a:lnTo>
                  <a:pt x="118" y="76"/>
                </a:lnTo>
                <a:lnTo>
                  <a:pt x="113" y="62"/>
                </a:lnTo>
                <a:lnTo>
                  <a:pt x="113" y="48"/>
                </a:lnTo>
                <a:lnTo>
                  <a:pt x="113" y="4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50" name="Sierra Leone">
            <a:extLst>
              <a:ext uri="{FF2B5EF4-FFF2-40B4-BE49-F238E27FC236}">
                <a16:creationId xmlns:a16="http://schemas.microsoft.com/office/drawing/2014/main" id="{EEE3308F-1CE7-4C0D-A588-BBAC56847A3C}"/>
              </a:ext>
            </a:extLst>
          </p:cNvPr>
          <p:cNvSpPr>
            <a:spLocks/>
          </p:cNvSpPr>
          <p:nvPr/>
        </p:nvSpPr>
        <p:spPr bwMode="auto">
          <a:xfrm>
            <a:off x="4728647" y="3933698"/>
            <a:ext cx="108878" cy="132695"/>
          </a:xfrm>
          <a:custGeom>
            <a:avLst/>
            <a:gdLst>
              <a:gd name="T0" fmla="*/ 64 w 64"/>
              <a:gd name="T1" fmla="*/ 39 h 78"/>
              <a:gd name="T2" fmla="*/ 58 w 64"/>
              <a:gd name="T3" fmla="*/ 40 h 78"/>
              <a:gd name="T4" fmla="*/ 58 w 64"/>
              <a:gd name="T5" fmla="*/ 32 h 78"/>
              <a:gd name="T6" fmla="*/ 54 w 64"/>
              <a:gd name="T7" fmla="*/ 25 h 78"/>
              <a:gd name="T8" fmla="*/ 55 w 64"/>
              <a:gd name="T9" fmla="*/ 19 h 78"/>
              <a:gd name="T10" fmla="*/ 51 w 64"/>
              <a:gd name="T11" fmla="*/ 9 h 78"/>
              <a:gd name="T12" fmla="*/ 45 w 64"/>
              <a:gd name="T13" fmla="*/ 0 h 78"/>
              <a:gd name="T14" fmla="*/ 28 w 64"/>
              <a:gd name="T15" fmla="*/ 0 h 78"/>
              <a:gd name="T16" fmla="*/ 23 w 64"/>
              <a:gd name="T17" fmla="*/ 5 h 78"/>
              <a:gd name="T18" fmla="*/ 18 w 64"/>
              <a:gd name="T19" fmla="*/ 5 h 78"/>
              <a:gd name="T20" fmla="*/ 14 w 64"/>
              <a:gd name="T21" fmla="*/ 11 h 78"/>
              <a:gd name="T22" fmla="*/ 11 w 64"/>
              <a:gd name="T23" fmla="*/ 17 h 78"/>
              <a:gd name="T24" fmla="*/ 0 w 64"/>
              <a:gd name="T25" fmla="*/ 27 h 78"/>
              <a:gd name="T26" fmla="*/ 3 w 64"/>
              <a:gd name="T27" fmla="*/ 45 h 78"/>
              <a:gd name="T28" fmla="*/ 6 w 64"/>
              <a:gd name="T29" fmla="*/ 53 h 78"/>
              <a:gd name="T30" fmla="*/ 17 w 64"/>
              <a:gd name="T31" fmla="*/ 67 h 78"/>
              <a:gd name="T32" fmla="*/ 32 w 64"/>
              <a:gd name="T33" fmla="*/ 76 h 78"/>
              <a:gd name="T34" fmla="*/ 37 w 64"/>
              <a:gd name="T35" fmla="*/ 78 h 78"/>
              <a:gd name="T36" fmla="*/ 43 w 64"/>
              <a:gd name="T37" fmla="*/ 70 h 78"/>
              <a:gd name="T38" fmla="*/ 44 w 64"/>
              <a:gd name="T39" fmla="*/ 63 h 78"/>
              <a:gd name="T40" fmla="*/ 53 w 64"/>
              <a:gd name="T41" fmla="*/ 51 h 78"/>
              <a:gd name="T42" fmla="*/ 64 w 64"/>
              <a:gd name="T43" fmla="*/ 39 h 78"/>
              <a:gd name="T44" fmla="*/ 64 w 64"/>
              <a:gd name="T4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4" h="78">
                <a:moveTo>
                  <a:pt x="64" y="39"/>
                </a:moveTo>
                <a:lnTo>
                  <a:pt x="58" y="40"/>
                </a:lnTo>
                <a:lnTo>
                  <a:pt x="58" y="32"/>
                </a:lnTo>
                <a:lnTo>
                  <a:pt x="54" y="25"/>
                </a:lnTo>
                <a:lnTo>
                  <a:pt x="55" y="19"/>
                </a:lnTo>
                <a:lnTo>
                  <a:pt x="51" y="9"/>
                </a:lnTo>
                <a:lnTo>
                  <a:pt x="45" y="0"/>
                </a:lnTo>
                <a:lnTo>
                  <a:pt x="28" y="0"/>
                </a:lnTo>
                <a:lnTo>
                  <a:pt x="23" y="5"/>
                </a:lnTo>
                <a:lnTo>
                  <a:pt x="18" y="5"/>
                </a:lnTo>
                <a:lnTo>
                  <a:pt x="14" y="11"/>
                </a:lnTo>
                <a:lnTo>
                  <a:pt x="11" y="17"/>
                </a:lnTo>
                <a:lnTo>
                  <a:pt x="0" y="27"/>
                </a:lnTo>
                <a:lnTo>
                  <a:pt x="3" y="45"/>
                </a:lnTo>
                <a:lnTo>
                  <a:pt x="6" y="53"/>
                </a:lnTo>
                <a:lnTo>
                  <a:pt x="17" y="67"/>
                </a:lnTo>
                <a:lnTo>
                  <a:pt x="32" y="76"/>
                </a:lnTo>
                <a:lnTo>
                  <a:pt x="37" y="78"/>
                </a:lnTo>
                <a:lnTo>
                  <a:pt x="43" y="70"/>
                </a:lnTo>
                <a:lnTo>
                  <a:pt x="44" y="63"/>
                </a:lnTo>
                <a:lnTo>
                  <a:pt x="53" y="51"/>
                </a:lnTo>
                <a:lnTo>
                  <a:pt x="64" y="39"/>
                </a:lnTo>
                <a:lnTo>
                  <a:pt x="64" y="3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51" name="El Salvador">
            <a:extLst>
              <a:ext uri="{FF2B5EF4-FFF2-40B4-BE49-F238E27FC236}">
                <a16:creationId xmlns:a16="http://schemas.microsoft.com/office/drawing/2014/main" id="{A0D9D483-186A-4281-87DA-77B1C9D33AA3}"/>
              </a:ext>
            </a:extLst>
          </p:cNvPr>
          <p:cNvSpPr>
            <a:spLocks/>
          </p:cNvSpPr>
          <p:nvPr/>
        </p:nvSpPr>
        <p:spPr bwMode="auto">
          <a:xfrm>
            <a:off x="2010106" y="3758474"/>
            <a:ext cx="83358" cy="51038"/>
          </a:xfrm>
          <a:custGeom>
            <a:avLst/>
            <a:gdLst>
              <a:gd name="T0" fmla="*/ 47 w 49"/>
              <a:gd name="T1" fmla="*/ 24 h 30"/>
              <a:gd name="T2" fmla="*/ 49 w 49"/>
              <a:gd name="T3" fmla="*/ 15 h 30"/>
              <a:gd name="T4" fmla="*/ 46 w 49"/>
              <a:gd name="T5" fmla="*/ 12 h 30"/>
              <a:gd name="T6" fmla="*/ 43 w 49"/>
              <a:gd name="T7" fmla="*/ 10 h 30"/>
              <a:gd name="T8" fmla="*/ 33 w 49"/>
              <a:gd name="T9" fmla="*/ 13 h 30"/>
              <a:gd name="T10" fmla="*/ 33 w 49"/>
              <a:gd name="T11" fmla="*/ 10 h 30"/>
              <a:gd name="T12" fmla="*/ 27 w 49"/>
              <a:gd name="T13" fmla="*/ 6 h 30"/>
              <a:gd name="T14" fmla="*/ 23 w 49"/>
              <a:gd name="T15" fmla="*/ 2 h 30"/>
              <a:gd name="T16" fmla="*/ 17 w 49"/>
              <a:gd name="T17" fmla="*/ 0 h 30"/>
              <a:gd name="T18" fmla="*/ 12 w 49"/>
              <a:gd name="T19" fmla="*/ 1 h 30"/>
              <a:gd name="T20" fmla="*/ 13 w 49"/>
              <a:gd name="T21" fmla="*/ 3 h 30"/>
              <a:gd name="T22" fmla="*/ 9 w 49"/>
              <a:gd name="T23" fmla="*/ 6 h 30"/>
              <a:gd name="T24" fmla="*/ 1 w 49"/>
              <a:gd name="T25" fmla="*/ 12 h 30"/>
              <a:gd name="T26" fmla="*/ 0 w 49"/>
              <a:gd name="T27" fmla="*/ 16 h 30"/>
              <a:gd name="T28" fmla="*/ 5 w 49"/>
              <a:gd name="T29" fmla="*/ 20 h 30"/>
              <a:gd name="T30" fmla="*/ 17 w 49"/>
              <a:gd name="T31" fmla="*/ 22 h 30"/>
              <a:gd name="T32" fmla="*/ 25 w 49"/>
              <a:gd name="T33" fmla="*/ 27 h 30"/>
              <a:gd name="T34" fmla="*/ 32 w 49"/>
              <a:gd name="T35" fmla="*/ 30 h 30"/>
              <a:gd name="T36" fmla="*/ 45 w 49"/>
              <a:gd name="T37" fmla="*/ 30 h 30"/>
              <a:gd name="T38" fmla="*/ 47 w 49"/>
              <a:gd name="T39" fmla="*/ 24 h 30"/>
              <a:gd name="T40" fmla="*/ 47 w 49"/>
              <a:gd name="T41"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30">
                <a:moveTo>
                  <a:pt x="47" y="24"/>
                </a:moveTo>
                <a:lnTo>
                  <a:pt x="49" y="15"/>
                </a:lnTo>
                <a:lnTo>
                  <a:pt x="46" y="12"/>
                </a:lnTo>
                <a:lnTo>
                  <a:pt x="43" y="10"/>
                </a:lnTo>
                <a:lnTo>
                  <a:pt x="33" y="13"/>
                </a:lnTo>
                <a:lnTo>
                  <a:pt x="33" y="10"/>
                </a:lnTo>
                <a:lnTo>
                  <a:pt x="27" y="6"/>
                </a:lnTo>
                <a:lnTo>
                  <a:pt x="23" y="2"/>
                </a:lnTo>
                <a:lnTo>
                  <a:pt x="17" y="0"/>
                </a:lnTo>
                <a:lnTo>
                  <a:pt x="12" y="1"/>
                </a:lnTo>
                <a:lnTo>
                  <a:pt x="13" y="3"/>
                </a:lnTo>
                <a:lnTo>
                  <a:pt x="9" y="6"/>
                </a:lnTo>
                <a:lnTo>
                  <a:pt x="1" y="12"/>
                </a:lnTo>
                <a:lnTo>
                  <a:pt x="0" y="16"/>
                </a:lnTo>
                <a:lnTo>
                  <a:pt x="5" y="20"/>
                </a:lnTo>
                <a:lnTo>
                  <a:pt x="17" y="22"/>
                </a:lnTo>
                <a:lnTo>
                  <a:pt x="25" y="27"/>
                </a:lnTo>
                <a:lnTo>
                  <a:pt x="32" y="30"/>
                </a:lnTo>
                <a:lnTo>
                  <a:pt x="45" y="30"/>
                </a:lnTo>
                <a:lnTo>
                  <a:pt x="47" y="24"/>
                </a:lnTo>
                <a:lnTo>
                  <a:pt x="47" y="2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52" name="Serbia">
            <a:extLst>
              <a:ext uri="{FF2B5EF4-FFF2-40B4-BE49-F238E27FC236}">
                <a16:creationId xmlns:a16="http://schemas.microsoft.com/office/drawing/2014/main" id="{52190DD9-BAF8-48E8-AB67-3D2FFD7494FD}"/>
              </a:ext>
            </a:extLst>
          </p:cNvPr>
          <p:cNvSpPr>
            <a:spLocks/>
          </p:cNvSpPr>
          <p:nvPr/>
        </p:nvSpPr>
        <p:spPr bwMode="auto">
          <a:xfrm>
            <a:off x="5798711" y="2477460"/>
            <a:ext cx="144602" cy="154811"/>
          </a:xfrm>
          <a:custGeom>
            <a:avLst/>
            <a:gdLst>
              <a:gd name="T0" fmla="*/ 52 w 85"/>
              <a:gd name="T1" fmla="*/ 23 h 91"/>
              <a:gd name="T2" fmla="*/ 40 w 85"/>
              <a:gd name="T3" fmla="*/ 18 h 91"/>
              <a:gd name="T4" fmla="*/ 37 w 85"/>
              <a:gd name="T5" fmla="*/ 10 h 91"/>
              <a:gd name="T6" fmla="*/ 27 w 85"/>
              <a:gd name="T7" fmla="*/ 1 h 91"/>
              <a:gd name="T8" fmla="*/ 14 w 85"/>
              <a:gd name="T9" fmla="*/ 0 h 91"/>
              <a:gd name="T10" fmla="*/ 0 w 85"/>
              <a:gd name="T11" fmla="*/ 7 h 91"/>
              <a:gd name="T12" fmla="*/ 0 w 85"/>
              <a:gd name="T13" fmla="*/ 7 h 91"/>
              <a:gd name="T14" fmla="*/ 6 w 85"/>
              <a:gd name="T15" fmla="*/ 15 h 91"/>
              <a:gd name="T16" fmla="*/ 13 w 85"/>
              <a:gd name="T17" fmla="*/ 23 h 91"/>
              <a:gd name="T18" fmla="*/ 6 w 85"/>
              <a:gd name="T19" fmla="*/ 31 h 91"/>
              <a:gd name="T20" fmla="*/ 6 w 85"/>
              <a:gd name="T21" fmla="*/ 31 h 91"/>
              <a:gd name="T22" fmla="*/ 13 w 85"/>
              <a:gd name="T23" fmla="*/ 31 h 91"/>
              <a:gd name="T24" fmla="*/ 9 w 85"/>
              <a:gd name="T25" fmla="*/ 41 h 91"/>
              <a:gd name="T26" fmla="*/ 19 w 85"/>
              <a:gd name="T27" fmla="*/ 50 h 91"/>
              <a:gd name="T28" fmla="*/ 17 w 85"/>
              <a:gd name="T29" fmla="*/ 60 h 91"/>
              <a:gd name="T30" fmla="*/ 13 w 85"/>
              <a:gd name="T31" fmla="*/ 62 h 91"/>
              <a:gd name="T32" fmla="*/ 18 w 85"/>
              <a:gd name="T33" fmla="*/ 65 h 91"/>
              <a:gd name="T34" fmla="*/ 21 w 85"/>
              <a:gd name="T35" fmla="*/ 68 h 91"/>
              <a:gd name="T36" fmla="*/ 28 w 85"/>
              <a:gd name="T37" fmla="*/ 71 h 91"/>
              <a:gd name="T38" fmla="*/ 36 w 85"/>
              <a:gd name="T39" fmla="*/ 76 h 91"/>
              <a:gd name="T40" fmla="*/ 34 w 85"/>
              <a:gd name="T41" fmla="*/ 78 h 91"/>
              <a:gd name="T42" fmla="*/ 39 w 85"/>
              <a:gd name="T43" fmla="*/ 76 h 91"/>
              <a:gd name="T44" fmla="*/ 41 w 85"/>
              <a:gd name="T45" fmla="*/ 68 h 91"/>
              <a:gd name="T46" fmla="*/ 43 w 85"/>
              <a:gd name="T47" fmla="*/ 67 h 91"/>
              <a:gd name="T48" fmla="*/ 47 w 85"/>
              <a:gd name="T49" fmla="*/ 70 h 91"/>
              <a:gd name="T50" fmla="*/ 51 w 85"/>
              <a:gd name="T51" fmla="*/ 72 h 91"/>
              <a:gd name="T52" fmla="*/ 54 w 85"/>
              <a:gd name="T53" fmla="*/ 76 h 91"/>
              <a:gd name="T54" fmla="*/ 56 w 85"/>
              <a:gd name="T55" fmla="*/ 77 h 91"/>
              <a:gd name="T56" fmla="*/ 60 w 85"/>
              <a:gd name="T57" fmla="*/ 80 h 91"/>
              <a:gd name="T58" fmla="*/ 64 w 85"/>
              <a:gd name="T59" fmla="*/ 80 h 91"/>
              <a:gd name="T60" fmla="*/ 62 w 85"/>
              <a:gd name="T61" fmla="*/ 86 h 91"/>
              <a:gd name="T62" fmla="*/ 60 w 85"/>
              <a:gd name="T63" fmla="*/ 89 h 91"/>
              <a:gd name="T64" fmla="*/ 60 w 85"/>
              <a:gd name="T65" fmla="*/ 91 h 91"/>
              <a:gd name="T66" fmla="*/ 67 w 85"/>
              <a:gd name="T67" fmla="*/ 90 h 91"/>
              <a:gd name="T68" fmla="*/ 76 w 85"/>
              <a:gd name="T69" fmla="*/ 89 h 91"/>
              <a:gd name="T70" fmla="*/ 79 w 85"/>
              <a:gd name="T71" fmla="*/ 86 h 91"/>
              <a:gd name="T72" fmla="*/ 76 w 85"/>
              <a:gd name="T73" fmla="*/ 83 h 91"/>
              <a:gd name="T74" fmla="*/ 79 w 85"/>
              <a:gd name="T75" fmla="*/ 76 h 91"/>
              <a:gd name="T76" fmla="*/ 85 w 85"/>
              <a:gd name="T77" fmla="*/ 68 h 91"/>
              <a:gd name="T78" fmla="*/ 75 w 85"/>
              <a:gd name="T79" fmla="*/ 59 h 91"/>
              <a:gd name="T80" fmla="*/ 72 w 85"/>
              <a:gd name="T81" fmla="*/ 51 h 91"/>
              <a:gd name="T82" fmla="*/ 76 w 85"/>
              <a:gd name="T83" fmla="*/ 45 h 91"/>
              <a:gd name="T84" fmla="*/ 72 w 85"/>
              <a:gd name="T85" fmla="*/ 41 h 91"/>
              <a:gd name="T86" fmla="*/ 77 w 85"/>
              <a:gd name="T87" fmla="*/ 37 h 91"/>
              <a:gd name="T88" fmla="*/ 71 w 85"/>
              <a:gd name="T89" fmla="*/ 35 h 91"/>
              <a:gd name="T90" fmla="*/ 66 w 85"/>
              <a:gd name="T91" fmla="*/ 39 h 91"/>
              <a:gd name="T92" fmla="*/ 55 w 85"/>
              <a:gd name="T93" fmla="*/ 33 h 91"/>
              <a:gd name="T94" fmla="*/ 52 w 85"/>
              <a:gd name="T95" fmla="*/ 23 h 91"/>
              <a:gd name="T96" fmla="*/ 52 w 85"/>
              <a:gd name="T97"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5" h="91">
                <a:moveTo>
                  <a:pt x="52" y="23"/>
                </a:moveTo>
                <a:lnTo>
                  <a:pt x="40" y="18"/>
                </a:lnTo>
                <a:lnTo>
                  <a:pt x="37" y="10"/>
                </a:lnTo>
                <a:lnTo>
                  <a:pt x="27" y="1"/>
                </a:lnTo>
                <a:lnTo>
                  <a:pt x="14" y="0"/>
                </a:lnTo>
                <a:lnTo>
                  <a:pt x="0" y="7"/>
                </a:lnTo>
                <a:lnTo>
                  <a:pt x="0" y="7"/>
                </a:lnTo>
                <a:lnTo>
                  <a:pt x="6" y="15"/>
                </a:lnTo>
                <a:lnTo>
                  <a:pt x="13" y="23"/>
                </a:lnTo>
                <a:lnTo>
                  <a:pt x="6" y="31"/>
                </a:lnTo>
                <a:lnTo>
                  <a:pt x="6" y="31"/>
                </a:lnTo>
                <a:lnTo>
                  <a:pt x="13" y="31"/>
                </a:lnTo>
                <a:lnTo>
                  <a:pt x="9" y="41"/>
                </a:lnTo>
                <a:lnTo>
                  <a:pt x="19" y="50"/>
                </a:lnTo>
                <a:lnTo>
                  <a:pt x="17" y="60"/>
                </a:lnTo>
                <a:lnTo>
                  <a:pt x="13" y="62"/>
                </a:lnTo>
                <a:lnTo>
                  <a:pt x="18" y="65"/>
                </a:lnTo>
                <a:lnTo>
                  <a:pt x="21" y="68"/>
                </a:lnTo>
                <a:lnTo>
                  <a:pt x="28" y="71"/>
                </a:lnTo>
                <a:lnTo>
                  <a:pt x="36" y="76"/>
                </a:lnTo>
                <a:lnTo>
                  <a:pt x="34" y="78"/>
                </a:lnTo>
                <a:lnTo>
                  <a:pt x="39" y="76"/>
                </a:lnTo>
                <a:lnTo>
                  <a:pt x="41" y="68"/>
                </a:lnTo>
                <a:lnTo>
                  <a:pt x="43" y="67"/>
                </a:lnTo>
                <a:lnTo>
                  <a:pt x="47" y="70"/>
                </a:lnTo>
                <a:lnTo>
                  <a:pt x="51" y="72"/>
                </a:lnTo>
                <a:lnTo>
                  <a:pt x="54" y="76"/>
                </a:lnTo>
                <a:lnTo>
                  <a:pt x="56" y="77"/>
                </a:lnTo>
                <a:lnTo>
                  <a:pt x="60" y="80"/>
                </a:lnTo>
                <a:lnTo>
                  <a:pt x="64" y="80"/>
                </a:lnTo>
                <a:lnTo>
                  <a:pt x="62" y="86"/>
                </a:lnTo>
                <a:lnTo>
                  <a:pt x="60" y="89"/>
                </a:lnTo>
                <a:lnTo>
                  <a:pt x="60" y="91"/>
                </a:lnTo>
                <a:lnTo>
                  <a:pt x="67" y="90"/>
                </a:lnTo>
                <a:lnTo>
                  <a:pt x="76" y="89"/>
                </a:lnTo>
                <a:lnTo>
                  <a:pt x="79" y="86"/>
                </a:lnTo>
                <a:lnTo>
                  <a:pt x="76" y="83"/>
                </a:lnTo>
                <a:lnTo>
                  <a:pt x="79" y="76"/>
                </a:lnTo>
                <a:lnTo>
                  <a:pt x="85" y="68"/>
                </a:lnTo>
                <a:lnTo>
                  <a:pt x="75" y="59"/>
                </a:lnTo>
                <a:lnTo>
                  <a:pt x="72" y="51"/>
                </a:lnTo>
                <a:lnTo>
                  <a:pt x="76" y="45"/>
                </a:lnTo>
                <a:lnTo>
                  <a:pt x="72" y="41"/>
                </a:lnTo>
                <a:lnTo>
                  <a:pt x="77" y="37"/>
                </a:lnTo>
                <a:lnTo>
                  <a:pt x="71" y="35"/>
                </a:lnTo>
                <a:lnTo>
                  <a:pt x="66" y="39"/>
                </a:lnTo>
                <a:lnTo>
                  <a:pt x="55" y="33"/>
                </a:lnTo>
                <a:lnTo>
                  <a:pt x="52" y="23"/>
                </a:lnTo>
                <a:lnTo>
                  <a:pt x="52" y="2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53" name="Suriname">
            <a:extLst>
              <a:ext uri="{FF2B5EF4-FFF2-40B4-BE49-F238E27FC236}">
                <a16:creationId xmlns:a16="http://schemas.microsoft.com/office/drawing/2014/main" id="{A9827942-8436-4AEF-ABB2-FC4F13C39BC2}"/>
              </a:ext>
            </a:extLst>
          </p:cNvPr>
          <p:cNvSpPr>
            <a:spLocks/>
          </p:cNvSpPr>
          <p:nvPr/>
        </p:nvSpPr>
        <p:spPr bwMode="auto">
          <a:xfrm>
            <a:off x="3129505" y="4097015"/>
            <a:ext cx="148005" cy="168421"/>
          </a:xfrm>
          <a:custGeom>
            <a:avLst/>
            <a:gdLst>
              <a:gd name="T0" fmla="*/ 64 w 87"/>
              <a:gd name="T1" fmla="*/ 0 h 99"/>
              <a:gd name="T2" fmla="*/ 48 w 87"/>
              <a:gd name="T3" fmla="*/ 1 h 99"/>
              <a:gd name="T4" fmla="*/ 45 w 87"/>
              <a:gd name="T5" fmla="*/ 6 h 99"/>
              <a:gd name="T6" fmla="*/ 20 w 87"/>
              <a:gd name="T7" fmla="*/ 1 h 99"/>
              <a:gd name="T8" fmla="*/ 16 w 87"/>
              <a:gd name="T9" fmla="*/ 23 h 99"/>
              <a:gd name="T10" fmla="*/ 3 w 87"/>
              <a:gd name="T11" fmla="*/ 28 h 99"/>
              <a:gd name="T12" fmla="*/ 5 w 87"/>
              <a:gd name="T13" fmla="*/ 34 h 99"/>
              <a:gd name="T14" fmla="*/ 0 w 87"/>
              <a:gd name="T15" fmla="*/ 46 h 99"/>
              <a:gd name="T16" fmla="*/ 9 w 87"/>
              <a:gd name="T17" fmla="*/ 64 h 99"/>
              <a:gd name="T18" fmla="*/ 16 w 87"/>
              <a:gd name="T19" fmla="*/ 64 h 99"/>
              <a:gd name="T20" fmla="*/ 19 w 87"/>
              <a:gd name="T21" fmla="*/ 77 h 99"/>
              <a:gd name="T22" fmla="*/ 31 w 87"/>
              <a:gd name="T23" fmla="*/ 98 h 99"/>
              <a:gd name="T24" fmla="*/ 42 w 87"/>
              <a:gd name="T25" fmla="*/ 99 h 99"/>
              <a:gd name="T26" fmla="*/ 44 w 87"/>
              <a:gd name="T27" fmla="*/ 95 h 99"/>
              <a:gd name="T28" fmla="*/ 41 w 87"/>
              <a:gd name="T29" fmla="*/ 90 h 99"/>
              <a:gd name="T30" fmla="*/ 43 w 87"/>
              <a:gd name="T31" fmla="*/ 84 h 99"/>
              <a:gd name="T32" fmla="*/ 51 w 87"/>
              <a:gd name="T33" fmla="*/ 85 h 99"/>
              <a:gd name="T34" fmla="*/ 62 w 87"/>
              <a:gd name="T35" fmla="*/ 83 h 99"/>
              <a:gd name="T36" fmla="*/ 74 w 87"/>
              <a:gd name="T37" fmla="*/ 88 h 99"/>
              <a:gd name="T38" fmla="*/ 78 w 87"/>
              <a:gd name="T39" fmla="*/ 78 h 99"/>
              <a:gd name="T40" fmla="*/ 81 w 87"/>
              <a:gd name="T41" fmla="*/ 68 h 99"/>
              <a:gd name="T42" fmla="*/ 85 w 87"/>
              <a:gd name="T43" fmla="*/ 56 h 99"/>
              <a:gd name="T44" fmla="*/ 77 w 87"/>
              <a:gd name="T45" fmla="*/ 43 h 99"/>
              <a:gd name="T46" fmla="*/ 76 w 87"/>
              <a:gd name="T47" fmla="*/ 27 h 99"/>
              <a:gd name="T48" fmla="*/ 87 w 87"/>
              <a:gd name="T49" fmla="*/ 6 h 99"/>
              <a:gd name="T50" fmla="*/ 64 w 87"/>
              <a:gd name="T51" fmla="*/ 0 h 99"/>
              <a:gd name="T52" fmla="*/ 64 w 87"/>
              <a:gd name="T5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7" h="99">
                <a:moveTo>
                  <a:pt x="64" y="0"/>
                </a:moveTo>
                <a:lnTo>
                  <a:pt x="48" y="1"/>
                </a:lnTo>
                <a:lnTo>
                  <a:pt x="45" y="6"/>
                </a:lnTo>
                <a:lnTo>
                  <a:pt x="20" y="1"/>
                </a:lnTo>
                <a:lnTo>
                  <a:pt x="16" y="23"/>
                </a:lnTo>
                <a:lnTo>
                  <a:pt x="3" y="28"/>
                </a:lnTo>
                <a:lnTo>
                  <a:pt x="5" y="34"/>
                </a:lnTo>
                <a:lnTo>
                  <a:pt x="0" y="46"/>
                </a:lnTo>
                <a:lnTo>
                  <a:pt x="9" y="64"/>
                </a:lnTo>
                <a:lnTo>
                  <a:pt x="16" y="64"/>
                </a:lnTo>
                <a:lnTo>
                  <a:pt x="19" y="77"/>
                </a:lnTo>
                <a:lnTo>
                  <a:pt x="31" y="98"/>
                </a:lnTo>
                <a:lnTo>
                  <a:pt x="42" y="99"/>
                </a:lnTo>
                <a:lnTo>
                  <a:pt x="44" y="95"/>
                </a:lnTo>
                <a:lnTo>
                  <a:pt x="41" y="90"/>
                </a:lnTo>
                <a:lnTo>
                  <a:pt x="43" y="84"/>
                </a:lnTo>
                <a:lnTo>
                  <a:pt x="51" y="85"/>
                </a:lnTo>
                <a:lnTo>
                  <a:pt x="62" y="83"/>
                </a:lnTo>
                <a:lnTo>
                  <a:pt x="74" y="88"/>
                </a:lnTo>
                <a:lnTo>
                  <a:pt x="78" y="78"/>
                </a:lnTo>
                <a:lnTo>
                  <a:pt x="81" y="68"/>
                </a:lnTo>
                <a:lnTo>
                  <a:pt x="85" y="56"/>
                </a:lnTo>
                <a:lnTo>
                  <a:pt x="77" y="43"/>
                </a:lnTo>
                <a:lnTo>
                  <a:pt x="76" y="27"/>
                </a:lnTo>
                <a:lnTo>
                  <a:pt x="87" y="6"/>
                </a:lnTo>
                <a:lnTo>
                  <a:pt x="64" y="0"/>
                </a:lnTo>
                <a:lnTo>
                  <a:pt x="64"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54" name="Slovakia">
            <a:extLst>
              <a:ext uri="{FF2B5EF4-FFF2-40B4-BE49-F238E27FC236}">
                <a16:creationId xmlns:a16="http://schemas.microsoft.com/office/drawing/2014/main" id="{53A558A6-B7C3-44B2-B385-F77B7B6DE541}"/>
              </a:ext>
            </a:extLst>
          </p:cNvPr>
          <p:cNvSpPr>
            <a:spLocks/>
          </p:cNvSpPr>
          <p:nvPr/>
        </p:nvSpPr>
        <p:spPr bwMode="auto">
          <a:xfrm>
            <a:off x="5728961" y="2344765"/>
            <a:ext cx="175224" cy="71451"/>
          </a:xfrm>
          <a:custGeom>
            <a:avLst/>
            <a:gdLst>
              <a:gd name="T0" fmla="*/ 103 w 103"/>
              <a:gd name="T1" fmla="*/ 11 h 42"/>
              <a:gd name="T2" fmla="*/ 84 w 103"/>
              <a:gd name="T3" fmla="*/ 2 h 42"/>
              <a:gd name="T4" fmla="*/ 71 w 103"/>
              <a:gd name="T5" fmla="*/ 5 h 42"/>
              <a:gd name="T6" fmla="*/ 63 w 103"/>
              <a:gd name="T7" fmla="*/ 2 h 42"/>
              <a:gd name="T8" fmla="*/ 53 w 103"/>
              <a:gd name="T9" fmla="*/ 7 h 42"/>
              <a:gd name="T10" fmla="*/ 42 w 103"/>
              <a:gd name="T11" fmla="*/ 0 h 42"/>
              <a:gd name="T12" fmla="*/ 35 w 103"/>
              <a:gd name="T13" fmla="*/ 2 h 42"/>
              <a:gd name="T14" fmla="*/ 34 w 103"/>
              <a:gd name="T15" fmla="*/ 2 h 42"/>
              <a:gd name="T16" fmla="*/ 28 w 103"/>
              <a:gd name="T17" fmla="*/ 2 h 42"/>
              <a:gd name="T18" fmla="*/ 26 w 103"/>
              <a:gd name="T19" fmla="*/ 5 h 42"/>
              <a:gd name="T20" fmla="*/ 22 w 103"/>
              <a:gd name="T21" fmla="*/ 6 h 42"/>
              <a:gd name="T22" fmla="*/ 21 w 103"/>
              <a:gd name="T23" fmla="*/ 12 h 42"/>
              <a:gd name="T24" fmla="*/ 18 w 103"/>
              <a:gd name="T25" fmla="*/ 13 h 42"/>
              <a:gd name="T26" fmla="*/ 17 w 103"/>
              <a:gd name="T27" fmla="*/ 15 h 42"/>
              <a:gd name="T28" fmla="*/ 12 w 103"/>
              <a:gd name="T29" fmla="*/ 17 h 42"/>
              <a:gd name="T30" fmla="*/ 3 w 103"/>
              <a:gd name="T31" fmla="*/ 16 h 42"/>
              <a:gd name="T32" fmla="*/ 1 w 103"/>
              <a:gd name="T33" fmla="*/ 22 h 42"/>
              <a:gd name="T34" fmla="*/ 0 w 103"/>
              <a:gd name="T35" fmla="*/ 25 h 42"/>
              <a:gd name="T36" fmla="*/ 2 w 103"/>
              <a:gd name="T37" fmla="*/ 33 h 42"/>
              <a:gd name="T38" fmla="*/ 12 w 103"/>
              <a:gd name="T39" fmla="*/ 39 h 42"/>
              <a:gd name="T40" fmla="*/ 19 w 103"/>
              <a:gd name="T41" fmla="*/ 42 h 42"/>
              <a:gd name="T42" fmla="*/ 35 w 103"/>
              <a:gd name="T43" fmla="*/ 39 h 42"/>
              <a:gd name="T44" fmla="*/ 36 w 103"/>
              <a:gd name="T45" fmla="*/ 34 h 42"/>
              <a:gd name="T46" fmla="*/ 43 w 103"/>
              <a:gd name="T47" fmla="*/ 33 h 42"/>
              <a:gd name="T48" fmla="*/ 52 w 103"/>
              <a:gd name="T49" fmla="*/ 30 h 42"/>
              <a:gd name="T50" fmla="*/ 54 w 103"/>
              <a:gd name="T51" fmla="*/ 31 h 42"/>
              <a:gd name="T52" fmla="*/ 62 w 103"/>
              <a:gd name="T53" fmla="*/ 29 h 42"/>
              <a:gd name="T54" fmla="*/ 66 w 103"/>
              <a:gd name="T55" fmla="*/ 23 h 42"/>
              <a:gd name="T56" fmla="*/ 71 w 103"/>
              <a:gd name="T57" fmla="*/ 21 h 42"/>
              <a:gd name="T58" fmla="*/ 92 w 103"/>
              <a:gd name="T59" fmla="*/ 29 h 42"/>
              <a:gd name="T60" fmla="*/ 96 w 103"/>
              <a:gd name="T61" fmla="*/ 26 h 42"/>
              <a:gd name="T62" fmla="*/ 98 w 103"/>
              <a:gd name="T63" fmla="*/ 16 h 42"/>
              <a:gd name="T64" fmla="*/ 103 w 103"/>
              <a:gd name="T65" fmla="*/ 11 h 42"/>
              <a:gd name="T66" fmla="*/ 103 w 103"/>
              <a:gd name="T67"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3" h="42">
                <a:moveTo>
                  <a:pt x="103" y="11"/>
                </a:moveTo>
                <a:lnTo>
                  <a:pt x="84" y="2"/>
                </a:lnTo>
                <a:lnTo>
                  <a:pt x="71" y="5"/>
                </a:lnTo>
                <a:lnTo>
                  <a:pt x="63" y="2"/>
                </a:lnTo>
                <a:lnTo>
                  <a:pt x="53" y="7"/>
                </a:lnTo>
                <a:lnTo>
                  <a:pt x="42" y="0"/>
                </a:lnTo>
                <a:lnTo>
                  <a:pt x="35" y="2"/>
                </a:lnTo>
                <a:lnTo>
                  <a:pt x="34" y="2"/>
                </a:lnTo>
                <a:lnTo>
                  <a:pt x="28" y="2"/>
                </a:lnTo>
                <a:lnTo>
                  <a:pt x="26" y="5"/>
                </a:lnTo>
                <a:lnTo>
                  <a:pt x="22" y="6"/>
                </a:lnTo>
                <a:lnTo>
                  <a:pt x="21" y="12"/>
                </a:lnTo>
                <a:lnTo>
                  <a:pt x="18" y="13"/>
                </a:lnTo>
                <a:lnTo>
                  <a:pt x="17" y="15"/>
                </a:lnTo>
                <a:lnTo>
                  <a:pt x="12" y="17"/>
                </a:lnTo>
                <a:lnTo>
                  <a:pt x="3" y="16"/>
                </a:lnTo>
                <a:lnTo>
                  <a:pt x="1" y="22"/>
                </a:lnTo>
                <a:lnTo>
                  <a:pt x="0" y="25"/>
                </a:lnTo>
                <a:lnTo>
                  <a:pt x="2" y="33"/>
                </a:lnTo>
                <a:lnTo>
                  <a:pt x="12" y="39"/>
                </a:lnTo>
                <a:lnTo>
                  <a:pt x="19" y="42"/>
                </a:lnTo>
                <a:lnTo>
                  <a:pt x="35" y="39"/>
                </a:lnTo>
                <a:lnTo>
                  <a:pt x="36" y="34"/>
                </a:lnTo>
                <a:lnTo>
                  <a:pt x="43" y="33"/>
                </a:lnTo>
                <a:lnTo>
                  <a:pt x="52" y="30"/>
                </a:lnTo>
                <a:lnTo>
                  <a:pt x="54" y="31"/>
                </a:lnTo>
                <a:lnTo>
                  <a:pt x="62" y="29"/>
                </a:lnTo>
                <a:lnTo>
                  <a:pt x="66" y="23"/>
                </a:lnTo>
                <a:lnTo>
                  <a:pt x="71" y="21"/>
                </a:lnTo>
                <a:lnTo>
                  <a:pt x="92" y="29"/>
                </a:lnTo>
                <a:lnTo>
                  <a:pt x="96" y="26"/>
                </a:lnTo>
                <a:lnTo>
                  <a:pt x="98" y="16"/>
                </a:lnTo>
                <a:lnTo>
                  <a:pt x="103" y="11"/>
                </a:lnTo>
                <a:lnTo>
                  <a:pt x="103" y="1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55" name="Slovenia">
            <a:extLst>
              <a:ext uri="{FF2B5EF4-FFF2-40B4-BE49-F238E27FC236}">
                <a16:creationId xmlns:a16="http://schemas.microsoft.com/office/drawing/2014/main" id="{CDECBE9E-D6B0-4119-8C7D-1D0B24DADD30}"/>
              </a:ext>
            </a:extLst>
          </p:cNvPr>
          <p:cNvSpPr>
            <a:spLocks/>
          </p:cNvSpPr>
          <p:nvPr/>
        </p:nvSpPr>
        <p:spPr bwMode="auto">
          <a:xfrm>
            <a:off x="5635395" y="2450240"/>
            <a:ext cx="90164" cy="56140"/>
          </a:xfrm>
          <a:custGeom>
            <a:avLst/>
            <a:gdLst>
              <a:gd name="T0" fmla="*/ 53 w 53"/>
              <a:gd name="T1" fmla="*/ 9 h 33"/>
              <a:gd name="T2" fmla="*/ 49 w 53"/>
              <a:gd name="T3" fmla="*/ 1 h 33"/>
              <a:gd name="T4" fmla="*/ 46 w 53"/>
              <a:gd name="T5" fmla="*/ 0 h 33"/>
              <a:gd name="T6" fmla="*/ 42 w 53"/>
              <a:gd name="T7" fmla="*/ 5 h 33"/>
              <a:gd name="T8" fmla="*/ 26 w 53"/>
              <a:gd name="T9" fmla="*/ 5 h 33"/>
              <a:gd name="T10" fmla="*/ 17 w 53"/>
              <a:gd name="T11" fmla="*/ 10 h 33"/>
              <a:gd name="T12" fmla="*/ 1 w 53"/>
              <a:gd name="T13" fmla="*/ 9 h 33"/>
              <a:gd name="T14" fmla="*/ 0 w 53"/>
              <a:gd name="T15" fmla="*/ 20 h 33"/>
              <a:gd name="T16" fmla="*/ 6 w 53"/>
              <a:gd name="T17" fmla="*/ 30 h 33"/>
              <a:gd name="T18" fmla="*/ 1 w 53"/>
              <a:gd name="T19" fmla="*/ 32 h 33"/>
              <a:gd name="T20" fmla="*/ 14 w 53"/>
              <a:gd name="T21" fmla="*/ 33 h 33"/>
              <a:gd name="T22" fmla="*/ 18 w 53"/>
              <a:gd name="T23" fmla="*/ 29 h 33"/>
              <a:gd name="T24" fmla="*/ 25 w 53"/>
              <a:gd name="T25" fmla="*/ 33 h 33"/>
              <a:gd name="T26" fmla="*/ 32 w 53"/>
              <a:gd name="T27" fmla="*/ 33 h 33"/>
              <a:gd name="T28" fmla="*/ 31 w 53"/>
              <a:gd name="T29" fmla="*/ 26 h 33"/>
              <a:gd name="T30" fmla="*/ 38 w 53"/>
              <a:gd name="T31" fmla="*/ 24 h 33"/>
              <a:gd name="T32" fmla="*/ 39 w 53"/>
              <a:gd name="T33" fmla="*/ 15 h 33"/>
              <a:gd name="T34" fmla="*/ 53 w 53"/>
              <a:gd name="T35" fmla="*/ 9 h 33"/>
              <a:gd name="T36" fmla="*/ 53 w 53"/>
              <a:gd name="T37"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3">
                <a:moveTo>
                  <a:pt x="53" y="9"/>
                </a:moveTo>
                <a:lnTo>
                  <a:pt x="49" y="1"/>
                </a:lnTo>
                <a:lnTo>
                  <a:pt x="46" y="0"/>
                </a:lnTo>
                <a:lnTo>
                  <a:pt x="42" y="5"/>
                </a:lnTo>
                <a:lnTo>
                  <a:pt x="26" y="5"/>
                </a:lnTo>
                <a:lnTo>
                  <a:pt x="17" y="10"/>
                </a:lnTo>
                <a:lnTo>
                  <a:pt x="1" y="9"/>
                </a:lnTo>
                <a:lnTo>
                  <a:pt x="0" y="20"/>
                </a:lnTo>
                <a:lnTo>
                  <a:pt x="6" y="30"/>
                </a:lnTo>
                <a:lnTo>
                  <a:pt x="1" y="32"/>
                </a:lnTo>
                <a:lnTo>
                  <a:pt x="14" y="33"/>
                </a:lnTo>
                <a:lnTo>
                  <a:pt x="18" y="29"/>
                </a:lnTo>
                <a:lnTo>
                  <a:pt x="25" y="33"/>
                </a:lnTo>
                <a:lnTo>
                  <a:pt x="32" y="33"/>
                </a:lnTo>
                <a:lnTo>
                  <a:pt x="31" y="26"/>
                </a:lnTo>
                <a:lnTo>
                  <a:pt x="38" y="24"/>
                </a:lnTo>
                <a:lnTo>
                  <a:pt x="39" y="15"/>
                </a:lnTo>
                <a:lnTo>
                  <a:pt x="53" y="9"/>
                </a:lnTo>
                <a:lnTo>
                  <a:pt x="53" y="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56" name="Sweden">
            <a:extLst>
              <a:ext uri="{FF2B5EF4-FFF2-40B4-BE49-F238E27FC236}">
                <a16:creationId xmlns:a16="http://schemas.microsoft.com/office/drawing/2014/main" id="{94BBF845-2296-40B6-9E59-931DD5474F59}"/>
              </a:ext>
            </a:extLst>
          </p:cNvPr>
          <p:cNvSpPr>
            <a:spLocks/>
          </p:cNvSpPr>
          <p:nvPr/>
        </p:nvSpPr>
        <p:spPr bwMode="auto">
          <a:xfrm>
            <a:off x="5518012" y="1620046"/>
            <a:ext cx="324931" cy="500157"/>
          </a:xfrm>
          <a:custGeom>
            <a:avLst/>
            <a:gdLst>
              <a:gd name="T0" fmla="*/ 191 w 191"/>
              <a:gd name="T1" fmla="*/ 63 h 294"/>
              <a:gd name="T2" fmla="*/ 183 w 191"/>
              <a:gd name="T3" fmla="*/ 56 h 294"/>
              <a:gd name="T4" fmla="*/ 177 w 191"/>
              <a:gd name="T5" fmla="*/ 24 h 294"/>
              <a:gd name="T6" fmla="*/ 150 w 191"/>
              <a:gd name="T7" fmla="*/ 10 h 294"/>
              <a:gd name="T8" fmla="*/ 128 w 191"/>
              <a:gd name="T9" fmla="*/ 0 h 294"/>
              <a:gd name="T10" fmla="*/ 119 w 191"/>
              <a:gd name="T11" fmla="*/ 2 h 294"/>
              <a:gd name="T12" fmla="*/ 119 w 191"/>
              <a:gd name="T13" fmla="*/ 15 h 294"/>
              <a:gd name="T14" fmla="*/ 89 w 191"/>
              <a:gd name="T15" fmla="*/ 11 h 294"/>
              <a:gd name="T16" fmla="*/ 87 w 191"/>
              <a:gd name="T17" fmla="*/ 22 h 294"/>
              <a:gd name="T18" fmla="*/ 72 w 191"/>
              <a:gd name="T19" fmla="*/ 22 h 294"/>
              <a:gd name="T20" fmla="*/ 64 w 191"/>
              <a:gd name="T21" fmla="*/ 37 h 294"/>
              <a:gd name="T22" fmla="*/ 52 w 191"/>
              <a:gd name="T23" fmla="*/ 60 h 294"/>
              <a:gd name="T24" fmla="*/ 30 w 191"/>
              <a:gd name="T25" fmla="*/ 90 h 294"/>
              <a:gd name="T26" fmla="*/ 37 w 191"/>
              <a:gd name="T27" fmla="*/ 96 h 294"/>
              <a:gd name="T28" fmla="*/ 32 w 191"/>
              <a:gd name="T29" fmla="*/ 104 h 294"/>
              <a:gd name="T30" fmla="*/ 16 w 191"/>
              <a:gd name="T31" fmla="*/ 104 h 294"/>
              <a:gd name="T32" fmla="*/ 7 w 191"/>
              <a:gd name="T33" fmla="*/ 124 h 294"/>
              <a:gd name="T34" fmla="*/ 10 w 191"/>
              <a:gd name="T35" fmla="*/ 152 h 294"/>
              <a:gd name="T36" fmla="*/ 23 w 191"/>
              <a:gd name="T37" fmla="*/ 163 h 294"/>
              <a:gd name="T38" fmla="*/ 19 w 191"/>
              <a:gd name="T39" fmla="*/ 189 h 294"/>
              <a:gd name="T40" fmla="*/ 7 w 191"/>
              <a:gd name="T41" fmla="*/ 203 h 294"/>
              <a:gd name="T42" fmla="*/ 0 w 191"/>
              <a:gd name="T43" fmla="*/ 217 h 294"/>
              <a:gd name="T44" fmla="*/ 16 w 191"/>
              <a:gd name="T45" fmla="*/ 247 h 294"/>
              <a:gd name="T46" fmla="*/ 32 w 191"/>
              <a:gd name="T47" fmla="*/ 273 h 294"/>
              <a:gd name="T48" fmla="*/ 39 w 191"/>
              <a:gd name="T49" fmla="*/ 294 h 294"/>
              <a:gd name="T50" fmla="*/ 59 w 191"/>
              <a:gd name="T51" fmla="*/ 293 h 294"/>
              <a:gd name="T52" fmla="*/ 67 w 191"/>
              <a:gd name="T53" fmla="*/ 275 h 294"/>
              <a:gd name="T54" fmla="*/ 89 w 191"/>
              <a:gd name="T55" fmla="*/ 277 h 294"/>
              <a:gd name="T56" fmla="*/ 96 w 191"/>
              <a:gd name="T57" fmla="*/ 257 h 294"/>
              <a:gd name="T58" fmla="*/ 98 w 191"/>
              <a:gd name="T59" fmla="*/ 219 h 294"/>
              <a:gd name="T60" fmla="*/ 116 w 191"/>
              <a:gd name="T61" fmla="*/ 215 h 294"/>
              <a:gd name="T62" fmla="*/ 128 w 191"/>
              <a:gd name="T63" fmla="*/ 189 h 294"/>
              <a:gd name="T64" fmla="*/ 110 w 191"/>
              <a:gd name="T65" fmla="*/ 177 h 294"/>
              <a:gd name="T66" fmla="*/ 96 w 191"/>
              <a:gd name="T67" fmla="*/ 162 h 294"/>
              <a:gd name="T68" fmla="*/ 105 w 191"/>
              <a:gd name="T69" fmla="*/ 132 h 294"/>
              <a:gd name="T70" fmla="*/ 134 w 191"/>
              <a:gd name="T71" fmla="*/ 114 h 294"/>
              <a:gd name="T72" fmla="*/ 156 w 191"/>
              <a:gd name="T73" fmla="*/ 97 h 294"/>
              <a:gd name="T74" fmla="*/ 151 w 191"/>
              <a:gd name="T75" fmla="*/ 84 h 294"/>
              <a:gd name="T76" fmla="*/ 164 w 191"/>
              <a:gd name="T77" fmla="*/ 69 h 294"/>
              <a:gd name="T78" fmla="*/ 191 w 191"/>
              <a:gd name="T79" fmla="*/ 63 h 294"/>
              <a:gd name="T80" fmla="*/ 191 w 191"/>
              <a:gd name="T81" fmla="*/ 63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1" h="294">
                <a:moveTo>
                  <a:pt x="191" y="63"/>
                </a:moveTo>
                <a:lnTo>
                  <a:pt x="183" y="56"/>
                </a:lnTo>
                <a:lnTo>
                  <a:pt x="177" y="24"/>
                </a:lnTo>
                <a:lnTo>
                  <a:pt x="150" y="10"/>
                </a:lnTo>
                <a:lnTo>
                  <a:pt x="128" y="0"/>
                </a:lnTo>
                <a:lnTo>
                  <a:pt x="119" y="2"/>
                </a:lnTo>
                <a:lnTo>
                  <a:pt x="119" y="15"/>
                </a:lnTo>
                <a:lnTo>
                  <a:pt x="89" y="11"/>
                </a:lnTo>
                <a:lnTo>
                  <a:pt x="87" y="22"/>
                </a:lnTo>
                <a:lnTo>
                  <a:pt x="72" y="22"/>
                </a:lnTo>
                <a:lnTo>
                  <a:pt x="64" y="37"/>
                </a:lnTo>
                <a:lnTo>
                  <a:pt x="52" y="60"/>
                </a:lnTo>
                <a:lnTo>
                  <a:pt x="30" y="90"/>
                </a:lnTo>
                <a:lnTo>
                  <a:pt x="37" y="96"/>
                </a:lnTo>
                <a:lnTo>
                  <a:pt x="32" y="104"/>
                </a:lnTo>
                <a:lnTo>
                  <a:pt x="16" y="104"/>
                </a:lnTo>
                <a:lnTo>
                  <a:pt x="7" y="124"/>
                </a:lnTo>
                <a:lnTo>
                  <a:pt x="10" y="152"/>
                </a:lnTo>
                <a:lnTo>
                  <a:pt x="23" y="163"/>
                </a:lnTo>
                <a:lnTo>
                  <a:pt x="19" y="189"/>
                </a:lnTo>
                <a:lnTo>
                  <a:pt x="7" y="203"/>
                </a:lnTo>
                <a:lnTo>
                  <a:pt x="0" y="217"/>
                </a:lnTo>
                <a:lnTo>
                  <a:pt x="16" y="247"/>
                </a:lnTo>
                <a:lnTo>
                  <a:pt x="32" y="273"/>
                </a:lnTo>
                <a:lnTo>
                  <a:pt x="39" y="294"/>
                </a:lnTo>
                <a:lnTo>
                  <a:pt x="59" y="293"/>
                </a:lnTo>
                <a:lnTo>
                  <a:pt x="67" y="275"/>
                </a:lnTo>
                <a:lnTo>
                  <a:pt x="89" y="277"/>
                </a:lnTo>
                <a:lnTo>
                  <a:pt x="96" y="257"/>
                </a:lnTo>
                <a:lnTo>
                  <a:pt x="98" y="219"/>
                </a:lnTo>
                <a:lnTo>
                  <a:pt x="116" y="215"/>
                </a:lnTo>
                <a:lnTo>
                  <a:pt x="128" y="189"/>
                </a:lnTo>
                <a:lnTo>
                  <a:pt x="110" y="177"/>
                </a:lnTo>
                <a:lnTo>
                  <a:pt x="96" y="162"/>
                </a:lnTo>
                <a:lnTo>
                  <a:pt x="105" y="132"/>
                </a:lnTo>
                <a:lnTo>
                  <a:pt x="134" y="114"/>
                </a:lnTo>
                <a:lnTo>
                  <a:pt x="156" y="97"/>
                </a:lnTo>
                <a:lnTo>
                  <a:pt x="151" y="84"/>
                </a:lnTo>
                <a:lnTo>
                  <a:pt x="164" y="69"/>
                </a:lnTo>
                <a:lnTo>
                  <a:pt x="191" y="63"/>
                </a:lnTo>
                <a:lnTo>
                  <a:pt x="191" y="6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57" name="Swaziland">
            <a:extLst>
              <a:ext uri="{FF2B5EF4-FFF2-40B4-BE49-F238E27FC236}">
                <a16:creationId xmlns:a16="http://schemas.microsoft.com/office/drawing/2014/main" id="{D59700C0-E454-4B1F-99F1-CCB2A63349AB}"/>
              </a:ext>
            </a:extLst>
          </p:cNvPr>
          <p:cNvSpPr>
            <a:spLocks/>
          </p:cNvSpPr>
          <p:nvPr/>
        </p:nvSpPr>
        <p:spPr bwMode="auto">
          <a:xfrm>
            <a:off x="6261441" y="5378031"/>
            <a:ext cx="49335" cy="64646"/>
          </a:xfrm>
          <a:custGeom>
            <a:avLst/>
            <a:gdLst>
              <a:gd name="T0" fmla="*/ 25 w 29"/>
              <a:gd name="T1" fmla="*/ 4 h 38"/>
              <a:gd name="T2" fmla="*/ 15 w 29"/>
              <a:gd name="T3" fmla="*/ 0 h 38"/>
              <a:gd name="T4" fmla="*/ 9 w 29"/>
              <a:gd name="T5" fmla="*/ 2 h 38"/>
              <a:gd name="T6" fmla="*/ 7 w 29"/>
              <a:gd name="T7" fmla="*/ 8 h 38"/>
              <a:gd name="T8" fmla="*/ 1 w 29"/>
              <a:gd name="T9" fmla="*/ 17 h 38"/>
              <a:gd name="T10" fmla="*/ 0 w 29"/>
              <a:gd name="T11" fmla="*/ 25 h 38"/>
              <a:gd name="T12" fmla="*/ 11 w 29"/>
              <a:gd name="T13" fmla="*/ 38 h 38"/>
              <a:gd name="T14" fmla="*/ 23 w 29"/>
              <a:gd name="T15" fmla="*/ 35 h 38"/>
              <a:gd name="T16" fmla="*/ 29 w 29"/>
              <a:gd name="T17" fmla="*/ 25 h 38"/>
              <a:gd name="T18" fmla="*/ 27 w 29"/>
              <a:gd name="T19" fmla="*/ 15 h 38"/>
              <a:gd name="T20" fmla="*/ 25 w 29"/>
              <a:gd name="T21" fmla="*/ 4 h 38"/>
              <a:gd name="T22" fmla="*/ 25 w 29"/>
              <a:gd name="T23"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38">
                <a:moveTo>
                  <a:pt x="25" y="4"/>
                </a:moveTo>
                <a:lnTo>
                  <a:pt x="15" y="0"/>
                </a:lnTo>
                <a:lnTo>
                  <a:pt x="9" y="2"/>
                </a:lnTo>
                <a:lnTo>
                  <a:pt x="7" y="8"/>
                </a:lnTo>
                <a:lnTo>
                  <a:pt x="1" y="17"/>
                </a:lnTo>
                <a:lnTo>
                  <a:pt x="0" y="25"/>
                </a:lnTo>
                <a:lnTo>
                  <a:pt x="11" y="38"/>
                </a:lnTo>
                <a:lnTo>
                  <a:pt x="23" y="35"/>
                </a:lnTo>
                <a:lnTo>
                  <a:pt x="29" y="25"/>
                </a:lnTo>
                <a:lnTo>
                  <a:pt x="27" y="15"/>
                </a:lnTo>
                <a:lnTo>
                  <a:pt x="25" y="4"/>
                </a:lnTo>
                <a:lnTo>
                  <a:pt x="25" y="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58" name="Syria">
            <a:extLst>
              <a:ext uri="{FF2B5EF4-FFF2-40B4-BE49-F238E27FC236}">
                <a16:creationId xmlns:a16="http://schemas.microsoft.com/office/drawing/2014/main" id="{51A4B31B-1AA8-41AF-9D55-C880FD94E7E0}"/>
              </a:ext>
            </a:extLst>
          </p:cNvPr>
          <p:cNvSpPr>
            <a:spLocks/>
          </p:cNvSpPr>
          <p:nvPr/>
        </p:nvSpPr>
        <p:spPr bwMode="auto">
          <a:xfrm>
            <a:off x="6406045" y="2833013"/>
            <a:ext cx="205846" cy="200744"/>
          </a:xfrm>
          <a:custGeom>
            <a:avLst/>
            <a:gdLst>
              <a:gd name="T0" fmla="*/ 64 w 121"/>
              <a:gd name="T1" fmla="*/ 94 h 118"/>
              <a:gd name="T2" fmla="*/ 105 w 121"/>
              <a:gd name="T3" fmla="*/ 68 h 118"/>
              <a:gd name="T4" fmla="*/ 108 w 121"/>
              <a:gd name="T5" fmla="*/ 39 h 118"/>
              <a:gd name="T6" fmla="*/ 104 w 121"/>
              <a:gd name="T7" fmla="*/ 22 h 118"/>
              <a:gd name="T8" fmla="*/ 114 w 121"/>
              <a:gd name="T9" fmla="*/ 15 h 118"/>
              <a:gd name="T10" fmla="*/ 121 w 121"/>
              <a:gd name="T11" fmla="*/ 0 h 118"/>
              <a:gd name="T12" fmla="*/ 99 w 121"/>
              <a:gd name="T13" fmla="*/ 4 h 118"/>
              <a:gd name="T14" fmla="*/ 89 w 121"/>
              <a:gd name="T15" fmla="*/ 4 h 118"/>
              <a:gd name="T16" fmla="*/ 67 w 121"/>
              <a:gd name="T17" fmla="*/ 13 h 118"/>
              <a:gd name="T18" fmla="*/ 51 w 121"/>
              <a:gd name="T19" fmla="*/ 13 h 118"/>
              <a:gd name="T20" fmla="*/ 40 w 121"/>
              <a:gd name="T21" fmla="*/ 9 h 118"/>
              <a:gd name="T22" fmla="*/ 20 w 121"/>
              <a:gd name="T23" fmla="*/ 15 h 118"/>
              <a:gd name="T24" fmla="*/ 13 w 121"/>
              <a:gd name="T25" fmla="*/ 11 h 118"/>
              <a:gd name="T26" fmla="*/ 13 w 121"/>
              <a:gd name="T27" fmla="*/ 24 h 118"/>
              <a:gd name="T28" fmla="*/ 8 w 121"/>
              <a:gd name="T29" fmla="*/ 29 h 118"/>
              <a:gd name="T30" fmla="*/ 4 w 121"/>
              <a:gd name="T31" fmla="*/ 35 h 118"/>
              <a:gd name="T32" fmla="*/ 0 w 121"/>
              <a:gd name="T33" fmla="*/ 44 h 118"/>
              <a:gd name="T34" fmla="*/ 5 w 121"/>
              <a:gd name="T35" fmla="*/ 63 h 118"/>
              <a:gd name="T36" fmla="*/ 13 w 121"/>
              <a:gd name="T37" fmla="*/ 64 h 118"/>
              <a:gd name="T38" fmla="*/ 18 w 121"/>
              <a:gd name="T39" fmla="*/ 73 h 118"/>
              <a:gd name="T40" fmla="*/ 8 w 121"/>
              <a:gd name="T41" fmla="*/ 82 h 118"/>
              <a:gd name="T42" fmla="*/ 5 w 121"/>
              <a:gd name="T43" fmla="*/ 95 h 118"/>
              <a:gd name="T44" fmla="*/ 6 w 121"/>
              <a:gd name="T45" fmla="*/ 105 h 118"/>
              <a:gd name="T46" fmla="*/ 4 w 121"/>
              <a:gd name="T47" fmla="*/ 109 h 118"/>
              <a:gd name="T48" fmla="*/ 4 w 121"/>
              <a:gd name="T49" fmla="*/ 109 h 118"/>
              <a:gd name="T50" fmla="*/ 28 w 121"/>
              <a:gd name="T51" fmla="*/ 118 h 118"/>
              <a:gd name="T52" fmla="*/ 64 w 121"/>
              <a:gd name="T53" fmla="*/ 94 h 118"/>
              <a:gd name="T54" fmla="*/ 64 w 121"/>
              <a:gd name="T55" fmla="*/ 9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1" h="118">
                <a:moveTo>
                  <a:pt x="64" y="94"/>
                </a:moveTo>
                <a:lnTo>
                  <a:pt x="105" y="68"/>
                </a:lnTo>
                <a:lnTo>
                  <a:pt x="108" y="39"/>
                </a:lnTo>
                <a:lnTo>
                  <a:pt x="104" y="22"/>
                </a:lnTo>
                <a:lnTo>
                  <a:pt x="114" y="15"/>
                </a:lnTo>
                <a:lnTo>
                  <a:pt x="121" y="0"/>
                </a:lnTo>
                <a:lnTo>
                  <a:pt x="99" y="4"/>
                </a:lnTo>
                <a:lnTo>
                  <a:pt x="89" y="4"/>
                </a:lnTo>
                <a:lnTo>
                  <a:pt x="67" y="13"/>
                </a:lnTo>
                <a:lnTo>
                  <a:pt x="51" y="13"/>
                </a:lnTo>
                <a:lnTo>
                  <a:pt x="40" y="9"/>
                </a:lnTo>
                <a:lnTo>
                  <a:pt x="20" y="15"/>
                </a:lnTo>
                <a:lnTo>
                  <a:pt x="13" y="11"/>
                </a:lnTo>
                <a:lnTo>
                  <a:pt x="13" y="24"/>
                </a:lnTo>
                <a:lnTo>
                  <a:pt x="8" y="29"/>
                </a:lnTo>
                <a:lnTo>
                  <a:pt x="4" y="35"/>
                </a:lnTo>
                <a:lnTo>
                  <a:pt x="0" y="44"/>
                </a:lnTo>
                <a:lnTo>
                  <a:pt x="5" y="63"/>
                </a:lnTo>
                <a:lnTo>
                  <a:pt x="13" y="64"/>
                </a:lnTo>
                <a:lnTo>
                  <a:pt x="18" y="73"/>
                </a:lnTo>
                <a:lnTo>
                  <a:pt x="8" y="82"/>
                </a:lnTo>
                <a:lnTo>
                  <a:pt x="5" y="95"/>
                </a:lnTo>
                <a:lnTo>
                  <a:pt x="6" y="105"/>
                </a:lnTo>
                <a:lnTo>
                  <a:pt x="4" y="109"/>
                </a:lnTo>
                <a:lnTo>
                  <a:pt x="4" y="109"/>
                </a:lnTo>
                <a:lnTo>
                  <a:pt x="28" y="118"/>
                </a:lnTo>
                <a:lnTo>
                  <a:pt x="64" y="94"/>
                </a:lnTo>
                <a:lnTo>
                  <a:pt x="64" y="9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59" name="Chad">
            <a:extLst>
              <a:ext uri="{FF2B5EF4-FFF2-40B4-BE49-F238E27FC236}">
                <a16:creationId xmlns:a16="http://schemas.microsoft.com/office/drawing/2014/main" id="{67003C65-1E0D-49F9-8D80-7B54B20C62E3}"/>
              </a:ext>
            </a:extLst>
          </p:cNvPr>
          <p:cNvSpPr>
            <a:spLocks/>
          </p:cNvSpPr>
          <p:nvPr/>
        </p:nvSpPr>
        <p:spPr bwMode="auto">
          <a:xfrm>
            <a:off x="5677924" y="3394414"/>
            <a:ext cx="365762" cy="646461"/>
          </a:xfrm>
          <a:custGeom>
            <a:avLst/>
            <a:gdLst>
              <a:gd name="T0" fmla="*/ 211 w 215"/>
              <a:gd name="T1" fmla="*/ 90 h 380"/>
              <a:gd name="T2" fmla="*/ 127 w 215"/>
              <a:gd name="T3" fmla="*/ 46 h 380"/>
              <a:gd name="T4" fmla="*/ 44 w 215"/>
              <a:gd name="T5" fmla="*/ 0 h 380"/>
              <a:gd name="T6" fmla="*/ 24 w 215"/>
              <a:gd name="T7" fmla="*/ 13 h 380"/>
              <a:gd name="T8" fmla="*/ 30 w 215"/>
              <a:gd name="T9" fmla="*/ 49 h 380"/>
              <a:gd name="T10" fmla="*/ 38 w 215"/>
              <a:gd name="T11" fmla="*/ 56 h 380"/>
              <a:gd name="T12" fmla="*/ 38 w 215"/>
              <a:gd name="T13" fmla="*/ 63 h 380"/>
              <a:gd name="T14" fmla="*/ 47 w 215"/>
              <a:gd name="T15" fmla="*/ 72 h 380"/>
              <a:gd name="T16" fmla="*/ 42 w 215"/>
              <a:gd name="T17" fmla="*/ 82 h 380"/>
              <a:gd name="T18" fmla="*/ 36 w 215"/>
              <a:gd name="T19" fmla="*/ 130 h 380"/>
              <a:gd name="T20" fmla="*/ 35 w 215"/>
              <a:gd name="T21" fmla="*/ 161 h 380"/>
              <a:gd name="T22" fmla="*/ 10 w 215"/>
              <a:gd name="T23" fmla="*/ 184 h 380"/>
              <a:gd name="T24" fmla="*/ 0 w 215"/>
              <a:gd name="T25" fmla="*/ 215 h 380"/>
              <a:gd name="T26" fmla="*/ 10 w 215"/>
              <a:gd name="T27" fmla="*/ 223 h 380"/>
              <a:gd name="T28" fmla="*/ 10 w 215"/>
              <a:gd name="T29" fmla="*/ 239 h 380"/>
              <a:gd name="T30" fmla="*/ 23 w 215"/>
              <a:gd name="T31" fmla="*/ 240 h 380"/>
              <a:gd name="T32" fmla="*/ 21 w 215"/>
              <a:gd name="T33" fmla="*/ 250 h 380"/>
              <a:gd name="T34" fmla="*/ 29 w 215"/>
              <a:gd name="T35" fmla="*/ 266 h 380"/>
              <a:gd name="T36" fmla="*/ 31 w 215"/>
              <a:gd name="T37" fmla="*/ 281 h 380"/>
              <a:gd name="T38" fmla="*/ 30 w 215"/>
              <a:gd name="T39" fmla="*/ 298 h 380"/>
              <a:gd name="T40" fmla="*/ 42 w 215"/>
              <a:gd name="T41" fmla="*/ 319 h 380"/>
              <a:gd name="T42" fmla="*/ 30 w 215"/>
              <a:gd name="T43" fmla="*/ 318 h 380"/>
              <a:gd name="T44" fmla="*/ 25 w 215"/>
              <a:gd name="T45" fmla="*/ 320 h 380"/>
              <a:gd name="T46" fmla="*/ 15 w 215"/>
              <a:gd name="T47" fmla="*/ 318 h 380"/>
              <a:gd name="T48" fmla="*/ 11 w 215"/>
              <a:gd name="T49" fmla="*/ 329 h 380"/>
              <a:gd name="T50" fmla="*/ 23 w 215"/>
              <a:gd name="T51" fmla="*/ 342 h 380"/>
              <a:gd name="T52" fmla="*/ 32 w 215"/>
              <a:gd name="T53" fmla="*/ 347 h 380"/>
              <a:gd name="T54" fmla="*/ 36 w 215"/>
              <a:gd name="T55" fmla="*/ 356 h 380"/>
              <a:gd name="T56" fmla="*/ 42 w 215"/>
              <a:gd name="T57" fmla="*/ 373 h 380"/>
              <a:gd name="T58" fmla="*/ 39 w 215"/>
              <a:gd name="T59" fmla="*/ 380 h 380"/>
              <a:gd name="T60" fmla="*/ 56 w 215"/>
              <a:gd name="T61" fmla="*/ 378 h 380"/>
              <a:gd name="T62" fmla="*/ 60 w 215"/>
              <a:gd name="T63" fmla="*/ 371 h 380"/>
              <a:gd name="T64" fmla="*/ 64 w 215"/>
              <a:gd name="T65" fmla="*/ 372 h 380"/>
              <a:gd name="T66" fmla="*/ 69 w 215"/>
              <a:gd name="T67" fmla="*/ 378 h 380"/>
              <a:gd name="T68" fmla="*/ 96 w 215"/>
              <a:gd name="T69" fmla="*/ 369 h 380"/>
              <a:gd name="T70" fmla="*/ 104 w 215"/>
              <a:gd name="T71" fmla="*/ 359 h 380"/>
              <a:gd name="T72" fmla="*/ 114 w 215"/>
              <a:gd name="T73" fmla="*/ 351 h 380"/>
              <a:gd name="T74" fmla="*/ 113 w 215"/>
              <a:gd name="T75" fmla="*/ 342 h 380"/>
              <a:gd name="T76" fmla="*/ 118 w 215"/>
              <a:gd name="T77" fmla="*/ 341 h 380"/>
              <a:gd name="T78" fmla="*/ 139 w 215"/>
              <a:gd name="T79" fmla="*/ 342 h 380"/>
              <a:gd name="T80" fmla="*/ 158 w 215"/>
              <a:gd name="T81" fmla="*/ 331 h 380"/>
              <a:gd name="T82" fmla="*/ 173 w 215"/>
              <a:gd name="T83" fmla="*/ 305 h 380"/>
              <a:gd name="T84" fmla="*/ 183 w 215"/>
              <a:gd name="T85" fmla="*/ 296 h 380"/>
              <a:gd name="T86" fmla="*/ 197 w 215"/>
              <a:gd name="T87" fmla="*/ 291 h 380"/>
              <a:gd name="T88" fmla="*/ 197 w 215"/>
              <a:gd name="T89" fmla="*/ 286 h 380"/>
              <a:gd name="T90" fmla="*/ 189 w 215"/>
              <a:gd name="T91" fmla="*/ 279 h 380"/>
              <a:gd name="T92" fmla="*/ 188 w 215"/>
              <a:gd name="T93" fmla="*/ 265 h 380"/>
              <a:gd name="T94" fmla="*/ 183 w 215"/>
              <a:gd name="T95" fmla="*/ 256 h 380"/>
              <a:gd name="T96" fmla="*/ 176 w 215"/>
              <a:gd name="T97" fmla="*/ 257 h 380"/>
              <a:gd name="T98" fmla="*/ 178 w 215"/>
              <a:gd name="T99" fmla="*/ 248 h 380"/>
              <a:gd name="T100" fmla="*/ 183 w 215"/>
              <a:gd name="T101" fmla="*/ 238 h 380"/>
              <a:gd name="T102" fmla="*/ 181 w 215"/>
              <a:gd name="T103" fmla="*/ 229 h 380"/>
              <a:gd name="T104" fmla="*/ 187 w 215"/>
              <a:gd name="T105" fmla="*/ 221 h 380"/>
              <a:gd name="T106" fmla="*/ 183 w 215"/>
              <a:gd name="T107" fmla="*/ 216 h 380"/>
              <a:gd name="T108" fmla="*/ 188 w 215"/>
              <a:gd name="T109" fmla="*/ 201 h 380"/>
              <a:gd name="T110" fmla="*/ 197 w 215"/>
              <a:gd name="T111" fmla="*/ 184 h 380"/>
              <a:gd name="T112" fmla="*/ 215 w 215"/>
              <a:gd name="T113" fmla="*/ 185 h 380"/>
              <a:gd name="T114" fmla="*/ 211 w 215"/>
              <a:gd name="T115" fmla="*/ 90 h 380"/>
              <a:gd name="T116" fmla="*/ 211 w 215"/>
              <a:gd name="T117" fmla="*/ 9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5" h="380">
                <a:moveTo>
                  <a:pt x="211" y="90"/>
                </a:moveTo>
                <a:lnTo>
                  <a:pt x="127" y="46"/>
                </a:lnTo>
                <a:lnTo>
                  <a:pt x="44" y="0"/>
                </a:lnTo>
                <a:lnTo>
                  <a:pt x="24" y="13"/>
                </a:lnTo>
                <a:lnTo>
                  <a:pt x="30" y="49"/>
                </a:lnTo>
                <a:lnTo>
                  <a:pt x="38" y="56"/>
                </a:lnTo>
                <a:lnTo>
                  <a:pt x="38" y="63"/>
                </a:lnTo>
                <a:lnTo>
                  <a:pt x="47" y="72"/>
                </a:lnTo>
                <a:lnTo>
                  <a:pt x="42" y="82"/>
                </a:lnTo>
                <a:lnTo>
                  <a:pt x="36" y="130"/>
                </a:lnTo>
                <a:lnTo>
                  <a:pt x="35" y="161"/>
                </a:lnTo>
                <a:lnTo>
                  <a:pt x="10" y="184"/>
                </a:lnTo>
                <a:lnTo>
                  <a:pt x="0" y="215"/>
                </a:lnTo>
                <a:lnTo>
                  <a:pt x="10" y="223"/>
                </a:lnTo>
                <a:lnTo>
                  <a:pt x="10" y="239"/>
                </a:lnTo>
                <a:lnTo>
                  <a:pt x="23" y="240"/>
                </a:lnTo>
                <a:lnTo>
                  <a:pt x="21" y="250"/>
                </a:lnTo>
                <a:lnTo>
                  <a:pt x="29" y="266"/>
                </a:lnTo>
                <a:lnTo>
                  <a:pt x="31" y="281"/>
                </a:lnTo>
                <a:lnTo>
                  <a:pt x="30" y="298"/>
                </a:lnTo>
                <a:lnTo>
                  <a:pt x="42" y="319"/>
                </a:lnTo>
                <a:lnTo>
                  <a:pt x="30" y="318"/>
                </a:lnTo>
                <a:lnTo>
                  <a:pt x="25" y="320"/>
                </a:lnTo>
                <a:lnTo>
                  <a:pt x="15" y="318"/>
                </a:lnTo>
                <a:lnTo>
                  <a:pt x="11" y="329"/>
                </a:lnTo>
                <a:lnTo>
                  <a:pt x="23" y="342"/>
                </a:lnTo>
                <a:lnTo>
                  <a:pt x="32" y="347"/>
                </a:lnTo>
                <a:lnTo>
                  <a:pt x="36" y="356"/>
                </a:lnTo>
                <a:lnTo>
                  <a:pt x="42" y="373"/>
                </a:lnTo>
                <a:lnTo>
                  <a:pt x="39" y="380"/>
                </a:lnTo>
                <a:lnTo>
                  <a:pt x="56" y="378"/>
                </a:lnTo>
                <a:lnTo>
                  <a:pt x="60" y="371"/>
                </a:lnTo>
                <a:lnTo>
                  <a:pt x="64" y="372"/>
                </a:lnTo>
                <a:lnTo>
                  <a:pt x="69" y="378"/>
                </a:lnTo>
                <a:lnTo>
                  <a:pt x="96" y="369"/>
                </a:lnTo>
                <a:lnTo>
                  <a:pt x="104" y="359"/>
                </a:lnTo>
                <a:lnTo>
                  <a:pt x="114" y="351"/>
                </a:lnTo>
                <a:lnTo>
                  <a:pt x="113" y="342"/>
                </a:lnTo>
                <a:lnTo>
                  <a:pt x="118" y="341"/>
                </a:lnTo>
                <a:lnTo>
                  <a:pt x="139" y="342"/>
                </a:lnTo>
                <a:lnTo>
                  <a:pt x="158" y="331"/>
                </a:lnTo>
                <a:lnTo>
                  <a:pt x="173" y="305"/>
                </a:lnTo>
                <a:lnTo>
                  <a:pt x="183" y="296"/>
                </a:lnTo>
                <a:lnTo>
                  <a:pt x="197" y="291"/>
                </a:lnTo>
                <a:lnTo>
                  <a:pt x="197" y="286"/>
                </a:lnTo>
                <a:lnTo>
                  <a:pt x="189" y="279"/>
                </a:lnTo>
                <a:lnTo>
                  <a:pt x="188" y="265"/>
                </a:lnTo>
                <a:lnTo>
                  <a:pt x="183" y="256"/>
                </a:lnTo>
                <a:lnTo>
                  <a:pt x="176" y="257"/>
                </a:lnTo>
                <a:lnTo>
                  <a:pt x="178" y="248"/>
                </a:lnTo>
                <a:lnTo>
                  <a:pt x="183" y="238"/>
                </a:lnTo>
                <a:lnTo>
                  <a:pt x="181" y="229"/>
                </a:lnTo>
                <a:lnTo>
                  <a:pt x="187" y="221"/>
                </a:lnTo>
                <a:lnTo>
                  <a:pt x="183" y="216"/>
                </a:lnTo>
                <a:lnTo>
                  <a:pt x="188" y="201"/>
                </a:lnTo>
                <a:lnTo>
                  <a:pt x="197" y="184"/>
                </a:lnTo>
                <a:lnTo>
                  <a:pt x="215" y="185"/>
                </a:lnTo>
                <a:lnTo>
                  <a:pt x="211" y="90"/>
                </a:lnTo>
                <a:lnTo>
                  <a:pt x="211" y="9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60" name="Togo">
            <a:extLst>
              <a:ext uri="{FF2B5EF4-FFF2-40B4-BE49-F238E27FC236}">
                <a16:creationId xmlns:a16="http://schemas.microsoft.com/office/drawing/2014/main" id="{C030FE35-3DE1-4EDA-949E-89DFC21A1186}"/>
              </a:ext>
            </a:extLst>
          </p:cNvPr>
          <p:cNvSpPr>
            <a:spLocks/>
          </p:cNvSpPr>
          <p:nvPr/>
        </p:nvSpPr>
        <p:spPr bwMode="auto">
          <a:xfrm>
            <a:off x="5199884" y="3894571"/>
            <a:ext cx="68048" cy="205847"/>
          </a:xfrm>
          <a:custGeom>
            <a:avLst/>
            <a:gdLst>
              <a:gd name="T0" fmla="*/ 19 w 40"/>
              <a:gd name="T1" fmla="*/ 1 h 121"/>
              <a:gd name="T2" fmla="*/ 0 w 40"/>
              <a:gd name="T3" fmla="*/ 0 h 121"/>
              <a:gd name="T4" fmla="*/ 0 w 40"/>
              <a:gd name="T5" fmla="*/ 7 h 121"/>
              <a:gd name="T6" fmla="*/ 8 w 40"/>
              <a:gd name="T7" fmla="*/ 20 h 121"/>
              <a:gd name="T8" fmla="*/ 8 w 40"/>
              <a:gd name="T9" fmla="*/ 37 h 121"/>
              <a:gd name="T10" fmla="*/ 10 w 40"/>
              <a:gd name="T11" fmla="*/ 56 h 121"/>
              <a:gd name="T12" fmla="*/ 15 w 40"/>
              <a:gd name="T13" fmla="*/ 64 h 121"/>
              <a:gd name="T14" fmla="*/ 11 w 40"/>
              <a:gd name="T15" fmla="*/ 86 h 121"/>
              <a:gd name="T16" fmla="*/ 13 w 40"/>
              <a:gd name="T17" fmla="*/ 98 h 121"/>
              <a:gd name="T18" fmla="*/ 18 w 40"/>
              <a:gd name="T19" fmla="*/ 113 h 121"/>
              <a:gd name="T20" fmla="*/ 22 w 40"/>
              <a:gd name="T21" fmla="*/ 121 h 121"/>
              <a:gd name="T22" fmla="*/ 40 w 40"/>
              <a:gd name="T23" fmla="*/ 116 h 121"/>
              <a:gd name="T24" fmla="*/ 34 w 40"/>
              <a:gd name="T25" fmla="*/ 100 h 121"/>
              <a:gd name="T26" fmla="*/ 35 w 40"/>
              <a:gd name="T27" fmla="*/ 45 h 121"/>
              <a:gd name="T28" fmla="*/ 31 w 40"/>
              <a:gd name="T29" fmla="*/ 40 h 121"/>
              <a:gd name="T30" fmla="*/ 30 w 40"/>
              <a:gd name="T31" fmla="*/ 29 h 121"/>
              <a:gd name="T32" fmla="*/ 23 w 40"/>
              <a:gd name="T33" fmla="*/ 20 h 121"/>
              <a:gd name="T34" fmla="*/ 16 w 40"/>
              <a:gd name="T35" fmla="*/ 13 h 121"/>
              <a:gd name="T36" fmla="*/ 19 w 40"/>
              <a:gd name="T37" fmla="*/ 1 h 121"/>
              <a:gd name="T38" fmla="*/ 19 w 40"/>
              <a:gd name="T39" fmla="*/ 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121">
                <a:moveTo>
                  <a:pt x="19" y="1"/>
                </a:moveTo>
                <a:lnTo>
                  <a:pt x="0" y="0"/>
                </a:lnTo>
                <a:lnTo>
                  <a:pt x="0" y="7"/>
                </a:lnTo>
                <a:lnTo>
                  <a:pt x="8" y="20"/>
                </a:lnTo>
                <a:lnTo>
                  <a:pt x="8" y="37"/>
                </a:lnTo>
                <a:lnTo>
                  <a:pt x="10" y="56"/>
                </a:lnTo>
                <a:lnTo>
                  <a:pt x="15" y="64"/>
                </a:lnTo>
                <a:lnTo>
                  <a:pt x="11" y="86"/>
                </a:lnTo>
                <a:lnTo>
                  <a:pt x="13" y="98"/>
                </a:lnTo>
                <a:lnTo>
                  <a:pt x="18" y="113"/>
                </a:lnTo>
                <a:lnTo>
                  <a:pt x="22" y="121"/>
                </a:lnTo>
                <a:lnTo>
                  <a:pt x="40" y="116"/>
                </a:lnTo>
                <a:lnTo>
                  <a:pt x="34" y="100"/>
                </a:lnTo>
                <a:lnTo>
                  <a:pt x="35" y="45"/>
                </a:lnTo>
                <a:lnTo>
                  <a:pt x="31" y="40"/>
                </a:lnTo>
                <a:lnTo>
                  <a:pt x="30" y="29"/>
                </a:lnTo>
                <a:lnTo>
                  <a:pt x="23" y="20"/>
                </a:lnTo>
                <a:lnTo>
                  <a:pt x="16" y="13"/>
                </a:lnTo>
                <a:lnTo>
                  <a:pt x="19" y="1"/>
                </a:lnTo>
                <a:lnTo>
                  <a:pt x="19"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61" name="Thailand">
            <a:extLst>
              <a:ext uri="{FF2B5EF4-FFF2-40B4-BE49-F238E27FC236}">
                <a16:creationId xmlns:a16="http://schemas.microsoft.com/office/drawing/2014/main" id="{B926A80A-1068-4B50-B9EA-A2AA90600F06}"/>
              </a:ext>
            </a:extLst>
          </p:cNvPr>
          <p:cNvSpPr>
            <a:spLocks/>
          </p:cNvSpPr>
          <p:nvPr/>
        </p:nvSpPr>
        <p:spPr bwMode="auto">
          <a:xfrm>
            <a:off x="8622727" y="3515200"/>
            <a:ext cx="311321" cy="595425"/>
          </a:xfrm>
          <a:custGeom>
            <a:avLst/>
            <a:gdLst>
              <a:gd name="T0" fmla="*/ 183 w 183"/>
              <a:gd name="T1" fmla="*/ 135 h 350"/>
              <a:gd name="T2" fmla="*/ 161 w 183"/>
              <a:gd name="T3" fmla="*/ 94 h 350"/>
              <a:gd name="T4" fmla="*/ 138 w 183"/>
              <a:gd name="T5" fmla="*/ 51 h 350"/>
              <a:gd name="T6" fmla="*/ 119 w 183"/>
              <a:gd name="T7" fmla="*/ 59 h 350"/>
              <a:gd name="T8" fmla="*/ 100 w 183"/>
              <a:gd name="T9" fmla="*/ 55 h 350"/>
              <a:gd name="T10" fmla="*/ 77 w 183"/>
              <a:gd name="T11" fmla="*/ 47 h 350"/>
              <a:gd name="T12" fmla="*/ 64 w 183"/>
              <a:gd name="T13" fmla="*/ 21 h 350"/>
              <a:gd name="T14" fmla="*/ 51 w 183"/>
              <a:gd name="T15" fmla="*/ 0 h 350"/>
              <a:gd name="T16" fmla="*/ 29 w 183"/>
              <a:gd name="T17" fmla="*/ 16 h 350"/>
              <a:gd name="T18" fmla="*/ 9 w 183"/>
              <a:gd name="T19" fmla="*/ 43 h 350"/>
              <a:gd name="T20" fmla="*/ 14 w 183"/>
              <a:gd name="T21" fmla="*/ 68 h 350"/>
              <a:gd name="T22" fmla="*/ 40 w 183"/>
              <a:gd name="T23" fmla="*/ 101 h 350"/>
              <a:gd name="T24" fmla="*/ 28 w 183"/>
              <a:gd name="T25" fmla="*/ 126 h 350"/>
              <a:gd name="T26" fmla="*/ 51 w 183"/>
              <a:gd name="T27" fmla="*/ 157 h 350"/>
              <a:gd name="T28" fmla="*/ 55 w 183"/>
              <a:gd name="T29" fmla="*/ 181 h 350"/>
              <a:gd name="T30" fmla="*/ 56 w 183"/>
              <a:gd name="T31" fmla="*/ 225 h 350"/>
              <a:gd name="T32" fmla="*/ 42 w 183"/>
              <a:gd name="T33" fmla="*/ 271 h 350"/>
              <a:gd name="T34" fmla="*/ 46 w 183"/>
              <a:gd name="T35" fmla="*/ 299 h 350"/>
              <a:gd name="T36" fmla="*/ 59 w 183"/>
              <a:gd name="T37" fmla="*/ 298 h 350"/>
              <a:gd name="T38" fmla="*/ 75 w 183"/>
              <a:gd name="T39" fmla="*/ 322 h 350"/>
              <a:gd name="T40" fmla="*/ 88 w 183"/>
              <a:gd name="T41" fmla="*/ 328 h 350"/>
              <a:gd name="T42" fmla="*/ 108 w 183"/>
              <a:gd name="T43" fmla="*/ 350 h 350"/>
              <a:gd name="T44" fmla="*/ 127 w 183"/>
              <a:gd name="T45" fmla="*/ 337 h 350"/>
              <a:gd name="T46" fmla="*/ 103 w 183"/>
              <a:gd name="T47" fmla="*/ 322 h 350"/>
              <a:gd name="T48" fmla="*/ 86 w 183"/>
              <a:gd name="T49" fmla="*/ 288 h 350"/>
              <a:gd name="T50" fmla="*/ 62 w 183"/>
              <a:gd name="T51" fmla="*/ 266 h 350"/>
              <a:gd name="T52" fmla="*/ 65 w 183"/>
              <a:gd name="T53" fmla="*/ 228 h 350"/>
              <a:gd name="T54" fmla="*/ 72 w 183"/>
              <a:gd name="T55" fmla="*/ 167 h 350"/>
              <a:gd name="T56" fmla="*/ 90 w 183"/>
              <a:gd name="T57" fmla="*/ 185 h 350"/>
              <a:gd name="T58" fmla="*/ 127 w 183"/>
              <a:gd name="T59" fmla="*/ 195 h 350"/>
              <a:gd name="T60" fmla="*/ 130 w 183"/>
              <a:gd name="T61" fmla="*/ 147 h 350"/>
              <a:gd name="T62" fmla="*/ 177 w 183"/>
              <a:gd name="T63" fmla="*/ 14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3" h="350">
                <a:moveTo>
                  <a:pt x="177" y="146"/>
                </a:moveTo>
                <a:lnTo>
                  <a:pt x="183" y="135"/>
                </a:lnTo>
                <a:lnTo>
                  <a:pt x="181" y="115"/>
                </a:lnTo>
                <a:lnTo>
                  <a:pt x="161" y="94"/>
                </a:lnTo>
                <a:lnTo>
                  <a:pt x="156" y="71"/>
                </a:lnTo>
                <a:lnTo>
                  <a:pt x="138" y="51"/>
                </a:lnTo>
                <a:lnTo>
                  <a:pt x="122" y="50"/>
                </a:lnTo>
                <a:lnTo>
                  <a:pt x="119" y="59"/>
                </a:lnTo>
                <a:lnTo>
                  <a:pt x="107" y="59"/>
                </a:lnTo>
                <a:lnTo>
                  <a:pt x="100" y="55"/>
                </a:lnTo>
                <a:lnTo>
                  <a:pt x="81" y="69"/>
                </a:lnTo>
                <a:lnTo>
                  <a:pt x="77" y="47"/>
                </a:lnTo>
                <a:lnTo>
                  <a:pt x="78" y="22"/>
                </a:lnTo>
                <a:lnTo>
                  <a:pt x="64" y="21"/>
                </a:lnTo>
                <a:lnTo>
                  <a:pt x="60" y="7"/>
                </a:lnTo>
                <a:lnTo>
                  <a:pt x="51" y="0"/>
                </a:lnTo>
                <a:lnTo>
                  <a:pt x="40" y="5"/>
                </a:lnTo>
                <a:lnTo>
                  <a:pt x="29" y="16"/>
                </a:lnTo>
                <a:lnTo>
                  <a:pt x="14" y="17"/>
                </a:lnTo>
                <a:lnTo>
                  <a:pt x="9" y="43"/>
                </a:lnTo>
                <a:lnTo>
                  <a:pt x="0" y="46"/>
                </a:lnTo>
                <a:lnTo>
                  <a:pt x="14" y="68"/>
                </a:lnTo>
                <a:lnTo>
                  <a:pt x="29" y="85"/>
                </a:lnTo>
                <a:lnTo>
                  <a:pt x="40" y="101"/>
                </a:lnTo>
                <a:lnTo>
                  <a:pt x="35" y="121"/>
                </a:lnTo>
                <a:lnTo>
                  <a:pt x="28" y="126"/>
                </a:lnTo>
                <a:lnTo>
                  <a:pt x="35" y="137"/>
                </a:lnTo>
                <a:lnTo>
                  <a:pt x="51" y="157"/>
                </a:lnTo>
                <a:lnTo>
                  <a:pt x="55" y="170"/>
                </a:lnTo>
                <a:lnTo>
                  <a:pt x="55" y="181"/>
                </a:lnTo>
                <a:lnTo>
                  <a:pt x="66" y="202"/>
                </a:lnTo>
                <a:lnTo>
                  <a:pt x="56" y="225"/>
                </a:lnTo>
                <a:lnTo>
                  <a:pt x="47" y="249"/>
                </a:lnTo>
                <a:lnTo>
                  <a:pt x="42" y="271"/>
                </a:lnTo>
                <a:lnTo>
                  <a:pt x="42" y="286"/>
                </a:lnTo>
                <a:lnTo>
                  <a:pt x="46" y="299"/>
                </a:lnTo>
                <a:lnTo>
                  <a:pt x="49" y="285"/>
                </a:lnTo>
                <a:lnTo>
                  <a:pt x="59" y="298"/>
                </a:lnTo>
                <a:lnTo>
                  <a:pt x="71" y="311"/>
                </a:lnTo>
                <a:lnTo>
                  <a:pt x="75" y="322"/>
                </a:lnTo>
                <a:lnTo>
                  <a:pt x="85" y="331"/>
                </a:lnTo>
                <a:lnTo>
                  <a:pt x="88" y="328"/>
                </a:lnTo>
                <a:lnTo>
                  <a:pt x="105" y="338"/>
                </a:lnTo>
                <a:lnTo>
                  <a:pt x="108" y="350"/>
                </a:lnTo>
                <a:lnTo>
                  <a:pt x="122" y="347"/>
                </a:lnTo>
                <a:lnTo>
                  <a:pt x="127" y="337"/>
                </a:lnTo>
                <a:lnTo>
                  <a:pt x="116" y="325"/>
                </a:lnTo>
                <a:lnTo>
                  <a:pt x="103" y="322"/>
                </a:lnTo>
                <a:lnTo>
                  <a:pt x="91" y="309"/>
                </a:lnTo>
                <a:lnTo>
                  <a:pt x="86" y="288"/>
                </a:lnTo>
                <a:lnTo>
                  <a:pt x="76" y="266"/>
                </a:lnTo>
                <a:lnTo>
                  <a:pt x="62" y="266"/>
                </a:lnTo>
                <a:lnTo>
                  <a:pt x="60" y="248"/>
                </a:lnTo>
                <a:lnTo>
                  <a:pt x="65" y="228"/>
                </a:lnTo>
                <a:lnTo>
                  <a:pt x="73" y="193"/>
                </a:lnTo>
                <a:lnTo>
                  <a:pt x="72" y="167"/>
                </a:lnTo>
                <a:lnTo>
                  <a:pt x="91" y="166"/>
                </a:lnTo>
                <a:lnTo>
                  <a:pt x="90" y="185"/>
                </a:lnTo>
                <a:lnTo>
                  <a:pt x="107" y="185"/>
                </a:lnTo>
                <a:lnTo>
                  <a:pt x="127" y="195"/>
                </a:lnTo>
                <a:lnTo>
                  <a:pt x="119" y="167"/>
                </a:lnTo>
                <a:lnTo>
                  <a:pt x="130" y="147"/>
                </a:lnTo>
                <a:lnTo>
                  <a:pt x="157" y="143"/>
                </a:lnTo>
                <a:lnTo>
                  <a:pt x="177" y="146"/>
                </a:lnTo>
                <a:lnTo>
                  <a:pt x="177" y="14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62" name="Tajikistan">
            <a:extLst>
              <a:ext uri="{FF2B5EF4-FFF2-40B4-BE49-F238E27FC236}">
                <a16:creationId xmlns:a16="http://schemas.microsoft.com/office/drawing/2014/main" id="{A335BCB4-B2F8-4E27-97BF-ADCBE3011792}"/>
              </a:ext>
            </a:extLst>
          </p:cNvPr>
          <p:cNvSpPr>
            <a:spLocks/>
          </p:cNvSpPr>
          <p:nvPr/>
        </p:nvSpPr>
        <p:spPr bwMode="auto">
          <a:xfrm>
            <a:off x="7428475" y="2683306"/>
            <a:ext cx="270493" cy="170122"/>
          </a:xfrm>
          <a:custGeom>
            <a:avLst/>
            <a:gdLst>
              <a:gd name="T0" fmla="*/ 62 w 159"/>
              <a:gd name="T1" fmla="*/ 16 h 100"/>
              <a:gd name="T2" fmla="*/ 55 w 159"/>
              <a:gd name="T3" fmla="*/ 17 h 100"/>
              <a:gd name="T4" fmla="*/ 50 w 159"/>
              <a:gd name="T5" fmla="*/ 10 h 100"/>
              <a:gd name="T6" fmla="*/ 51 w 159"/>
              <a:gd name="T7" fmla="*/ 0 h 100"/>
              <a:gd name="T8" fmla="*/ 27 w 159"/>
              <a:gd name="T9" fmla="*/ 5 h 100"/>
              <a:gd name="T10" fmla="*/ 25 w 159"/>
              <a:gd name="T11" fmla="*/ 20 h 100"/>
              <a:gd name="T12" fmla="*/ 19 w 159"/>
              <a:gd name="T13" fmla="*/ 33 h 100"/>
              <a:gd name="T14" fmla="*/ 2 w 159"/>
              <a:gd name="T15" fmla="*/ 32 h 100"/>
              <a:gd name="T16" fmla="*/ 0 w 159"/>
              <a:gd name="T17" fmla="*/ 42 h 100"/>
              <a:gd name="T18" fmla="*/ 16 w 159"/>
              <a:gd name="T19" fmla="*/ 48 h 100"/>
              <a:gd name="T20" fmla="*/ 25 w 159"/>
              <a:gd name="T21" fmla="*/ 66 h 100"/>
              <a:gd name="T22" fmla="*/ 20 w 159"/>
              <a:gd name="T23" fmla="*/ 90 h 100"/>
              <a:gd name="T24" fmla="*/ 27 w 159"/>
              <a:gd name="T25" fmla="*/ 94 h 100"/>
              <a:gd name="T26" fmla="*/ 40 w 159"/>
              <a:gd name="T27" fmla="*/ 85 h 100"/>
              <a:gd name="T28" fmla="*/ 47 w 159"/>
              <a:gd name="T29" fmla="*/ 90 h 100"/>
              <a:gd name="T30" fmla="*/ 51 w 159"/>
              <a:gd name="T31" fmla="*/ 79 h 100"/>
              <a:gd name="T32" fmla="*/ 62 w 159"/>
              <a:gd name="T33" fmla="*/ 80 h 100"/>
              <a:gd name="T34" fmla="*/ 65 w 159"/>
              <a:gd name="T35" fmla="*/ 76 h 100"/>
              <a:gd name="T36" fmla="*/ 64 w 159"/>
              <a:gd name="T37" fmla="*/ 67 h 100"/>
              <a:gd name="T38" fmla="*/ 70 w 159"/>
              <a:gd name="T39" fmla="*/ 58 h 100"/>
              <a:gd name="T40" fmla="*/ 83 w 159"/>
              <a:gd name="T41" fmla="*/ 64 h 100"/>
              <a:gd name="T42" fmla="*/ 83 w 159"/>
              <a:gd name="T43" fmla="*/ 71 h 100"/>
              <a:gd name="T44" fmla="*/ 88 w 159"/>
              <a:gd name="T45" fmla="*/ 72 h 100"/>
              <a:gd name="T46" fmla="*/ 92 w 159"/>
              <a:gd name="T47" fmla="*/ 92 h 100"/>
              <a:gd name="T48" fmla="*/ 101 w 159"/>
              <a:gd name="T49" fmla="*/ 100 h 100"/>
              <a:gd name="T50" fmla="*/ 107 w 159"/>
              <a:gd name="T51" fmla="*/ 96 h 100"/>
              <a:gd name="T52" fmla="*/ 115 w 159"/>
              <a:gd name="T53" fmla="*/ 93 h 100"/>
              <a:gd name="T54" fmla="*/ 125 w 159"/>
              <a:gd name="T55" fmla="*/ 82 h 100"/>
              <a:gd name="T56" fmla="*/ 139 w 159"/>
              <a:gd name="T57" fmla="*/ 84 h 100"/>
              <a:gd name="T58" fmla="*/ 159 w 159"/>
              <a:gd name="T59" fmla="*/ 84 h 100"/>
              <a:gd name="T60" fmla="*/ 152 w 159"/>
              <a:gd name="T61" fmla="*/ 70 h 100"/>
              <a:gd name="T62" fmla="*/ 150 w 159"/>
              <a:gd name="T63" fmla="*/ 60 h 100"/>
              <a:gd name="T64" fmla="*/ 137 w 159"/>
              <a:gd name="T65" fmla="*/ 56 h 100"/>
              <a:gd name="T66" fmla="*/ 131 w 159"/>
              <a:gd name="T67" fmla="*/ 57 h 100"/>
              <a:gd name="T68" fmla="*/ 120 w 159"/>
              <a:gd name="T69" fmla="*/ 36 h 100"/>
              <a:gd name="T70" fmla="*/ 84 w 159"/>
              <a:gd name="T71" fmla="*/ 39 h 100"/>
              <a:gd name="T72" fmla="*/ 57 w 159"/>
              <a:gd name="T73" fmla="*/ 31 h 100"/>
              <a:gd name="T74" fmla="*/ 38 w 159"/>
              <a:gd name="T75" fmla="*/ 33 h 100"/>
              <a:gd name="T76" fmla="*/ 35 w 159"/>
              <a:gd name="T77" fmla="*/ 19 h 100"/>
              <a:gd name="T78" fmla="*/ 57 w 159"/>
              <a:gd name="T79" fmla="*/ 24 h 100"/>
              <a:gd name="T80" fmla="*/ 62 w 159"/>
              <a:gd name="T81" fmla="*/ 16 h 100"/>
              <a:gd name="T82" fmla="*/ 62 w 159"/>
              <a:gd name="T83"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9" h="100">
                <a:moveTo>
                  <a:pt x="62" y="16"/>
                </a:moveTo>
                <a:lnTo>
                  <a:pt x="55" y="17"/>
                </a:lnTo>
                <a:lnTo>
                  <a:pt x="50" y="10"/>
                </a:lnTo>
                <a:lnTo>
                  <a:pt x="51" y="0"/>
                </a:lnTo>
                <a:lnTo>
                  <a:pt x="27" y="5"/>
                </a:lnTo>
                <a:lnTo>
                  <a:pt x="25" y="20"/>
                </a:lnTo>
                <a:lnTo>
                  <a:pt x="19" y="33"/>
                </a:lnTo>
                <a:lnTo>
                  <a:pt x="2" y="32"/>
                </a:lnTo>
                <a:lnTo>
                  <a:pt x="0" y="42"/>
                </a:lnTo>
                <a:lnTo>
                  <a:pt x="16" y="48"/>
                </a:lnTo>
                <a:lnTo>
                  <a:pt x="25" y="66"/>
                </a:lnTo>
                <a:lnTo>
                  <a:pt x="20" y="90"/>
                </a:lnTo>
                <a:lnTo>
                  <a:pt x="27" y="94"/>
                </a:lnTo>
                <a:lnTo>
                  <a:pt x="40" y="85"/>
                </a:lnTo>
                <a:lnTo>
                  <a:pt x="47" y="90"/>
                </a:lnTo>
                <a:lnTo>
                  <a:pt x="51" y="79"/>
                </a:lnTo>
                <a:lnTo>
                  <a:pt x="62" y="80"/>
                </a:lnTo>
                <a:lnTo>
                  <a:pt x="65" y="76"/>
                </a:lnTo>
                <a:lnTo>
                  <a:pt x="64" y="67"/>
                </a:lnTo>
                <a:lnTo>
                  <a:pt x="70" y="58"/>
                </a:lnTo>
                <a:lnTo>
                  <a:pt x="83" y="64"/>
                </a:lnTo>
                <a:lnTo>
                  <a:pt x="83" y="71"/>
                </a:lnTo>
                <a:lnTo>
                  <a:pt x="88" y="72"/>
                </a:lnTo>
                <a:lnTo>
                  <a:pt x="92" y="92"/>
                </a:lnTo>
                <a:lnTo>
                  <a:pt x="101" y="100"/>
                </a:lnTo>
                <a:lnTo>
                  <a:pt x="107" y="96"/>
                </a:lnTo>
                <a:lnTo>
                  <a:pt x="115" y="93"/>
                </a:lnTo>
                <a:lnTo>
                  <a:pt x="125" y="82"/>
                </a:lnTo>
                <a:lnTo>
                  <a:pt x="139" y="84"/>
                </a:lnTo>
                <a:lnTo>
                  <a:pt x="159" y="84"/>
                </a:lnTo>
                <a:lnTo>
                  <a:pt x="152" y="70"/>
                </a:lnTo>
                <a:lnTo>
                  <a:pt x="150" y="60"/>
                </a:lnTo>
                <a:lnTo>
                  <a:pt x="137" y="56"/>
                </a:lnTo>
                <a:lnTo>
                  <a:pt x="131" y="57"/>
                </a:lnTo>
                <a:lnTo>
                  <a:pt x="120" y="36"/>
                </a:lnTo>
                <a:lnTo>
                  <a:pt x="84" y="39"/>
                </a:lnTo>
                <a:lnTo>
                  <a:pt x="57" y="31"/>
                </a:lnTo>
                <a:lnTo>
                  <a:pt x="38" y="33"/>
                </a:lnTo>
                <a:lnTo>
                  <a:pt x="35" y="19"/>
                </a:lnTo>
                <a:lnTo>
                  <a:pt x="57" y="24"/>
                </a:lnTo>
                <a:lnTo>
                  <a:pt x="62" y="16"/>
                </a:lnTo>
                <a:lnTo>
                  <a:pt x="62" y="1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63" name="Turkmenistan">
            <a:extLst>
              <a:ext uri="{FF2B5EF4-FFF2-40B4-BE49-F238E27FC236}">
                <a16:creationId xmlns:a16="http://schemas.microsoft.com/office/drawing/2014/main" id="{F4D7FA3C-1ADC-413F-8ED9-5BF1D71F1FF2}"/>
              </a:ext>
            </a:extLst>
          </p:cNvPr>
          <p:cNvSpPr>
            <a:spLocks/>
          </p:cNvSpPr>
          <p:nvPr/>
        </p:nvSpPr>
        <p:spPr bwMode="auto">
          <a:xfrm>
            <a:off x="6911306" y="2611855"/>
            <a:ext cx="505260" cy="302816"/>
          </a:xfrm>
          <a:custGeom>
            <a:avLst/>
            <a:gdLst>
              <a:gd name="T0" fmla="*/ 297 w 297"/>
              <a:gd name="T1" fmla="*/ 127 h 178"/>
              <a:gd name="T2" fmla="*/ 294 w 297"/>
              <a:gd name="T3" fmla="*/ 112 h 178"/>
              <a:gd name="T4" fmla="*/ 265 w 297"/>
              <a:gd name="T5" fmla="*/ 102 h 178"/>
              <a:gd name="T6" fmla="*/ 243 w 297"/>
              <a:gd name="T7" fmla="*/ 90 h 178"/>
              <a:gd name="T8" fmla="*/ 227 w 297"/>
              <a:gd name="T9" fmla="*/ 79 h 178"/>
              <a:gd name="T10" fmla="*/ 201 w 297"/>
              <a:gd name="T11" fmla="*/ 63 h 178"/>
              <a:gd name="T12" fmla="*/ 185 w 297"/>
              <a:gd name="T13" fmla="*/ 39 h 178"/>
              <a:gd name="T14" fmla="*/ 177 w 297"/>
              <a:gd name="T15" fmla="*/ 34 h 178"/>
              <a:gd name="T16" fmla="*/ 157 w 297"/>
              <a:gd name="T17" fmla="*/ 35 h 178"/>
              <a:gd name="T18" fmla="*/ 148 w 297"/>
              <a:gd name="T19" fmla="*/ 30 h 178"/>
              <a:gd name="T20" fmla="*/ 141 w 297"/>
              <a:gd name="T21" fmla="*/ 13 h 178"/>
              <a:gd name="T22" fmla="*/ 112 w 297"/>
              <a:gd name="T23" fmla="*/ 0 h 178"/>
              <a:gd name="T24" fmla="*/ 99 w 297"/>
              <a:gd name="T25" fmla="*/ 14 h 178"/>
              <a:gd name="T26" fmla="*/ 85 w 297"/>
              <a:gd name="T27" fmla="*/ 22 h 178"/>
              <a:gd name="T28" fmla="*/ 91 w 297"/>
              <a:gd name="T29" fmla="*/ 33 h 178"/>
              <a:gd name="T30" fmla="*/ 69 w 297"/>
              <a:gd name="T31" fmla="*/ 33 h 178"/>
              <a:gd name="T32" fmla="*/ 60 w 297"/>
              <a:gd name="T33" fmla="*/ 35 h 178"/>
              <a:gd name="T34" fmla="*/ 42 w 297"/>
              <a:gd name="T35" fmla="*/ 16 h 178"/>
              <a:gd name="T36" fmla="*/ 28 w 297"/>
              <a:gd name="T37" fmla="*/ 10 h 178"/>
              <a:gd name="T38" fmla="*/ 7 w 297"/>
              <a:gd name="T39" fmla="*/ 14 h 178"/>
              <a:gd name="T40" fmla="*/ 0 w 297"/>
              <a:gd name="T41" fmla="*/ 22 h 178"/>
              <a:gd name="T42" fmla="*/ 9 w 297"/>
              <a:gd name="T43" fmla="*/ 37 h 178"/>
              <a:gd name="T44" fmla="*/ 7 w 297"/>
              <a:gd name="T45" fmla="*/ 20 h 178"/>
              <a:gd name="T46" fmla="*/ 21 w 297"/>
              <a:gd name="T47" fmla="*/ 14 h 178"/>
              <a:gd name="T48" fmla="*/ 31 w 297"/>
              <a:gd name="T49" fmla="*/ 28 h 178"/>
              <a:gd name="T50" fmla="*/ 48 w 297"/>
              <a:gd name="T51" fmla="*/ 42 h 178"/>
              <a:gd name="T52" fmla="*/ 33 w 297"/>
              <a:gd name="T53" fmla="*/ 49 h 178"/>
              <a:gd name="T54" fmla="*/ 13 w 297"/>
              <a:gd name="T55" fmla="*/ 43 h 178"/>
              <a:gd name="T56" fmla="*/ 13 w 297"/>
              <a:gd name="T57" fmla="*/ 63 h 178"/>
              <a:gd name="T58" fmla="*/ 26 w 297"/>
              <a:gd name="T59" fmla="*/ 65 h 178"/>
              <a:gd name="T60" fmla="*/ 25 w 297"/>
              <a:gd name="T61" fmla="*/ 81 h 178"/>
              <a:gd name="T62" fmla="*/ 42 w 297"/>
              <a:gd name="T63" fmla="*/ 89 h 178"/>
              <a:gd name="T64" fmla="*/ 45 w 297"/>
              <a:gd name="T65" fmla="*/ 114 h 178"/>
              <a:gd name="T66" fmla="*/ 51 w 297"/>
              <a:gd name="T67" fmla="*/ 131 h 178"/>
              <a:gd name="T68" fmla="*/ 67 w 297"/>
              <a:gd name="T69" fmla="*/ 127 h 178"/>
              <a:gd name="T70" fmla="*/ 78 w 297"/>
              <a:gd name="T71" fmla="*/ 112 h 178"/>
              <a:gd name="T72" fmla="*/ 91 w 297"/>
              <a:gd name="T73" fmla="*/ 113 h 178"/>
              <a:gd name="T74" fmla="*/ 100 w 297"/>
              <a:gd name="T75" fmla="*/ 109 h 178"/>
              <a:gd name="T76" fmla="*/ 114 w 297"/>
              <a:gd name="T77" fmla="*/ 112 h 178"/>
              <a:gd name="T78" fmla="*/ 138 w 297"/>
              <a:gd name="T79" fmla="*/ 124 h 178"/>
              <a:gd name="T80" fmla="*/ 154 w 297"/>
              <a:gd name="T81" fmla="*/ 127 h 178"/>
              <a:gd name="T82" fmla="*/ 181 w 297"/>
              <a:gd name="T83" fmla="*/ 147 h 178"/>
              <a:gd name="T84" fmla="*/ 196 w 297"/>
              <a:gd name="T85" fmla="*/ 148 h 178"/>
              <a:gd name="T86" fmla="*/ 202 w 297"/>
              <a:gd name="T87" fmla="*/ 169 h 178"/>
              <a:gd name="T88" fmla="*/ 224 w 297"/>
              <a:gd name="T89" fmla="*/ 178 h 178"/>
              <a:gd name="T90" fmla="*/ 239 w 297"/>
              <a:gd name="T91" fmla="*/ 175 h 178"/>
              <a:gd name="T92" fmla="*/ 240 w 297"/>
              <a:gd name="T93" fmla="*/ 164 h 178"/>
              <a:gd name="T94" fmla="*/ 255 w 297"/>
              <a:gd name="T95" fmla="*/ 160 h 178"/>
              <a:gd name="T96" fmla="*/ 264 w 297"/>
              <a:gd name="T97" fmla="*/ 153 h 178"/>
              <a:gd name="T98" fmla="*/ 264 w 297"/>
              <a:gd name="T99" fmla="*/ 133 h 178"/>
              <a:gd name="T100" fmla="*/ 279 w 297"/>
              <a:gd name="T101" fmla="*/ 128 h 178"/>
              <a:gd name="T102" fmla="*/ 280 w 297"/>
              <a:gd name="T103" fmla="*/ 120 h 178"/>
              <a:gd name="T104" fmla="*/ 291 w 297"/>
              <a:gd name="T105" fmla="*/ 127 h 178"/>
              <a:gd name="T106" fmla="*/ 297 w 297"/>
              <a:gd name="T107" fmla="*/ 127 h 178"/>
              <a:gd name="T108" fmla="*/ 297 w 297"/>
              <a:gd name="T109" fmla="*/ 12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7" h="178">
                <a:moveTo>
                  <a:pt x="297" y="127"/>
                </a:moveTo>
                <a:lnTo>
                  <a:pt x="294" y="112"/>
                </a:lnTo>
                <a:lnTo>
                  <a:pt x="265" y="102"/>
                </a:lnTo>
                <a:lnTo>
                  <a:pt x="243" y="90"/>
                </a:lnTo>
                <a:lnTo>
                  <a:pt x="227" y="79"/>
                </a:lnTo>
                <a:lnTo>
                  <a:pt x="201" y="63"/>
                </a:lnTo>
                <a:lnTo>
                  <a:pt x="185" y="39"/>
                </a:lnTo>
                <a:lnTo>
                  <a:pt x="177" y="34"/>
                </a:lnTo>
                <a:lnTo>
                  <a:pt x="157" y="35"/>
                </a:lnTo>
                <a:lnTo>
                  <a:pt x="148" y="30"/>
                </a:lnTo>
                <a:lnTo>
                  <a:pt x="141" y="13"/>
                </a:lnTo>
                <a:lnTo>
                  <a:pt x="112" y="0"/>
                </a:lnTo>
                <a:lnTo>
                  <a:pt x="99" y="14"/>
                </a:lnTo>
                <a:lnTo>
                  <a:pt x="85" y="22"/>
                </a:lnTo>
                <a:lnTo>
                  <a:pt x="91" y="33"/>
                </a:lnTo>
                <a:lnTo>
                  <a:pt x="69" y="33"/>
                </a:lnTo>
                <a:lnTo>
                  <a:pt x="60" y="35"/>
                </a:lnTo>
                <a:lnTo>
                  <a:pt x="42" y="16"/>
                </a:lnTo>
                <a:lnTo>
                  <a:pt x="28" y="10"/>
                </a:lnTo>
                <a:lnTo>
                  <a:pt x="7" y="14"/>
                </a:lnTo>
                <a:lnTo>
                  <a:pt x="0" y="22"/>
                </a:lnTo>
                <a:lnTo>
                  <a:pt x="9" y="37"/>
                </a:lnTo>
                <a:lnTo>
                  <a:pt x="7" y="20"/>
                </a:lnTo>
                <a:lnTo>
                  <a:pt x="21" y="14"/>
                </a:lnTo>
                <a:lnTo>
                  <a:pt x="31" y="28"/>
                </a:lnTo>
                <a:lnTo>
                  <a:pt x="48" y="42"/>
                </a:lnTo>
                <a:lnTo>
                  <a:pt x="33" y="49"/>
                </a:lnTo>
                <a:lnTo>
                  <a:pt x="13" y="43"/>
                </a:lnTo>
                <a:lnTo>
                  <a:pt x="13" y="63"/>
                </a:lnTo>
                <a:lnTo>
                  <a:pt x="26" y="65"/>
                </a:lnTo>
                <a:lnTo>
                  <a:pt x="25" y="81"/>
                </a:lnTo>
                <a:lnTo>
                  <a:pt x="42" y="89"/>
                </a:lnTo>
                <a:lnTo>
                  <a:pt x="45" y="114"/>
                </a:lnTo>
                <a:lnTo>
                  <a:pt x="51" y="131"/>
                </a:lnTo>
                <a:lnTo>
                  <a:pt x="67" y="127"/>
                </a:lnTo>
                <a:lnTo>
                  <a:pt x="78" y="112"/>
                </a:lnTo>
                <a:lnTo>
                  <a:pt x="91" y="113"/>
                </a:lnTo>
                <a:lnTo>
                  <a:pt x="100" y="109"/>
                </a:lnTo>
                <a:lnTo>
                  <a:pt x="114" y="112"/>
                </a:lnTo>
                <a:lnTo>
                  <a:pt x="138" y="124"/>
                </a:lnTo>
                <a:lnTo>
                  <a:pt x="154" y="127"/>
                </a:lnTo>
                <a:lnTo>
                  <a:pt x="181" y="147"/>
                </a:lnTo>
                <a:lnTo>
                  <a:pt x="196" y="148"/>
                </a:lnTo>
                <a:lnTo>
                  <a:pt x="202" y="169"/>
                </a:lnTo>
                <a:lnTo>
                  <a:pt x="224" y="178"/>
                </a:lnTo>
                <a:lnTo>
                  <a:pt x="239" y="175"/>
                </a:lnTo>
                <a:lnTo>
                  <a:pt x="240" y="164"/>
                </a:lnTo>
                <a:lnTo>
                  <a:pt x="255" y="160"/>
                </a:lnTo>
                <a:lnTo>
                  <a:pt x="264" y="153"/>
                </a:lnTo>
                <a:lnTo>
                  <a:pt x="264" y="133"/>
                </a:lnTo>
                <a:lnTo>
                  <a:pt x="279" y="128"/>
                </a:lnTo>
                <a:lnTo>
                  <a:pt x="280" y="120"/>
                </a:lnTo>
                <a:lnTo>
                  <a:pt x="291" y="127"/>
                </a:lnTo>
                <a:lnTo>
                  <a:pt x="297" y="127"/>
                </a:lnTo>
                <a:lnTo>
                  <a:pt x="297" y="12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64" name="Timor-Leste">
            <a:extLst>
              <a:ext uri="{FF2B5EF4-FFF2-40B4-BE49-F238E27FC236}">
                <a16:creationId xmlns:a16="http://schemas.microsoft.com/office/drawing/2014/main" id="{8A6AC70D-0D75-48FF-9A1D-C7184291A269}"/>
              </a:ext>
            </a:extLst>
          </p:cNvPr>
          <p:cNvSpPr>
            <a:spLocks/>
          </p:cNvSpPr>
          <p:nvPr/>
        </p:nvSpPr>
        <p:spPr bwMode="auto">
          <a:xfrm>
            <a:off x="9646858" y="4673728"/>
            <a:ext cx="85060" cy="45933"/>
          </a:xfrm>
          <a:custGeom>
            <a:avLst/>
            <a:gdLst>
              <a:gd name="T0" fmla="*/ 1 w 50"/>
              <a:gd name="T1" fmla="*/ 27 h 27"/>
              <a:gd name="T2" fmla="*/ 19 w 50"/>
              <a:gd name="T3" fmla="*/ 20 h 27"/>
              <a:gd name="T4" fmla="*/ 42 w 50"/>
              <a:gd name="T5" fmla="*/ 10 h 27"/>
              <a:gd name="T6" fmla="*/ 50 w 50"/>
              <a:gd name="T7" fmla="*/ 3 h 27"/>
              <a:gd name="T8" fmla="*/ 43 w 50"/>
              <a:gd name="T9" fmla="*/ 0 h 27"/>
              <a:gd name="T10" fmla="*/ 35 w 50"/>
              <a:gd name="T11" fmla="*/ 3 h 27"/>
              <a:gd name="T12" fmla="*/ 20 w 50"/>
              <a:gd name="T13" fmla="*/ 4 h 27"/>
              <a:gd name="T14" fmla="*/ 3 w 50"/>
              <a:gd name="T15" fmla="*/ 10 h 27"/>
              <a:gd name="T16" fmla="*/ 0 w 50"/>
              <a:gd name="T17" fmla="*/ 15 h 27"/>
              <a:gd name="T18" fmla="*/ 2 w 50"/>
              <a:gd name="T19" fmla="*/ 20 h 27"/>
              <a:gd name="T20" fmla="*/ 1 w 50"/>
              <a:gd name="T21" fmla="*/ 27 h 27"/>
              <a:gd name="T22" fmla="*/ 1 w 50"/>
              <a:gd name="T23"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27">
                <a:moveTo>
                  <a:pt x="1" y="27"/>
                </a:moveTo>
                <a:lnTo>
                  <a:pt x="19" y="20"/>
                </a:lnTo>
                <a:lnTo>
                  <a:pt x="42" y="10"/>
                </a:lnTo>
                <a:lnTo>
                  <a:pt x="50" y="3"/>
                </a:lnTo>
                <a:lnTo>
                  <a:pt x="43" y="0"/>
                </a:lnTo>
                <a:lnTo>
                  <a:pt x="35" y="3"/>
                </a:lnTo>
                <a:lnTo>
                  <a:pt x="20" y="4"/>
                </a:lnTo>
                <a:lnTo>
                  <a:pt x="3" y="10"/>
                </a:lnTo>
                <a:lnTo>
                  <a:pt x="0" y="15"/>
                </a:lnTo>
                <a:lnTo>
                  <a:pt x="2" y="20"/>
                </a:lnTo>
                <a:lnTo>
                  <a:pt x="1" y="27"/>
                </a:lnTo>
                <a:lnTo>
                  <a:pt x="1" y="2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65" name="Tunisia">
            <a:extLst>
              <a:ext uri="{FF2B5EF4-FFF2-40B4-BE49-F238E27FC236}">
                <a16:creationId xmlns:a16="http://schemas.microsoft.com/office/drawing/2014/main" id="{7FAAE5ED-D5CF-4134-960E-6217E8BBE87B}"/>
              </a:ext>
            </a:extLst>
          </p:cNvPr>
          <p:cNvSpPr>
            <a:spLocks/>
          </p:cNvSpPr>
          <p:nvPr/>
        </p:nvSpPr>
        <p:spPr bwMode="auto">
          <a:xfrm>
            <a:off x="5455066" y="2829326"/>
            <a:ext cx="134395" cy="282974"/>
          </a:xfrm>
          <a:custGeom>
            <a:avLst/>
            <a:gdLst>
              <a:gd name="T0" fmla="*/ 79 w 79"/>
              <a:gd name="T1" fmla="*/ 102 h 168"/>
              <a:gd name="T2" fmla="*/ 72 w 79"/>
              <a:gd name="T3" fmla="*/ 98 h 168"/>
              <a:gd name="T4" fmla="*/ 66 w 79"/>
              <a:gd name="T5" fmla="*/ 87 h 168"/>
              <a:gd name="T6" fmla="*/ 56 w 79"/>
              <a:gd name="T7" fmla="*/ 86 h 168"/>
              <a:gd name="T8" fmla="*/ 51 w 79"/>
              <a:gd name="T9" fmla="*/ 73 h 168"/>
              <a:gd name="T10" fmla="*/ 64 w 79"/>
              <a:gd name="T11" fmla="*/ 61 h 168"/>
              <a:gd name="T12" fmla="*/ 66 w 79"/>
              <a:gd name="T13" fmla="*/ 41 h 168"/>
              <a:gd name="T14" fmla="*/ 59 w 79"/>
              <a:gd name="T15" fmla="*/ 35 h 168"/>
              <a:gd name="T16" fmla="*/ 59 w 79"/>
              <a:gd name="T17" fmla="*/ 24 h 168"/>
              <a:gd name="T18" fmla="*/ 68 w 79"/>
              <a:gd name="T19" fmla="*/ 12 h 168"/>
              <a:gd name="T20" fmla="*/ 66 w 79"/>
              <a:gd name="T21" fmla="*/ 7 h 168"/>
              <a:gd name="T22" fmla="*/ 50 w 79"/>
              <a:gd name="T23" fmla="*/ 15 h 168"/>
              <a:gd name="T24" fmla="*/ 50 w 79"/>
              <a:gd name="T25" fmla="*/ 3 h 168"/>
              <a:gd name="T26" fmla="*/ 36 w 79"/>
              <a:gd name="T27" fmla="*/ 0 h 168"/>
              <a:gd name="T28" fmla="*/ 16 w 79"/>
              <a:gd name="T29" fmla="*/ 11 h 168"/>
              <a:gd name="T30" fmla="*/ 12 w 79"/>
              <a:gd name="T31" fmla="*/ 23 h 168"/>
              <a:gd name="T32" fmla="*/ 16 w 79"/>
              <a:gd name="T33" fmla="*/ 46 h 168"/>
              <a:gd name="T34" fmla="*/ 12 w 79"/>
              <a:gd name="T35" fmla="*/ 66 h 168"/>
              <a:gd name="T36" fmla="*/ 0 w 79"/>
              <a:gd name="T37" fmla="*/ 79 h 168"/>
              <a:gd name="T38" fmla="*/ 2 w 79"/>
              <a:gd name="T39" fmla="*/ 97 h 168"/>
              <a:gd name="T40" fmla="*/ 18 w 79"/>
              <a:gd name="T41" fmla="*/ 112 h 168"/>
              <a:gd name="T42" fmla="*/ 18 w 79"/>
              <a:gd name="T43" fmla="*/ 117 h 168"/>
              <a:gd name="T44" fmla="*/ 32 w 79"/>
              <a:gd name="T45" fmla="*/ 126 h 168"/>
              <a:gd name="T46" fmla="*/ 41 w 79"/>
              <a:gd name="T47" fmla="*/ 168 h 168"/>
              <a:gd name="T48" fmla="*/ 51 w 79"/>
              <a:gd name="T49" fmla="*/ 164 h 168"/>
              <a:gd name="T50" fmla="*/ 52 w 79"/>
              <a:gd name="T51" fmla="*/ 154 h 168"/>
              <a:gd name="T52" fmla="*/ 49 w 79"/>
              <a:gd name="T53" fmla="*/ 143 h 168"/>
              <a:gd name="T54" fmla="*/ 63 w 79"/>
              <a:gd name="T55" fmla="*/ 134 h 168"/>
              <a:gd name="T56" fmla="*/ 69 w 79"/>
              <a:gd name="T57" fmla="*/ 126 h 168"/>
              <a:gd name="T58" fmla="*/ 79 w 79"/>
              <a:gd name="T59" fmla="*/ 120 h 168"/>
              <a:gd name="T60" fmla="*/ 79 w 79"/>
              <a:gd name="T61" fmla="*/ 102 h 168"/>
              <a:gd name="T62" fmla="*/ 79 w 79"/>
              <a:gd name="T63" fmla="*/ 10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9" h="168">
                <a:moveTo>
                  <a:pt x="79" y="102"/>
                </a:moveTo>
                <a:lnTo>
                  <a:pt x="72" y="98"/>
                </a:lnTo>
                <a:lnTo>
                  <a:pt x="66" y="87"/>
                </a:lnTo>
                <a:lnTo>
                  <a:pt x="56" y="86"/>
                </a:lnTo>
                <a:lnTo>
                  <a:pt x="51" y="73"/>
                </a:lnTo>
                <a:lnTo>
                  <a:pt x="64" y="61"/>
                </a:lnTo>
                <a:lnTo>
                  <a:pt x="66" y="41"/>
                </a:lnTo>
                <a:lnTo>
                  <a:pt x="59" y="35"/>
                </a:lnTo>
                <a:lnTo>
                  <a:pt x="59" y="24"/>
                </a:lnTo>
                <a:lnTo>
                  <a:pt x="68" y="12"/>
                </a:lnTo>
                <a:lnTo>
                  <a:pt x="66" y="7"/>
                </a:lnTo>
                <a:lnTo>
                  <a:pt x="50" y="15"/>
                </a:lnTo>
                <a:lnTo>
                  <a:pt x="50" y="3"/>
                </a:lnTo>
                <a:lnTo>
                  <a:pt x="36" y="0"/>
                </a:lnTo>
                <a:lnTo>
                  <a:pt x="16" y="11"/>
                </a:lnTo>
                <a:lnTo>
                  <a:pt x="12" y="23"/>
                </a:lnTo>
                <a:lnTo>
                  <a:pt x="16" y="46"/>
                </a:lnTo>
                <a:lnTo>
                  <a:pt x="12" y="66"/>
                </a:lnTo>
                <a:lnTo>
                  <a:pt x="0" y="79"/>
                </a:lnTo>
                <a:lnTo>
                  <a:pt x="2" y="97"/>
                </a:lnTo>
                <a:lnTo>
                  <a:pt x="18" y="112"/>
                </a:lnTo>
                <a:lnTo>
                  <a:pt x="18" y="117"/>
                </a:lnTo>
                <a:lnTo>
                  <a:pt x="32" y="126"/>
                </a:lnTo>
                <a:lnTo>
                  <a:pt x="41" y="168"/>
                </a:lnTo>
                <a:lnTo>
                  <a:pt x="51" y="164"/>
                </a:lnTo>
                <a:lnTo>
                  <a:pt x="52" y="154"/>
                </a:lnTo>
                <a:lnTo>
                  <a:pt x="49" y="143"/>
                </a:lnTo>
                <a:lnTo>
                  <a:pt x="63" y="134"/>
                </a:lnTo>
                <a:lnTo>
                  <a:pt x="69" y="126"/>
                </a:lnTo>
                <a:lnTo>
                  <a:pt x="79" y="120"/>
                </a:lnTo>
                <a:lnTo>
                  <a:pt x="79" y="102"/>
                </a:lnTo>
                <a:lnTo>
                  <a:pt x="79" y="10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66" name="Turkey">
            <a:extLst>
              <a:ext uri="{FF2B5EF4-FFF2-40B4-BE49-F238E27FC236}">
                <a16:creationId xmlns:a16="http://schemas.microsoft.com/office/drawing/2014/main" id="{616175AC-6910-46D6-8FFC-5ECE3606DE8D}"/>
              </a:ext>
            </a:extLst>
          </p:cNvPr>
          <p:cNvSpPr>
            <a:spLocks noEditPoints="1"/>
          </p:cNvSpPr>
          <p:nvPr/>
        </p:nvSpPr>
        <p:spPr bwMode="auto">
          <a:xfrm>
            <a:off x="6052192" y="2635672"/>
            <a:ext cx="641357" cy="256884"/>
          </a:xfrm>
          <a:custGeom>
            <a:avLst/>
            <a:gdLst>
              <a:gd name="T0" fmla="*/ 173 w 377"/>
              <a:gd name="T1" fmla="*/ 2 h 151"/>
              <a:gd name="T2" fmla="*/ 119 w 377"/>
              <a:gd name="T3" fmla="*/ 10 h 151"/>
              <a:gd name="T4" fmla="*/ 62 w 377"/>
              <a:gd name="T5" fmla="*/ 21 h 151"/>
              <a:gd name="T6" fmla="*/ 26 w 377"/>
              <a:gd name="T7" fmla="*/ 40 h 151"/>
              <a:gd name="T8" fmla="*/ 20 w 377"/>
              <a:gd name="T9" fmla="*/ 74 h 151"/>
              <a:gd name="T10" fmla="*/ 29 w 377"/>
              <a:gd name="T11" fmla="*/ 106 h 151"/>
              <a:gd name="T12" fmla="*/ 64 w 377"/>
              <a:gd name="T13" fmla="*/ 129 h 151"/>
              <a:gd name="T14" fmla="*/ 98 w 377"/>
              <a:gd name="T15" fmla="*/ 140 h 151"/>
              <a:gd name="T16" fmla="*/ 122 w 377"/>
              <a:gd name="T17" fmla="*/ 130 h 151"/>
              <a:gd name="T18" fmla="*/ 169 w 377"/>
              <a:gd name="T19" fmla="*/ 141 h 151"/>
              <a:gd name="T20" fmla="*/ 198 w 377"/>
              <a:gd name="T21" fmla="*/ 133 h 151"/>
              <a:gd name="T22" fmla="*/ 203 w 377"/>
              <a:gd name="T23" fmla="*/ 140 h 151"/>
              <a:gd name="T24" fmla="*/ 216 w 377"/>
              <a:gd name="T25" fmla="*/ 145 h 151"/>
              <a:gd name="T26" fmla="*/ 221 w 377"/>
              <a:gd name="T27" fmla="*/ 127 h 151"/>
              <a:gd name="T28" fmla="*/ 248 w 377"/>
              <a:gd name="T29" fmla="*/ 125 h 151"/>
              <a:gd name="T30" fmla="*/ 275 w 377"/>
              <a:gd name="T31" fmla="*/ 129 h 151"/>
              <a:gd name="T32" fmla="*/ 307 w 377"/>
              <a:gd name="T33" fmla="*/ 120 h 151"/>
              <a:gd name="T34" fmla="*/ 337 w 377"/>
              <a:gd name="T35" fmla="*/ 113 h 151"/>
              <a:gd name="T36" fmla="*/ 369 w 377"/>
              <a:gd name="T37" fmla="*/ 122 h 151"/>
              <a:gd name="T38" fmla="*/ 377 w 377"/>
              <a:gd name="T39" fmla="*/ 118 h 151"/>
              <a:gd name="T40" fmla="*/ 366 w 377"/>
              <a:gd name="T41" fmla="*/ 91 h 151"/>
              <a:gd name="T42" fmla="*/ 367 w 377"/>
              <a:gd name="T43" fmla="*/ 56 h 151"/>
              <a:gd name="T44" fmla="*/ 343 w 377"/>
              <a:gd name="T45" fmla="*/ 44 h 151"/>
              <a:gd name="T46" fmla="*/ 338 w 377"/>
              <a:gd name="T47" fmla="*/ 25 h 151"/>
              <a:gd name="T48" fmla="*/ 297 w 377"/>
              <a:gd name="T49" fmla="*/ 14 h 151"/>
              <a:gd name="T50" fmla="*/ 259 w 377"/>
              <a:gd name="T51" fmla="*/ 24 h 151"/>
              <a:gd name="T52" fmla="*/ 208 w 377"/>
              <a:gd name="T53" fmla="*/ 19 h 151"/>
              <a:gd name="T54" fmla="*/ 23 w 377"/>
              <a:gd name="T55" fmla="*/ 34 h 151"/>
              <a:gd name="T56" fmla="*/ 53 w 377"/>
              <a:gd name="T57" fmla="*/ 25 h 151"/>
              <a:gd name="T58" fmla="*/ 38 w 377"/>
              <a:gd name="T59" fmla="*/ 12 h 151"/>
              <a:gd name="T60" fmla="*/ 19 w 377"/>
              <a:gd name="T61" fmla="*/ 0 h 151"/>
              <a:gd name="T62" fmla="*/ 10 w 377"/>
              <a:gd name="T63" fmla="*/ 14 h 151"/>
              <a:gd name="T64" fmla="*/ 1 w 377"/>
              <a:gd name="T65" fmla="*/ 30 h 151"/>
              <a:gd name="T66" fmla="*/ 8 w 377"/>
              <a:gd name="T67" fmla="*/ 46 h 151"/>
              <a:gd name="T68" fmla="*/ 23 w 377"/>
              <a:gd name="T69" fmla="*/ 3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7" h="151">
                <a:moveTo>
                  <a:pt x="208" y="19"/>
                </a:moveTo>
                <a:lnTo>
                  <a:pt x="173" y="2"/>
                </a:lnTo>
                <a:lnTo>
                  <a:pt x="141" y="3"/>
                </a:lnTo>
                <a:lnTo>
                  <a:pt x="119" y="10"/>
                </a:lnTo>
                <a:lnTo>
                  <a:pt x="98" y="25"/>
                </a:lnTo>
                <a:lnTo>
                  <a:pt x="62" y="21"/>
                </a:lnTo>
                <a:lnTo>
                  <a:pt x="55" y="40"/>
                </a:lnTo>
                <a:lnTo>
                  <a:pt x="26" y="40"/>
                </a:lnTo>
                <a:lnTo>
                  <a:pt x="6" y="63"/>
                </a:lnTo>
                <a:lnTo>
                  <a:pt x="20" y="74"/>
                </a:lnTo>
                <a:lnTo>
                  <a:pt x="13" y="93"/>
                </a:lnTo>
                <a:lnTo>
                  <a:pt x="29" y="106"/>
                </a:lnTo>
                <a:lnTo>
                  <a:pt x="42" y="130"/>
                </a:lnTo>
                <a:lnTo>
                  <a:pt x="64" y="129"/>
                </a:lnTo>
                <a:lnTo>
                  <a:pt x="84" y="142"/>
                </a:lnTo>
                <a:lnTo>
                  <a:pt x="98" y="140"/>
                </a:lnTo>
                <a:lnTo>
                  <a:pt x="101" y="129"/>
                </a:lnTo>
                <a:lnTo>
                  <a:pt x="122" y="130"/>
                </a:lnTo>
                <a:lnTo>
                  <a:pt x="139" y="143"/>
                </a:lnTo>
                <a:lnTo>
                  <a:pt x="169" y="141"/>
                </a:lnTo>
                <a:lnTo>
                  <a:pt x="181" y="127"/>
                </a:lnTo>
                <a:lnTo>
                  <a:pt x="198" y="133"/>
                </a:lnTo>
                <a:lnTo>
                  <a:pt x="210" y="130"/>
                </a:lnTo>
                <a:lnTo>
                  <a:pt x="203" y="140"/>
                </a:lnTo>
                <a:lnTo>
                  <a:pt x="212" y="151"/>
                </a:lnTo>
                <a:lnTo>
                  <a:pt x="216" y="145"/>
                </a:lnTo>
                <a:lnTo>
                  <a:pt x="221" y="140"/>
                </a:lnTo>
                <a:lnTo>
                  <a:pt x="221" y="127"/>
                </a:lnTo>
                <a:lnTo>
                  <a:pt x="228" y="131"/>
                </a:lnTo>
                <a:lnTo>
                  <a:pt x="248" y="125"/>
                </a:lnTo>
                <a:lnTo>
                  <a:pt x="259" y="129"/>
                </a:lnTo>
                <a:lnTo>
                  <a:pt x="275" y="129"/>
                </a:lnTo>
                <a:lnTo>
                  <a:pt x="297" y="120"/>
                </a:lnTo>
                <a:lnTo>
                  <a:pt x="307" y="120"/>
                </a:lnTo>
                <a:lnTo>
                  <a:pt x="329" y="116"/>
                </a:lnTo>
                <a:lnTo>
                  <a:pt x="337" y="113"/>
                </a:lnTo>
                <a:lnTo>
                  <a:pt x="360" y="116"/>
                </a:lnTo>
                <a:lnTo>
                  <a:pt x="369" y="122"/>
                </a:lnTo>
                <a:lnTo>
                  <a:pt x="377" y="118"/>
                </a:lnTo>
                <a:lnTo>
                  <a:pt x="377" y="118"/>
                </a:lnTo>
                <a:lnTo>
                  <a:pt x="363" y="98"/>
                </a:lnTo>
                <a:lnTo>
                  <a:pt x="366" y="91"/>
                </a:lnTo>
                <a:lnTo>
                  <a:pt x="355" y="64"/>
                </a:lnTo>
                <a:lnTo>
                  <a:pt x="367" y="56"/>
                </a:lnTo>
                <a:lnTo>
                  <a:pt x="358" y="50"/>
                </a:lnTo>
                <a:lnTo>
                  <a:pt x="343" y="44"/>
                </a:lnTo>
                <a:lnTo>
                  <a:pt x="343" y="32"/>
                </a:lnTo>
                <a:lnTo>
                  <a:pt x="338" y="25"/>
                </a:lnTo>
                <a:lnTo>
                  <a:pt x="316" y="14"/>
                </a:lnTo>
                <a:lnTo>
                  <a:pt x="297" y="14"/>
                </a:lnTo>
                <a:lnTo>
                  <a:pt x="276" y="27"/>
                </a:lnTo>
                <a:lnTo>
                  <a:pt x="259" y="24"/>
                </a:lnTo>
                <a:lnTo>
                  <a:pt x="238" y="28"/>
                </a:lnTo>
                <a:lnTo>
                  <a:pt x="208" y="19"/>
                </a:lnTo>
                <a:lnTo>
                  <a:pt x="208" y="19"/>
                </a:lnTo>
                <a:close/>
                <a:moveTo>
                  <a:pt x="23" y="34"/>
                </a:moveTo>
                <a:lnTo>
                  <a:pt x="31" y="27"/>
                </a:lnTo>
                <a:lnTo>
                  <a:pt x="53" y="25"/>
                </a:lnTo>
                <a:lnTo>
                  <a:pt x="56" y="19"/>
                </a:lnTo>
                <a:lnTo>
                  <a:pt x="38" y="12"/>
                </a:lnTo>
                <a:lnTo>
                  <a:pt x="35" y="3"/>
                </a:lnTo>
                <a:lnTo>
                  <a:pt x="19" y="0"/>
                </a:lnTo>
                <a:lnTo>
                  <a:pt x="0" y="8"/>
                </a:lnTo>
                <a:lnTo>
                  <a:pt x="10" y="14"/>
                </a:lnTo>
                <a:lnTo>
                  <a:pt x="5" y="28"/>
                </a:lnTo>
                <a:lnTo>
                  <a:pt x="1" y="30"/>
                </a:lnTo>
                <a:lnTo>
                  <a:pt x="2" y="36"/>
                </a:lnTo>
                <a:lnTo>
                  <a:pt x="8" y="46"/>
                </a:lnTo>
                <a:lnTo>
                  <a:pt x="23" y="34"/>
                </a:lnTo>
                <a:lnTo>
                  <a:pt x="23" y="3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67" name="Taiwan">
            <a:extLst>
              <a:ext uri="{FF2B5EF4-FFF2-40B4-BE49-F238E27FC236}">
                <a16:creationId xmlns:a16="http://schemas.microsoft.com/office/drawing/2014/main" id="{295D5937-6910-4B4D-B9CA-1193AB65A61E}"/>
              </a:ext>
            </a:extLst>
          </p:cNvPr>
          <p:cNvSpPr>
            <a:spLocks/>
          </p:cNvSpPr>
          <p:nvPr/>
        </p:nvSpPr>
        <p:spPr bwMode="auto">
          <a:xfrm>
            <a:off x="9386572" y="3317860"/>
            <a:ext cx="51037" cy="134397"/>
          </a:xfrm>
          <a:custGeom>
            <a:avLst/>
            <a:gdLst>
              <a:gd name="T0" fmla="*/ 25 w 30"/>
              <a:gd name="T1" fmla="*/ 60 h 79"/>
              <a:gd name="T2" fmla="*/ 30 w 30"/>
              <a:gd name="T3" fmla="*/ 21 h 79"/>
              <a:gd name="T4" fmla="*/ 30 w 30"/>
              <a:gd name="T5" fmla="*/ 7 h 79"/>
              <a:gd name="T6" fmla="*/ 19 w 30"/>
              <a:gd name="T7" fmla="*/ 0 h 79"/>
              <a:gd name="T8" fmla="*/ 7 w 30"/>
              <a:gd name="T9" fmla="*/ 18 h 79"/>
              <a:gd name="T10" fmla="*/ 0 w 30"/>
              <a:gd name="T11" fmla="*/ 41 h 79"/>
              <a:gd name="T12" fmla="*/ 5 w 30"/>
              <a:gd name="T13" fmla="*/ 59 h 79"/>
              <a:gd name="T14" fmla="*/ 20 w 30"/>
              <a:gd name="T15" fmla="*/ 79 h 79"/>
              <a:gd name="T16" fmla="*/ 25 w 30"/>
              <a:gd name="T17" fmla="*/ 60 h 79"/>
              <a:gd name="T18" fmla="*/ 25 w 30"/>
              <a:gd name="T19" fmla="*/ 6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79">
                <a:moveTo>
                  <a:pt x="25" y="60"/>
                </a:moveTo>
                <a:lnTo>
                  <a:pt x="30" y="21"/>
                </a:lnTo>
                <a:lnTo>
                  <a:pt x="30" y="7"/>
                </a:lnTo>
                <a:lnTo>
                  <a:pt x="19" y="0"/>
                </a:lnTo>
                <a:lnTo>
                  <a:pt x="7" y="18"/>
                </a:lnTo>
                <a:lnTo>
                  <a:pt x="0" y="41"/>
                </a:lnTo>
                <a:lnTo>
                  <a:pt x="5" y="59"/>
                </a:lnTo>
                <a:lnTo>
                  <a:pt x="20" y="79"/>
                </a:lnTo>
                <a:lnTo>
                  <a:pt x="25" y="60"/>
                </a:lnTo>
                <a:lnTo>
                  <a:pt x="25" y="6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68" name="Tanzania">
            <a:extLst>
              <a:ext uri="{FF2B5EF4-FFF2-40B4-BE49-F238E27FC236}">
                <a16:creationId xmlns:a16="http://schemas.microsoft.com/office/drawing/2014/main" id="{5F3FCEC3-5A31-4CB3-88C0-88B31C3FF05C}"/>
              </a:ext>
            </a:extLst>
          </p:cNvPr>
          <p:cNvSpPr>
            <a:spLocks/>
          </p:cNvSpPr>
          <p:nvPr/>
        </p:nvSpPr>
        <p:spPr bwMode="auto">
          <a:xfrm>
            <a:off x="6254637" y="4381120"/>
            <a:ext cx="379370" cy="433810"/>
          </a:xfrm>
          <a:custGeom>
            <a:avLst/>
            <a:gdLst>
              <a:gd name="T0" fmla="*/ 18 w 223"/>
              <a:gd name="T1" fmla="*/ 3 h 255"/>
              <a:gd name="T2" fmla="*/ 26 w 223"/>
              <a:gd name="T3" fmla="*/ 30 h 255"/>
              <a:gd name="T4" fmla="*/ 20 w 223"/>
              <a:gd name="T5" fmla="*/ 33 h 255"/>
              <a:gd name="T6" fmla="*/ 26 w 223"/>
              <a:gd name="T7" fmla="*/ 48 h 255"/>
              <a:gd name="T8" fmla="*/ 20 w 223"/>
              <a:gd name="T9" fmla="*/ 61 h 255"/>
              <a:gd name="T10" fmla="*/ 4 w 223"/>
              <a:gd name="T11" fmla="*/ 82 h 255"/>
              <a:gd name="T12" fmla="*/ 0 w 223"/>
              <a:gd name="T13" fmla="*/ 92 h 255"/>
              <a:gd name="T14" fmla="*/ 4 w 223"/>
              <a:gd name="T15" fmla="*/ 106 h 255"/>
              <a:gd name="T16" fmla="*/ 3 w 223"/>
              <a:gd name="T17" fmla="*/ 125 h 255"/>
              <a:gd name="T18" fmla="*/ 21 w 223"/>
              <a:gd name="T19" fmla="*/ 155 h 255"/>
              <a:gd name="T20" fmla="*/ 31 w 223"/>
              <a:gd name="T21" fmla="*/ 179 h 255"/>
              <a:gd name="T22" fmla="*/ 41 w 223"/>
              <a:gd name="T23" fmla="*/ 185 h 255"/>
              <a:gd name="T24" fmla="*/ 65 w 223"/>
              <a:gd name="T25" fmla="*/ 196 h 255"/>
              <a:gd name="T26" fmla="*/ 89 w 223"/>
              <a:gd name="T27" fmla="*/ 206 h 255"/>
              <a:gd name="T28" fmla="*/ 91 w 223"/>
              <a:gd name="T29" fmla="*/ 201 h 255"/>
              <a:gd name="T30" fmla="*/ 102 w 223"/>
              <a:gd name="T31" fmla="*/ 240 h 255"/>
              <a:gd name="T32" fmla="*/ 110 w 223"/>
              <a:gd name="T33" fmla="*/ 249 h 255"/>
              <a:gd name="T34" fmla="*/ 142 w 223"/>
              <a:gd name="T35" fmla="*/ 255 h 255"/>
              <a:gd name="T36" fmla="*/ 162 w 223"/>
              <a:gd name="T37" fmla="*/ 251 h 255"/>
              <a:gd name="T38" fmla="*/ 182 w 223"/>
              <a:gd name="T39" fmla="*/ 244 h 255"/>
              <a:gd name="T40" fmla="*/ 223 w 223"/>
              <a:gd name="T41" fmla="*/ 221 h 255"/>
              <a:gd name="T42" fmla="*/ 215 w 223"/>
              <a:gd name="T43" fmla="*/ 216 h 255"/>
              <a:gd name="T44" fmla="*/ 200 w 223"/>
              <a:gd name="T45" fmla="*/ 178 h 255"/>
              <a:gd name="T46" fmla="*/ 200 w 223"/>
              <a:gd name="T47" fmla="*/ 159 h 255"/>
              <a:gd name="T48" fmla="*/ 206 w 223"/>
              <a:gd name="T49" fmla="*/ 139 h 255"/>
              <a:gd name="T50" fmla="*/ 192 w 223"/>
              <a:gd name="T51" fmla="*/ 116 h 255"/>
              <a:gd name="T52" fmla="*/ 172 w 223"/>
              <a:gd name="T53" fmla="*/ 63 h 255"/>
              <a:gd name="T54" fmla="*/ 96 w 223"/>
              <a:gd name="T55" fmla="*/ 2 h 255"/>
              <a:gd name="T56" fmla="*/ 85 w 223"/>
              <a:gd name="T57" fmla="*/ 12 h 255"/>
              <a:gd name="T58" fmla="*/ 86 w 223"/>
              <a:gd name="T59" fmla="*/ 30 h 255"/>
              <a:gd name="T60" fmla="*/ 71 w 223"/>
              <a:gd name="T61" fmla="*/ 33 h 255"/>
              <a:gd name="T62" fmla="*/ 50 w 223"/>
              <a:gd name="T63" fmla="*/ 41 h 255"/>
              <a:gd name="T64" fmla="*/ 48 w 223"/>
              <a:gd name="T65" fmla="*/ 15 h 255"/>
              <a:gd name="T66" fmla="*/ 49 w 223"/>
              <a:gd name="T67" fmla="*/ 1 h 255"/>
              <a:gd name="T68" fmla="*/ 26 w 223"/>
              <a:gd name="T69"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3" h="255">
                <a:moveTo>
                  <a:pt x="26" y="0"/>
                </a:moveTo>
                <a:lnTo>
                  <a:pt x="18" y="3"/>
                </a:lnTo>
                <a:lnTo>
                  <a:pt x="27" y="16"/>
                </a:lnTo>
                <a:lnTo>
                  <a:pt x="26" y="30"/>
                </a:lnTo>
                <a:lnTo>
                  <a:pt x="20" y="33"/>
                </a:lnTo>
                <a:lnTo>
                  <a:pt x="20" y="33"/>
                </a:lnTo>
                <a:lnTo>
                  <a:pt x="21" y="43"/>
                </a:lnTo>
                <a:lnTo>
                  <a:pt x="26" y="48"/>
                </a:lnTo>
                <a:lnTo>
                  <a:pt x="26" y="56"/>
                </a:lnTo>
                <a:lnTo>
                  <a:pt x="20" y="61"/>
                </a:lnTo>
                <a:lnTo>
                  <a:pt x="12" y="73"/>
                </a:lnTo>
                <a:lnTo>
                  <a:pt x="4" y="82"/>
                </a:lnTo>
                <a:lnTo>
                  <a:pt x="1" y="82"/>
                </a:lnTo>
                <a:lnTo>
                  <a:pt x="0" y="92"/>
                </a:lnTo>
                <a:lnTo>
                  <a:pt x="5" y="96"/>
                </a:lnTo>
                <a:lnTo>
                  <a:pt x="4" y="106"/>
                </a:lnTo>
                <a:lnTo>
                  <a:pt x="8" y="115"/>
                </a:lnTo>
                <a:lnTo>
                  <a:pt x="3" y="125"/>
                </a:lnTo>
                <a:lnTo>
                  <a:pt x="20" y="141"/>
                </a:lnTo>
                <a:lnTo>
                  <a:pt x="21" y="155"/>
                </a:lnTo>
                <a:lnTo>
                  <a:pt x="31" y="179"/>
                </a:lnTo>
                <a:lnTo>
                  <a:pt x="31" y="179"/>
                </a:lnTo>
                <a:lnTo>
                  <a:pt x="32" y="180"/>
                </a:lnTo>
                <a:lnTo>
                  <a:pt x="41" y="185"/>
                </a:lnTo>
                <a:lnTo>
                  <a:pt x="54" y="188"/>
                </a:lnTo>
                <a:lnTo>
                  <a:pt x="65" y="196"/>
                </a:lnTo>
                <a:lnTo>
                  <a:pt x="85" y="199"/>
                </a:lnTo>
                <a:lnTo>
                  <a:pt x="89" y="206"/>
                </a:lnTo>
                <a:lnTo>
                  <a:pt x="89" y="206"/>
                </a:lnTo>
                <a:lnTo>
                  <a:pt x="91" y="201"/>
                </a:lnTo>
                <a:lnTo>
                  <a:pt x="101" y="214"/>
                </a:lnTo>
                <a:lnTo>
                  <a:pt x="102" y="240"/>
                </a:lnTo>
                <a:lnTo>
                  <a:pt x="110" y="248"/>
                </a:lnTo>
                <a:lnTo>
                  <a:pt x="110" y="249"/>
                </a:lnTo>
                <a:lnTo>
                  <a:pt x="117" y="248"/>
                </a:lnTo>
                <a:lnTo>
                  <a:pt x="142" y="255"/>
                </a:lnTo>
                <a:lnTo>
                  <a:pt x="147" y="252"/>
                </a:lnTo>
                <a:lnTo>
                  <a:pt x="162" y="251"/>
                </a:lnTo>
                <a:lnTo>
                  <a:pt x="169" y="244"/>
                </a:lnTo>
                <a:lnTo>
                  <a:pt x="182" y="244"/>
                </a:lnTo>
                <a:lnTo>
                  <a:pt x="205" y="235"/>
                </a:lnTo>
                <a:lnTo>
                  <a:pt x="223" y="221"/>
                </a:lnTo>
                <a:lnTo>
                  <a:pt x="223" y="221"/>
                </a:lnTo>
                <a:lnTo>
                  <a:pt x="215" y="216"/>
                </a:lnTo>
                <a:lnTo>
                  <a:pt x="207" y="192"/>
                </a:lnTo>
                <a:lnTo>
                  <a:pt x="200" y="178"/>
                </a:lnTo>
                <a:lnTo>
                  <a:pt x="201" y="166"/>
                </a:lnTo>
                <a:lnTo>
                  <a:pt x="200" y="159"/>
                </a:lnTo>
                <a:lnTo>
                  <a:pt x="207" y="144"/>
                </a:lnTo>
                <a:lnTo>
                  <a:pt x="206" y="139"/>
                </a:lnTo>
                <a:lnTo>
                  <a:pt x="193" y="130"/>
                </a:lnTo>
                <a:lnTo>
                  <a:pt x="192" y="116"/>
                </a:lnTo>
                <a:lnTo>
                  <a:pt x="202" y="87"/>
                </a:lnTo>
                <a:lnTo>
                  <a:pt x="172" y="63"/>
                </a:lnTo>
                <a:lnTo>
                  <a:pt x="171" y="50"/>
                </a:lnTo>
                <a:lnTo>
                  <a:pt x="96" y="2"/>
                </a:lnTo>
                <a:lnTo>
                  <a:pt x="96" y="2"/>
                </a:lnTo>
                <a:lnTo>
                  <a:pt x="85" y="12"/>
                </a:lnTo>
                <a:lnTo>
                  <a:pt x="78" y="22"/>
                </a:lnTo>
                <a:lnTo>
                  <a:pt x="86" y="30"/>
                </a:lnTo>
                <a:lnTo>
                  <a:pt x="74" y="37"/>
                </a:lnTo>
                <a:lnTo>
                  <a:pt x="71" y="33"/>
                </a:lnTo>
                <a:lnTo>
                  <a:pt x="59" y="35"/>
                </a:lnTo>
                <a:lnTo>
                  <a:pt x="50" y="41"/>
                </a:lnTo>
                <a:lnTo>
                  <a:pt x="44" y="31"/>
                </a:lnTo>
                <a:lnTo>
                  <a:pt x="48" y="15"/>
                </a:lnTo>
                <a:lnTo>
                  <a:pt x="49" y="1"/>
                </a:lnTo>
                <a:lnTo>
                  <a:pt x="49" y="1"/>
                </a:lnTo>
                <a:lnTo>
                  <a:pt x="49" y="1"/>
                </a:lnTo>
                <a:lnTo>
                  <a:pt x="26" y="0"/>
                </a:lnTo>
                <a:lnTo>
                  <a:pt x="26"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69" name="Uganda">
            <a:extLst>
              <a:ext uri="{FF2B5EF4-FFF2-40B4-BE49-F238E27FC236}">
                <a16:creationId xmlns:a16="http://schemas.microsoft.com/office/drawing/2014/main" id="{5ACA8A96-8E9F-4482-9FF7-9F4D78412ED0}"/>
              </a:ext>
            </a:extLst>
          </p:cNvPr>
          <p:cNvSpPr>
            <a:spLocks/>
          </p:cNvSpPr>
          <p:nvPr/>
        </p:nvSpPr>
        <p:spPr bwMode="auto">
          <a:xfrm>
            <a:off x="6256337" y="4168467"/>
            <a:ext cx="193938" cy="229665"/>
          </a:xfrm>
          <a:custGeom>
            <a:avLst/>
            <a:gdLst>
              <a:gd name="T0" fmla="*/ 92 w 114"/>
              <a:gd name="T1" fmla="*/ 0 h 135"/>
              <a:gd name="T2" fmla="*/ 80 w 114"/>
              <a:gd name="T3" fmla="*/ 11 h 135"/>
              <a:gd name="T4" fmla="*/ 65 w 114"/>
              <a:gd name="T5" fmla="*/ 11 h 135"/>
              <a:gd name="T6" fmla="*/ 48 w 114"/>
              <a:gd name="T7" fmla="*/ 16 h 135"/>
              <a:gd name="T8" fmla="*/ 35 w 114"/>
              <a:gd name="T9" fmla="*/ 11 h 135"/>
              <a:gd name="T10" fmla="*/ 26 w 114"/>
              <a:gd name="T11" fmla="*/ 17 h 135"/>
              <a:gd name="T12" fmla="*/ 26 w 114"/>
              <a:gd name="T13" fmla="*/ 17 h 135"/>
              <a:gd name="T14" fmla="*/ 25 w 114"/>
              <a:gd name="T15" fmla="*/ 45 h 135"/>
              <a:gd name="T16" fmla="*/ 34 w 114"/>
              <a:gd name="T17" fmla="*/ 48 h 135"/>
              <a:gd name="T18" fmla="*/ 26 w 114"/>
              <a:gd name="T19" fmla="*/ 57 h 135"/>
              <a:gd name="T20" fmla="*/ 19 w 114"/>
              <a:gd name="T21" fmla="*/ 63 h 135"/>
              <a:gd name="T22" fmla="*/ 11 w 114"/>
              <a:gd name="T23" fmla="*/ 76 h 135"/>
              <a:gd name="T24" fmla="*/ 6 w 114"/>
              <a:gd name="T25" fmla="*/ 87 h 135"/>
              <a:gd name="T26" fmla="*/ 5 w 114"/>
              <a:gd name="T27" fmla="*/ 106 h 135"/>
              <a:gd name="T28" fmla="*/ 0 w 114"/>
              <a:gd name="T29" fmla="*/ 115 h 135"/>
              <a:gd name="T30" fmla="*/ 0 w 114"/>
              <a:gd name="T31" fmla="*/ 133 h 135"/>
              <a:gd name="T32" fmla="*/ 5 w 114"/>
              <a:gd name="T33" fmla="*/ 135 h 135"/>
              <a:gd name="T34" fmla="*/ 17 w 114"/>
              <a:gd name="T35" fmla="*/ 128 h 135"/>
              <a:gd name="T36" fmla="*/ 25 w 114"/>
              <a:gd name="T37" fmla="*/ 125 h 135"/>
              <a:gd name="T38" fmla="*/ 48 w 114"/>
              <a:gd name="T39" fmla="*/ 126 h 135"/>
              <a:gd name="T40" fmla="*/ 48 w 114"/>
              <a:gd name="T41" fmla="*/ 126 h 135"/>
              <a:gd name="T42" fmla="*/ 47 w 114"/>
              <a:gd name="T43" fmla="*/ 116 h 135"/>
              <a:gd name="T44" fmla="*/ 56 w 114"/>
              <a:gd name="T45" fmla="*/ 102 h 135"/>
              <a:gd name="T46" fmla="*/ 69 w 114"/>
              <a:gd name="T47" fmla="*/ 98 h 135"/>
              <a:gd name="T48" fmla="*/ 79 w 114"/>
              <a:gd name="T49" fmla="*/ 93 h 135"/>
              <a:gd name="T50" fmla="*/ 90 w 114"/>
              <a:gd name="T51" fmla="*/ 98 h 135"/>
              <a:gd name="T52" fmla="*/ 91 w 114"/>
              <a:gd name="T53" fmla="*/ 99 h 135"/>
              <a:gd name="T54" fmla="*/ 91 w 114"/>
              <a:gd name="T55" fmla="*/ 98 h 135"/>
              <a:gd name="T56" fmla="*/ 96 w 114"/>
              <a:gd name="T57" fmla="*/ 89 h 135"/>
              <a:gd name="T58" fmla="*/ 107 w 114"/>
              <a:gd name="T59" fmla="*/ 73 h 135"/>
              <a:gd name="T60" fmla="*/ 114 w 114"/>
              <a:gd name="T61" fmla="*/ 56 h 135"/>
              <a:gd name="T62" fmla="*/ 105 w 114"/>
              <a:gd name="T63" fmla="*/ 28 h 135"/>
              <a:gd name="T64" fmla="*/ 102 w 114"/>
              <a:gd name="T65" fmla="*/ 16 h 135"/>
              <a:gd name="T66" fmla="*/ 92 w 114"/>
              <a:gd name="T67" fmla="*/ 0 h 135"/>
              <a:gd name="T68" fmla="*/ 92 w 114"/>
              <a:gd name="T69"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 h="135">
                <a:moveTo>
                  <a:pt x="92" y="0"/>
                </a:moveTo>
                <a:lnTo>
                  <a:pt x="80" y="11"/>
                </a:lnTo>
                <a:lnTo>
                  <a:pt x="65" y="11"/>
                </a:lnTo>
                <a:lnTo>
                  <a:pt x="48" y="16"/>
                </a:lnTo>
                <a:lnTo>
                  <a:pt x="35" y="11"/>
                </a:lnTo>
                <a:lnTo>
                  <a:pt x="26" y="17"/>
                </a:lnTo>
                <a:lnTo>
                  <a:pt x="26" y="17"/>
                </a:lnTo>
                <a:lnTo>
                  <a:pt x="25" y="45"/>
                </a:lnTo>
                <a:lnTo>
                  <a:pt x="34" y="48"/>
                </a:lnTo>
                <a:lnTo>
                  <a:pt x="26" y="57"/>
                </a:lnTo>
                <a:lnTo>
                  <a:pt x="19" y="63"/>
                </a:lnTo>
                <a:lnTo>
                  <a:pt x="11" y="76"/>
                </a:lnTo>
                <a:lnTo>
                  <a:pt x="6" y="87"/>
                </a:lnTo>
                <a:lnTo>
                  <a:pt x="5" y="106"/>
                </a:lnTo>
                <a:lnTo>
                  <a:pt x="0" y="115"/>
                </a:lnTo>
                <a:lnTo>
                  <a:pt x="0" y="133"/>
                </a:lnTo>
                <a:lnTo>
                  <a:pt x="5" y="135"/>
                </a:lnTo>
                <a:lnTo>
                  <a:pt x="17" y="128"/>
                </a:lnTo>
                <a:lnTo>
                  <a:pt x="25" y="125"/>
                </a:lnTo>
                <a:lnTo>
                  <a:pt x="48" y="126"/>
                </a:lnTo>
                <a:lnTo>
                  <a:pt x="48" y="126"/>
                </a:lnTo>
                <a:lnTo>
                  <a:pt x="47" y="116"/>
                </a:lnTo>
                <a:lnTo>
                  <a:pt x="56" y="102"/>
                </a:lnTo>
                <a:lnTo>
                  <a:pt x="69" y="98"/>
                </a:lnTo>
                <a:lnTo>
                  <a:pt x="79" y="93"/>
                </a:lnTo>
                <a:lnTo>
                  <a:pt x="90" y="98"/>
                </a:lnTo>
                <a:lnTo>
                  <a:pt x="91" y="99"/>
                </a:lnTo>
                <a:lnTo>
                  <a:pt x="91" y="98"/>
                </a:lnTo>
                <a:lnTo>
                  <a:pt x="96" y="89"/>
                </a:lnTo>
                <a:lnTo>
                  <a:pt x="107" y="73"/>
                </a:lnTo>
                <a:lnTo>
                  <a:pt x="114" y="56"/>
                </a:lnTo>
                <a:lnTo>
                  <a:pt x="105" y="28"/>
                </a:lnTo>
                <a:lnTo>
                  <a:pt x="102" y="16"/>
                </a:lnTo>
                <a:lnTo>
                  <a:pt x="92" y="0"/>
                </a:lnTo>
                <a:lnTo>
                  <a:pt x="92"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70" name="Ukraine">
            <a:extLst>
              <a:ext uri="{FF2B5EF4-FFF2-40B4-BE49-F238E27FC236}">
                <a16:creationId xmlns:a16="http://schemas.microsoft.com/office/drawing/2014/main" id="{C9D13E0F-076C-4329-B6F8-64D58F2AC71C}"/>
              </a:ext>
            </a:extLst>
          </p:cNvPr>
          <p:cNvSpPr>
            <a:spLocks/>
          </p:cNvSpPr>
          <p:nvPr/>
        </p:nvSpPr>
        <p:spPr bwMode="auto">
          <a:xfrm>
            <a:off x="5892278" y="2235888"/>
            <a:ext cx="557998" cy="313023"/>
          </a:xfrm>
          <a:custGeom>
            <a:avLst/>
            <a:gdLst>
              <a:gd name="T0" fmla="*/ 180 w 328"/>
              <a:gd name="T1" fmla="*/ 2 h 184"/>
              <a:gd name="T2" fmla="*/ 170 w 328"/>
              <a:gd name="T3" fmla="*/ 6 h 184"/>
              <a:gd name="T4" fmla="*/ 164 w 328"/>
              <a:gd name="T5" fmla="*/ 6 h 184"/>
              <a:gd name="T6" fmla="*/ 143 w 328"/>
              <a:gd name="T7" fmla="*/ 11 h 184"/>
              <a:gd name="T8" fmla="*/ 137 w 328"/>
              <a:gd name="T9" fmla="*/ 21 h 184"/>
              <a:gd name="T10" fmla="*/ 115 w 328"/>
              <a:gd name="T11" fmla="*/ 17 h 184"/>
              <a:gd name="T12" fmla="*/ 102 w 328"/>
              <a:gd name="T13" fmla="*/ 17 h 184"/>
              <a:gd name="T14" fmla="*/ 67 w 328"/>
              <a:gd name="T15" fmla="*/ 11 h 184"/>
              <a:gd name="T16" fmla="*/ 34 w 328"/>
              <a:gd name="T17" fmla="*/ 10 h 184"/>
              <a:gd name="T18" fmla="*/ 17 w 328"/>
              <a:gd name="T19" fmla="*/ 17 h 184"/>
              <a:gd name="T20" fmla="*/ 28 w 328"/>
              <a:gd name="T21" fmla="*/ 44 h 184"/>
              <a:gd name="T22" fmla="*/ 5 w 328"/>
              <a:gd name="T23" fmla="*/ 66 h 184"/>
              <a:gd name="T24" fmla="*/ 7 w 328"/>
              <a:gd name="T25" fmla="*/ 75 h 184"/>
              <a:gd name="T26" fmla="*/ 0 w 328"/>
              <a:gd name="T27" fmla="*/ 90 h 184"/>
              <a:gd name="T28" fmla="*/ 13 w 328"/>
              <a:gd name="T29" fmla="*/ 103 h 184"/>
              <a:gd name="T30" fmla="*/ 32 w 328"/>
              <a:gd name="T31" fmla="*/ 100 h 184"/>
              <a:gd name="T32" fmla="*/ 53 w 328"/>
              <a:gd name="T33" fmla="*/ 106 h 184"/>
              <a:gd name="T34" fmla="*/ 72 w 328"/>
              <a:gd name="T35" fmla="*/ 100 h 184"/>
              <a:gd name="T36" fmla="*/ 84 w 328"/>
              <a:gd name="T37" fmla="*/ 94 h 184"/>
              <a:gd name="T38" fmla="*/ 100 w 328"/>
              <a:gd name="T39" fmla="*/ 89 h 184"/>
              <a:gd name="T40" fmla="*/ 122 w 328"/>
              <a:gd name="T41" fmla="*/ 97 h 184"/>
              <a:gd name="T42" fmla="*/ 131 w 328"/>
              <a:gd name="T43" fmla="*/ 111 h 184"/>
              <a:gd name="T44" fmla="*/ 142 w 328"/>
              <a:gd name="T45" fmla="*/ 125 h 184"/>
              <a:gd name="T46" fmla="*/ 149 w 328"/>
              <a:gd name="T47" fmla="*/ 135 h 184"/>
              <a:gd name="T48" fmla="*/ 149 w 328"/>
              <a:gd name="T49" fmla="*/ 138 h 184"/>
              <a:gd name="T50" fmla="*/ 135 w 328"/>
              <a:gd name="T51" fmla="*/ 135 h 184"/>
              <a:gd name="T52" fmla="*/ 133 w 328"/>
              <a:gd name="T53" fmla="*/ 140 h 184"/>
              <a:gd name="T54" fmla="*/ 127 w 328"/>
              <a:gd name="T55" fmla="*/ 155 h 184"/>
              <a:gd name="T56" fmla="*/ 132 w 328"/>
              <a:gd name="T57" fmla="*/ 163 h 184"/>
              <a:gd name="T58" fmla="*/ 149 w 328"/>
              <a:gd name="T59" fmla="*/ 163 h 184"/>
              <a:gd name="T60" fmla="*/ 166 w 328"/>
              <a:gd name="T61" fmla="*/ 133 h 184"/>
              <a:gd name="T62" fmla="*/ 185 w 328"/>
              <a:gd name="T63" fmla="*/ 138 h 184"/>
              <a:gd name="T64" fmla="*/ 222 w 328"/>
              <a:gd name="T65" fmla="*/ 150 h 184"/>
              <a:gd name="T66" fmla="*/ 202 w 328"/>
              <a:gd name="T67" fmla="*/ 162 h 184"/>
              <a:gd name="T68" fmla="*/ 222 w 328"/>
              <a:gd name="T69" fmla="*/ 179 h 184"/>
              <a:gd name="T70" fmla="*/ 256 w 328"/>
              <a:gd name="T71" fmla="*/ 171 h 184"/>
              <a:gd name="T72" fmla="*/ 279 w 328"/>
              <a:gd name="T73" fmla="*/ 159 h 184"/>
              <a:gd name="T74" fmla="*/ 250 w 328"/>
              <a:gd name="T75" fmla="*/ 154 h 184"/>
              <a:gd name="T76" fmla="*/ 260 w 328"/>
              <a:gd name="T77" fmla="*/ 131 h 184"/>
              <a:gd name="T78" fmla="*/ 289 w 328"/>
              <a:gd name="T79" fmla="*/ 122 h 184"/>
              <a:gd name="T80" fmla="*/ 302 w 328"/>
              <a:gd name="T81" fmla="*/ 110 h 184"/>
              <a:gd name="T82" fmla="*/ 327 w 328"/>
              <a:gd name="T83" fmla="*/ 102 h 184"/>
              <a:gd name="T84" fmla="*/ 322 w 328"/>
              <a:gd name="T85" fmla="*/ 81 h 184"/>
              <a:gd name="T86" fmla="*/ 325 w 328"/>
              <a:gd name="T87" fmla="*/ 63 h 184"/>
              <a:gd name="T88" fmla="*/ 286 w 328"/>
              <a:gd name="T89" fmla="*/ 55 h 184"/>
              <a:gd name="T90" fmla="*/ 259 w 328"/>
              <a:gd name="T91" fmla="*/ 49 h 184"/>
              <a:gd name="T92" fmla="*/ 234 w 328"/>
              <a:gd name="T93" fmla="*/ 36 h 184"/>
              <a:gd name="T94" fmla="*/ 211 w 328"/>
              <a:gd name="T95" fmla="*/ 24 h 184"/>
              <a:gd name="T96" fmla="*/ 212 w 328"/>
              <a:gd name="T97" fmla="*/ 13 h 184"/>
              <a:gd name="T98" fmla="*/ 198 w 328"/>
              <a:gd name="T9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8" h="184">
                <a:moveTo>
                  <a:pt x="198" y="0"/>
                </a:moveTo>
                <a:lnTo>
                  <a:pt x="180" y="2"/>
                </a:lnTo>
                <a:lnTo>
                  <a:pt x="174" y="1"/>
                </a:lnTo>
                <a:lnTo>
                  <a:pt x="170" y="6"/>
                </a:lnTo>
                <a:lnTo>
                  <a:pt x="164" y="6"/>
                </a:lnTo>
                <a:lnTo>
                  <a:pt x="164" y="6"/>
                </a:lnTo>
                <a:lnTo>
                  <a:pt x="148" y="7"/>
                </a:lnTo>
                <a:lnTo>
                  <a:pt x="143" y="11"/>
                </a:lnTo>
                <a:lnTo>
                  <a:pt x="144" y="24"/>
                </a:lnTo>
                <a:lnTo>
                  <a:pt x="137" y="21"/>
                </a:lnTo>
                <a:lnTo>
                  <a:pt x="121" y="23"/>
                </a:lnTo>
                <a:lnTo>
                  <a:pt x="115" y="17"/>
                </a:lnTo>
                <a:lnTo>
                  <a:pt x="110" y="21"/>
                </a:lnTo>
                <a:lnTo>
                  <a:pt x="102" y="17"/>
                </a:lnTo>
                <a:lnTo>
                  <a:pt x="87" y="17"/>
                </a:lnTo>
                <a:lnTo>
                  <a:pt x="67" y="11"/>
                </a:lnTo>
                <a:lnTo>
                  <a:pt x="48" y="10"/>
                </a:lnTo>
                <a:lnTo>
                  <a:pt x="34" y="10"/>
                </a:lnTo>
                <a:lnTo>
                  <a:pt x="26" y="16"/>
                </a:lnTo>
                <a:lnTo>
                  <a:pt x="17" y="17"/>
                </a:lnTo>
                <a:lnTo>
                  <a:pt x="29" y="38"/>
                </a:lnTo>
                <a:lnTo>
                  <a:pt x="28" y="44"/>
                </a:lnTo>
                <a:lnTo>
                  <a:pt x="19" y="47"/>
                </a:lnTo>
                <a:lnTo>
                  <a:pt x="5" y="66"/>
                </a:lnTo>
                <a:lnTo>
                  <a:pt x="11" y="76"/>
                </a:lnTo>
                <a:lnTo>
                  <a:pt x="7" y="75"/>
                </a:lnTo>
                <a:lnTo>
                  <a:pt x="2" y="80"/>
                </a:lnTo>
                <a:lnTo>
                  <a:pt x="0" y="90"/>
                </a:lnTo>
                <a:lnTo>
                  <a:pt x="11" y="96"/>
                </a:lnTo>
                <a:lnTo>
                  <a:pt x="13" y="103"/>
                </a:lnTo>
                <a:lnTo>
                  <a:pt x="20" y="97"/>
                </a:lnTo>
                <a:lnTo>
                  <a:pt x="32" y="100"/>
                </a:lnTo>
                <a:lnTo>
                  <a:pt x="44" y="100"/>
                </a:lnTo>
                <a:lnTo>
                  <a:pt x="53" y="106"/>
                </a:lnTo>
                <a:lnTo>
                  <a:pt x="59" y="103"/>
                </a:lnTo>
                <a:lnTo>
                  <a:pt x="72" y="100"/>
                </a:lnTo>
                <a:lnTo>
                  <a:pt x="76" y="94"/>
                </a:lnTo>
                <a:lnTo>
                  <a:pt x="84" y="94"/>
                </a:lnTo>
                <a:lnTo>
                  <a:pt x="88" y="92"/>
                </a:lnTo>
                <a:lnTo>
                  <a:pt x="100" y="89"/>
                </a:lnTo>
                <a:lnTo>
                  <a:pt x="114" y="96"/>
                </a:lnTo>
                <a:lnTo>
                  <a:pt x="122" y="97"/>
                </a:lnTo>
                <a:lnTo>
                  <a:pt x="131" y="103"/>
                </a:lnTo>
                <a:lnTo>
                  <a:pt x="131" y="111"/>
                </a:lnTo>
                <a:lnTo>
                  <a:pt x="139" y="115"/>
                </a:lnTo>
                <a:lnTo>
                  <a:pt x="142" y="125"/>
                </a:lnTo>
                <a:lnTo>
                  <a:pt x="150" y="131"/>
                </a:lnTo>
                <a:lnTo>
                  <a:pt x="149" y="135"/>
                </a:lnTo>
                <a:lnTo>
                  <a:pt x="153" y="136"/>
                </a:lnTo>
                <a:lnTo>
                  <a:pt x="149" y="138"/>
                </a:lnTo>
                <a:lnTo>
                  <a:pt x="138" y="137"/>
                </a:lnTo>
                <a:lnTo>
                  <a:pt x="135" y="135"/>
                </a:lnTo>
                <a:lnTo>
                  <a:pt x="131" y="136"/>
                </a:lnTo>
                <a:lnTo>
                  <a:pt x="133" y="140"/>
                </a:lnTo>
                <a:lnTo>
                  <a:pt x="129" y="148"/>
                </a:lnTo>
                <a:lnTo>
                  <a:pt x="127" y="155"/>
                </a:lnTo>
                <a:lnTo>
                  <a:pt x="123" y="158"/>
                </a:lnTo>
                <a:lnTo>
                  <a:pt x="132" y="163"/>
                </a:lnTo>
                <a:lnTo>
                  <a:pt x="140" y="159"/>
                </a:lnTo>
                <a:lnTo>
                  <a:pt x="149" y="163"/>
                </a:lnTo>
                <a:lnTo>
                  <a:pt x="161" y="146"/>
                </a:lnTo>
                <a:lnTo>
                  <a:pt x="166" y="133"/>
                </a:lnTo>
                <a:lnTo>
                  <a:pt x="183" y="130"/>
                </a:lnTo>
                <a:lnTo>
                  <a:pt x="185" y="138"/>
                </a:lnTo>
                <a:lnTo>
                  <a:pt x="215" y="144"/>
                </a:lnTo>
                <a:lnTo>
                  <a:pt x="222" y="150"/>
                </a:lnTo>
                <a:lnTo>
                  <a:pt x="205" y="157"/>
                </a:lnTo>
                <a:lnTo>
                  <a:pt x="202" y="162"/>
                </a:lnTo>
                <a:lnTo>
                  <a:pt x="224" y="168"/>
                </a:lnTo>
                <a:lnTo>
                  <a:pt x="222" y="179"/>
                </a:lnTo>
                <a:lnTo>
                  <a:pt x="233" y="184"/>
                </a:lnTo>
                <a:lnTo>
                  <a:pt x="256" y="171"/>
                </a:lnTo>
                <a:lnTo>
                  <a:pt x="276" y="166"/>
                </a:lnTo>
                <a:lnTo>
                  <a:pt x="279" y="159"/>
                </a:lnTo>
                <a:lnTo>
                  <a:pt x="259" y="160"/>
                </a:lnTo>
                <a:lnTo>
                  <a:pt x="250" y="154"/>
                </a:lnTo>
                <a:lnTo>
                  <a:pt x="246" y="140"/>
                </a:lnTo>
                <a:lnTo>
                  <a:pt x="260" y="131"/>
                </a:lnTo>
                <a:lnTo>
                  <a:pt x="278" y="130"/>
                </a:lnTo>
                <a:lnTo>
                  <a:pt x="289" y="122"/>
                </a:lnTo>
                <a:lnTo>
                  <a:pt x="303" y="121"/>
                </a:lnTo>
                <a:lnTo>
                  <a:pt x="302" y="110"/>
                </a:lnTo>
                <a:lnTo>
                  <a:pt x="310" y="104"/>
                </a:lnTo>
                <a:lnTo>
                  <a:pt x="327" y="102"/>
                </a:lnTo>
                <a:lnTo>
                  <a:pt x="328" y="94"/>
                </a:lnTo>
                <a:lnTo>
                  <a:pt x="322" y="81"/>
                </a:lnTo>
                <a:lnTo>
                  <a:pt x="326" y="69"/>
                </a:lnTo>
                <a:lnTo>
                  <a:pt x="325" y="63"/>
                </a:lnTo>
                <a:lnTo>
                  <a:pt x="296" y="55"/>
                </a:lnTo>
                <a:lnTo>
                  <a:pt x="286" y="55"/>
                </a:lnTo>
                <a:lnTo>
                  <a:pt x="272" y="45"/>
                </a:lnTo>
                <a:lnTo>
                  <a:pt x="259" y="49"/>
                </a:lnTo>
                <a:lnTo>
                  <a:pt x="235" y="40"/>
                </a:lnTo>
                <a:lnTo>
                  <a:pt x="234" y="36"/>
                </a:lnTo>
                <a:lnTo>
                  <a:pt x="226" y="25"/>
                </a:lnTo>
                <a:lnTo>
                  <a:pt x="211" y="24"/>
                </a:lnTo>
                <a:lnTo>
                  <a:pt x="209" y="18"/>
                </a:lnTo>
                <a:lnTo>
                  <a:pt x="212" y="13"/>
                </a:lnTo>
                <a:lnTo>
                  <a:pt x="198" y="0"/>
                </a:lnTo>
                <a:lnTo>
                  <a:pt x="198"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71" name="Uruguay">
            <a:extLst>
              <a:ext uri="{FF2B5EF4-FFF2-40B4-BE49-F238E27FC236}">
                <a16:creationId xmlns:a16="http://schemas.microsoft.com/office/drawing/2014/main" id="{7E29AB9C-1331-4937-9016-C00C7D444CB1}"/>
              </a:ext>
            </a:extLst>
          </p:cNvPr>
          <p:cNvSpPr>
            <a:spLocks/>
          </p:cNvSpPr>
          <p:nvPr/>
        </p:nvSpPr>
        <p:spPr bwMode="auto">
          <a:xfrm>
            <a:off x="3221371" y="5556659"/>
            <a:ext cx="173523" cy="195640"/>
          </a:xfrm>
          <a:custGeom>
            <a:avLst/>
            <a:gdLst>
              <a:gd name="T0" fmla="*/ 102 w 102"/>
              <a:gd name="T1" fmla="*/ 87 h 115"/>
              <a:gd name="T2" fmla="*/ 94 w 102"/>
              <a:gd name="T3" fmla="*/ 73 h 115"/>
              <a:gd name="T4" fmla="*/ 101 w 102"/>
              <a:gd name="T5" fmla="*/ 62 h 115"/>
              <a:gd name="T6" fmla="*/ 87 w 102"/>
              <a:gd name="T7" fmla="*/ 46 h 115"/>
              <a:gd name="T8" fmla="*/ 69 w 102"/>
              <a:gd name="T9" fmla="*/ 33 h 115"/>
              <a:gd name="T10" fmla="*/ 46 w 102"/>
              <a:gd name="T11" fmla="*/ 18 h 115"/>
              <a:gd name="T12" fmla="*/ 38 w 102"/>
              <a:gd name="T13" fmla="*/ 18 h 115"/>
              <a:gd name="T14" fmla="*/ 16 w 102"/>
              <a:gd name="T15" fmla="*/ 0 h 115"/>
              <a:gd name="T16" fmla="*/ 3 w 102"/>
              <a:gd name="T17" fmla="*/ 3 h 115"/>
              <a:gd name="T18" fmla="*/ 1 w 102"/>
              <a:gd name="T19" fmla="*/ 22 h 115"/>
              <a:gd name="T20" fmla="*/ 0 w 102"/>
              <a:gd name="T21" fmla="*/ 46 h 115"/>
              <a:gd name="T22" fmla="*/ 4 w 102"/>
              <a:gd name="T23" fmla="*/ 70 h 115"/>
              <a:gd name="T24" fmla="*/ 1 w 102"/>
              <a:gd name="T25" fmla="*/ 75 h 115"/>
              <a:gd name="T26" fmla="*/ 2 w 102"/>
              <a:gd name="T27" fmla="*/ 91 h 115"/>
              <a:gd name="T28" fmla="*/ 17 w 102"/>
              <a:gd name="T29" fmla="*/ 104 h 115"/>
              <a:gd name="T30" fmla="*/ 30 w 102"/>
              <a:gd name="T31" fmla="*/ 103 h 115"/>
              <a:gd name="T32" fmla="*/ 51 w 102"/>
              <a:gd name="T33" fmla="*/ 113 h 115"/>
              <a:gd name="T34" fmla="*/ 61 w 102"/>
              <a:gd name="T35" fmla="*/ 111 h 115"/>
              <a:gd name="T36" fmla="*/ 76 w 102"/>
              <a:gd name="T37" fmla="*/ 115 h 115"/>
              <a:gd name="T38" fmla="*/ 96 w 102"/>
              <a:gd name="T39" fmla="*/ 102 h 115"/>
              <a:gd name="T40" fmla="*/ 102 w 102"/>
              <a:gd name="T41" fmla="*/ 87 h 115"/>
              <a:gd name="T42" fmla="*/ 102 w 102"/>
              <a:gd name="T43" fmla="*/ 8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115">
                <a:moveTo>
                  <a:pt x="102" y="87"/>
                </a:moveTo>
                <a:lnTo>
                  <a:pt x="94" y="73"/>
                </a:lnTo>
                <a:lnTo>
                  <a:pt x="101" y="62"/>
                </a:lnTo>
                <a:lnTo>
                  <a:pt x="87" y="46"/>
                </a:lnTo>
                <a:lnTo>
                  <a:pt x="69" y="33"/>
                </a:lnTo>
                <a:lnTo>
                  <a:pt x="46" y="18"/>
                </a:lnTo>
                <a:lnTo>
                  <a:pt x="38" y="18"/>
                </a:lnTo>
                <a:lnTo>
                  <a:pt x="16" y="0"/>
                </a:lnTo>
                <a:lnTo>
                  <a:pt x="3" y="3"/>
                </a:lnTo>
                <a:lnTo>
                  <a:pt x="1" y="22"/>
                </a:lnTo>
                <a:lnTo>
                  <a:pt x="0" y="46"/>
                </a:lnTo>
                <a:lnTo>
                  <a:pt x="4" y="70"/>
                </a:lnTo>
                <a:lnTo>
                  <a:pt x="1" y="75"/>
                </a:lnTo>
                <a:lnTo>
                  <a:pt x="2" y="91"/>
                </a:lnTo>
                <a:lnTo>
                  <a:pt x="17" y="104"/>
                </a:lnTo>
                <a:lnTo>
                  <a:pt x="30" y="103"/>
                </a:lnTo>
                <a:lnTo>
                  <a:pt x="51" y="113"/>
                </a:lnTo>
                <a:lnTo>
                  <a:pt x="61" y="111"/>
                </a:lnTo>
                <a:lnTo>
                  <a:pt x="76" y="115"/>
                </a:lnTo>
                <a:lnTo>
                  <a:pt x="96" y="102"/>
                </a:lnTo>
                <a:lnTo>
                  <a:pt x="102" y="87"/>
                </a:lnTo>
                <a:lnTo>
                  <a:pt x="102" y="8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72" name="United States of America">
            <a:extLst>
              <a:ext uri="{FF2B5EF4-FFF2-40B4-BE49-F238E27FC236}">
                <a16:creationId xmlns:a16="http://schemas.microsoft.com/office/drawing/2014/main" id="{1A28FACB-9988-4366-9128-6514F909DD2D}"/>
              </a:ext>
            </a:extLst>
          </p:cNvPr>
          <p:cNvSpPr>
            <a:spLocks noEditPoints="1"/>
          </p:cNvSpPr>
          <p:nvPr/>
        </p:nvSpPr>
        <p:spPr bwMode="auto">
          <a:xfrm>
            <a:off x="-383502" y="1545194"/>
            <a:ext cx="3441557" cy="2029550"/>
          </a:xfrm>
          <a:custGeom>
            <a:avLst/>
            <a:gdLst>
              <a:gd name="T0" fmla="*/ 72 w 2023"/>
              <a:gd name="T1" fmla="*/ 1162 h 1193"/>
              <a:gd name="T2" fmla="*/ 67 w 2023"/>
              <a:gd name="T3" fmla="*/ 1193 h 1193"/>
              <a:gd name="T4" fmla="*/ 57 w 2023"/>
              <a:gd name="T5" fmla="*/ 1148 h 1193"/>
              <a:gd name="T6" fmla="*/ 56 w 2023"/>
              <a:gd name="T7" fmla="*/ 1142 h 1193"/>
              <a:gd name="T8" fmla="*/ 36 w 2023"/>
              <a:gd name="T9" fmla="*/ 1137 h 1193"/>
              <a:gd name="T10" fmla="*/ 0 w 2023"/>
              <a:gd name="T11" fmla="*/ 1119 h 1193"/>
              <a:gd name="T12" fmla="*/ 1374 w 2023"/>
              <a:gd name="T13" fmla="*/ 483 h 1193"/>
              <a:gd name="T14" fmla="*/ 1023 w 2023"/>
              <a:gd name="T15" fmla="*/ 501 h 1193"/>
              <a:gd name="T16" fmla="*/ 959 w 2023"/>
              <a:gd name="T17" fmla="*/ 563 h 1193"/>
              <a:gd name="T18" fmla="*/ 876 w 2023"/>
              <a:gd name="T19" fmla="*/ 716 h 1193"/>
              <a:gd name="T20" fmla="*/ 913 w 2023"/>
              <a:gd name="T21" fmla="*/ 827 h 1193"/>
              <a:gd name="T22" fmla="*/ 992 w 2023"/>
              <a:gd name="T23" fmla="*/ 866 h 1193"/>
              <a:gd name="T24" fmla="*/ 1154 w 2023"/>
              <a:gd name="T25" fmla="*/ 897 h 1193"/>
              <a:gd name="T26" fmla="*/ 1232 w 2023"/>
              <a:gd name="T27" fmla="*/ 936 h 1193"/>
              <a:gd name="T28" fmla="*/ 1295 w 2023"/>
              <a:gd name="T29" fmla="*/ 1029 h 1193"/>
              <a:gd name="T30" fmla="*/ 1371 w 2023"/>
              <a:gd name="T31" fmla="*/ 942 h 1193"/>
              <a:gd name="T32" fmla="*/ 1476 w 2023"/>
              <a:gd name="T33" fmla="*/ 950 h 1193"/>
              <a:gd name="T34" fmla="*/ 1543 w 2023"/>
              <a:gd name="T35" fmla="*/ 921 h 1193"/>
              <a:gd name="T36" fmla="*/ 1602 w 2023"/>
              <a:gd name="T37" fmla="*/ 980 h 1193"/>
              <a:gd name="T38" fmla="*/ 1649 w 2023"/>
              <a:gd name="T39" fmla="*/ 1030 h 1193"/>
              <a:gd name="T40" fmla="*/ 1651 w 2023"/>
              <a:gd name="T41" fmla="*/ 896 h 1193"/>
              <a:gd name="T42" fmla="*/ 1770 w 2023"/>
              <a:gd name="T43" fmla="*/ 816 h 1193"/>
              <a:gd name="T44" fmla="*/ 1792 w 2023"/>
              <a:gd name="T45" fmla="*/ 722 h 1193"/>
              <a:gd name="T46" fmla="*/ 1821 w 2023"/>
              <a:gd name="T47" fmla="*/ 720 h 1193"/>
              <a:gd name="T48" fmla="*/ 1849 w 2023"/>
              <a:gd name="T49" fmla="*/ 680 h 1193"/>
              <a:gd name="T50" fmla="*/ 1893 w 2023"/>
              <a:gd name="T51" fmla="*/ 661 h 1193"/>
              <a:gd name="T52" fmla="*/ 1931 w 2023"/>
              <a:gd name="T53" fmla="*/ 649 h 1193"/>
              <a:gd name="T54" fmla="*/ 2020 w 2023"/>
              <a:gd name="T55" fmla="*/ 572 h 1193"/>
              <a:gd name="T56" fmla="*/ 1957 w 2023"/>
              <a:gd name="T57" fmla="*/ 565 h 1193"/>
              <a:gd name="T58" fmla="*/ 1840 w 2023"/>
              <a:gd name="T59" fmla="*/ 599 h 1193"/>
              <a:gd name="T60" fmla="*/ 1779 w 2023"/>
              <a:gd name="T61" fmla="*/ 625 h 1193"/>
              <a:gd name="T62" fmla="*/ 1692 w 2023"/>
              <a:gd name="T63" fmla="*/ 642 h 1193"/>
              <a:gd name="T64" fmla="*/ 1712 w 2023"/>
              <a:gd name="T65" fmla="*/ 597 h 1193"/>
              <a:gd name="T66" fmla="*/ 1692 w 2023"/>
              <a:gd name="T67" fmla="*/ 557 h 1193"/>
              <a:gd name="T68" fmla="*/ 1642 w 2023"/>
              <a:gd name="T69" fmla="*/ 606 h 1193"/>
              <a:gd name="T70" fmla="*/ 1604 w 2023"/>
              <a:gd name="T71" fmla="*/ 639 h 1193"/>
              <a:gd name="T72" fmla="*/ 1626 w 2023"/>
              <a:gd name="T73" fmla="*/ 585 h 1193"/>
              <a:gd name="T74" fmla="*/ 1715 w 2023"/>
              <a:gd name="T75" fmla="*/ 552 h 1193"/>
              <a:gd name="T76" fmla="*/ 1679 w 2023"/>
              <a:gd name="T77" fmla="*/ 537 h 1193"/>
              <a:gd name="T78" fmla="*/ 1590 w 2023"/>
              <a:gd name="T79" fmla="*/ 531 h 1193"/>
              <a:gd name="T80" fmla="*/ 1608 w 2023"/>
              <a:gd name="T81" fmla="*/ 500 h 1193"/>
              <a:gd name="T82" fmla="*/ 649 w 2023"/>
              <a:gd name="T83" fmla="*/ 299 h 1193"/>
              <a:gd name="T84" fmla="*/ 649 w 2023"/>
              <a:gd name="T85" fmla="*/ 299 h 1193"/>
              <a:gd name="T86" fmla="*/ 505 w 2023"/>
              <a:gd name="T87" fmla="*/ 237 h 1193"/>
              <a:gd name="T88" fmla="*/ 545 w 2023"/>
              <a:gd name="T89" fmla="*/ 164 h 1193"/>
              <a:gd name="T90" fmla="*/ 921 w 2023"/>
              <a:gd name="T91" fmla="*/ 10 h 1193"/>
              <a:gd name="T92" fmla="*/ 719 w 2023"/>
              <a:gd name="T93" fmla="*/ 60 h 1193"/>
              <a:gd name="T94" fmla="*/ 704 w 2023"/>
              <a:gd name="T95" fmla="*/ 96 h 1193"/>
              <a:gd name="T96" fmla="*/ 680 w 2023"/>
              <a:gd name="T97" fmla="*/ 137 h 1193"/>
              <a:gd name="T98" fmla="*/ 630 w 2023"/>
              <a:gd name="T99" fmla="*/ 169 h 1193"/>
              <a:gd name="T100" fmla="*/ 529 w 2023"/>
              <a:gd name="T101" fmla="*/ 230 h 1193"/>
              <a:gd name="T102" fmla="*/ 565 w 2023"/>
              <a:gd name="T103" fmla="*/ 266 h 1193"/>
              <a:gd name="T104" fmla="*/ 557 w 2023"/>
              <a:gd name="T105" fmla="*/ 296 h 1193"/>
              <a:gd name="T106" fmla="*/ 380 w 2023"/>
              <a:gd name="T107" fmla="*/ 359 h 1193"/>
              <a:gd name="T108" fmla="*/ 585 w 2023"/>
              <a:gd name="T109" fmla="*/ 302 h 1193"/>
              <a:gd name="T110" fmla="*/ 789 w 2023"/>
              <a:gd name="T111" fmla="*/ 207 h 1193"/>
              <a:gd name="T112" fmla="*/ 801 w 2023"/>
              <a:gd name="T113" fmla="*/ 236 h 1193"/>
              <a:gd name="T114" fmla="*/ 940 w 2023"/>
              <a:gd name="T115" fmla="*/ 268 h 1193"/>
              <a:gd name="T116" fmla="*/ 990 w 2023"/>
              <a:gd name="T117" fmla="*/ 350 h 1193"/>
              <a:gd name="T118" fmla="*/ 1005 w 2023"/>
              <a:gd name="T119" fmla="*/ 251 h 1193"/>
              <a:gd name="T120" fmla="*/ 1058 w 2023"/>
              <a:gd name="T121" fmla="*/ 107 h 1193"/>
              <a:gd name="T122" fmla="*/ 1061 w 2023"/>
              <a:gd name="T123" fmla="*/ 22 h 1193"/>
              <a:gd name="T124" fmla="*/ 975 w 2023"/>
              <a:gd name="T125" fmla="*/ 4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3" h="1193">
                <a:moveTo>
                  <a:pt x="71" y="1190"/>
                </a:moveTo>
                <a:lnTo>
                  <a:pt x="78" y="1186"/>
                </a:lnTo>
                <a:lnTo>
                  <a:pt x="87" y="1181"/>
                </a:lnTo>
                <a:lnTo>
                  <a:pt x="88" y="1179"/>
                </a:lnTo>
                <a:lnTo>
                  <a:pt x="85" y="1171"/>
                </a:lnTo>
                <a:lnTo>
                  <a:pt x="82" y="1168"/>
                </a:lnTo>
                <a:lnTo>
                  <a:pt x="79" y="1166"/>
                </a:lnTo>
                <a:lnTo>
                  <a:pt x="72" y="1162"/>
                </a:lnTo>
                <a:lnTo>
                  <a:pt x="71" y="1162"/>
                </a:lnTo>
                <a:lnTo>
                  <a:pt x="69" y="1163"/>
                </a:lnTo>
                <a:lnTo>
                  <a:pt x="69" y="1168"/>
                </a:lnTo>
                <a:lnTo>
                  <a:pt x="64" y="1172"/>
                </a:lnTo>
                <a:lnTo>
                  <a:pt x="63" y="1175"/>
                </a:lnTo>
                <a:lnTo>
                  <a:pt x="64" y="1183"/>
                </a:lnTo>
                <a:lnTo>
                  <a:pt x="62" y="1190"/>
                </a:lnTo>
                <a:lnTo>
                  <a:pt x="67" y="1193"/>
                </a:lnTo>
                <a:lnTo>
                  <a:pt x="71" y="1190"/>
                </a:lnTo>
                <a:lnTo>
                  <a:pt x="71" y="1190"/>
                </a:lnTo>
                <a:close/>
                <a:moveTo>
                  <a:pt x="68" y="1152"/>
                </a:moveTo>
                <a:lnTo>
                  <a:pt x="71" y="1149"/>
                </a:lnTo>
                <a:lnTo>
                  <a:pt x="66" y="1146"/>
                </a:lnTo>
                <a:lnTo>
                  <a:pt x="59" y="1144"/>
                </a:lnTo>
                <a:lnTo>
                  <a:pt x="57" y="1146"/>
                </a:lnTo>
                <a:lnTo>
                  <a:pt x="57" y="1148"/>
                </a:lnTo>
                <a:lnTo>
                  <a:pt x="59" y="1149"/>
                </a:lnTo>
                <a:lnTo>
                  <a:pt x="60" y="1154"/>
                </a:lnTo>
                <a:lnTo>
                  <a:pt x="68" y="1152"/>
                </a:lnTo>
                <a:lnTo>
                  <a:pt x="68" y="1152"/>
                </a:lnTo>
                <a:close/>
                <a:moveTo>
                  <a:pt x="57" y="1140"/>
                </a:moveTo>
                <a:lnTo>
                  <a:pt x="47" y="1139"/>
                </a:lnTo>
                <a:lnTo>
                  <a:pt x="45" y="1142"/>
                </a:lnTo>
                <a:lnTo>
                  <a:pt x="56" y="1142"/>
                </a:lnTo>
                <a:lnTo>
                  <a:pt x="57" y="1140"/>
                </a:lnTo>
                <a:close/>
                <a:moveTo>
                  <a:pt x="40" y="1136"/>
                </a:moveTo>
                <a:lnTo>
                  <a:pt x="35" y="1129"/>
                </a:lnTo>
                <a:lnTo>
                  <a:pt x="34" y="1127"/>
                </a:lnTo>
                <a:lnTo>
                  <a:pt x="28" y="1131"/>
                </a:lnTo>
                <a:lnTo>
                  <a:pt x="29" y="1131"/>
                </a:lnTo>
                <a:lnTo>
                  <a:pt x="30" y="1136"/>
                </a:lnTo>
                <a:lnTo>
                  <a:pt x="36" y="1137"/>
                </a:lnTo>
                <a:lnTo>
                  <a:pt x="38" y="1138"/>
                </a:lnTo>
                <a:lnTo>
                  <a:pt x="40" y="1136"/>
                </a:lnTo>
                <a:lnTo>
                  <a:pt x="40" y="1136"/>
                </a:lnTo>
                <a:close/>
                <a:moveTo>
                  <a:pt x="8" y="1120"/>
                </a:moveTo>
                <a:lnTo>
                  <a:pt x="10" y="1115"/>
                </a:lnTo>
                <a:lnTo>
                  <a:pt x="4" y="1115"/>
                </a:lnTo>
                <a:lnTo>
                  <a:pt x="1" y="1117"/>
                </a:lnTo>
                <a:lnTo>
                  <a:pt x="0" y="1119"/>
                </a:lnTo>
                <a:lnTo>
                  <a:pt x="5" y="1123"/>
                </a:lnTo>
                <a:lnTo>
                  <a:pt x="8" y="1120"/>
                </a:lnTo>
                <a:close/>
                <a:moveTo>
                  <a:pt x="1548" y="473"/>
                </a:moveTo>
                <a:lnTo>
                  <a:pt x="1541" y="473"/>
                </a:lnTo>
                <a:lnTo>
                  <a:pt x="1536" y="483"/>
                </a:lnTo>
                <a:lnTo>
                  <a:pt x="1499" y="483"/>
                </a:lnTo>
                <a:lnTo>
                  <a:pt x="1437" y="483"/>
                </a:lnTo>
                <a:lnTo>
                  <a:pt x="1374" y="483"/>
                </a:lnTo>
                <a:lnTo>
                  <a:pt x="1319" y="483"/>
                </a:lnTo>
                <a:lnTo>
                  <a:pt x="1264" y="483"/>
                </a:lnTo>
                <a:lnTo>
                  <a:pt x="1210" y="483"/>
                </a:lnTo>
                <a:lnTo>
                  <a:pt x="1154" y="483"/>
                </a:lnTo>
                <a:lnTo>
                  <a:pt x="1136" y="483"/>
                </a:lnTo>
                <a:lnTo>
                  <a:pt x="1081" y="483"/>
                </a:lnTo>
                <a:lnTo>
                  <a:pt x="1030" y="483"/>
                </a:lnTo>
                <a:lnTo>
                  <a:pt x="1023" y="501"/>
                </a:lnTo>
                <a:lnTo>
                  <a:pt x="1015" y="521"/>
                </a:lnTo>
                <a:lnTo>
                  <a:pt x="1005" y="527"/>
                </a:lnTo>
                <a:lnTo>
                  <a:pt x="1010" y="505"/>
                </a:lnTo>
                <a:lnTo>
                  <a:pt x="988" y="497"/>
                </a:lnTo>
                <a:lnTo>
                  <a:pt x="983" y="501"/>
                </a:lnTo>
                <a:lnTo>
                  <a:pt x="981" y="513"/>
                </a:lnTo>
                <a:lnTo>
                  <a:pt x="974" y="532"/>
                </a:lnTo>
                <a:lnTo>
                  <a:pt x="959" y="563"/>
                </a:lnTo>
                <a:lnTo>
                  <a:pt x="944" y="585"/>
                </a:lnTo>
                <a:lnTo>
                  <a:pt x="929" y="605"/>
                </a:lnTo>
                <a:lnTo>
                  <a:pt x="909" y="627"/>
                </a:lnTo>
                <a:lnTo>
                  <a:pt x="904" y="644"/>
                </a:lnTo>
                <a:lnTo>
                  <a:pt x="894" y="664"/>
                </a:lnTo>
                <a:lnTo>
                  <a:pt x="880" y="683"/>
                </a:lnTo>
                <a:lnTo>
                  <a:pt x="884" y="697"/>
                </a:lnTo>
                <a:lnTo>
                  <a:pt x="876" y="716"/>
                </a:lnTo>
                <a:lnTo>
                  <a:pt x="882" y="736"/>
                </a:lnTo>
                <a:lnTo>
                  <a:pt x="887" y="744"/>
                </a:lnTo>
                <a:lnTo>
                  <a:pt x="884" y="750"/>
                </a:lnTo>
                <a:lnTo>
                  <a:pt x="886" y="783"/>
                </a:lnTo>
                <a:lnTo>
                  <a:pt x="895" y="808"/>
                </a:lnTo>
                <a:lnTo>
                  <a:pt x="891" y="821"/>
                </a:lnTo>
                <a:lnTo>
                  <a:pt x="895" y="824"/>
                </a:lnTo>
                <a:lnTo>
                  <a:pt x="913" y="827"/>
                </a:lnTo>
                <a:lnTo>
                  <a:pt x="917" y="834"/>
                </a:lnTo>
                <a:lnTo>
                  <a:pt x="928" y="835"/>
                </a:lnTo>
                <a:lnTo>
                  <a:pt x="928" y="841"/>
                </a:lnTo>
                <a:lnTo>
                  <a:pt x="936" y="844"/>
                </a:lnTo>
                <a:lnTo>
                  <a:pt x="944" y="858"/>
                </a:lnTo>
                <a:lnTo>
                  <a:pt x="943" y="870"/>
                </a:lnTo>
                <a:lnTo>
                  <a:pt x="966" y="868"/>
                </a:lnTo>
                <a:lnTo>
                  <a:pt x="992" y="866"/>
                </a:lnTo>
                <a:lnTo>
                  <a:pt x="988" y="870"/>
                </a:lnTo>
                <a:lnTo>
                  <a:pt x="1015" y="882"/>
                </a:lnTo>
                <a:lnTo>
                  <a:pt x="1055" y="898"/>
                </a:lnTo>
                <a:lnTo>
                  <a:pt x="1095" y="898"/>
                </a:lnTo>
                <a:lnTo>
                  <a:pt x="1111" y="898"/>
                </a:lnTo>
                <a:lnTo>
                  <a:pt x="1114" y="889"/>
                </a:lnTo>
                <a:lnTo>
                  <a:pt x="1149" y="889"/>
                </a:lnTo>
                <a:lnTo>
                  <a:pt x="1154" y="897"/>
                </a:lnTo>
                <a:lnTo>
                  <a:pt x="1161" y="905"/>
                </a:lnTo>
                <a:lnTo>
                  <a:pt x="1170" y="915"/>
                </a:lnTo>
                <a:lnTo>
                  <a:pt x="1173" y="927"/>
                </a:lnTo>
                <a:lnTo>
                  <a:pt x="1175" y="940"/>
                </a:lnTo>
                <a:lnTo>
                  <a:pt x="1183" y="948"/>
                </a:lnTo>
                <a:lnTo>
                  <a:pt x="1198" y="954"/>
                </a:lnTo>
                <a:lnTo>
                  <a:pt x="1216" y="936"/>
                </a:lnTo>
                <a:lnTo>
                  <a:pt x="1232" y="936"/>
                </a:lnTo>
                <a:lnTo>
                  <a:pt x="1244" y="945"/>
                </a:lnTo>
                <a:lnTo>
                  <a:pt x="1250" y="961"/>
                </a:lnTo>
                <a:lnTo>
                  <a:pt x="1254" y="975"/>
                </a:lnTo>
                <a:lnTo>
                  <a:pt x="1263" y="989"/>
                </a:lnTo>
                <a:lnTo>
                  <a:pt x="1263" y="1006"/>
                </a:lnTo>
                <a:lnTo>
                  <a:pt x="1267" y="1017"/>
                </a:lnTo>
                <a:lnTo>
                  <a:pt x="1281" y="1024"/>
                </a:lnTo>
                <a:lnTo>
                  <a:pt x="1295" y="1029"/>
                </a:lnTo>
                <a:lnTo>
                  <a:pt x="1302" y="1028"/>
                </a:lnTo>
                <a:lnTo>
                  <a:pt x="1300" y="1021"/>
                </a:lnTo>
                <a:lnTo>
                  <a:pt x="1301" y="1008"/>
                </a:lnTo>
                <a:lnTo>
                  <a:pt x="1305" y="993"/>
                </a:lnTo>
                <a:lnTo>
                  <a:pt x="1312" y="981"/>
                </a:lnTo>
                <a:lnTo>
                  <a:pt x="1326" y="970"/>
                </a:lnTo>
                <a:lnTo>
                  <a:pt x="1349" y="960"/>
                </a:lnTo>
                <a:lnTo>
                  <a:pt x="1371" y="942"/>
                </a:lnTo>
                <a:lnTo>
                  <a:pt x="1390" y="937"/>
                </a:lnTo>
                <a:lnTo>
                  <a:pt x="1403" y="936"/>
                </a:lnTo>
                <a:lnTo>
                  <a:pt x="1416" y="940"/>
                </a:lnTo>
                <a:lnTo>
                  <a:pt x="1434" y="937"/>
                </a:lnTo>
                <a:lnTo>
                  <a:pt x="1446" y="951"/>
                </a:lnTo>
                <a:lnTo>
                  <a:pt x="1461" y="951"/>
                </a:lnTo>
                <a:lnTo>
                  <a:pt x="1469" y="947"/>
                </a:lnTo>
                <a:lnTo>
                  <a:pt x="1476" y="950"/>
                </a:lnTo>
                <a:lnTo>
                  <a:pt x="1480" y="947"/>
                </a:lnTo>
                <a:lnTo>
                  <a:pt x="1478" y="942"/>
                </a:lnTo>
                <a:lnTo>
                  <a:pt x="1480" y="933"/>
                </a:lnTo>
                <a:lnTo>
                  <a:pt x="1478" y="926"/>
                </a:lnTo>
                <a:lnTo>
                  <a:pt x="1487" y="922"/>
                </a:lnTo>
                <a:lnTo>
                  <a:pt x="1503" y="922"/>
                </a:lnTo>
                <a:lnTo>
                  <a:pt x="1521" y="923"/>
                </a:lnTo>
                <a:lnTo>
                  <a:pt x="1543" y="921"/>
                </a:lnTo>
                <a:lnTo>
                  <a:pt x="1554" y="926"/>
                </a:lnTo>
                <a:lnTo>
                  <a:pt x="1562" y="937"/>
                </a:lnTo>
                <a:lnTo>
                  <a:pt x="1565" y="938"/>
                </a:lnTo>
                <a:lnTo>
                  <a:pt x="1588" y="928"/>
                </a:lnTo>
                <a:lnTo>
                  <a:pt x="1595" y="932"/>
                </a:lnTo>
                <a:lnTo>
                  <a:pt x="1607" y="951"/>
                </a:lnTo>
                <a:lnTo>
                  <a:pt x="1609" y="965"/>
                </a:lnTo>
                <a:lnTo>
                  <a:pt x="1602" y="980"/>
                </a:lnTo>
                <a:lnTo>
                  <a:pt x="1604" y="990"/>
                </a:lnTo>
                <a:lnTo>
                  <a:pt x="1609" y="1007"/>
                </a:lnTo>
                <a:lnTo>
                  <a:pt x="1617" y="1028"/>
                </a:lnTo>
                <a:lnTo>
                  <a:pt x="1623" y="1034"/>
                </a:lnTo>
                <a:lnTo>
                  <a:pt x="1625" y="1044"/>
                </a:lnTo>
                <a:lnTo>
                  <a:pt x="1635" y="1047"/>
                </a:lnTo>
                <a:lnTo>
                  <a:pt x="1641" y="1044"/>
                </a:lnTo>
                <a:lnTo>
                  <a:pt x="1649" y="1030"/>
                </a:lnTo>
                <a:lnTo>
                  <a:pt x="1651" y="1021"/>
                </a:lnTo>
                <a:lnTo>
                  <a:pt x="1655" y="1004"/>
                </a:lnTo>
                <a:lnTo>
                  <a:pt x="1650" y="977"/>
                </a:lnTo>
                <a:lnTo>
                  <a:pt x="1652" y="966"/>
                </a:lnTo>
                <a:lnTo>
                  <a:pt x="1647" y="950"/>
                </a:lnTo>
                <a:lnTo>
                  <a:pt x="1644" y="929"/>
                </a:lnTo>
                <a:lnTo>
                  <a:pt x="1644" y="913"/>
                </a:lnTo>
                <a:lnTo>
                  <a:pt x="1651" y="896"/>
                </a:lnTo>
                <a:lnTo>
                  <a:pt x="1664" y="882"/>
                </a:lnTo>
                <a:lnTo>
                  <a:pt x="1677" y="871"/>
                </a:lnTo>
                <a:lnTo>
                  <a:pt x="1704" y="855"/>
                </a:lnTo>
                <a:lnTo>
                  <a:pt x="1708" y="847"/>
                </a:lnTo>
                <a:lnTo>
                  <a:pt x="1720" y="838"/>
                </a:lnTo>
                <a:lnTo>
                  <a:pt x="1732" y="838"/>
                </a:lnTo>
                <a:lnTo>
                  <a:pt x="1747" y="823"/>
                </a:lnTo>
                <a:lnTo>
                  <a:pt x="1770" y="816"/>
                </a:lnTo>
                <a:lnTo>
                  <a:pt x="1788" y="798"/>
                </a:lnTo>
                <a:lnTo>
                  <a:pt x="1790" y="774"/>
                </a:lnTo>
                <a:lnTo>
                  <a:pt x="1791" y="766"/>
                </a:lnTo>
                <a:lnTo>
                  <a:pt x="1786" y="764"/>
                </a:lnTo>
                <a:lnTo>
                  <a:pt x="1791" y="740"/>
                </a:lnTo>
                <a:lnTo>
                  <a:pt x="1780" y="733"/>
                </a:lnTo>
                <a:lnTo>
                  <a:pt x="1792" y="737"/>
                </a:lnTo>
                <a:lnTo>
                  <a:pt x="1792" y="722"/>
                </a:lnTo>
                <a:lnTo>
                  <a:pt x="1799" y="711"/>
                </a:lnTo>
                <a:lnTo>
                  <a:pt x="1795" y="731"/>
                </a:lnTo>
                <a:lnTo>
                  <a:pt x="1803" y="740"/>
                </a:lnTo>
                <a:lnTo>
                  <a:pt x="1792" y="757"/>
                </a:lnTo>
                <a:lnTo>
                  <a:pt x="1793" y="757"/>
                </a:lnTo>
                <a:lnTo>
                  <a:pt x="1810" y="739"/>
                </a:lnTo>
                <a:lnTo>
                  <a:pt x="1819" y="729"/>
                </a:lnTo>
                <a:lnTo>
                  <a:pt x="1821" y="720"/>
                </a:lnTo>
                <a:lnTo>
                  <a:pt x="1818" y="716"/>
                </a:lnTo>
                <a:lnTo>
                  <a:pt x="1818" y="703"/>
                </a:lnTo>
                <a:lnTo>
                  <a:pt x="1822" y="709"/>
                </a:lnTo>
                <a:lnTo>
                  <a:pt x="1826" y="711"/>
                </a:lnTo>
                <a:lnTo>
                  <a:pt x="1826" y="716"/>
                </a:lnTo>
                <a:lnTo>
                  <a:pt x="1846" y="697"/>
                </a:lnTo>
                <a:lnTo>
                  <a:pt x="1855" y="681"/>
                </a:lnTo>
                <a:lnTo>
                  <a:pt x="1849" y="680"/>
                </a:lnTo>
                <a:lnTo>
                  <a:pt x="1857" y="673"/>
                </a:lnTo>
                <a:lnTo>
                  <a:pt x="1856" y="676"/>
                </a:lnTo>
                <a:lnTo>
                  <a:pt x="1868" y="676"/>
                </a:lnTo>
                <a:lnTo>
                  <a:pt x="1897" y="669"/>
                </a:lnTo>
                <a:lnTo>
                  <a:pt x="1893" y="665"/>
                </a:lnTo>
                <a:lnTo>
                  <a:pt x="1863" y="669"/>
                </a:lnTo>
                <a:lnTo>
                  <a:pt x="1881" y="662"/>
                </a:lnTo>
                <a:lnTo>
                  <a:pt x="1893" y="661"/>
                </a:lnTo>
                <a:lnTo>
                  <a:pt x="1902" y="660"/>
                </a:lnTo>
                <a:lnTo>
                  <a:pt x="1917" y="656"/>
                </a:lnTo>
                <a:lnTo>
                  <a:pt x="1926" y="656"/>
                </a:lnTo>
                <a:lnTo>
                  <a:pt x="1941" y="653"/>
                </a:lnTo>
                <a:lnTo>
                  <a:pt x="1945" y="646"/>
                </a:lnTo>
                <a:lnTo>
                  <a:pt x="1940" y="641"/>
                </a:lnTo>
                <a:lnTo>
                  <a:pt x="1939" y="649"/>
                </a:lnTo>
                <a:lnTo>
                  <a:pt x="1931" y="649"/>
                </a:lnTo>
                <a:lnTo>
                  <a:pt x="1930" y="637"/>
                </a:lnTo>
                <a:lnTo>
                  <a:pt x="1933" y="625"/>
                </a:lnTo>
                <a:lnTo>
                  <a:pt x="1939" y="619"/>
                </a:lnTo>
                <a:lnTo>
                  <a:pt x="1953" y="606"/>
                </a:lnTo>
                <a:lnTo>
                  <a:pt x="1975" y="599"/>
                </a:lnTo>
                <a:lnTo>
                  <a:pt x="1998" y="591"/>
                </a:lnTo>
                <a:lnTo>
                  <a:pt x="2021" y="580"/>
                </a:lnTo>
                <a:lnTo>
                  <a:pt x="2020" y="572"/>
                </a:lnTo>
                <a:lnTo>
                  <a:pt x="2013" y="559"/>
                </a:lnTo>
                <a:lnTo>
                  <a:pt x="2023" y="528"/>
                </a:lnTo>
                <a:lnTo>
                  <a:pt x="2017" y="521"/>
                </a:lnTo>
                <a:lnTo>
                  <a:pt x="2003" y="525"/>
                </a:lnTo>
                <a:lnTo>
                  <a:pt x="2000" y="518"/>
                </a:lnTo>
                <a:lnTo>
                  <a:pt x="1979" y="536"/>
                </a:lnTo>
                <a:lnTo>
                  <a:pt x="1967" y="555"/>
                </a:lnTo>
                <a:lnTo>
                  <a:pt x="1957" y="565"/>
                </a:lnTo>
                <a:lnTo>
                  <a:pt x="1947" y="569"/>
                </a:lnTo>
                <a:lnTo>
                  <a:pt x="1941" y="570"/>
                </a:lnTo>
                <a:lnTo>
                  <a:pt x="1937" y="575"/>
                </a:lnTo>
                <a:lnTo>
                  <a:pt x="1902" y="575"/>
                </a:lnTo>
                <a:lnTo>
                  <a:pt x="1874" y="575"/>
                </a:lnTo>
                <a:lnTo>
                  <a:pt x="1864" y="580"/>
                </a:lnTo>
                <a:lnTo>
                  <a:pt x="1839" y="596"/>
                </a:lnTo>
                <a:lnTo>
                  <a:pt x="1840" y="599"/>
                </a:lnTo>
                <a:lnTo>
                  <a:pt x="1837" y="608"/>
                </a:lnTo>
                <a:lnTo>
                  <a:pt x="1820" y="615"/>
                </a:lnTo>
                <a:lnTo>
                  <a:pt x="1805" y="613"/>
                </a:lnTo>
                <a:lnTo>
                  <a:pt x="1790" y="613"/>
                </a:lnTo>
                <a:lnTo>
                  <a:pt x="1781" y="615"/>
                </a:lnTo>
                <a:lnTo>
                  <a:pt x="1780" y="622"/>
                </a:lnTo>
                <a:lnTo>
                  <a:pt x="1780" y="622"/>
                </a:lnTo>
                <a:lnTo>
                  <a:pt x="1779" y="625"/>
                </a:lnTo>
                <a:lnTo>
                  <a:pt x="1758" y="638"/>
                </a:lnTo>
                <a:lnTo>
                  <a:pt x="1741" y="645"/>
                </a:lnTo>
                <a:lnTo>
                  <a:pt x="1730" y="648"/>
                </a:lnTo>
                <a:lnTo>
                  <a:pt x="1717" y="655"/>
                </a:lnTo>
                <a:lnTo>
                  <a:pt x="1702" y="657"/>
                </a:lnTo>
                <a:lnTo>
                  <a:pt x="1692" y="656"/>
                </a:lnTo>
                <a:lnTo>
                  <a:pt x="1682" y="652"/>
                </a:lnTo>
                <a:lnTo>
                  <a:pt x="1692" y="642"/>
                </a:lnTo>
                <a:lnTo>
                  <a:pt x="1692" y="642"/>
                </a:lnTo>
                <a:lnTo>
                  <a:pt x="1700" y="634"/>
                </a:lnTo>
                <a:lnTo>
                  <a:pt x="1713" y="622"/>
                </a:lnTo>
                <a:lnTo>
                  <a:pt x="1713" y="622"/>
                </a:lnTo>
                <a:lnTo>
                  <a:pt x="1713" y="622"/>
                </a:lnTo>
                <a:lnTo>
                  <a:pt x="1716" y="613"/>
                </a:lnTo>
                <a:lnTo>
                  <a:pt x="1718" y="599"/>
                </a:lnTo>
                <a:lnTo>
                  <a:pt x="1712" y="597"/>
                </a:lnTo>
                <a:lnTo>
                  <a:pt x="1696" y="607"/>
                </a:lnTo>
                <a:lnTo>
                  <a:pt x="1692" y="607"/>
                </a:lnTo>
                <a:lnTo>
                  <a:pt x="1693" y="601"/>
                </a:lnTo>
                <a:lnTo>
                  <a:pt x="1707" y="592"/>
                </a:lnTo>
                <a:lnTo>
                  <a:pt x="1714" y="582"/>
                </a:lnTo>
                <a:lnTo>
                  <a:pt x="1717" y="571"/>
                </a:lnTo>
                <a:lnTo>
                  <a:pt x="1706" y="562"/>
                </a:lnTo>
                <a:lnTo>
                  <a:pt x="1692" y="557"/>
                </a:lnTo>
                <a:lnTo>
                  <a:pt x="1686" y="566"/>
                </a:lnTo>
                <a:lnTo>
                  <a:pt x="1681" y="569"/>
                </a:lnTo>
                <a:lnTo>
                  <a:pt x="1673" y="580"/>
                </a:lnTo>
                <a:lnTo>
                  <a:pt x="1674" y="572"/>
                </a:lnTo>
                <a:lnTo>
                  <a:pt x="1664" y="578"/>
                </a:lnTo>
                <a:lnTo>
                  <a:pt x="1657" y="585"/>
                </a:lnTo>
                <a:lnTo>
                  <a:pt x="1647" y="597"/>
                </a:lnTo>
                <a:lnTo>
                  <a:pt x="1642" y="606"/>
                </a:lnTo>
                <a:lnTo>
                  <a:pt x="1642" y="621"/>
                </a:lnTo>
                <a:lnTo>
                  <a:pt x="1635" y="636"/>
                </a:lnTo>
                <a:lnTo>
                  <a:pt x="1623" y="647"/>
                </a:lnTo>
                <a:lnTo>
                  <a:pt x="1618" y="650"/>
                </a:lnTo>
                <a:lnTo>
                  <a:pt x="1612" y="653"/>
                </a:lnTo>
                <a:lnTo>
                  <a:pt x="1606" y="653"/>
                </a:lnTo>
                <a:lnTo>
                  <a:pt x="1605" y="651"/>
                </a:lnTo>
                <a:lnTo>
                  <a:pt x="1604" y="639"/>
                </a:lnTo>
                <a:lnTo>
                  <a:pt x="1607" y="633"/>
                </a:lnTo>
                <a:lnTo>
                  <a:pt x="1609" y="627"/>
                </a:lnTo>
                <a:lnTo>
                  <a:pt x="1611" y="616"/>
                </a:lnTo>
                <a:lnTo>
                  <a:pt x="1621" y="603"/>
                </a:lnTo>
                <a:lnTo>
                  <a:pt x="1632" y="587"/>
                </a:lnTo>
                <a:lnTo>
                  <a:pt x="1649" y="570"/>
                </a:lnTo>
                <a:lnTo>
                  <a:pt x="1646" y="570"/>
                </a:lnTo>
                <a:lnTo>
                  <a:pt x="1626" y="585"/>
                </a:lnTo>
                <a:lnTo>
                  <a:pt x="1624" y="582"/>
                </a:lnTo>
                <a:lnTo>
                  <a:pt x="1635" y="573"/>
                </a:lnTo>
                <a:lnTo>
                  <a:pt x="1653" y="558"/>
                </a:lnTo>
                <a:lnTo>
                  <a:pt x="1666" y="556"/>
                </a:lnTo>
                <a:lnTo>
                  <a:pt x="1683" y="552"/>
                </a:lnTo>
                <a:lnTo>
                  <a:pt x="1697" y="554"/>
                </a:lnTo>
                <a:lnTo>
                  <a:pt x="1697" y="554"/>
                </a:lnTo>
                <a:lnTo>
                  <a:pt x="1715" y="552"/>
                </a:lnTo>
                <a:lnTo>
                  <a:pt x="1709" y="542"/>
                </a:lnTo>
                <a:lnTo>
                  <a:pt x="1709" y="542"/>
                </a:lnTo>
                <a:lnTo>
                  <a:pt x="1705" y="542"/>
                </a:lnTo>
                <a:lnTo>
                  <a:pt x="1705" y="542"/>
                </a:lnTo>
                <a:lnTo>
                  <a:pt x="1705" y="542"/>
                </a:lnTo>
                <a:lnTo>
                  <a:pt x="1700" y="541"/>
                </a:lnTo>
                <a:lnTo>
                  <a:pt x="1698" y="535"/>
                </a:lnTo>
                <a:lnTo>
                  <a:pt x="1679" y="537"/>
                </a:lnTo>
                <a:lnTo>
                  <a:pt x="1661" y="542"/>
                </a:lnTo>
                <a:lnTo>
                  <a:pt x="1651" y="533"/>
                </a:lnTo>
                <a:lnTo>
                  <a:pt x="1642" y="530"/>
                </a:lnTo>
                <a:lnTo>
                  <a:pt x="1653" y="518"/>
                </a:lnTo>
                <a:lnTo>
                  <a:pt x="1634" y="526"/>
                </a:lnTo>
                <a:lnTo>
                  <a:pt x="1615" y="533"/>
                </a:lnTo>
                <a:lnTo>
                  <a:pt x="1598" y="539"/>
                </a:lnTo>
                <a:lnTo>
                  <a:pt x="1590" y="531"/>
                </a:lnTo>
                <a:lnTo>
                  <a:pt x="1569" y="536"/>
                </a:lnTo>
                <a:lnTo>
                  <a:pt x="1571" y="532"/>
                </a:lnTo>
                <a:lnTo>
                  <a:pt x="1588" y="523"/>
                </a:lnTo>
                <a:lnTo>
                  <a:pt x="1606" y="514"/>
                </a:lnTo>
                <a:lnTo>
                  <a:pt x="1628" y="505"/>
                </a:lnTo>
                <a:lnTo>
                  <a:pt x="1628" y="505"/>
                </a:lnTo>
                <a:lnTo>
                  <a:pt x="1628" y="505"/>
                </a:lnTo>
                <a:lnTo>
                  <a:pt x="1608" y="500"/>
                </a:lnTo>
                <a:lnTo>
                  <a:pt x="1592" y="502"/>
                </a:lnTo>
                <a:lnTo>
                  <a:pt x="1578" y="496"/>
                </a:lnTo>
                <a:lnTo>
                  <a:pt x="1560" y="492"/>
                </a:lnTo>
                <a:lnTo>
                  <a:pt x="1549" y="490"/>
                </a:lnTo>
                <a:lnTo>
                  <a:pt x="1545" y="486"/>
                </a:lnTo>
                <a:lnTo>
                  <a:pt x="1548" y="473"/>
                </a:lnTo>
                <a:lnTo>
                  <a:pt x="1548" y="473"/>
                </a:lnTo>
                <a:close/>
                <a:moveTo>
                  <a:pt x="649" y="299"/>
                </a:moveTo>
                <a:lnTo>
                  <a:pt x="675" y="289"/>
                </a:lnTo>
                <a:lnTo>
                  <a:pt x="675" y="281"/>
                </a:lnTo>
                <a:lnTo>
                  <a:pt x="665" y="280"/>
                </a:lnTo>
                <a:lnTo>
                  <a:pt x="652" y="283"/>
                </a:lnTo>
                <a:lnTo>
                  <a:pt x="628" y="291"/>
                </a:lnTo>
                <a:lnTo>
                  <a:pt x="621" y="302"/>
                </a:lnTo>
                <a:lnTo>
                  <a:pt x="622" y="307"/>
                </a:lnTo>
                <a:lnTo>
                  <a:pt x="649" y="299"/>
                </a:lnTo>
                <a:close/>
                <a:moveTo>
                  <a:pt x="505" y="237"/>
                </a:moveTo>
                <a:lnTo>
                  <a:pt x="513" y="229"/>
                </a:lnTo>
                <a:lnTo>
                  <a:pt x="502" y="227"/>
                </a:lnTo>
                <a:lnTo>
                  <a:pt x="481" y="231"/>
                </a:lnTo>
                <a:lnTo>
                  <a:pt x="484" y="236"/>
                </a:lnTo>
                <a:lnTo>
                  <a:pt x="490" y="241"/>
                </a:lnTo>
                <a:lnTo>
                  <a:pt x="505" y="237"/>
                </a:lnTo>
                <a:lnTo>
                  <a:pt x="505" y="237"/>
                </a:lnTo>
                <a:close/>
                <a:moveTo>
                  <a:pt x="509" y="154"/>
                </a:moveTo>
                <a:lnTo>
                  <a:pt x="497" y="162"/>
                </a:lnTo>
                <a:lnTo>
                  <a:pt x="499" y="164"/>
                </a:lnTo>
                <a:lnTo>
                  <a:pt x="514" y="162"/>
                </a:lnTo>
                <a:lnTo>
                  <a:pt x="516" y="167"/>
                </a:lnTo>
                <a:lnTo>
                  <a:pt x="522" y="171"/>
                </a:lnTo>
                <a:lnTo>
                  <a:pt x="540" y="167"/>
                </a:lnTo>
                <a:lnTo>
                  <a:pt x="545" y="164"/>
                </a:lnTo>
                <a:lnTo>
                  <a:pt x="533" y="162"/>
                </a:lnTo>
                <a:lnTo>
                  <a:pt x="526" y="156"/>
                </a:lnTo>
                <a:lnTo>
                  <a:pt x="514" y="158"/>
                </a:lnTo>
                <a:lnTo>
                  <a:pt x="509" y="154"/>
                </a:lnTo>
                <a:lnTo>
                  <a:pt x="509" y="154"/>
                </a:lnTo>
                <a:close/>
                <a:moveTo>
                  <a:pt x="975" y="4"/>
                </a:moveTo>
                <a:lnTo>
                  <a:pt x="959" y="0"/>
                </a:lnTo>
                <a:lnTo>
                  <a:pt x="921" y="10"/>
                </a:lnTo>
                <a:lnTo>
                  <a:pt x="909" y="9"/>
                </a:lnTo>
                <a:lnTo>
                  <a:pt x="868" y="18"/>
                </a:lnTo>
                <a:lnTo>
                  <a:pt x="850" y="20"/>
                </a:lnTo>
                <a:lnTo>
                  <a:pt x="820" y="29"/>
                </a:lnTo>
                <a:lnTo>
                  <a:pt x="803" y="39"/>
                </a:lnTo>
                <a:lnTo>
                  <a:pt x="771" y="49"/>
                </a:lnTo>
                <a:lnTo>
                  <a:pt x="742" y="49"/>
                </a:lnTo>
                <a:lnTo>
                  <a:pt x="719" y="60"/>
                </a:lnTo>
                <a:lnTo>
                  <a:pt x="731" y="66"/>
                </a:lnTo>
                <a:lnTo>
                  <a:pt x="734" y="75"/>
                </a:lnTo>
                <a:lnTo>
                  <a:pt x="731" y="85"/>
                </a:lnTo>
                <a:lnTo>
                  <a:pt x="739" y="92"/>
                </a:lnTo>
                <a:lnTo>
                  <a:pt x="734" y="106"/>
                </a:lnTo>
                <a:lnTo>
                  <a:pt x="700" y="106"/>
                </a:lnTo>
                <a:lnTo>
                  <a:pt x="716" y="96"/>
                </a:lnTo>
                <a:lnTo>
                  <a:pt x="704" y="96"/>
                </a:lnTo>
                <a:lnTo>
                  <a:pt x="654" y="106"/>
                </a:lnTo>
                <a:lnTo>
                  <a:pt x="621" y="115"/>
                </a:lnTo>
                <a:lnTo>
                  <a:pt x="624" y="127"/>
                </a:lnTo>
                <a:lnTo>
                  <a:pt x="620" y="135"/>
                </a:lnTo>
                <a:lnTo>
                  <a:pt x="636" y="140"/>
                </a:lnTo>
                <a:lnTo>
                  <a:pt x="663" y="137"/>
                </a:lnTo>
                <a:lnTo>
                  <a:pt x="669" y="143"/>
                </a:lnTo>
                <a:lnTo>
                  <a:pt x="680" y="137"/>
                </a:lnTo>
                <a:lnTo>
                  <a:pt x="703" y="134"/>
                </a:lnTo>
                <a:lnTo>
                  <a:pt x="713" y="134"/>
                </a:lnTo>
                <a:lnTo>
                  <a:pt x="691" y="141"/>
                </a:lnTo>
                <a:lnTo>
                  <a:pt x="695" y="145"/>
                </a:lnTo>
                <a:lnTo>
                  <a:pt x="686" y="154"/>
                </a:lnTo>
                <a:lnTo>
                  <a:pt x="665" y="162"/>
                </a:lnTo>
                <a:lnTo>
                  <a:pt x="656" y="160"/>
                </a:lnTo>
                <a:lnTo>
                  <a:pt x="630" y="169"/>
                </a:lnTo>
                <a:lnTo>
                  <a:pt x="622" y="166"/>
                </a:lnTo>
                <a:lnTo>
                  <a:pt x="607" y="167"/>
                </a:lnTo>
                <a:lnTo>
                  <a:pt x="588" y="178"/>
                </a:lnTo>
                <a:lnTo>
                  <a:pt x="559" y="190"/>
                </a:lnTo>
                <a:lnTo>
                  <a:pt x="537" y="203"/>
                </a:lnTo>
                <a:lnTo>
                  <a:pt x="538" y="212"/>
                </a:lnTo>
                <a:lnTo>
                  <a:pt x="523" y="224"/>
                </a:lnTo>
                <a:lnTo>
                  <a:pt x="529" y="230"/>
                </a:lnTo>
                <a:lnTo>
                  <a:pt x="531" y="240"/>
                </a:lnTo>
                <a:lnTo>
                  <a:pt x="558" y="235"/>
                </a:lnTo>
                <a:lnTo>
                  <a:pt x="559" y="244"/>
                </a:lnTo>
                <a:lnTo>
                  <a:pt x="547" y="251"/>
                </a:lnTo>
                <a:lnTo>
                  <a:pt x="534" y="264"/>
                </a:lnTo>
                <a:lnTo>
                  <a:pt x="544" y="264"/>
                </a:lnTo>
                <a:lnTo>
                  <a:pt x="571" y="256"/>
                </a:lnTo>
                <a:lnTo>
                  <a:pt x="565" y="266"/>
                </a:lnTo>
                <a:lnTo>
                  <a:pt x="579" y="259"/>
                </a:lnTo>
                <a:lnTo>
                  <a:pt x="577" y="270"/>
                </a:lnTo>
                <a:lnTo>
                  <a:pt x="594" y="261"/>
                </a:lnTo>
                <a:lnTo>
                  <a:pt x="596" y="266"/>
                </a:lnTo>
                <a:lnTo>
                  <a:pt x="623" y="259"/>
                </a:lnTo>
                <a:lnTo>
                  <a:pt x="600" y="272"/>
                </a:lnTo>
                <a:lnTo>
                  <a:pt x="579" y="289"/>
                </a:lnTo>
                <a:lnTo>
                  <a:pt x="557" y="296"/>
                </a:lnTo>
                <a:lnTo>
                  <a:pt x="549" y="301"/>
                </a:lnTo>
                <a:lnTo>
                  <a:pt x="510" y="315"/>
                </a:lnTo>
                <a:lnTo>
                  <a:pt x="492" y="323"/>
                </a:lnTo>
                <a:lnTo>
                  <a:pt x="467" y="326"/>
                </a:lnTo>
                <a:lnTo>
                  <a:pt x="436" y="338"/>
                </a:lnTo>
                <a:lnTo>
                  <a:pt x="411" y="345"/>
                </a:lnTo>
                <a:lnTo>
                  <a:pt x="382" y="356"/>
                </a:lnTo>
                <a:lnTo>
                  <a:pt x="380" y="359"/>
                </a:lnTo>
                <a:lnTo>
                  <a:pt x="417" y="353"/>
                </a:lnTo>
                <a:lnTo>
                  <a:pt x="439" y="345"/>
                </a:lnTo>
                <a:lnTo>
                  <a:pt x="466" y="338"/>
                </a:lnTo>
                <a:lnTo>
                  <a:pt x="488" y="331"/>
                </a:lnTo>
                <a:lnTo>
                  <a:pt x="498" y="333"/>
                </a:lnTo>
                <a:lnTo>
                  <a:pt x="529" y="324"/>
                </a:lnTo>
                <a:lnTo>
                  <a:pt x="546" y="313"/>
                </a:lnTo>
                <a:lnTo>
                  <a:pt x="585" y="302"/>
                </a:lnTo>
                <a:lnTo>
                  <a:pt x="599" y="292"/>
                </a:lnTo>
                <a:lnTo>
                  <a:pt x="624" y="285"/>
                </a:lnTo>
                <a:lnTo>
                  <a:pt x="652" y="275"/>
                </a:lnTo>
                <a:lnTo>
                  <a:pt x="686" y="261"/>
                </a:lnTo>
                <a:lnTo>
                  <a:pt x="685" y="249"/>
                </a:lnTo>
                <a:lnTo>
                  <a:pt x="726" y="234"/>
                </a:lnTo>
                <a:lnTo>
                  <a:pt x="754" y="219"/>
                </a:lnTo>
                <a:lnTo>
                  <a:pt x="789" y="207"/>
                </a:lnTo>
                <a:lnTo>
                  <a:pt x="787" y="213"/>
                </a:lnTo>
                <a:lnTo>
                  <a:pt x="762" y="219"/>
                </a:lnTo>
                <a:lnTo>
                  <a:pt x="731" y="241"/>
                </a:lnTo>
                <a:lnTo>
                  <a:pt x="719" y="254"/>
                </a:lnTo>
                <a:lnTo>
                  <a:pt x="743" y="249"/>
                </a:lnTo>
                <a:lnTo>
                  <a:pt x="765" y="242"/>
                </a:lnTo>
                <a:lnTo>
                  <a:pt x="790" y="237"/>
                </a:lnTo>
                <a:lnTo>
                  <a:pt x="801" y="236"/>
                </a:lnTo>
                <a:lnTo>
                  <a:pt x="814" y="220"/>
                </a:lnTo>
                <a:lnTo>
                  <a:pt x="837" y="216"/>
                </a:lnTo>
                <a:lnTo>
                  <a:pt x="847" y="225"/>
                </a:lnTo>
                <a:lnTo>
                  <a:pt x="869" y="235"/>
                </a:lnTo>
                <a:lnTo>
                  <a:pt x="894" y="233"/>
                </a:lnTo>
                <a:lnTo>
                  <a:pt x="916" y="241"/>
                </a:lnTo>
                <a:lnTo>
                  <a:pt x="928" y="246"/>
                </a:lnTo>
                <a:lnTo>
                  <a:pt x="940" y="268"/>
                </a:lnTo>
                <a:lnTo>
                  <a:pt x="954" y="275"/>
                </a:lnTo>
                <a:lnTo>
                  <a:pt x="980" y="275"/>
                </a:lnTo>
                <a:lnTo>
                  <a:pt x="996" y="276"/>
                </a:lnTo>
                <a:lnTo>
                  <a:pt x="986" y="297"/>
                </a:lnTo>
                <a:lnTo>
                  <a:pt x="991" y="316"/>
                </a:lnTo>
                <a:lnTo>
                  <a:pt x="979" y="335"/>
                </a:lnTo>
                <a:lnTo>
                  <a:pt x="988" y="342"/>
                </a:lnTo>
                <a:lnTo>
                  <a:pt x="990" y="350"/>
                </a:lnTo>
                <a:lnTo>
                  <a:pt x="990" y="350"/>
                </a:lnTo>
                <a:lnTo>
                  <a:pt x="1010" y="339"/>
                </a:lnTo>
                <a:lnTo>
                  <a:pt x="1021" y="326"/>
                </a:lnTo>
                <a:lnTo>
                  <a:pt x="1004" y="311"/>
                </a:lnTo>
                <a:lnTo>
                  <a:pt x="1010" y="286"/>
                </a:lnTo>
                <a:lnTo>
                  <a:pt x="1014" y="270"/>
                </a:lnTo>
                <a:lnTo>
                  <a:pt x="1007" y="261"/>
                </a:lnTo>
                <a:lnTo>
                  <a:pt x="1005" y="251"/>
                </a:lnTo>
                <a:lnTo>
                  <a:pt x="1007" y="240"/>
                </a:lnTo>
                <a:lnTo>
                  <a:pt x="983" y="247"/>
                </a:lnTo>
                <a:lnTo>
                  <a:pt x="955" y="260"/>
                </a:lnTo>
                <a:lnTo>
                  <a:pt x="954" y="245"/>
                </a:lnTo>
                <a:lnTo>
                  <a:pt x="951" y="235"/>
                </a:lnTo>
                <a:lnTo>
                  <a:pt x="942" y="229"/>
                </a:lnTo>
                <a:lnTo>
                  <a:pt x="926" y="229"/>
                </a:lnTo>
                <a:lnTo>
                  <a:pt x="1058" y="107"/>
                </a:lnTo>
                <a:lnTo>
                  <a:pt x="1149" y="33"/>
                </a:lnTo>
                <a:lnTo>
                  <a:pt x="1149" y="33"/>
                </a:lnTo>
                <a:lnTo>
                  <a:pt x="1149" y="33"/>
                </a:lnTo>
                <a:lnTo>
                  <a:pt x="1136" y="30"/>
                </a:lnTo>
                <a:lnTo>
                  <a:pt x="1120" y="23"/>
                </a:lnTo>
                <a:lnTo>
                  <a:pt x="1096" y="27"/>
                </a:lnTo>
                <a:lnTo>
                  <a:pt x="1087" y="24"/>
                </a:lnTo>
                <a:lnTo>
                  <a:pt x="1061" y="22"/>
                </a:lnTo>
                <a:lnTo>
                  <a:pt x="1038" y="16"/>
                </a:lnTo>
                <a:lnTo>
                  <a:pt x="1020" y="18"/>
                </a:lnTo>
                <a:lnTo>
                  <a:pt x="1002" y="15"/>
                </a:lnTo>
                <a:lnTo>
                  <a:pt x="1009" y="10"/>
                </a:lnTo>
                <a:lnTo>
                  <a:pt x="986" y="9"/>
                </a:lnTo>
                <a:lnTo>
                  <a:pt x="973" y="13"/>
                </a:lnTo>
                <a:lnTo>
                  <a:pt x="975" y="4"/>
                </a:lnTo>
                <a:lnTo>
                  <a:pt x="975" y="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73" name="Uzbekistan">
            <a:extLst>
              <a:ext uri="{FF2B5EF4-FFF2-40B4-BE49-F238E27FC236}">
                <a16:creationId xmlns:a16="http://schemas.microsoft.com/office/drawing/2014/main" id="{CD0B403E-2BDA-4C92-8EC6-A128C89A0636}"/>
              </a:ext>
            </a:extLst>
          </p:cNvPr>
          <p:cNvSpPr>
            <a:spLocks/>
          </p:cNvSpPr>
          <p:nvPr/>
        </p:nvSpPr>
        <p:spPr bwMode="auto">
          <a:xfrm>
            <a:off x="6991263" y="2501276"/>
            <a:ext cx="602230" cy="335140"/>
          </a:xfrm>
          <a:custGeom>
            <a:avLst/>
            <a:gdLst>
              <a:gd name="T0" fmla="*/ 303 w 354"/>
              <a:gd name="T1" fmla="*/ 76 h 197"/>
              <a:gd name="T2" fmla="*/ 294 w 354"/>
              <a:gd name="T3" fmla="*/ 80 h 197"/>
              <a:gd name="T4" fmla="*/ 274 w 354"/>
              <a:gd name="T5" fmla="*/ 96 h 197"/>
              <a:gd name="T6" fmla="*/ 270 w 354"/>
              <a:gd name="T7" fmla="*/ 113 h 197"/>
              <a:gd name="T8" fmla="*/ 263 w 354"/>
              <a:gd name="T9" fmla="*/ 113 h 197"/>
              <a:gd name="T10" fmla="*/ 255 w 354"/>
              <a:gd name="T11" fmla="*/ 102 h 197"/>
              <a:gd name="T12" fmla="*/ 230 w 354"/>
              <a:gd name="T13" fmla="*/ 102 h 197"/>
              <a:gd name="T14" fmla="*/ 220 w 354"/>
              <a:gd name="T15" fmla="*/ 83 h 197"/>
              <a:gd name="T16" fmla="*/ 211 w 354"/>
              <a:gd name="T17" fmla="*/ 82 h 197"/>
              <a:gd name="T18" fmla="*/ 205 w 354"/>
              <a:gd name="T19" fmla="*/ 59 h 197"/>
              <a:gd name="T20" fmla="*/ 177 w 354"/>
              <a:gd name="T21" fmla="*/ 42 h 197"/>
              <a:gd name="T22" fmla="*/ 145 w 354"/>
              <a:gd name="T23" fmla="*/ 44 h 197"/>
              <a:gd name="T24" fmla="*/ 124 w 354"/>
              <a:gd name="T25" fmla="*/ 48 h 197"/>
              <a:gd name="T26" fmla="*/ 100 w 354"/>
              <a:gd name="T27" fmla="*/ 27 h 197"/>
              <a:gd name="T28" fmla="*/ 82 w 354"/>
              <a:gd name="T29" fmla="*/ 19 h 197"/>
              <a:gd name="T30" fmla="*/ 48 w 354"/>
              <a:gd name="T31" fmla="*/ 2 h 197"/>
              <a:gd name="T32" fmla="*/ 44 w 354"/>
              <a:gd name="T33" fmla="*/ 0 h 197"/>
              <a:gd name="T34" fmla="*/ 0 w 354"/>
              <a:gd name="T35" fmla="*/ 13 h 197"/>
              <a:gd name="T36" fmla="*/ 22 w 354"/>
              <a:gd name="T37" fmla="*/ 98 h 197"/>
              <a:gd name="T38" fmla="*/ 44 w 354"/>
              <a:gd name="T39" fmla="*/ 98 h 197"/>
              <a:gd name="T40" fmla="*/ 38 w 354"/>
              <a:gd name="T41" fmla="*/ 87 h 197"/>
              <a:gd name="T42" fmla="*/ 52 w 354"/>
              <a:gd name="T43" fmla="*/ 79 h 197"/>
              <a:gd name="T44" fmla="*/ 65 w 354"/>
              <a:gd name="T45" fmla="*/ 65 h 197"/>
              <a:gd name="T46" fmla="*/ 94 w 354"/>
              <a:gd name="T47" fmla="*/ 78 h 197"/>
              <a:gd name="T48" fmla="*/ 101 w 354"/>
              <a:gd name="T49" fmla="*/ 95 h 197"/>
              <a:gd name="T50" fmla="*/ 110 w 354"/>
              <a:gd name="T51" fmla="*/ 100 h 197"/>
              <a:gd name="T52" fmla="*/ 130 w 354"/>
              <a:gd name="T53" fmla="*/ 99 h 197"/>
              <a:gd name="T54" fmla="*/ 138 w 354"/>
              <a:gd name="T55" fmla="*/ 104 h 197"/>
              <a:gd name="T56" fmla="*/ 154 w 354"/>
              <a:gd name="T57" fmla="*/ 128 h 197"/>
              <a:gd name="T58" fmla="*/ 180 w 354"/>
              <a:gd name="T59" fmla="*/ 144 h 197"/>
              <a:gd name="T60" fmla="*/ 196 w 354"/>
              <a:gd name="T61" fmla="*/ 155 h 197"/>
              <a:gd name="T62" fmla="*/ 218 w 354"/>
              <a:gd name="T63" fmla="*/ 167 h 197"/>
              <a:gd name="T64" fmla="*/ 247 w 354"/>
              <a:gd name="T65" fmla="*/ 177 h 197"/>
              <a:gd name="T66" fmla="*/ 250 w 354"/>
              <a:gd name="T67" fmla="*/ 192 h 197"/>
              <a:gd name="T68" fmla="*/ 261 w 354"/>
              <a:gd name="T69" fmla="*/ 192 h 197"/>
              <a:gd name="T70" fmla="*/ 277 w 354"/>
              <a:gd name="T71" fmla="*/ 197 h 197"/>
              <a:gd name="T72" fmla="*/ 282 w 354"/>
              <a:gd name="T73" fmla="*/ 173 h 197"/>
              <a:gd name="T74" fmla="*/ 273 w 354"/>
              <a:gd name="T75" fmla="*/ 155 h 197"/>
              <a:gd name="T76" fmla="*/ 257 w 354"/>
              <a:gd name="T77" fmla="*/ 149 h 197"/>
              <a:gd name="T78" fmla="*/ 259 w 354"/>
              <a:gd name="T79" fmla="*/ 139 h 197"/>
              <a:gd name="T80" fmla="*/ 276 w 354"/>
              <a:gd name="T81" fmla="*/ 140 h 197"/>
              <a:gd name="T82" fmla="*/ 282 w 354"/>
              <a:gd name="T83" fmla="*/ 127 h 197"/>
              <a:gd name="T84" fmla="*/ 284 w 354"/>
              <a:gd name="T85" fmla="*/ 112 h 197"/>
              <a:gd name="T86" fmla="*/ 308 w 354"/>
              <a:gd name="T87" fmla="*/ 107 h 197"/>
              <a:gd name="T88" fmla="*/ 307 w 354"/>
              <a:gd name="T89" fmla="*/ 117 h 197"/>
              <a:gd name="T90" fmla="*/ 312 w 354"/>
              <a:gd name="T91" fmla="*/ 124 h 197"/>
              <a:gd name="T92" fmla="*/ 319 w 354"/>
              <a:gd name="T93" fmla="*/ 123 h 197"/>
              <a:gd name="T94" fmla="*/ 335 w 354"/>
              <a:gd name="T95" fmla="*/ 125 h 197"/>
              <a:gd name="T96" fmla="*/ 354 w 354"/>
              <a:gd name="T97" fmla="*/ 108 h 197"/>
              <a:gd name="T98" fmla="*/ 327 w 354"/>
              <a:gd name="T99" fmla="*/ 96 h 197"/>
              <a:gd name="T100" fmla="*/ 315 w 354"/>
              <a:gd name="T101" fmla="*/ 102 h 197"/>
              <a:gd name="T102" fmla="*/ 298 w 354"/>
              <a:gd name="T103" fmla="*/ 93 h 197"/>
              <a:gd name="T104" fmla="*/ 310 w 354"/>
              <a:gd name="T105" fmla="*/ 79 h 197"/>
              <a:gd name="T106" fmla="*/ 303 w 354"/>
              <a:gd name="T107" fmla="*/ 76 h 197"/>
              <a:gd name="T108" fmla="*/ 303 w 354"/>
              <a:gd name="T109" fmla="*/ 76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4" h="197">
                <a:moveTo>
                  <a:pt x="303" y="76"/>
                </a:moveTo>
                <a:lnTo>
                  <a:pt x="294" y="80"/>
                </a:lnTo>
                <a:lnTo>
                  <a:pt x="274" y="96"/>
                </a:lnTo>
                <a:lnTo>
                  <a:pt x="270" y="113"/>
                </a:lnTo>
                <a:lnTo>
                  <a:pt x="263" y="113"/>
                </a:lnTo>
                <a:lnTo>
                  <a:pt x="255" y="102"/>
                </a:lnTo>
                <a:lnTo>
                  <a:pt x="230" y="102"/>
                </a:lnTo>
                <a:lnTo>
                  <a:pt x="220" y="83"/>
                </a:lnTo>
                <a:lnTo>
                  <a:pt x="211" y="82"/>
                </a:lnTo>
                <a:lnTo>
                  <a:pt x="205" y="59"/>
                </a:lnTo>
                <a:lnTo>
                  <a:pt x="177" y="42"/>
                </a:lnTo>
                <a:lnTo>
                  <a:pt x="145" y="44"/>
                </a:lnTo>
                <a:lnTo>
                  <a:pt x="124" y="48"/>
                </a:lnTo>
                <a:lnTo>
                  <a:pt x="100" y="27"/>
                </a:lnTo>
                <a:lnTo>
                  <a:pt x="82" y="19"/>
                </a:lnTo>
                <a:lnTo>
                  <a:pt x="48" y="2"/>
                </a:lnTo>
                <a:lnTo>
                  <a:pt x="44" y="0"/>
                </a:lnTo>
                <a:lnTo>
                  <a:pt x="0" y="13"/>
                </a:lnTo>
                <a:lnTo>
                  <a:pt x="22" y="98"/>
                </a:lnTo>
                <a:lnTo>
                  <a:pt x="44" y="98"/>
                </a:lnTo>
                <a:lnTo>
                  <a:pt x="38" y="87"/>
                </a:lnTo>
                <a:lnTo>
                  <a:pt x="52" y="79"/>
                </a:lnTo>
                <a:lnTo>
                  <a:pt x="65" y="65"/>
                </a:lnTo>
                <a:lnTo>
                  <a:pt x="94" y="78"/>
                </a:lnTo>
                <a:lnTo>
                  <a:pt x="101" y="95"/>
                </a:lnTo>
                <a:lnTo>
                  <a:pt x="110" y="100"/>
                </a:lnTo>
                <a:lnTo>
                  <a:pt x="130" y="99"/>
                </a:lnTo>
                <a:lnTo>
                  <a:pt x="138" y="104"/>
                </a:lnTo>
                <a:lnTo>
                  <a:pt x="154" y="128"/>
                </a:lnTo>
                <a:lnTo>
                  <a:pt x="180" y="144"/>
                </a:lnTo>
                <a:lnTo>
                  <a:pt x="196" y="155"/>
                </a:lnTo>
                <a:lnTo>
                  <a:pt x="218" y="167"/>
                </a:lnTo>
                <a:lnTo>
                  <a:pt x="247" y="177"/>
                </a:lnTo>
                <a:lnTo>
                  <a:pt x="250" y="192"/>
                </a:lnTo>
                <a:lnTo>
                  <a:pt x="261" y="192"/>
                </a:lnTo>
                <a:lnTo>
                  <a:pt x="277" y="197"/>
                </a:lnTo>
                <a:lnTo>
                  <a:pt x="282" y="173"/>
                </a:lnTo>
                <a:lnTo>
                  <a:pt x="273" y="155"/>
                </a:lnTo>
                <a:lnTo>
                  <a:pt x="257" y="149"/>
                </a:lnTo>
                <a:lnTo>
                  <a:pt x="259" y="139"/>
                </a:lnTo>
                <a:lnTo>
                  <a:pt x="276" y="140"/>
                </a:lnTo>
                <a:lnTo>
                  <a:pt x="282" y="127"/>
                </a:lnTo>
                <a:lnTo>
                  <a:pt x="284" y="112"/>
                </a:lnTo>
                <a:lnTo>
                  <a:pt x="308" y="107"/>
                </a:lnTo>
                <a:lnTo>
                  <a:pt x="307" y="117"/>
                </a:lnTo>
                <a:lnTo>
                  <a:pt x="312" y="124"/>
                </a:lnTo>
                <a:lnTo>
                  <a:pt x="319" y="123"/>
                </a:lnTo>
                <a:lnTo>
                  <a:pt x="335" y="125"/>
                </a:lnTo>
                <a:lnTo>
                  <a:pt x="354" y="108"/>
                </a:lnTo>
                <a:lnTo>
                  <a:pt x="327" y="96"/>
                </a:lnTo>
                <a:lnTo>
                  <a:pt x="315" y="102"/>
                </a:lnTo>
                <a:lnTo>
                  <a:pt x="298" y="93"/>
                </a:lnTo>
                <a:lnTo>
                  <a:pt x="310" y="79"/>
                </a:lnTo>
                <a:lnTo>
                  <a:pt x="303" y="76"/>
                </a:lnTo>
                <a:lnTo>
                  <a:pt x="303" y="7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74" name="Venezuela">
            <a:extLst>
              <a:ext uri="{FF2B5EF4-FFF2-40B4-BE49-F238E27FC236}">
                <a16:creationId xmlns:a16="http://schemas.microsoft.com/office/drawing/2014/main" id="{A0D4AE0F-E26C-4839-A12B-889F40F44C4B}"/>
              </a:ext>
            </a:extLst>
          </p:cNvPr>
          <p:cNvSpPr>
            <a:spLocks/>
          </p:cNvSpPr>
          <p:nvPr/>
        </p:nvSpPr>
        <p:spPr bwMode="auto">
          <a:xfrm>
            <a:off x="2591922" y="3848638"/>
            <a:ext cx="481443" cy="462730"/>
          </a:xfrm>
          <a:custGeom>
            <a:avLst/>
            <a:gdLst>
              <a:gd name="T0" fmla="*/ 275 w 283"/>
              <a:gd name="T1" fmla="*/ 85 h 272"/>
              <a:gd name="T2" fmla="*/ 262 w 283"/>
              <a:gd name="T3" fmla="*/ 66 h 272"/>
              <a:gd name="T4" fmla="*/ 230 w 283"/>
              <a:gd name="T5" fmla="*/ 53 h 272"/>
              <a:gd name="T6" fmla="*/ 241 w 283"/>
              <a:gd name="T7" fmla="*/ 34 h 272"/>
              <a:gd name="T8" fmla="*/ 190 w 283"/>
              <a:gd name="T9" fmla="*/ 36 h 272"/>
              <a:gd name="T10" fmla="*/ 178 w 283"/>
              <a:gd name="T11" fmla="*/ 49 h 272"/>
              <a:gd name="T12" fmla="*/ 151 w 283"/>
              <a:gd name="T13" fmla="*/ 36 h 272"/>
              <a:gd name="T14" fmla="*/ 110 w 283"/>
              <a:gd name="T15" fmla="*/ 38 h 272"/>
              <a:gd name="T16" fmla="*/ 96 w 283"/>
              <a:gd name="T17" fmla="*/ 18 h 272"/>
              <a:gd name="T18" fmla="*/ 75 w 283"/>
              <a:gd name="T19" fmla="*/ 0 h 272"/>
              <a:gd name="T20" fmla="*/ 69 w 283"/>
              <a:gd name="T21" fmla="*/ 19 h 272"/>
              <a:gd name="T22" fmla="*/ 42 w 283"/>
              <a:gd name="T23" fmla="*/ 47 h 272"/>
              <a:gd name="T24" fmla="*/ 43 w 283"/>
              <a:gd name="T25" fmla="*/ 72 h 272"/>
              <a:gd name="T26" fmla="*/ 27 w 283"/>
              <a:gd name="T27" fmla="*/ 55 h 272"/>
              <a:gd name="T28" fmla="*/ 39 w 283"/>
              <a:gd name="T29" fmla="*/ 29 h 272"/>
              <a:gd name="T30" fmla="*/ 44 w 283"/>
              <a:gd name="T31" fmla="*/ 15 h 272"/>
              <a:gd name="T32" fmla="*/ 31 w 283"/>
              <a:gd name="T33" fmla="*/ 13 h 272"/>
              <a:gd name="T34" fmla="*/ 17 w 283"/>
              <a:gd name="T35" fmla="*/ 32 h 272"/>
              <a:gd name="T36" fmla="*/ 7 w 283"/>
              <a:gd name="T37" fmla="*/ 58 h 272"/>
              <a:gd name="T38" fmla="*/ 12 w 283"/>
              <a:gd name="T39" fmla="*/ 74 h 272"/>
              <a:gd name="T40" fmla="*/ 18 w 283"/>
              <a:gd name="T41" fmla="*/ 89 h 272"/>
              <a:gd name="T42" fmla="*/ 16 w 283"/>
              <a:gd name="T43" fmla="*/ 107 h 272"/>
              <a:gd name="T44" fmla="*/ 22 w 283"/>
              <a:gd name="T45" fmla="*/ 115 h 272"/>
              <a:gd name="T46" fmla="*/ 54 w 283"/>
              <a:gd name="T47" fmla="*/ 120 h 272"/>
              <a:gd name="T48" fmla="*/ 80 w 283"/>
              <a:gd name="T49" fmla="*/ 145 h 272"/>
              <a:gd name="T50" fmla="*/ 103 w 283"/>
              <a:gd name="T51" fmla="*/ 143 h 272"/>
              <a:gd name="T52" fmla="*/ 123 w 283"/>
              <a:gd name="T53" fmla="*/ 145 h 272"/>
              <a:gd name="T54" fmla="*/ 113 w 283"/>
              <a:gd name="T55" fmla="*/ 165 h 272"/>
              <a:gd name="T56" fmla="*/ 115 w 283"/>
              <a:gd name="T57" fmla="*/ 198 h 272"/>
              <a:gd name="T58" fmla="*/ 122 w 283"/>
              <a:gd name="T59" fmla="*/ 210 h 272"/>
              <a:gd name="T60" fmla="*/ 118 w 283"/>
              <a:gd name="T61" fmla="*/ 227 h 272"/>
              <a:gd name="T62" fmla="*/ 130 w 283"/>
              <a:gd name="T63" fmla="*/ 259 h 272"/>
              <a:gd name="T64" fmla="*/ 157 w 283"/>
              <a:gd name="T65" fmla="*/ 270 h 272"/>
              <a:gd name="T66" fmla="*/ 177 w 283"/>
              <a:gd name="T67" fmla="*/ 258 h 272"/>
              <a:gd name="T68" fmla="*/ 188 w 283"/>
              <a:gd name="T69" fmla="*/ 244 h 272"/>
              <a:gd name="T70" fmla="*/ 203 w 283"/>
              <a:gd name="T71" fmla="*/ 231 h 272"/>
              <a:gd name="T72" fmla="*/ 182 w 283"/>
              <a:gd name="T73" fmla="*/ 215 h 272"/>
              <a:gd name="T74" fmla="*/ 174 w 283"/>
              <a:gd name="T75" fmla="*/ 193 h 272"/>
              <a:gd name="T76" fmla="*/ 194 w 283"/>
              <a:gd name="T77" fmla="*/ 193 h 272"/>
              <a:gd name="T78" fmla="*/ 216 w 283"/>
              <a:gd name="T79" fmla="*/ 194 h 272"/>
              <a:gd name="T80" fmla="*/ 255 w 283"/>
              <a:gd name="T81" fmla="*/ 181 h 272"/>
              <a:gd name="T82" fmla="*/ 261 w 283"/>
              <a:gd name="T83" fmla="*/ 165 h 272"/>
              <a:gd name="T84" fmla="*/ 252 w 283"/>
              <a:gd name="T85" fmla="*/ 141 h 272"/>
              <a:gd name="T86" fmla="*/ 266 w 283"/>
              <a:gd name="T87" fmla="*/ 126 h 272"/>
              <a:gd name="T88" fmla="*/ 264 w 283"/>
              <a:gd name="T89" fmla="*/ 113 h 272"/>
              <a:gd name="T90" fmla="*/ 283 w 283"/>
              <a:gd name="T91" fmla="*/ 9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3" h="272">
                <a:moveTo>
                  <a:pt x="283" y="90"/>
                </a:moveTo>
                <a:lnTo>
                  <a:pt x="275" y="85"/>
                </a:lnTo>
                <a:lnTo>
                  <a:pt x="265" y="85"/>
                </a:lnTo>
                <a:lnTo>
                  <a:pt x="262" y="66"/>
                </a:lnTo>
                <a:lnTo>
                  <a:pt x="246" y="54"/>
                </a:lnTo>
                <a:lnTo>
                  <a:pt x="230" y="53"/>
                </a:lnTo>
                <a:lnTo>
                  <a:pt x="224" y="42"/>
                </a:lnTo>
                <a:lnTo>
                  <a:pt x="241" y="34"/>
                </a:lnTo>
                <a:lnTo>
                  <a:pt x="216" y="34"/>
                </a:lnTo>
                <a:lnTo>
                  <a:pt x="190" y="36"/>
                </a:lnTo>
                <a:lnTo>
                  <a:pt x="190" y="42"/>
                </a:lnTo>
                <a:lnTo>
                  <a:pt x="178" y="49"/>
                </a:lnTo>
                <a:lnTo>
                  <a:pt x="162" y="47"/>
                </a:lnTo>
                <a:lnTo>
                  <a:pt x="151" y="36"/>
                </a:lnTo>
                <a:lnTo>
                  <a:pt x="128" y="38"/>
                </a:lnTo>
                <a:lnTo>
                  <a:pt x="110" y="38"/>
                </a:lnTo>
                <a:lnTo>
                  <a:pt x="109" y="31"/>
                </a:lnTo>
                <a:lnTo>
                  <a:pt x="96" y="18"/>
                </a:lnTo>
                <a:lnTo>
                  <a:pt x="82" y="17"/>
                </a:lnTo>
                <a:lnTo>
                  <a:pt x="75" y="0"/>
                </a:lnTo>
                <a:lnTo>
                  <a:pt x="67" y="7"/>
                </a:lnTo>
                <a:lnTo>
                  <a:pt x="69" y="19"/>
                </a:lnTo>
                <a:lnTo>
                  <a:pt x="42" y="29"/>
                </a:lnTo>
                <a:lnTo>
                  <a:pt x="42" y="47"/>
                </a:lnTo>
                <a:lnTo>
                  <a:pt x="49" y="55"/>
                </a:lnTo>
                <a:lnTo>
                  <a:pt x="43" y="72"/>
                </a:lnTo>
                <a:lnTo>
                  <a:pt x="34" y="74"/>
                </a:lnTo>
                <a:lnTo>
                  <a:pt x="27" y="55"/>
                </a:lnTo>
                <a:lnTo>
                  <a:pt x="37" y="41"/>
                </a:lnTo>
                <a:lnTo>
                  <a:pt x="39" y="29"/>
                </a:lnTo>
                <a:lnTo>
                  <a:pt x="32" y="18"/>
                </a:lnTo>
                <a:lnTo>
                  <a:pt x="44" y="15"/>
                </a:lnTo>
                <a:lnTo>
                  <a:pt x="45" y="9"/>
                </a:lnTo>
                <a:lnTo>
                  <a:pt x="31" y="13"/>
                </a:lnTo>
                <a:lnTo>
                  <a:pt x="26" y="25"/>
                </a:lnTo>
                <a:lnTo>
                  <a:pt x="17" y="32"/>
                </a:lnTo>
                <a:lnTo>
                  <a:pt x="11" y="41"/>
                </a:lnTo>
                <a:lnTo>
                  <a:pt x="7" y="58"/>
                </a:lnTo>
                <a:lnTo>
                  <a:pt x="0" y="72"/>
                </a:lnTo>
                <a:lnTo>
                  <a:pt x="12" y="74"/>
                </a:lnTo>
                <a:lnTo>
                  <a:pt x="13" y="84"/>
                </a:lnTo>
                <a:lnTo>
                  <a:pt x="18" y="89"/>
                </a:lnTo>
                <a:lnTo>
                  <a:pt x="19" y="99"/>
                </a:lnTo>
                <a:lnTo>
                  <a:pt x="16" y="107"/>
                </a:lnTo>
                <a:lnTo>
                  <a:pt x="17" y="113"/>
                </a:lnTo>
                <a:lnTo>
                  <a:pt x="22" y="115"/>
                </a:lnTo>
                <a:lnTo>
                  <a:pt x="27" y="123"/>
                </a:lnTo>
                <a:lnTo>
                  <a:pt x="54" y="120"/>
                </a:lnTo>
                <a:lnTo>
                  <a:pt x="66" y="124"/>
                </a:lnTo>
                <a:lnTo>
                  <a:pt x="80" y="145"/>
                </a:lnTo>
                <a:lnTo>
                  <a:pt x="88" y="142"/>
                </a:lnTo>
                <a:lnTo>
                  <a:pt x="103" y="143"/>
                </a:lnTo>
                <a:lnTo>
                  <a:pt x="115" y="140"/>
                </a:lnTo>
                <a:lnTo>
                  <a:pt x="123" y="145"/>
                </a:lnTo>
                <a:lnTo>
                  <a:pt x="118" y="157"/>
                </a:lnTo>
                <a:lnTo>
                  <a:pt x="113" y="165"/>
                </a:lnTo>
                <a:lnTo>
                  <a:pt x="111" y="182"/>
                </a:lnTo>
                <a:lnTo>
                  <a:pt x="115" y="198"/>
                </a:lnTo>
                <a:lnTo>
                  <a:pt x="121" y="204"/>
                </a:lnTo>
                <a:lnTo>
                  <a:pt x="122" y="210"/>
                </a:lnTo>
                <a:lnTo>
                  <a:pt x="111" y="222"/>
                </a:lnTo>
                <a:lnTo>
                  <a:pt x="118" y="227"/>
                </a:lnTo>
                <a:lnTo>
                  <a:pt x="124" y="235"/>
                </a:lnTo>
                <a:lnTo>
                  <a:pt x="130" y="259"/>
                </a:lnTo>
                <a:lnTo>
                  <a:pt x="141" y="272"/>
                </a:lnTo>
                <a:lnTo>
                  <a:pt x="157" y="270"/>
                </a:lnTo>
                <a:lnTo>
                  <a:pt x="162" y="263"/>
                </a:lnTo>
                <a:lnTo>
                  <a:pt x="177" y="258"/>
                </a:lnTo>
                <a:lnTo>
                  <a:pt x="186" y="254"/>
                </a:lnTo>
                <a:lnTo>
                  <a:pt x="188" y="244"/>
                </a:lnTo>
                <a:lnTo>
                  <a:pt x="204" y="237"/>
                </a:lnTo>
                <a:lnTo>
                  <a:pt x="203" y="231"/>
                </a:lnTo>
                <a:lnTo>
                  <a:pt x="184" y="230"/>
                </a:lnTo>
                <a:lnTo>
                  <a:pt x="182" y="215"/>
                </a:lnTo>
                <a:lnTo>
                  <a:pt x="183" y="199"/>
                </a:lnTo>
                <a:lnTo>
                  <a:pt x="174" y="193"/>
                </a:lnTo>
                <a:lnTo>
                  <a:pt x="178" y="190"/>
                </a:lnTo>
                <a:lnTo>
                  <a:pt x="194" y="193"/>
                </a:lnTo>
                <a:lnTo>
                  <a:pt x="210" y="200"/>
                </a:lnTo>
                <a:lnTo>
                  <a:pt x="216" y="194"/>
                </a:lnTo>
                <a:lnTo>
                  <a:pt x="231" y="190"/>
                </a:lnTo>
                <a:lnTo>
                  <a:pt x="255" y="181"/>
                </a:lnTo>
                <a:lnTo>
                  <a:pt x="263" y="173"/>
                </a:lnTo>
                <a:lnTo>
                  <a:pt x="261" y="165"/>
                </a:lnTo>
                <a:lnTo>
                  <a:pt x="247" y="147"/>
                </a:lnTo>
                <a:lnTo>
                  <a:pt x="252" y="141"/>
                </a:lnTo>
                <a:lnTo>
                  <a:pt x="252" y="130"/>
                </a:lnTo>
                <a:lnTo>
                  <a:pt x="266" y="126"/>
                </a:lnTo>
                <a:lnTo>
                  <a:pt x="271" y="121"/>
                </a:lnTo>
                <a:lnTo>
                  <a:pt x="264" y="113"/>
                </a:lnTo>
                <a:lnTo>
                  <a:pt x="266" y="104"/>
                </a:lnTo>
                <a:lnTo>
                  <a:pt x="283" y="90"/>
                </a:lnTo>
                <a:lnTo>
                  <a:pt x="283" y="9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75" name="Vietnam">
            <a:extLst>
              <a:ext uri="{FF2B5EF4-FFF2-40B4-BE49-F238E27FC236}">
                <a16:creationId xmlns:a16="http://schemas.microsoft.com/office/drawing/2014/main" id="{18B26C50-D9A2-4C74-B78E-1D3572F79FB4}"/>
              </a:ext>
            </a:extLst>
          </p:cNvPr>
          <p:cNvSpPr>
            <a:spLocks/>
          </p:cNvSpPr>
          <p:nvPr/>
        </p:nvSpPr>
        <p:spPr bwMode="auto">
          <a:xfrm>
            <a:off x="8767331" y="3396115"/>
            <a:ext cx="309621" cy="597126"/>
          </a:xfrm>
          <a:custGeom>
            <a:avLst/>
            <a:gdLst>
              <a:gd name="T0" fmla="*/ 125 w 182"/>
              <a:gd name="T1" fmla="*/ 43 h 351"/>
              <a:gd name="T2" fmla="*/ 103 w 182"/>
              <a:gd name="T3" fmla="*/ 37 h 351"/>
              <a:gd name="T4" fmla="*/ 92 w 182"/>
              <a:gd name="T5" fmla="*/ 27 h 351"/>
              <a:gd name="T6" fmla="*/ 93 w 182"/>
              <a:gd name="T7" fmla="*/ 13 h 351"/>
              <a:gd name="T8" fmla="*/ 73 w 182"/>
              <a:gd name="T9" fmla="*/ 9 h 351"/>
              <a:gd name="T10" fmla="*/ 62 w 182"/>
              <a:gd name="T11" fmla="*/ 0 h 351"/>
              <a:gd name="T12" fmla="*/ 46 w 182"/>
              <a:gd name="T13" fmla="*/ 13 h 351"/>
              <a:gd name="T14" fmla="*/ 27 w 182"/>
              <a:gd name="T15" fmla="*/ 16 h 351"/>
              <a:gd name="T16" fmla="*/ 11 w 182"/>
              <a:gd name="T17" fmla="*/ 16 h 351"/>
              <a:gd name="T18" fmla="*/ 0 w 182"/>
              <a:gd name="T19" fmla="*/ 21 h 351"/>
              <a:gd name="T20" fmla="*/ 15 w 182"/>
              <a:gd name="T21" fmla="*/ 40 h 351"/>
              <a:gd name="T22" fmla="*/ 28 w 182"/>
              <a:gd name="T23" fmla="*/ 61 h 351"/>
              <a:gd name="T24" fmla="*/ 54 w 182"/>
              <a:gd name="T25" fmla="*/ 61 h 351"/>
              <a:gd name="T26" fmla="*/ 65 w 182"/>
              <a:gd name="T27" fmla="*/ 82 h 351"/>
              <a:gd name="T28" fmla="*/ 53 w 182"/>
              <a:gd name="T29" fmla="*/ 88 h 351"/>
              <a:gd name="T30" fmla="*/ 48 w 182"/>
              <a:gd name="T31" fmla="*/ 97 h 351"/>
              <a:gd name="T32" fmla="*/ 75 w 182"/>
              <a:gd name="T33" fmla="*/ 112 h 351"/>
              <a:gd name="T34" fmla="*/ 97 w 182"/>
              <a:gd name="T35" fmla="*/ 140 h 351"/>
              <a:gd name="T36" fmla="*/ 112 w 182"/>
              <a:gd name="T37" fmla="*/ 160 h 351"/>
              <a:gd name="T38" fmla="*/ 130 w 182"/>
              <a:gd name="T39" fmla="*/ 177 h 351"/>
              <a:gd name="T40" fmla="*/ 138 w 182"/>
              <a:gd name="T41" fmla="*/ 194 h 351"/>
              <a:gd name="T42" fmla="*/ 137 w 182"/>
              <a:gd name="T43" fmla="*/ 217 h 351"/>
              <a:gd name="T44" fmla="*/ 143 w 182"/>
              <a:gd name="T45" fmla="*/ 233 h 351"/>
              <a:gd name="T46" fmla="*/ 144 w 182"/>
              <a:gd name="T47" fmla="*/ 262 h 351"/>
              <a:gd name="T48" fmla="*/ 111 w 182"/>
              <a:gd name="T49" fmla="*/ 280 h 351"/>
              <a:gd name="T50" fmla="*/ 121 w 182"/>
              <a:gd name="T51" fmla="*/ 295 h 351"/>
              <a:gd name="T52" fmla="*/ 99 w 182"/>
              <a:gd name="T53" fmla="*/ 297 h 351"/>
              <a:gd name="T54" fmla="*/ 82 w 182"/>
              <a:gd name="T55" fmla="*/ 306 h 351"/>
              <a:gd name="T56" fmla="*/ 98 w 182"/>
              <a:gd name="T57" fmla="*/ 319 h 351"/>
              <a:gd name="T58" fmla="*/ 94 w 182"/>
              <a:gd name="T59" fmla="*/ 336 h 351"/>
              <a:gd name="T60" fmla="*/ 102 w 182"/>
              <a:gd name="T61" fmla="*/ 351 h 351"/>
              <a:gd name="T62" fmla="*/ 127 w 182"/>
              <a:gd name="T63" fmla="*/ 328 h 351"/>
              <a:gd name="T64" fmla="*/ 142 w 182"/>
              <a:gd name="T65" fmla="*/ 309 h 351"/>
              <a:gd name="T66" fmla="*/ 166 w 182"/>
              <a:gd name="T67" fmla="*/ 293 h 351"/>
              <a:gd name="T68" fmla="*/ 182 w 182"/>
              <a:gd name="T69" fmla="*/ 278 h 351"/>
              <a:gd name="T70" fmla="*/ 180 w 182"/>
              <a:gd name="T71" fmla="*/ 236 h 351"/>
              <a:gd name="T72" fmla="*/ 165 w 182"/>
              <a:gd name="T73" fmla="*/ 192 h 351"/>
              <a:gd name="T74" fmla="*/ 150 w 182"/>
              <a:gd name="T75" fmla="*/ 173 h 351"/>
              <a:gd name="T76" fmla="*/ 128 w 182"/>
              <a:gd name="T77" fmla="*/ 158 h 351"/>
              <a:gd name="T78" fmla="*/ 105 w 182"/>
              <a:gd name="T79" fmla="*/ 127 h 351"/>
              <a:gd name="T80" fmla="*/ 85 w 182"/>
              <a:gd name="T81" fmla="*/ 102 h 351"/>
              <a:gd name="T82" fmla="*/ 87 w 182"/>
              <a:gd name="T83" fmla="*/ 86 h 351"/>
              <a:gd name="T84" fmla="*/ 100 w 182"/>
              <a:gd name="T85" fmla="*/ 63 h 351"/>
              <a:gd name="T86" fmla="*/ 125 w 182"/>
              <a:gd name="T87" fmla="*/ 43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2" h="351">
                <a:moveTo>
                  <a:pt x="125" y="43"/>
                </a:moveTo>
                <a:lnTo>
                  <a:pt x="103" y="37"/>
                </a:lnTo>
                <a:lnTo>
                  <a:pt x="92" y="27"/>
                </a:lnTo>
                <a:lnTo>
                  <a:pt x="93" y="13"/>
                </a:lnTo>
                <a:lnTo>
                  <a:pt x="73" y="9"/>
                </a:lnTo>
                <a:lnTo>
                  <a:pt x="62" y="0"/>
                </a:lnTo>
                <a:lnTo>
                  <a:pt x="46" y="13"/>
                </a:lnTo>
                <a:lnTo>
                  <a:pt x="27" y="16"/>
                </a:lnTo>
                <a:lnTo>
                  <a:pt x="11" y="16"/>
                </a:lnTo>
                <a:lnTo>
                  <a:pt x="0" y="21"/>
                </a:lnTo>
                <a:lnTo>
                  <a:pt x="15" y="40"/>
                </a:lnTo>
                <a:lnTo>
                  <a:pt x="28" y="61"/>
                </a:lnTo>
                <a:lnTo>
                  <a:pt x="54" y="61"/>
                </a:lnTo>
                <a:lnTo>
                  <a:pt x="65" y="82"/>
                </a:lnTo>
                <a:lnTo>
                  <a:pt x="53" y="88"/>
                </a:lnTo>
                <a:lnTo>
                  <a:pt x="48" y="97"/>
                </a:lnTo>
                <a:lnTo>
                  <a:pt x="75" y="112"/>
                </a:lnTo>
                <a:lnTo>
                  <a:pt x="97" y="140"/>
                </a:lnTo>
                <a:lnTo>
                  <a:pt x="112" y="160"/>
                </a:lnTo>
                <a:lnTo>
                  <a:pt x="130" y="177"/>
                </a:lnTo>
                <a:lnTo>
                  <a:pt x="138" y="194"/>
                </a:lnTo>
                <a:lnTo>
                  <a:pt x="137" y="217"/>
                </a:lnTo>
                <a:lnTo>
                  <a:pt x="143" y="233"/>
                </a:lnTo>
                <a:lnTo>
                  <a:pt x="144" y="262"/>
                </a:lnTo>
                <a:lnTo>
                  <a:pt x="111" y="280"/>
                </a:lnTo>
                <a:lnTo>
                  <a:pt x="121" y="295"/>
                </a:lnTo>
                <a:lnTo>
                  <a:pt x="99" y="297"/>
                </a:lnTo>
                <a:lnTo>
                  <a:pt x="82" y="306"/>
                </a:lnTo>
                <a:lnTo>
                  <a:pt x="98" y="319"/>
                </a:lnTo>
                <a:lnTo>
                  <a:pt x="94" y="336"/>
                </a:lnTo>
                <a:lnTo>
                  <a:pt x="102" y="351"/>
                </a:lnTo>
                <a:lnTo>
                  <a:pt x="127" y="328"/>
                </a:lnTo>
                <a:lnTo>
                  <a:pt x="142" y="309"/>
                </a:lnTo>
                <a:lnTo>
                  <a:pt x="166" y="293"/>
                </a:lnTo>
                <a:lnTo>
                  <a:pt x="182" y="278"/>
                </a:lnTo>
                <a:lnTo>
                  <a:pt x="180" y="236"/>
                </a:lnTo>
                <a:lnTo>
                  <a:pt x="165" y="192"/>
                </a:lnTo>
                <a:lnTo>
                  <a:pt x="150" y="173"/>
                </a:lnTo>
                <a:lnTo>
                  <a:pt x="128" y="158"/>
                </a:lnTo>
                <a:lnTo>
                  <a:pt x="105" y="127"/>
                </a:lnTo>
                <a:lnTo>
                  <a:pt x="85" y="102"/>
                </a:lnTo>
                <a:lnTo>
                  <a:pt x="87" y="86"/>
                </a:lnTo>
                <a:lnTo>
                  <a:pt x="100" y="63"/>
                </a:lnTo>
                <a:lnTo>
                  <a:pt x="125" y="4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76" name="Vanuatu">
            <a:extLst>
              <a:ext uri="{FF2B5EF4-FFF2-40B4-BE49-F238E27FC236}">
                <a16:creationId xmlns:a16="http://schemas.microsoft.com/office/drawing/2014/main" id="{B57198BC-9D00-44FC-ADAE-E337D9D44131}"/>
              </a:ext>
            </a:extLst>
          </p:cNvPr>
          <p:cNvSpPr>
            <a:spLocks noEditPoints="1"/>
          </p:cNvSpPr>
          <p:nvPr/>
        </p:nvSpPr>
        <p:spPr bwMode="auto">
          <a:xfrm>
            <a:off x="11089489" y="4932311"/>
            <a:ext cx="30622" cy="78255"/>
          </a:xfrm>
          <a:custGeom>
            <a:avLst/>
            <a:gdLst>
              <a:gd name="T0" fmla="*/ 18 w 18"/>
              <a:gd name="T1" fmla="*/ 44 h 46"/>
              <a:gd name="T2" fmla="*/ 9 w 18"/>
              <a:gd name="T3" fmla="*/ 30 h 46"/>
              <a:gd name="T4" fmla="*/ 6 w 18"/>
              <a:gd name="T5" fmla="*/ 36 h 46"/>
              <a:gd name="T6" fmla="*/ 11 w 18"/>
              <a:gd name="T7" fmla="*/ 46 h 46"/>
              <a:gd name="T8" fmla="*/ 18 w 18"/>
              <a:gd name="T9" fmla="*/ 44 h 46"/>
              <a:gd name="T10" fmla="*/ 18 w 18"/>
              <a:gd name="T11" fmla="*/ 44 h 46"/>
              <a:gd name="T12" fmla="*/ 11 w 18"/>
              <a:gd name="T13" fmla="*/ 7 h 46"/>
              <a:gd name="T14" fmla="*/ 2 w 18"/>
              <a:gd name="T15" fmla="*/ 0 h 46"/>
              <a:gd name="T16" fmla="*/ 0 w 18"/>
              <a:gd name="T17" fmla="*/ 17 h 46"/>
              <a:gd name="T18" fmla="*/ 1 w 18"/>
              <a:gd name="T19" fmla="*/ 25 h 46"/>
              <a:gd name="T20" fmla="*/ 5 w 18"/>
              <a:gd name="T21" fmla="*/ 23 h 46"/>
              <a:gd name="T22" fmla="*/ 11 w 18"/>
              <a:gd name="T23" fmla="*/ 26 h 46"/>
              <a:gd name="T24" fmla="*/ 11 w 18"/>
              <a:gd name="T25" fmla="*/ 7 h 46"/>
              <a:gd name="T26" fmla="*/ 11 w 18"/>
              <a:gd name="T27"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46">
                <a:moveTo>
                  <a:pt x="18" y="44"/>
                </a:moveTo>
                <a:lnTo>
                  <a:pt x="9" y="30"/>
                </a:lnTo>
                <a:lnTo>
                  <a:pt x="6" y="36"/>
                </a:lnTo>
                <a:lnTo>
                  <a:pt x="11" y="46"/>
                </a:lnTo>
                <a:lnTo>
                  <a:pt x="18" y="44"/>
                </a:lnTo>
                <a:lnTo>
                  <a:pt x="18" y="44"/>
                </a:lnTo>
                <a:close/>
                <a:moveTo>
                  <a:pt x="11" y="7"/>
                </a:moveTo>
                <a:lnTo>
                  <a:pt x="2" y="0"/>
                </a:lnTo>
                <a:lnTo>
                  <a:pt x="0" y="17"/>
                </a:lnTo>
                <a:lnTo>
                  <a:pt x="1" y="25"/>
                </a:lnTo>
                <a:lnTo>
                  <a:pt x="5" y="23"/>
                </a:lnTo>
                <a:lnTo>
                  <a:pt x="11" y="26"/>
                </a:lnTo>
                <a:lnTo>
                  <a:pt x="11" y="7"/>
                </a:lnTo>
                <a:lnTo>
                  <a:pt x="11" y="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77" name="Yemen">
            <a:extLst>
              <a:ext uri="{FF2B5EF4-FFF2-40B4-BE49-F238E27FC236}">
                <a16:creationId xmlns:a16="http://schemas.microsoft.com/office/drawing/2014/main" id="{3E99DC64-4A94-4602-B33D-1AEAAACB9C2E}"/>
              </a:ext>
            </a:extLst>
          </p:cNvPr>
          <p:cNvSpPr>
            <a:spLocks/>
          </p:cNvSpPr>
          <p:nvPr/>
        </p:nvSpPr>
        <p:spPr bwMode="auto">
          <a:xfrm>
            <a:off x="6707160" y="3571340"/>
            <a:ext cx="365762" cy="260287"/>
          </a:xfrm>
          <a:custGeom>
            <a:avLst/>
            <a:gdLst>
              <a:gd name="T0" fmla="*/ 215 w 215"/>
              <a:gd name="T1" fmla="*/ 56 h 153"/>
              <a:gd name="T2" fmla="*/ 208 w 215"/>
              <a:gd name="T3" fmla="*/ 40 h 153"/>
              <a:gd name="T4" fmla="*/ 188 w 215"/>
              <a:gd name="T5" fmla="*/ 0 h 153"/>
              <a:gd name="T6" fmla="*/ 129 w 215"/>
              <a:gd name="T7" fmla="*/ 10 h 153"/>
              <a:gd name="T8" fmla="*/ 111 w 215"/>
              <a:gd name="T9" fmla="*/ 20 h 153"/>
              <a:gd name="T10" fmla="*/ 98 w 215"/>
              <a:gd name="T11" fmla="*/ 45 h 153"/>
              <a:gd name="T12" fmla="*/ 88 w 215"/>
              <a:gd name="T13" fmla="*/ 49 h 153"/>
              <a:gd name="T14" fmla="*/ 83 w 215"/>
              <a:gd name="T15" fmla="*/ 41 h 153"/>
              <a:gd name="T16" fmla="*/ 74 w 215"/>
              <a:gd name="T17" fmla="*/ 42 h 153"/>
              <a:gd name="T18" fmla="*/ 55 w 215"/>
              <a:gd name="T19" fmla="*/ 41 h 153"/>
              <a:gd name="T20" fmla="*/ 51 w 215"/>
              <a:gd name="T21" fmla="*/ 38 h 153"/>
              <a:gd name="T22" fmla="*/ 27 w 215"/>
              <a:gd name="T23" fmla="*/ 39 h 153"/>
              <a:gd name="T24" fmla="*/ 21 w 215"/>
              <a:gd name="T25" fmla="*/ 41 h 153"/>
              <a:gd name="T26" fmla="*/ 12 w 215"/>
              <a:gd name="T27" fmla="*/ 34 h 153"/>
              <a:gd name="T28" fmla="*/ 8 w 215"/>
              <a:gd name="T29" fmla="*/ 46 h 153"/>
              <a:gd name="T30" fmla="*/ 10 w 215"/>
              <a:gd name="T31" fmla="*/ 55 h 153"/>
              <a:gd name="T32" fmla="*/ 1 w 215"/>
              <a:gd name="T33" fmla="*/ 64 h 153"/>
              <a:gd name="T34" fmla="*/ 3 w 215"/>
              <a:gd name="T35" fmla="*/ 74 h 153"/>
              <a:gd name="T36" fmla="*/ 0 w 215"/>
              <a:gd name="T37" fmla="*/ 79 h 153"/>
              <a:gd name="T38" fmla="*/ 3 w 215"/>
              <a:gd name="T39" fmla="*/ 89 h 153"/>
              <a:gd name="T40" fmla="*/ 0 w 215"/>
              <a:gd name="T41" fmla="*/ 91 h 153"/>
              <a:gd name="T42" fmla="*/ 6 w 215"/>
              <a:gd name="T43" fmla="*/ 100 h 153"/>
              <a:gd name="T44" fmla="*/ 11 w 215"/>
              <a:gd name="T45" fmla="*/ 118 h 153"/>
              <a:gd name="T46" fmla="*/ 14 w 215"/>
              <a:gd name="T47" fmla="*/ 125 h 153"/>
              <a:gd name="T48" fmla="*/ 14 w 215"/>
              <a:gd name="T49" fmla="*/ 138 h 153"/>
              <a:gd name="T50" fmla="*/ 20 w 215"/>
              <a:gd name="T51" fmla="*/ 152 h 153"/>
              <a:gd name="T52" fmla="*/ 35 w 215"/>
              <a:gd name="T53" fmla="*/ 153 h 153"/>
              <a:gd name="T54" fmla="*/ 42 w 215"/>
              <a:gd name="T55" fmla="*/ 150 h 153"/>
              <a:gd name="T56" fmla="*/ 52 w 215"/>
              <a:gd name="T57" fmla="*/ 151 h 153"/>
              <a:gd name="T58" fmla="*/ 55 w 215"/>
              <a:gd name="T59" fmla="*/ 144 h 153"/>
              <a:gd name="T60" fmla="*/ 60 w 215"/>
              <a:gd name="T61" fmla="*/ 142 h 153"/>
              <a:gd name="T62" fmla="*/ 64 w 215"/>
              <a:gd name="T63" fmla="*/ 136 h 153"/>
              <a:gd name="T64" fmla="*/ 70 w 215"/>
              <a:gd name="T65" fmla="*/ 135 h 153"/>
              <a:gd name="T66" fmla="*/ 87 w 215"/>
              <a:gd name="T67" fmla="*/ 134 h 153"/>
              <a:gd name="T68" fmla="*/ 100 w 215"/>
              <a:gd name="T69" fmla="*/ 129 h 153"/>
              <a:gd name="T70" fmla="*/ 112 w 215"/>
              <a:gd name="T71" fmla="*/ 119 h 153"/>
              <a:gd name="T72" fmla="*/ 118 w 215"/>
              <a:gd name="T73" fmla="*/ 121 h 153"/>
              <a:gd name="T74" fmla="*/ 127 w 215"/>
              <a:gd name="T75" fmla="*/ 119 h 153"/>
              <a:gd name="T76" fmla="*/ 144 w 215"/>
              <a:gd name="T77" fmla="*/ 102 h 153"/>
              <a:gd name="T78" fmla="*/ 178 w 215"/>
              <a:gd name="T79" fmla="*/ 91 h 153"/>
              <a:gd name="T80" fmla="*/ 197 w 215"/>
              <a:gd name="T81" fmla="*/ 82 h 153"/>
              <a:gd name="T82" fmla="*/ 197 w 215"/>
              <a:gd name="T83" fmla="*/ 73 h 153"/>
              <a:gd name="T84" fmla="*/ 200 w 215"/>
              <a:gd name="T85" fmla="*/ 63 h 153"/>
              <a:gd name="T86" fmla="*/ 215 w 215"/>
              <a:gd name="T87" fmla="*/ 56 h 153"/>
              <a:gd name="T88" fmla="*/ 215 w 215"/>
              <a:gd name="T89" fmla="*/ 5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5" h="153">
                <a:moveTo>
                  <a:pt x="215" y="56"/>
                </a:moveTo>
                <a:lnTo>
                  <a:pt x="208" y="40"/>
                </a:lnTo>
                <a:lnTo>
                  <a:pt x="188" y="0"/>
                </a:lnTo>
                <a:lnTo>
                  <a:pt x="129" y="10"/>
                </a:lnTo>
                <a:lnTo>
                  <a:pt x="111" y="20"/>
                </a:lnTo>
                <a:lnTo>
                  <a:pt x="98" y="45"/>
                </a:lnTo>
                <a:lnTo>
                  <a:pt x="88" y="49"/>
                </a:lnTo>
                <a:lnTo>
                  <a:pt x="83" y="41"/>
                </a:lnTo>
                <a:lnTo>
                  <a:pt x="74" y="42"/>
                </a:lnTo>
                <a:lnTo>
                  <a:pt x="55" y="41"/>
                </a:lnTo>
                <a:lnTo>
                  <a:pt x="51" y="38"/>
                </a:lnTo>
                <a:lnTo>
                  <a:pt x="27" y="39"/>
                </a:lnTo>
                <a:lnTo>
                  <a:pt x="21" y="41"/>
                </a:lnTo>
                <a:lnTo>
                  <a:pt x="12" y="34"/>
                </a:lnTo>
                <a:lnTo>
                  <a:pt x="8" y="46"/>
                </a:lnTo>
                <a:lnTo>
                  <a:pt x="10" y="55"/>
                </a:lnTo>
                <a:lnTo>
                  <a:pt x="1" y="64"/>
                </a:lnTo>
                <a:lnTo>
                  <a:pt x="3" y="74"/>
                </a:lnTo>
                <a:lnTo>
                  <a:pt x="0" y="79"/>
                </a:lnTo>
                <a:lnTo>
                  <a:pt x="3" y="89"/>
                </a:lnTo>
                <a:lnTo>
                  <a:pt x="0" y="91"/>
                </a:lnTo>
                <a:lnTo>
                  <a:pt x="6" y="100"/>
                </a:lnTo>
                <a:lnTo>
                  <a:pt x="11" y="118"/>
                </a:lnTo>
                <a:lnTo>
                  <a:pt x="14" y="125"/>
                </a:lnTo>
                <a:lnTo>
                  <a:pt x="14" y="138"/>
                </a:lnTo>
                <a:lnTo>
                  <a:pt x="20" y="152"/>
                </a:lnTo>
                <a:lnTo>
                  <a:pt x="35" y="153"/>
                </a:lnTo>
                <a:lnTo>
                  <a:pt x="42" y="150"/>
                </a:lnTo>
                <a:lnTo>
                  <a:pt x="52" y="151"/>
                </a:lnTo>
                <a:lnTo>
                  <a:pt x="55" y="144"/>
                </a:lnTo>
                <a:lnTo>
                  <a:pt x="60" y="142"/>
                </a:lnTo>
                <a:lnTo>
                  <a:pt x="64" y="136"/>
                </a:lnTo>
                <a:lnTo>
                  <a:pt x="70" y="135"/>
                </a:lnTo>
                <a:lnTo>
                  <a:pt x="87" y="134"/>
                </a:lnTo>
                <a:lnTo>
                  <a:pt x="100" y="129"/>
                </a:lnTo>
                <a:lnTo>
                  <a:pt x="112" y="119"/>
                </a:lnTo>
                <a:lnTo>
                  <a:pt x="118" y="121"/>
                </a:lnTo>
                <a:lnTo>
                  <a:pt x="127" y="119"/>
                </a:lnTo>
                <a:lnTo>
                  <a:pt x="144" y="102"/>
                </a:lnTo>
                <a:lnTo>
                  <a:pt x="178" y="91"/>
                </a:lnTo>
                <a:lnTo>
                  <a:pt x="197" y="82"/>
                </a:lnTo>
                <a:lnTo>
                  <a:pt x="197" y="73"/>
                </a:lnTo>
                <a:lnTo>
                  <a:pt x="200" y="63"/>
                </a:lnTo>
                <a:lnTo>
                  <a:pt x="215" y="56"/>
                </a:lnTo>
                <a:lnTo>
                  <a:pt x="215" y="5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78" name="South Africa">
            <a:extLst>
              <a:ext uri="{FF2B5EF4-FFF2-40B4-BE49-F238E27FC236}">
                <a16:creationId xmlns:a16="http://schemas.microsoft.com/office/drawing/2014/main" id="{2CB0A8F2-0E1E-4941-BD6F-B0791C23C066}"/>
              </a:ext>
            </a:extLst>
          </p:cNvPr>
          <p:cNvSpPr>
            <a:spLocks noEditPoints="1"/>
          </p:cNvSpPr>
          <p:nvPr/>
        </p:nvSpPr>
        <p:spPr bwMode="auto">
          <a:xfrm>
            <a:off x="5762985" y="5233426"/>
            <a:ext cx="573309" cy="515469"/>
          </a:xfrm>
          <a:custGeom>
            <a:avLst/>
            <a:gdLst>
              <a:gd name="T0" fmla="*/ 299 w 337"/>
              <a:gd name="T1" fmla="*/ 1 h 303"/>
              <a:gd name="T2" fmla="*/ 282 w 337"/>
              <a:gd name="T3" fmla="*/ 0 h 303"/>
              <a:gd name="T4" fmla="*/ 244 w 337"/>
              <a:gd name="T5" fmla="*/ 18 h 303"/>
              <a:gd name="T6" fmla="*/ 217 w 337"/>
              <a:gd name="T7" fmla="*/ 51 h 303"/>
              <a:gd name="T8" fmla="*/ 200 w 337"/>
              <a:gd name="T9" fmla="*/ 62 h 303"/>
              <a:gd name="T10" fmla="*/ 193 w 337"/>
              <a:gd name="T11" fmla="*/ 80 h 303"/>
              <a:gd name="T12" fmla="*/ 163 w 337"/>
              <a:gd name="T13" fmla="*/ 85 h 303"/>
              <a:gd name="T14" fmla="*/ 145 w 337"/>
              <a:gd name="T15" fmla="*/ 76 h 303"/>
              <a:gd name="T16" fmla="*/ 130 w 337"/>
              <a:gd name="T17" fmla="*/ 92 h 303"/>
              <a:gd name="T18" fmla="*/ 109 w 337"/>
              <a:gd name="T19" fmla="*/ 110 h 303"/>
              <a:gd name="T20" fmla="*/ 90 w 337"/>
              <a:gd name="T21" fmla="*/ 104 h 303"/>
              <a:gd name="T22" fmla="*/ 81 w 337"/>
              <a:gd name="T23" fmla="*/ 67 h 303"/>
              <a:gd name="T24" fmla="*/ 72 w 337"/>
              <a:gd name="T25" fmla="*/ 151 h 303"/>
              <a:gd name="T26" fmla="*/ 42 w 337"/>
              <a:gd name="T27" fmla="*/ 165 h 303"/>
              <a:gd name="T28" fmla="*/ 21 w 337"/>
              <a:gd name="T29" fmla="*/ 159 h 303"/>
              <a:gd name="T30" fmla="*/ 10 w 337"/>
              <a:gd name="T31" fmla="*/ 142 h 303"/>
              <a:gd name="T32" fmla="*/ 13 w 337"/>
              <a:gd name="T33" fmla="*/ 185 h 303"/>
              <a:gd name="T34" fmla="*/ 22 w 337"/>
              <a:gd name="T35" fmla="*/ 205 h 303"/>
              <a:gd name="T36" fmla="*/ 34 w 337"/>
              <a:gd name="T37" fmla="*/ 246 h 303"/>
              <a:gd name="T38" fmla="*/ 33 w 337"/>
              <a:gd name="T39" fmla="*/ 265 h 303"/>
              <a:gd name="T40" fmla="*/ 34 w 337"/>
              <a:gd name="T41" fmla="*/ 286 h 303"/>
              <a:gd name="T42" fmla="*/ 43 w 337"/>
              <a:gd name="T43" fmla="*/ 293 h 303"/>
              <a:gd name="T44" fmla="*/ 58 w 337"/>
              <a:gd name="T45" fmla="*/ 303 h 303"/>
              <a:gd name="T46" fmla="*/ 79 w 337"/>
              <a:gd name="T47" fmla="*/ 292 h 303"/>
              <a:gd name="T48" fmla="*/ 118 w 337"/>
              <a:gd name="T49" fmla="*/ 279 h 303"/>
              <a:gd name="T50" fmla="*/ 138 w 337"/>
              <a:gd name="T51" fmla="*/ 277 h 303"/>
              <a:gd name="T52" fmla="*/ 170 w 337"/>
              <a:gd name="T53" fmla="*/ 277 h 303"/>
              <a:gd name="T54" fmla="*/ 185 w 337"/>
              <a:gd name="T55" fmla="*/ 275 h 303"/>
              <a:gd name="T56" fmla="*/ 217 w 337"/>
              <a:gd name="T57" fmla="*/ 264 h 303"/>
              <a:gd name="T58" fmla="*/ 247 w 337"/>
              <a:gd name="T59" fmla="*/ 239 h 303"/>
              <a:gd name="T60" fmla="*/ 286 w 337"/>
              <a:gd name="T61" fmla="*/ 198 h 303"/>
              <a:gd name="T62" fmla="*/ 302 w 337"/>
              <a:gd name="T63" fmla="*/ 174 h 303"/>
              <a:gd name="T64" fmla="*/ 320 w 337"/>
              <a:gd name="T65" fmla="*/ 158 h 303"/>
              <a:gd name="T66" fmla="*/ 330 w 337"/>
              <a:gd name="T67" fmla="*/ 128 h 303"/>
              <a:gd name="T68" fmla="*/ 322 w 337"/>
              <a:gd name="T69" fmla="*/ 110 h 303"/>
              <a:gd name="T70" fmla="*/ 304 w 337"/>
              <a:gd name="T71" fmla="*/ 123 h 303"/>
              <a:gd name="T72" fmla="*/ 294 w 337"/>
              <a:gd name="T73" fmla="*/ 102 h 303"/>
              <a:gd name="T74" fmla="*/ 302 w 337"/>
              <a:gd name="T75" fmla="*/ 87 h 303"/>
              <a:gd name="T76" fmla="*/ 318 w 337"/>
              <a:gd name="T77" fmla="*/ 89 h 303"/>
              <a:gd name="T78" fmla="*/ 322 w 337"/>
              <a:gd name="T79" fmla="*/ 54 h 303"/>
              <a:gd name="T80" fmla="*/ 310 w 337"/>
              <a:gd name="T81" fmla="*/ 4 h 303"/>
              <a:gd name="T82" fmla="*/ 234 w 337"/>
              <a:gd name="T83" fmla="*/ 201 h 303"/>
              <a:gd name="T84" fmla="*/ 214 w 337"/>
              <a:gd name="T85" fmla="*/ 185 h 303"/>
              <a:gd name="T86" fmla="*/ 237 w 337"/>
              <a:gd name="T87" fmla="*/ 161 h 303"/>
              <a:gd name="T88" fmla="*/ 255 w 337"/>
              <a:gd name="T89" fmla="*/ 163 h 303"/>
              <a:gd name="T90" fmla="*/ 255 w 337"/>
              <a:gd name="T91" fmla="*/ 182 h 303"/>
              <a:gd name="T92" fmla="*/ 239 w 337"/>
              <a:gd name="T93" fmla="*/ 193 h 303"/>
              <a:gd name="T94" fmla="*/ 234 w 337"/>
              <a:gd name="T95" fmla="*/ 20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7" h="303">
                <a:moveTo>
                  <a:pt x="310" y="4"/>
                </a:moveTo>
                <a:lnTo>
                  <a:pt x="299" y="1"/>
                </a:lnTo>
                <a:lnTo>
                  <a:pt x="292" y="5"/>
                </a:lnTo>
                <a:lnTo>
                  <a:pt x="282" y="0"/>
                </a:lnTo>
                <a:lnTo>
                  <a:pt x="274" y="0"/>
                </a:lnTo>
                <a:lnTo>
                  <a:pt x="244" y="18"/>
                </a:lnTo>
                <a:lnTo>
                  <a:pt x="225" y="35"/>
                </a:lnTo>
                <a:lnTo>
                  <a:pt x="217" y="51"/>
                </a:lnTo>
                <a:lnTo>
                  <a:pt x="211" y="60"/>
                </a:lnTo>
                <a:lnTo>
                  <a:pt x="200" y="62"/>
                </a:lnTo>
                <a:lnTo>
                  <a:pt x="195" y="73"/>
                </a:lnTo>
                <a:lnTo>
                  <a:pt x="193" y="80"/>
                </a:lnTo>
                <a:lnTo>
                  <a:pt x="179" y="86"/>
                </a:lnTo>
                <a:lnTo>
                  <a:pt x="163" y="85"/>
                </a:lnTo>
                <a:lnTo>
                  <a:pt x="154" y="78"/>
                </a:lnTo>
                <a:lnTo>
                  <a:pt x="145" y="76"/>
                </a:lnTo>
                <a:lnTo>
                  <a:pt x="135" y="81"/>
                </a:lnTo>
                <a:lnTo>
                  <a:pt x="130" y="92"/>
                </a:lnTo>
                <a:lnTo>
                  <a:pt x="119" y="100"/>
                </a:lnTo>
                <a:lnTo>
                  <a:pt x="109" y="110"/>
                </a:lnTo>
                <a:lnTo>
                  <a:pt x="94" y="113"/>
                </a:lnTo>
                <a:lnTo>
                  <a:pt x="90" y="104"/>
                </a:lnTo>
                <a:lnTo>
                  <a:pt x="92" y="90"/>
                </a:lnTo>
                <a:lnTo>
                  <a:pt x="81" y="67"/>
                </a:lnTo>
                <a:lnTo>
                  <a:pt x="76" y="64"/>
                </a:lnTo>
                <a:lnTo>
                  <a:pt x="72" y="151"/>
                </a:lnTo>
                <a:lnTo>
                  <a:pt x="53" y="163"/>
                </a:lnTo>
                <a:lnTo>
                  <a:pt x="42" y="165"/>
                </a:lnTo>
                <a:lnTo>
                  <a:pt x="30" y="161"/>
                </a:lnTo>
                <a:lnTo>
                  <a:pt x="21" y="159"/>
                </a:lnTo>
                <a:lnTo>
                  <a:pt x="18" y="148"/>
                </a:lnTo>
                <a:lnTo>
                  <a:pt x="10" y="142"/>
                </a:lnTo>
                <a:lnTo>
                  <a:pt x="0" y="154"/>
                </a:lnTo>
                <a:lnTo>
                  <a:pt x="13" y="185"/>
                </a:lnTo>
                <a:lnTo>
                  <a:pt x="13" y="185"/>
                </a:lnTo>
                <a:lnTo>
                  <a:pt x="22" y="205"/>
                </a:lnTo>
                <a:lnTo>
                  <a:pt x="34" y="227"/>
                </a:lnTo>
                <a:lnTo>
                  <a:pt x="34" y="246"/>
                </a:lnTo>
                <a:lnTo>
                  <a:pt x="27" y="249"/>
                </a:lnTo>
                <a:lnTo>
                  <a:pt x="33" y="265"/>
                </a:lnTo>
                <a:lnTo>
                  <a:pt x="32" y="279"/>
                </a:lnTo>
                <a:lnTo>
                  <a:pt x="34" y="286"/>
                </a:lnTo>
                <a:lnTo>
                  <a:pt x="35" y="283"/>
                </a:lnTo>
                <a:lnTo>
                  <a:pt x="43" y="293"/>
                </a:lnTo>
                <a:lnTo>
                  <a:pt x="49" y="294"/>
                </a:lnTo>
                <a:lnTo>
                  <a:pt x="58" y="303"/>
                </a:lnTo>
                <a:lnTo>
                  <a:pt x="66" y="302"/>
                </a:lnTo>
                <a:lnTo>
                  <a:pt x="79" y="292"/>
                </a:lnTo>
                <a:lnTo>
                  <a:pt x="97" y="289"/>
                </a:lnTo>
                <a:lnTo>
                  <a:pt x="118" y="279"/>
                </a:lnTo>
                <a:lnTo>
                  <a:pt x="126" y="281"/>
                </a:lnTo>
                <a:lnTo>
                  <a:pt x="138" y="277"/>
                </a:lnTo>
                <a:lnTo>
                  <a:pt x="160" y="282"/>
                </a:lnTo>
                <a:lnTo>
                  <a:pt x="170" y="277"/>
                </a:lnTo>
                <a:lnTo>
                  <a:pt x="182" y="281"/>
                </a:lnTo>
                <a:lnTo>
                  <a:pt x="185" y="275"/>
                </a:lnTo>
                <a:lnTo>
                  <a:pt x="195" y="274"/>
                </a:lnTo>
                <a:lnTo>
                  <a:pt x="217" y="264"/>
                </a:lnTo>
                <a:lnTo>
                  <a:pt x="232" y="253"/>
                </a:lnTo>
                <a:lnTo>
                  <a:pt x="247" y="239"/>
                </a:lnTo>
                <a:lnTo>
                  <a:pt x="273" y="215"/>
                </a:lnTo>
                <a:lnTo>
                  <a:pt x="286" y="198"/>
                </a:lnTo>
                <a:lnTo>
                  <a:pt x="292" y="186"/>
                </a:lnTo>
                <a:lnTo>
                  <a:pt x="302" y="174"/>
                </a:lnTo>
                <a:lnTo>
                  <a:pt x="306" y="170"/>
                </a:lnTo>
                <a:lnTo>
                  <a:pt x="320" y="158"/>
                </a:lnTo>
                <a:lnTo>
                  <a:pt x="327" y="148"/>
                </a:lnTo>
                <a:lnTo>
                  <a:pt x="330" y="128"/>
                </a:lnTo>
                <a:lnTo>
                  <a:pt x="337" y="110"/>
                </a:lnTo>
                <a:lnTo>
                  <a:pt x="322" y="110"/>
                </a:lnTo>
                <a:lnTo>
                  <a:pt x="316" y="120"/>
                </a:lnTo>
                <a:lnTo>
                  <a:pt x="304" y="123"/>
                </a:lnTo>
                <a:lnTo>
                  <a:pt x="293" y="110"/>
                </a:lnTo>
                <a:lnTo>
                  <a:pt x="294" y="102"/>
                </a:lnTo>
                <a:lnTo>
                  <a:pt x="300" y="93"/>
                </a:lnTo>
                <a:lnTo>
                  <a:pt x="302" y="87"/>
                </a:lnTo>
                <a:lnTo>
                  <a:pt x="308" y="85"/>
                </a:lnTo>
                <a:lnTo>
                  <a:pt x="318" y="89"/>
                </a:lnTo>
                <a:lnTo>
                  <a:pt x="316" y="80"/>
                </a:lnTo>
                <a:lnTo>
                  <a:pt x="322" y="54"/>
                </a:lnTo>
                <a:lnTo>
                  <a:pt x="318" y="37"/>
                </a:lnTo>
                <a:lnTo>
                  <a:pt x="310" y="4"/>
                </a:lnTo>
                <a:lnTo>
                  <a:pt x="310" y="4"/>
                </a:lnTo>
                <a:close/>
                <a:moveTo>
                  <a:pt x="234" y="201"/>
                </a:moveTo>
                <a:lnTo>
                  <a:pt x="227" y="203"/>
                </a:lnTo>
                <a:lnTo>
                  <a:pt x="214" y="185"/>
                </a:lnTo>
                <a:lnTo>
                  <a:pt x="225" y="170"/>
                </a:lnTo>
                <a:lnTo>
                  <a:pt x="237" y="161"/>
                </a:lnTo>
                <a:lnTo>
                  <a:pt x="246" y="156"/>
                </a:lnTo>
                <a:lnTo>
                  <a:pt x="255" y="163"/>
                </a:lnTo>
                <a:lnTo>
                  <a:pt x="261" y="170"/>
                </a:lnTo>
                <a:lnTo>
                  <a:pt x="255" y="182"/>
                </a:lnTo>
                <a:lnTo>
                  <a:pt x="250" y="190"/>
                </a:lnTo>
                <a:lnTo>
                  <a:pt x="239" y="193"/>
                </a:lnTo>
                <a:lnTo>
                  <a:pt x="234" y="201"/>
                </a:lnTo>
                <a:lnTo>
                  <a:pt x="234" y="20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79" name="Zambia">
            <a:extLst>
              <a:ext uri="{FF2B5EF4-FFF2-40B4-BE49-F238E27FC236}">
                <a16:creationId xmlns:a16="http://schemas.microsoft.com/office/drawing/2014/main" id="{83092C14-2058-4B4F-9A69-3B49B6BF96BC}"/>
              </a:ext>
            </a:extLst>
          </p:cNvPr>
          <p:cNvSpPr>
            <a:spLocks/>
          </p:cNvSpPr>
          <p:nvPr/>
        </p:nvSpPr>
        <p:spPr bwMode="auto">
          <a:xfrm>
            <a:off x="5972235" y="4672025"/>
            <a:ext cx="418499" cy="394682"/>
          </a:xfrm>
          <a:custGeom>
            <a:avLst/>
            <a:gdLst>
              <a:gd name="T0" fmla="*/ 183 w 246"/>
              <a:gd name="T1" fmla="*/ 7 h 232"/>
              <a:gd name="T2" fmla="*/ 181 w 246"/>
              <a:gd name="T3" fmla="*/ 0 h 232"/>
              <a:gd name="T4" fmla="*/ 147 w 246"/>
              <a:gd name="T5" fmla="*/ 8 h 232"/>
              <a:gd name="T6" fmla="*/ 146 w 246"/>
              <a:gd name="T7" fmla="*/ 33 h 232"/>
              <a:gd name="T8" fmla="*/ 138 w 246"/>
              <a:gd name="T9" fmla="*/ 85 h 232"/>
              <a:gd name="T10" fmla="*/ 158 w 246"/>
              <a:gd name="T11" fmla="*/ 98 h 232"/>
              <a:gd name="T12" fmla="*/ 165 w 246"/>
              <a:gd name="T13" fmla="*/ 120 h 232"/>
              <a:gd name="T14" fmla="*/ 141 w 246"/>
              <a:gd name="T15" fmla="*/ 107 h 232"/>
              <a:gd name="T16" fmla="*/ 117 w 246"/>
              <a:gd name="T17" fmla="*/ 94 h 232"/>
              <a:gd name="T18" fmla="*/ 100 w 246"/>
              <a:gd name="T19" fmla="*/ 88 h 232"/>
              <a:gd name="T20" fmla="*/ 77 w 246"/>
              <a:gd name="T21" fmla="*/ 74 h 232"/>
              <a:gd name="T22" fmla="*/ 53 w 246"/>
              <a:gd name="T23" fmla="*/ 72 h 232"/>
              <a:gd name="T24" fmla="*/ 46 w 246"/>
              <a:gd name="T25" fmla="*/ 65 h 232"/>
              <a:gd name="T26" fmla="*/ 45 w 246"/>
              <a:gd name="T27" fmla="*/ 84 h 232"/>
              <a:gd name="T28" fmla="*/ 45 w 246"/>
              <a:gd name="T29" fmla="*/ 103 h 232"/>
              <a:gd name="T30" fmla="*/ 3 w 246"/>
              <a:gd name="T31" fmla="*/ 112 h 232"/>
              <a:gd name="T32" fmla="*/ 14 w 246"/>
              <a:gd name="T33" fmla="*/ 207 h 232"/>
              <a:gd name="T34" fmla="*/ 44 w 246"/>
              <a:gd name="T35" fmla="*/ 216 h 232"/>
              <a:gd name="T36" fmla="*/ 66 w 246"/>
              <a:gd name="T37" fmla="*/ 223 h 232"/>
              <a:gd name="T38" fmla="*/ 69 w 246"/>
              <a:gd name="T39" fmla="*/ 226 h 232"/>
              <a:gd name="T40" fmla="*/ 98 w 246"/>
              <a:gd name="T41" fmla="*/ 232 h 232"/>
              <a:gd name="T42" fmla="*/ 118 w 246"/>
              <a:gd name="T43" fmla="*/ 216 h 232"/>
              <a:gd name="T44" fmla="*/ 144 w 246"/>
              <a:gd name="T45" fmla="*/ 195 h 232"/>
              <a:gd name="T46" fmla="*/ 159 w 246"/>
              <a:gd name="T47" fmla="*/ 177 h 232"/>
              <a:gd name="T48" fmla="*/ 174 w 246"/>
              <a:gd name="T49" fmla="*/ 156 h 232"/>
              <a:gd name="T50" fmla="*/ 227 w 246"/>
              <a:gd name="T51" fmla="*/ 131 h 232"/>
              <a:gd name="T52" fmla="*/ 240 w 246"/>
              <a:gd name="T53" fmla="*/ 100 h 232"/>
              <a:gd name="T54" fmla="*/ 242 w 246"/>
              <a:gd name="T55" fmla="*/ 62 h 232"/>
              <a:gd name="T56" fmla="*/ 241 w 246"/>
              <a:gd name="T57" fmla="*/ 35 h 232"/>
              <a:gd name="T58" fmla="*/ 220 w 246"/>
              <a:gd name="T59" fmla="*/ 17 h 232"/>
              <a:gd name="T60" fmla="*/ 198 w 246"/>
              <a:gd name="T61" fmla="*/ 9 h 232"/>
              <a:gd name="T62" fmla="*/ 197 w 246"/>
              <a:gd name="T63" fmla="*/ 8 h 232"/>
              <a:gd name="T64" fmla="*/ 195 w 246"/>
              <a:gd name="T65" fmla="*/ 14 h 232"/>
              <a:gd name="T66" fmla="*/ 191 w 246"/>
              <a:gd name="T67" fmla="*/ 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232">
                <a:moveTo>
                  <a:pt x="191" y="9"/>
                </a:moveTo>
                <a:lnTo>
                  <a:pt x="183" y="7"/>
                </a:lnTo>
                <a:lnTo>
                  <a:pt x="185" y="2"/>
                </a:lnTo>
                <a:lnTo>
                  <a:pt x="181" y="0"/>
                </a:lnTo>
                <a:lnTo>
                  <a:pt x="153" y="5"/>
                </a:lnTo>
                <a:lnTo>
                  <a:pt x="147" y="8"/>
                </a:lnTo>
                <a:lnTo>
                  <a:pt x="141" y="23"/>
                </a:lnTo>
                <a:lnTo>
                  <a:pt x="146" y="33"/>
                </a:lnTo>
                <a:lnTo>
                  <a:pt x="141" y="61"/>
                </a:lnTo>
                <a:lnTo>
                  <a:pt x="138" y="85"/>
                </a:lnTo>
                <a:lnTo>
                  <a:pt x="143" y="89"/>
                </a:lnTo>
                <a:lnTo>
                  <a:pt x="158" y="98"/>
                </a:lnTo>
                <a:lnTo>
                  <a:pt x="164" y="94"/>
                </a:lnTo>
                <a:lnTo>
                  <a:pt x="165" y="120"/>
                </a:lnTo>
                <a:lnTo>
                  <a:pt x="149" y="120"/>
                </a:lnTo>
                <a:lnTo>
                  <a:pt x="141" y="107"/>
                </a:lnTo>
                <a:lnTo>
                  <a:pt x="134" y="97"/>
                </a:lnTo>
                <a:lnTo>
                  <a:pt x="117" y="94"/>
                </a:lnTo>
                <a:lnTo>
                  <a:pt x="113" y="81"/>
                </a:lnTo>
                <a:lnTo>
                  <a:pt x="100" y="88"/>
                </a:lnTo>
                <a:lnTo>
                  <a:pt x="83" y="84"/>
                </a:lnTo>
                <a:lnTo>
                  <a:pt x="77" y="74"/>
                </a:lnTo>
                <a:lnTo>
                  <a:pt x="64" y="72"/>
                </a:lnTo>
                <a:lnTo>
                  <a:pt x="53" y="72"/>
                </a:lnTo>
                <a:lnTo>
                  <a:pt x="52" y="65"/>
                </a:lnTo>
                <a:lnTo>
                  <a:pt x="46" y="65"/>
                </a:lnTo>
                <a:lnTo>
                  <a:pt x="48" y="72"/>
                </a:lnTo>
                <a:lnTo>
                  <a:pt x="45" y="84"/>
                </a:lnTo>
                <a:lnTo>
                  <a:pt x="48" y="95"/>
                </a:lnTo>
                <a:lnTo>
                  <a:pt x="45" y="103"/>
                </a:lnTo>
                <a:lnTo>
                  <a:pt x="47" y="112"/>
                </a:lnTo>
                <a:lnTo>
                  <a:pt x="3" y="112"/>
                </a:lnTo>
                <a:lnTo>
                  <a:pt x="0" y="187"/>
                </a:lnTo>
                <a:lnTo>
                  <a:pt x="14" y="207"/>
                </a:lnTo>
                <a:lnTo>
                  <a:pt x="27" y="222"/>
                </a:lnTo>
                <a:lnTo>
                  <a:pt x="44" y="216"/>
                </a:lnTo>
                <a:lnTo>
                  <a:pt x="57" y="217"/>
                </a:lnTo>
                <a:lnTo>
                  <a:pt x="66" y="223"/>
                </a:lnTo>
                <a:lnTo>
                  <a:pt x="66" y="225"/>
                </a:lnTo>
                <a:lnTo>
                  <a:pt x="69" y="226"/>
                </a:lnTo>
                <a:lnTo>
                  <a:pt x="93" y="229"/>
                </a:lnTo>
                <a:lnTo>
                  <a:pt x="98" y="232"/>
                </a:lnTo>
                <a:lnTo>
                  <a:pt x="106" y="231"/>
                </a:lnTo>
                <a:lnTo>
                  <a:pt x="118" y="216"/>
                </a:lnTo>
                <a:lnTo>
                  <a:pt x="137" y="197"/>
                </a:lnTo>
                <a:lnTo>
                  <a:pt x="144" y="195"/>
                </a:lnTo>
                <a:lnTo>
                  <a:pt x="147" y="186"/>
                </a:lnTo>
                <a:lnTo>
                  <a:pt x="159" y="177"/>
                </a:lnTo>
                <a:lnTo>
                  <a:pt x="175" y="173"/>
                </a:lnTo>
                <a:lnTo>
                  <a:pt x="174" y="156"/>
                </a:lnTo>
                <a:lnTo>
                  <a:pt x="237" y="137"/>
                </a:lnTo>
                <a:lnTo>
                  <a:pt x="227" y="131"/>
                </a:lnTo>
                <a:lnTo>
                  <a:pt x="234" y="109"/>
                </a:lnTo>
                <a:lnTo>
                  <a:pt x="240" y="100"/>
                </a:lnTo>
                <a:lnTo>
                  <a:pt x="237" y="81"/>
                </a:lnTo>
                <a:lnTo>
                  <a:pt x="242" y="62"/>
                </a:lnTo>
                <a:lnTo>
                  <a:pt x="246" y="55"/>
                </a:lnTo>
                <a:lnTo>
                  <a:pt x="241" y="35"/>
                </a:lnTo>
                <a:lnTo>
                  <a:pt x="231" y="25"/>
                </a:lnTo>
                <a:lnTo>
                  <a:pt x="220" y="17"/>
                </a:lnTo>
                <a:lnTo>
                  <a:pt x="207" y="14"/>
                </a:lnTo>
                <a:lnTo>
                  <a:pt x="198" y="9"/>
                </a:lnTo>
                <a:lnTo>
                  <a:pt x="197" y="8"/>
                </a:lnTo>
                <a:lnTo>
                  <a:pt x="197" y="8"/>
                </a:lnTo>
                <a:lnTo>
                  <a:pt x="199" y="13"/>
                </a:lnTo>
                <a:lnTo>
                  <a:pt x="195" y="14"/>
                </a:lnTo>
                <a:lnTo>
                  <a:pt x="191" y="9"/>
                </a:lnTo>
                <a:lnTo>
                  <a:pt x="191" y="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80" name="Zimbabwe">
            <a:extLst>
              <a:ext uri="{FF2B5EF4-FFF2-40B4-BE49-F238E27FC236}">
                <a16:creationId xmlns:a16="http://schemas.microsoft.com/office/drawing/2014/main" id="{19EDDFAA-1451-4E3A-9A43-5AFF6F867399}"/>
              </a:ext>
            </a:extLst>
          </p:cNvPr>
          <p:cNvSpPr>
            <a:spLocks/>
          </p:cNvSpPr>
          <p:nvPr/>
        </p:nvSpPr>
        <p:spPr bwMode="auto">
          <a:xfrm>
            <a:off x="6089619" y="4966337"/>
            <a:ext cx="268793" cy="275597"/>
          </a:xfrm>
          <a:custGeom>
            <a:avLst/>
            <a:gdLst>
              <a:gd name="T0" fmla="*/ 118 w 158"/>
              <a:gd name="T1" fmla="*/ 161 h 162"/>
              <a:gd name="T2" fmla="*/ 141 w 158"/>
              <a:gd name="T3" fmla="*/ 134 h 162"/>
              <a:gd name="T4" fmla="*/ 147 w 158"/>
              <a:gd name="T5" fmla="*/ 117 h 162"/>
              <a:gd name="T6" fmla="*/ 151 w 158"/>
              <a:gd name="T7" fmla="*/ 114 h 162"/>
              <a:gd name="T8" fmla="*/ 153 w 158"/>
              <a:gd name="T9" fmla="*/ 100 h 162"/>
              <a:gd name="T10" fmla="*/ 151 w 158"/>
              <a:gd name="T11" fmla="*/ 94 h 162"/>
              <a:gd name="T12" fmla="*/ 152 w 158"/>
              <a:gd name="T13" fmla="*/ 76 h 162"/>
              <a:gd name="T14" fmla="*/ 157 w 158"/>
              <a:gd name="T15" fmla="*/ 59 h 162"/>
              <a:gd name="T16" fmla="*/ 158 w 158"/>
              <a:gd name="T17" fmla="*/ 29 h 162"/>
              <a:gd name="T18" fmla="*/ 148 w 158"/>
              <a:gd name="T19" fmla="*/ 22 h 162"/>
              <a:gd name="T20" fmla="*/ 138 w 158"/>
              <a:gd name="T21" fmla="*/ 20 h 162"/>
              <a:gd name="T22" fmla="*/ 134 w 158"/>
              <a:gd name="T23" fmla="*/ 14 h 162"/>
              <a:gd name="T24" fmla="*/ 124 w 158"/>
              <a:gd name="T25" fmla="*/ 9 h 162"/>
              <a:gd name="T26" fmla="*/ 107 w 158"/>
              <a:gd name="T27" fmla="*/ 10 h 162"/>
              <a:gd name="T28" fmla="*/ 106 w 158"/>
              <a:gd name="T29" fmla="*/ 0 h 162"/>
              <a:gd name="T30" fmla="*/ 90 w 158"/>
              <a:gd name="T31" fmla="*/ 4 h 162"/>
              <a:gd name="T32" fmla="*/ 78 w 158"/>
              <a:gd name="T33" fmla="*/ 13 h 162"/>
              <a:gd name="T34" fmla="*/ 75 w 158"/>
              <a:gd name="T35" fmla="*/ 22 h 162"/>
              <a:gd name="T36" fmla="*/ 68 w 158"/>
              <a:gd name="T37" fmla="*/ 24 h 162"/>
              <a:gd name="T38" fmla="*/ 49 w 158"/>
              <a:gd name="T39" fmla="*/ 43 h 162"/>
              <a:gd name="T40" fmla="*/ 37 w 158"/>
              <a:gd name="T41" fmla="*/ 58 h 162"/>
              <a:gd name="T42" fmla="*/ 29 w 158"/>
              <a:gd name="T43" fmla="*/ 59 h 162"/>
              <a:gd name="T44" fmla="*/ 24 w 158"/>
              <a:gd name="T45" fmla="*/ 56 h 162"/>
              <a:gd name="T46" fmla="*/ 0 w 158"/>
              <a:gd name="T47" fmla="*/ 53 h 162"/>
              <a:gd name="T48" fmla="*/ 7 w 158"/>
              <a:gd name="T49" fmla="*/ 72 h 162"/>
              <a:gd name="T50" fmla="*/ 11 w 158"/>
              <a:gd name="T51" fmla="*/ 77 h 162"/>
              <a:gd name="T52" fmla="*/ 17 w 158"/>
              <a:gd name="T53" fmla="*/ 91 h 162"/>
              <a:gd name="T54" fmla="*/ 40 w 158"/>
              <a:gd name="T55" fmla="*/ 117 h 162"/>
              <a:gd name="T56" fmla="*/ 48 w 158"/>
              <a:gd name="T57" fmla="*/ 119 h 162"/>
              <a:gd name="T58" fmla="*/ 48 w 158"/>
              <a:gd name="T59" fmla="*/ 127 h 162"/>
              <a:gd name="T60" fmla="*/ 54 w 158"/>
              <a:gd name="T61" fmla="*/ 143 h 162"/>
              <a:gd name="T62" fmla="*/ 69 w 158"/>
              <a:gd name="T63" fmla="*/ 146 h 162"/>
              <a:gd name="T64" fmla="*/ 82 w 158"/>
              <a:gd name="T65" fmla="*/ 157 h 162"/>
              <a:gd name="T66" fmla="*/ 90 w 158"/>
              <a:gd name="T67" fmla="*/ 157 h 162"/>
              <a:gd name="T68" fmla="*/ 100 w 158"/>
              <a:gd name="T69" fmla="*/ 162 h 162"/>
              <a:gd name="T70" fmla="*/ 107 w 158"/>
              <a:gd name="T71" fmla="*/ 158 h 162"/>
              <a:gd name="T72" fmla="*/ 118 w 158"/>
              <a:gd name="T73" fmla="*/ 161 h 162"/>
              <a:gd name="T74" fmla="*/ 118 w 158"/>
              <a:gd name="T75" fmla="*/ 16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8" h="162">
                <a:moveTo>
                  <a:pt x="118" y="161"/>
                </a:moveTo>
                <a:lnTo>
                  <a:pt x="141" y="134"/>
                </a:lnTo>
                <a:lnTo>
                  <a:pt x="147" y="117"/>
                </a:lnTo>
                <a:lnTo>
                  <a:pt x="151" y="114"/>
                </a:lnTo>
                <a:lnTo>
                  <a:pt x="153" y="100"/>
                </a:lnTo>
                <a:lnTo>
                  <a:pt x="151" y="94"/>
                </a:lnTo>
                <a:lnTo>
                  <a:pt x="152" y="76"/>
                </a:lnTo>
                <a:lnTo>
                  <a:pt x="157" y="59"/>
                </a:lnTo>
                <a:lnTo>
                  <a:pt x="158" y="29"/>
                </a:lnTo>
                <a:lnTo>
                  <a:pt x="148" y="22"/>
                </a:lnTo>
                <a:lnTo>
                  <a:pt x="138" y="20"/>
                </a:lnTo>
                <a:lnTo>
                  <a:pt x="134" y="14"/>
                </a:lnTo>
                <a:lnTo>
                  <a:pt x="124" y="9"/>
                </a:lnTo>
                <a:lnTo>
                  <a:pt x="107" y="10"/>
                </a:lnTo>
                <a:lnTo>
                  <a:pt x="106" y="0"/>
                </a:lnTo>
                <a:lnTo>
                  <a:pt x="90" y="4"/>
                </a:lnTo>
                <a:lnTo>
                  <a:pt x="78" y="13"/>
                </a:lnTo>
                <a:lnTo>
                  <a:pt x="75" y="22"/>
                </a:lnTo>
                <a:lnTo>
                  <a:pt x="68" y="24"/>
                </a:lnTo>
                <a:lnTo>
                  <a:pt x="49" y="43"/>
                </a:lnTo>
                <a:lnTo>
                  <a:pt x="37" y="58"/>
                </a:lnTo>
                <a:lnTo>
                  <a:pt x="29" y="59"/>
                </a:lnTo>
                <a:lnTo>
                  <a:pt x="24" y="56"/>
                </a:lnTo>
                <a:lnTo>
                  <a:pt x="0" y="53"/>
                </a:lnTo>
                <a:lnTo>
                  <a:pt x="7" y="72"/>
                </a:lnTo>
                <a:lnTo>
                  <a:pt x="11" y="77"/>
                </a:lnTo>
                <a:lnTo>
                  <a:pt x="17" y="91"/>
                </a:lnTo>
                <a:lnTo>
                  <a:pt x="40" y="117"/>
                </a:lnTo>
                <a:lnTo>
                  <a:pt x="48" y="119"/>
                </a:lnTo>
                <a:lnTo>
                  <a:pt x="48" y="127"/>
                </a:lnTo>
                <a:lnTo>
                  <a:pt x="54" y="143"/>
                </a:lnTo>
                <a:lnTo>
                  <a:pt x="69" y="146"/>
                </a:lnTo>
                <a:lnTo>
                  <a:pt x="82" y="157"/>
                </a:lnTo>
                <a:lnTo>
                  <a:pt x="90" y="157"/>
                </a:lnTo>
                <a:lnTo>
                  <a:pt x="100" y="162"/>
                </a:lnTo>
                <a:lnTo>
                  <a:pt x="107" y="158"/>
                </a:lnTo>
                <a:lnTo>
                  <a:pt x="118" y="161"/>
                </a:lnTo>
                <a:lnTo>
                  <a:pt x="118" y="16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81" name="Somalia">
            <a:extLst>
              <a:ext uri="{FF2B5EF4-FFF2-40B4-BE49-F238E27FC236}">
                <a16:creationId xmlns:a16="http://schemas.microsoft.com/office/drawing/2014/main" id="{7C40BA22-849D-4DA3-A556-BF4FB7EB289D}"/>
              </a:ext>
            </a:extLst>
          </p:cNvPr>
          <p:cNvSpPr>
            <a:spLocks/>
          </p:cNvSpPr>
          <p:nvPr/>
        </p:nvSpPr>
        <p:spPr bwMode="auto">
          <a:xfrm>
            <a:off x="6662928" y="3855442"/>
            <a:ext cx="352151" cy="552895"/>
          </a:xfrm>
          <a:custGeom>
            <a:avLst/>
            <a:gdLst>
              <a:gd name="T0" fmla="*/ 62 w 207"/>
              <a:gd name="T1" fmla="*/ 37 h 325"/>
              <a:gd name="T2" fmla="*/ 52 w 207"/>
              <a:gd name="T3" fmla="*/ 27 h 325"/>
              <a:gd name="T4" fmla="*/ 47 w 207"/>
              <a:gd name="T5" fmla="*/ 17 h 325"/>
              <a:gd name="T6" fmla="*/ 40 w 207"/>
              <a:gd name="T7" fmla="*/ 13 h 325"/>
              <a:gd name="T8" fmla="*/ 33 w 207"/>
              <a:gd name="T9" fmla="*/ 25 h 325"/>
              <a:gd name="T10" fmla="*/ 29 w 207"/>
              <a:gd name="T11" fmla="*/ 34 h 325"/>
              <a:gd name="T12" fmla="*/ 38 w 207"/>
              <a:gd name="T13" fmla="*/ 47 h 325"/>
              <a:gd name="T14" fmla="*/ 45 w 207"/>
              <a:gd name="T15" fmla="*/ 58 h 325"/>
              <a:gd name="T16" fmla="*/ 54 w 207"/>
              <a:gd name="T17" fmla="*/ 67 h 325"/>
              <a:gd name="T18" fmla="*/ 123 w 207"/>
              <a:gd name="T19" fmla="*/ 95 h 325"/>
              <a:gd name="T20" fmla="*/ 140 w 207"/>
              <a:gd name="T21" fmla="*/ 95 h 325"/>
              <a:gd name="T22" fmla="*/ 83 w 207"/>
              <a:gd name="T23" fmla="*/ 166 h 325"/>
              <a:gd name="T24" fmla="*/ 55 w 207"/>
              <a:gd name="T25" fmla="*/ 167 h 325"/>
              <a:gd name="T26" fmla="*/ 37 w 207"/>
              <a:gd name="T27" fmla="*/ 184 h 325"/>
              <a:gd name="T28" fmla="*/ 24 w 207"/>
              <a:gd name="T29" fmla="*/ 184 h 325"/>
              <a:gd name="T30" fmla="*/ 18 w 207"/>
              <a:gd name="T31" fmla="*/ 192 h 325"/>
              <a:gd name="T32" fmla="*/ 0 w 207"/>
              <a:gd name="T33" fmla="*/ 219 h 325"/>
              <a:gd name="T34" fmla="*/ 0 w 207"/>
              <a:gd name="T35" fmla="*/ 305 h 325"/>
              <a:gd name="T36" fmla="*/ 13 w 207"/>
              <a:gd name="T37" fmla="*/ 325 h 325"/>
              <a:gd name="T38" fmla="*/ 18 w 207"/>
              <a:gd name="T39" fmla="*/ 320 h 325"/>
              <a:gd name="T40" fmla="*/ 23 w 207"/>
              <a:gd name="T41" fmla="*/ 307 h 325"/>
              <a:gd name="T42" fmla="*/ 45 w 207"/>
              <a:gd name="T43" fmla="*/ 278 h 325"/>
              <a:gd name="T44" fmla="*/ 66 w 207"/>
              <a:gd name="T45" fmla="*/ 260 h 325"/>
              <a:gd name="T46" fmla="*/ 97 w 207"/>
              <a:gd name="T47" fmla="*/ 236 h 325"/>
              <a:gd name="T48" fmla="*/ 117 w 207"/>
              <a:gd name="T49" fmla="*/ 217 h 325"/>
              <a:gd name="T50" fmla="*/ 141 w 207"/>
              <a:gd name="T51" fmla="*/ 184 h 325"/>
              <a:gd name="T52" fmla="*/ 159 w 207"/>
              <a:gd name="T53" fmla="*/ 158 h 325"/>
              <a:gd name="T54" fmla="*/ 176 w 207"/>
              <a:gd name="T55" fmla="*/ 124 h 325"/>
              <a:gd name="T56" fmla="*/ 188 w 207"/>
              <a:gd name="T57" fmla="*/ 93 h 325"/>
              <a:gd name="T58" fmla="*/ 197 w 207"/>
              <a:gd name="T59" fmla="*/ 66 h 325"/>
              <a:gd name="T60" fmla="*/ 202 w 207"/>
              <a:gd name="T61" fmla="*/ 41 h 325"/>
              <a:gd name="T62" fmla="*/ 206 w 207"/>
              <a:gd name="T63" fmla="*/ 32 h 325"/>
              <a:gd name="T64" fmla="*/ 206 w 207"/>
              <a:gd name="T65" fmla="*/ 19 h 325"/>
              <a:gd name="T66" fmla="*/ 207 w 207"/>
              <a:gd name="T67" fmla="*/ 6 h 325"/>
              <a:gd name="T68" fmla="*/ 206 w 207"/>
              <a:gd name="T69" fmla="*/ 0 h 325"/>
              <a:gd name="T70" fmla="*/ 198 w 207"/>
              <a:gd name="T71" fmla="*/ 0 h 325"/>
              <a:gd name="T72" fmla="*/ 189 w 207"/>
              <a:gd name="T73" fmla="*/ 8 h 325"/>
              <a:gd name="T74" fmla="*/ 178 w 207"/>
              <a:gd name="T75" fmla="*/ 10 h 325"/>
              <a:gd name="T76" fmla="*/ 168 w 207"/>
              <a:gd name="T77" fmla="*/ 14 h 325"/>
              <a:gd name="T78" fmla="*/ 162 w 207"/>
              <a:gd name="T79" fmla="*/ 14 h 325"/>
              <a:gd name="T80" fmla="*/ 162 w 207"/>
              <a:gd name="T81" fmla="*/ 14 h 325"/>
              <a:gd name="T82" fmla="*/ 150 w 207"/>
              <a:gd name="T83" fmla="*/ 15 h 325"/>
              <a:gd name="T84" fmla="*/ 142 w 207"/>
              <a:gd name="T85" fmla="*/ 19 h 325"/>
              <a:gd name="T86" fmla="*/ 132 w 207"/>
              <a:gd name="T87" fmla="*/ 21 h 325"/>
              <a:gd name="T88" fmla="*/ 114 w 207"/>
              <a:gd name="T89" fmla="*/ 28 h 325"/>
              <a:gd name="T90" fmla="*/ 92 w 207"/>
              <a:gd name="T91" fmla="*/ 30 h 325"/>
              <a:gd name="T92" fmla="*/ 72 w 207"/>
              <a:gd name="T93" fmla="*/ 37 h 325"/>
              <a:gd name="T94" fmla="*/ 62 w 207"/>
              <a:gd name="T95" fmla="*/ 37 h 325"/>
              <a:gd name="T96" fmla="*/ 62 w 207"/>
              <a:gd name="T97" fmla="*/ 3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7" h="325">
                <a:moveTo>
                  <a:pt x="62" y="37"/>
                </a:moveTo>
                <a:lnTo>
                  <a:pt x="52" y="27"/>
                </a:lnTo>
                <a:lnTo>
                  <a:pt x="47" y="17"/>
                </a:lnTo>
                <a:lnTo>
                  <a:pt x="40" y="13"/>
                </a:lnTo>
                <a:lnTo>
                  <a:pt x="33" y="25"/>
                </a:lnTo>
                <a:lnTo>
                  <a:pt x="29" y="34"/>
                </a:lnTo>
                <a:lnTo>
                  <a:pt x="38" y="47"/>
                </a:lnTo>
                <a:lnTo>
                  <a:pt x="45" y="58"/>
                </a:lnTo>
                <a:lnTo>
                  <a:pt x="54" y="67"/>
                </a:lnTo>
                <a:lnTo>
                  <a:pt x="123" y="95"/>
                </a:lnTo>
                <a:lnTo>
                  <a:pt x="140" y="95"/>
                </a:lnTo>
                <a:lnTo>
                  <a:pt x="83" y="166"/>
                </a:lnTo>
                <a:lnTo>
                  <a:pt x="55" y="167"/>
                </a:lnTo>
                <a:lnTo>
                  <a:pt x="37" y="184"/>
                </a:lnTo>
                <a:lnTo>
                  <a:pt x="24" y="184"/>
                </a:lnTo>
                <a:lnTo>
                  <a:pt x="18" y="192"/>
                </a:lnTo>
                <a:lnTo>
                  <a:pt x="0" y="219"/>
                </a:lnTo>
                <a:lnTo>
                  <a:pt x="0" y="305"/>
                </a:lnTo>
                <a:lnTo>
                  <a:pt x="13" y="325"/>
                </a:lnTo>
                <a:lnTo>
                  <a:pt x="18" y="320"/>
                </a:lnTo>
                <a:lnTo>
                  <a:pt x="23" y="307"/>
                </a:lnTo>
                <a:lnTo>
                  <a:pt x="45" y="278"/>
                </a:lnTo>
                <a:lnTo>
                  <a:pt x="66" y="260"/>
                </a:lnTo>
                <a:lnTo>
                  <a:pt x="97" y="236"/>
                </a:lnTo>
                <a:lnTo>
                  <a:pt x="117" y="217"/>
                </a:lnTo>
                <a:lnTo>
                  <a:pt x="141" y="184"/>
                </a:lnTo>
                <a:lnTo>
                  <a:pt x="159" y="158"/>
                </a:lnTo>
                <a:lnTo>
                  <a:pt x="176" y="124"/>
                </a:lnTo>
                <a:lnTo>
                  <a:pt x="188" y="93"/>
                </a:lnTo>
                <a:lnTo>
                  <a:pt x="197" y="66"/>
                </a:lnTo>
                <a:lnTo>
                  <a:pt x="202" y="41"/>
                </a:lnTo>
                <a:lnTo>
                  <a:pt x="206" y="32"/>
                </a:lnTo>
                <a:lnTo>
                  <a:pt x="206" y="19"/>
                </a:lnTo>
                <a:lnTo>
                  <a:pt x="207" y="6"/>
                </a:lnTo>
                <a:lnTo>
                  <a:pt x="206" y="0"/>
                </a:lnTo>
                <a:lnTo>
                  <a:pt x="198" y="0"/>
                </a:lnTo>
                <a:lnTo>
                  <a:pt x="189" y="8"/>
                </a:lnTo>
                <a:lnTo>
                  <a:pt x="178" y="10"/>
                </a:lnTo>
                <a:lnTo>
                  <a:pt x="168" y="14"/>
                </a:lnTo>
                <a:lnTo>
                  <a:pt x="162" y="14"/>
                </a:lnTo>
                <a:lnTo>
                  <a:pt x="162" y="14"/>
                </a:lnTo>
                <a:lnTo>
                  <a:pt x="150" y="15"/>
                </a:lnTo>
                <a:lnTo>
                  <a:pt x="142" y="19"/>
                </a:lnTo>
                <a:lnTo>
                  <a:pt x="132" y="21"/>
                </a:lnTo>
                <a:lnTo>
                  <a:pt x="114" y="28"/>
                </a:lnTo>
                <a:lnTo>
                  <a:pt x="92" y="30"/>
                </a:lnTo>
                <a:lnTo>
                  <a:pt x="72" y="37"/>
                </a:lnTo>
                <a:lnTo>
                  <a:pt x="62" y="37"/>
                </a:lnTo>
                <a:lnTo>
                  <a:pt x="62" y="3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82" name="Spain">
            <a:extLst>
              <a:ext uri="{FF2B5EF4-FFF2-40B4-BE49-F238E27FC236}">
                <a16:creationId xmlns:a16="http://schemas.microsoft.com/office/drawing/2014/main" id="{314DB8A6-2711-41BE-A04A-78E155FF799A}"/>
              </a:ext>
            </a:extLst>
          </p:cNvPr>
          <p:cNvSpPr>
            <a:spLocks noEditPoints="1"/>
          </p:cNvSpPr>
          <p:nvPr/>
        </p:nvSpPr>
        <p:spPr bwMode="auto">
          <a:xfrm>
            <a:off x="4895366" y="2572726"/>
            <a:ext cx="447419" cy="314725"/>
          </a:xfrm>
          <a:custGeom>
            <a:avLst/>
            <a:gdLst>
              <a:gd name="T0" fmla="*/ 210 w 263"/>
              <a:gd name="T1" fmla="*/ 118 h 185"/>
              <a:gd name="T2" fmla="*/ 207 w 263"/>
              <a:gd name="T3" fmla="*/ 116 h 185"/>
              <a:gd name="T4" fmla="*/ 207 w 263"/>
              <a:gd name="T5" fmla="*/ 118 h 185"/>
              <a:gd name="T6" fmla="*/ 208 w 263"/>
              <a:gd name="T7" fmla="*/ 119 h 185"/>
              <a:gd name="T8" fmla="*/ 210 w 263"/>
              <a:gd name="T9" fmla="*/ 119 h 185"/>
              <a:gd name="T10" fmla="*/ 207 w 263"/>
              <a:gd name="T11" fmla="*/ 112 h 185"/>
              <a:gd name="T12" fmla="*/ 210 w 263"/>
              <a:gd name="T13" fmla="*/ 110 h 185"/>
              <a:gd name="T14" fmla="*/ 209 w 263"/>
              <a:gd name="T15" fmla="*/ 108 h 185"/>
              <a:gd name="T16" fmla="*/ 205 w 263"/>
              <a:gd name="T17" fmla="*/ 110 h 185"/>
              <a:gd name="T18" fmla="*/ 204 w 263"/>
              <a:gd name="T19" fmla="*/ 111 h 185"/>
              <a:gd name="T20" fmla="*/ 204 w 263"/>
              <a:gd name="T21" fmla="*/ 114 h 185"/>
              <a:gd name="T22" fmla="*/ 207 w 263"/>
              <a:gd name="T23" fmla="*/ 112 h 185"/>
              <a:gd name="T24" fmla="*/ 112 w 263"/>
              <a:gd name="T25" fmla="*/ 7 h 185"/>
              <a:gd name="T26" fmla="*/ 77 w 263"/>
              <a:gd name="T27" fmla="*/ 4 h 185"/>
              <a:gd name="T28" fmla="*/ 28 w 263"/>
              <a:gd name="T29" fmla="*/ 0 h 185"/>
              <a:gd name="T30" fmla="*/ 8 w 263"/>
              <a:gd name="T31" fmla="*/ 26 h 185"/>
              <a:gd name="T32" fmla="*/ 13 w 263"/>
              <a:gd name="T33" fmla="*/ 37 h 185"/>
              <a:gd name="T34" fmla="*/ 25 w 263"/>
              <a:gd name="T35" fmla="*/ 45 h 185"/>
              <a:gd name="T36" fmla="*/ 40 w 263"/>
              <a:gd name="T37" fmla="*/ 42 h 185"/>
              <a:gd name="T38" fmla="*/ 56 w 263"/>
              <a:gd name="T39" fmla="*/ 54 h 185"/>
              <a:gd name="T40" fmla="*/ 47 w 263"/>
              <a:gd name="T41" fmla="*/ 79 h 185"/>
              <a:gd name="T42" fmla="*/ 42 w 263"/>
              <a:gd name="T43" fmla="*/ 93 h 185"/>
              <a:gd name="T44" fmla="*/ 41 w 263"/>
              <a:gd name="T45" fmla="*/ 110 h 185"/>
              <a:gd name="T46" fmla="*/ 42 w 263"/>
              <a:gd name="T47" fmla="*/ 133 h 185"/>
              <a:gd name="T48" fmla="*/ 32 w 263"/>
              <a:gd name="T49" fmla="*/ 149 h 185"/>
              <a:gd name="T50" fmla="*/ 52 w 263"/>
              <a:gd name="T51" fmla="*/ 161 h 185"/>
              <a:gd name="T52" fmla="*/ 64 w 263"/>
              <a:gd name="T53" fmla="*/ 182 h 185"/>
              <a:gd name="T54" fmla="*/ 81 w 263"/>
              <a:gd name="T55" fmla="*/ 176 h 185"/>
              <a:gd name="T56" fmla="*/ 112 w 263"/>
              <a:gd name="T57" fmla="*/ 167 h 185"/>
              <a:gd name="T58" fmla="*/ 151 w 263"/>
              <a:gd name="T59" fmla="*/ 149 h 185"/>
              <a:gd name="T60" fmla="*/ 170 w 263"/>
              <a:gd name="T61" fmla="*/ 128 h 185"/>
              <a:gd name="T62" fmla="*/ 174 w 263"/>
              <a:gd name="T63" fmla="*/ 103 h 185"/>
              <a:gd name="T64" fmla="*/ 193 w 263"/>
              <a:gd name="T65" fmla="*/ 71 h 185"/>
              <a:gd name="T66" fmla="*/ 220 w 263"/>
              <a:gd name="T67" fmla="*/ 58 h 185"/>
              <a:gd name="T68" fmla="*/ 236 w 263"/>
              <a:gd name="T69" fmla="*/ 30 h 185"/>
              <a:gd name="T70" fmla="*/ 193 w 263"/>
              <a:gd name="T71" fmla="*/ 23 h 185"/>
              <a:gd name="T72" fmla="*/ 150 w 263"/>
              <a:gd name="T73" fmla="*/ 17 h 185"/>
              <a:gd name="T74" fmla="*/ 143 w 263"/>
              <a:gd name="T75" fmla="*/ 8 h 185"/>
              <a:gd name="T76" fmla="*/ 240 w 263"/>
              <a:gd name="T77" fmla="*/ 91 h 185"/>
              <a:gd name="T78" fmla="*/ 241 w 263"/>
              <a:gd name="T79" fmla="*/ 90 h 185"/>
              <a:gd name="T80" fmla="*/ 240 w 263"/>
              <a:gd name="T81" fmla="*/ 89 h 185"/>
              <a:gd name="T82" fmla="*/ 240 w 263"/>
              <a:gd name="T83" fmla="*/ 88 h 185"/>
              <a:gd name="T84" fmla="*/ 233 w 263"/>
              <a:gd name="T85" fmla="*/ 91 h 185"/>
              <a:gd name="T86" fmla="*/ 225 w 263"/>
              <a:gd name="T87" fmla="*/ 97 h 185"/>
              <a:gd name="T88" fmla="*/ 227 w 263"/>
              <a:gd name="T89" fmla="*/ 98 h 185"/>
              <a:gd name="T90" fmla="*/ 229 w 263"/>
              <a:gd name="T91" fmla="*/ 98 h 185"/>
              <a:gd name="T92" fmla="*/ 232 w 263"/>
              <a:gd name="T93" fmla="*/ 98 h 185"/>
              <a:gd name="T94" fmla="*/ 233 w 263"/>
              <a:gd name="T95" fmla="*/ 101 h 185"/>
              <a:gd name="T96" fmla="*/ 235 w 263"/>
              <a:gd name="T97" fmla="*/ 102 h 185"/>
              <a:gd name="T98" fmla="*/ 240 w 263"/>
              <a:gd name="T99" fmla="*/ 103 h 185"/>
              <a:gd name="T100" fmla="*/ 243 w 263"/>
              <a:gd name="T101" fmla="*/ 99 h 185"/>
              <a:gd name="T102" fmla="*/ 246 w 263"/>
              <a:gd name="T103" fmla="*/ 95 h 185"/>
              <a:gd name="T104" fmla="*/ 246 w 263"/>
              <a:gd name="T105" fmla="*/ 93 h 185"/>
              <a:gd name="T106" fmla="*/ 244 w 263"/>
              <a:gd name="T107" fmla="*/ 92 h 185"/>
              <a:gd name="T108" fmla="*/ 240 w 263"/>
              <a:gd name="T109" fmla="*/ 92 h 185"/>
              <a:gd name="T110" fmla="*/ 263 w 263"/>
              <a:gd name="T111" fmla="*/ 91 h 185"/>
              <a:gd name="T112" fmla="*/ 263 w 263"/>
              <a:gd name="T113" fmla="*/ 89 h 185"/>
              <a:gd name="T114" fmla="*/ 258 w 263"/>
              <a:gd name="T115" fmla="*/ 85 h 185"/>
              <a:gd name="T116" fmla="*/ 253 w 263"/>
              <a:gd name="T117" fmla="*/ 86 h 185"/>
              <a:gd name="T118" fmla="*/ 254 w 263"/>
              <a:gd name="T119" fmla="*/ 88 h 185"/>
              <a:gd name="T120" fmla="*/ 263 w 263"/>
              <a:gd name="T121" fmla="*/ 91 h 185"/>
              <a:gd name="T122" fmla="*/ 263 w 263"/>
              <a:gd name="T123" fmla="*/ 9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3" h="185">
                <a:moveTo>
                  <a:pt x="210" y="119"/>
                </a:moveTo>
                <a:lnTo>
                  <a:pt x="210" y="118"/>
                </a:lnTo>
                <a:lnTo>
                  <a:pt x="208" y="118"/>
                </a:lnTo>
                <a:lnTo>
                  <a:pt x="207" y="116"/>
                </a:lnTo>
                <a:lnTo>
                  <a:pt x="207" y="117"/>
                </a:lnTo>
                <a:lnTo>
                  <a:pt x="207" y="118"/>
                </a:lnTo>
                <a:lnTo>
                  <a:pt x="207" y="119"/>
                </a:lnTo>
                <a:lnTo>
                  <a:pt x="208" y="119"/>
                </a:lnTo>
                <a:lnTo>
                  <a:pt x="210" y="119"/>
                </a:lnTo>
                <a:lnTo>
                  <a:pt x="210" y="119"/>
                </a:lnTo>
                <a:lnTo>
                  <a:pt x="210" y="119"/>
                </a:lnTo>
                <a:close/>
                <a:moveTo>
                  <a:pt x="207" y="112"/>
                </a:moveTo>
                <a:lnTo>
                  <a:pt x="208" y="112"/>
                </a:lnTo>
                <a:lnTo>
                  <a:pt x="210" y="110"/>
                </a:lnTo>
                <a:lnTo>
                  <a:pt x="210" y="108"/>
                </a:lnTo>
                <a:lnTo>
                  <a:pt x="209" y="108"/>
                </a:lnTo>
                <a:lnTo>
                  <a:pt x="206" y="108"/>
                </a:lnTo>
                <a:lnTo>
                  <a:pt x="205" y="110"/>
                </a:lnTo>
                <a:lnTo>
                  <a:pt x="205" y="111"/>
                </a:lnTo>
                <a:lnTo>
                  <a:pt x="204" y="111"/>
                </a:lnTo>
                <a:lnTo>
                  <a:pt x="203" y="113"/>
                </a:lnTo>
                <a:lnTo>
                  <a:pt x="204" y="114"/>
                </a:lnTo>
                <a:lnTo>
                  <a:pt x="207" y="114"/>
                </a:lnTo>
                <a:lnTo>
                  <a:pt x="207" y="112"/>
                </a:lnTo>
                <a:close/>
                <a:moveTo>
                  <a:pt x="143" y="8"/>
                </a:moveTo>
                <a:lnTo>
                  <a:pt x="112" y="7"/>
                </a:lnTo>
                <a:lnTo>
                  <a:pt x="96" y="8"/>
                </a:lnTo>
                <a:lnTo>
                  <a:pt x="77" y="4"/>
                </a:lnTo>
                <a:lnTo>
                  <a:pt x="52" y="4"/>
                </a:lnTo>
                <a:lnTo>
                  <a:pt x="28" y="0"/>
                </a:lnTo>
                <a:lnTo>
                  <a:pt x="0" y="17"/>
                </a:lnTo>
                <a:lnTo>
                  <a:pt x="8" y="26"/>
                </a:lnTo>
                <a:lnTo>
                  <a:pt x="7" y="43"/>
                </a:lnTo>
                <a:lnTo>
                  <a:pt x="13" y="37"/>
                </a:lnTo>
                <a:lnTo>
                  <a:pt x="22" y="34"/>
                </a:lnTo>
                <a:lnTo>
                  <a:pt x="25" y="45"/>
                </a:lnTo>
                <a:lnTo>
                  <a:pt x="37" y="45"/>
                </a:lnTo>
                <a:lnTo>
                  <a:pt x="40" y="42"/>
                </a:lnTo>
                <a:lnTo>
                  <a:pt x="52" y="43"/>
                </a:lnTo>
                <a:lnTo>
                  <a:pt x="56" y="54"/>
                </a:lnTo>
                <a:lnTo>
                  <a:pt x="48" y="61"/>
                </a:lnTo>
                <a:lnTo>
                  <a:pt x="47" y="79"/>
                </a:lnTo>
                <a:lnTo>
                  <a:pt x="43" y="82"/>
                </a:lnTo>
                <a:lnTo>
                  <a:pt x="42" y="93"/>
                </a:lnTo>
                <a:lnTo>
                  <a:pt x="34" y="95"/>
                </a:lnTo>
                <a:lnTo>
                  <a:pt x="41" y="110"/>
                </a:lnTo>
                <a:lnTo>
                  <a:pt x="36" y="126"/>
                </a:lnTo>
                <a:lnTo>
                  <a:pt x="42" y="133"/>
                </a:lnTo>
                <a:lnTo>
                  <a:pt x="39" y="139"/>
                </a:lnTo>
                <a:lnTo>
                  <a:pt x="32" y="149"/>
                </a:lnTo>
                <a:lnTo>
                  <a:pt x="33" y="157"/>
                </a:lnTo>
                <a:lnTo>
                  <a:pt x="52" y="161"/>
                </a:lnTo>
                <a:lnTo>
                  <a:pt x="56" y="174"/>
                </a:lnTo>
                <a:lnTo>
                  <a:pt x="64" y="182"/>
                </a:lnTo>
                <a:lnTo>
                  <a:pt x="73" y="185"/>
                </a:lnTo>
                <a:lnTo>
                  <a:pt x="81" y="176"/>
                </a:lnTo>
                <a:lnTo>
                  <a:pt x="94" y="166"/>
                </a:lnTo>
                <a:lnTo>
                  <a:pt x="112" y="167"/>
                </a:lnTo>
                <a:lnTo>
                  <a:pt x="137" y="167"/>
                </a:lnTo>
                <a:lnTo>
                  <a:pt x="151" y="149"/>
                </a:lnTo>
                <a:lnTo>
                  <a:pt x="165" y="144"/>
                </a:lnTo>
                <a:lnTo>
                  <a:pt x="170" y="128"/>
                </a:lnTo>
                <a:lnTo>
                  <a:pt x="181" y="117"/>
                </a:lnTo>
                <a:lnTo>
                  <a:pt x="174" y="103"/>
                </a:lnTo>
                <a:lnTo>
                  <a:pt x="181" y="84"/>
                </a:lnTo>
                <a:lnTo>
                  <a:pt x="193" y="71"/>
                </a:lnTo>
                <a:lnTo>
                  <a:pt x="195" y="64"/>
                </a:lnTo>
                <a:lnTo>
                  <a:pt x="220" y="58"/>
                </a:lnTo>
                <a:lnTo>
                  <a:pt x="237" y="43"/>
                </a:lnTo>
                <a:lnTo>
                  <a:pt x="236" y="30"/>
                </a:lnTo>
                <a:lnTo>
                  <a:pt x="214" y="33"/>
                </a:lnTo>
                <a:lnTo>
                  <a:pt x="193" y="23"/>
                </a:lnTo>
                <a:lnTo>
                  <a:pt x="186" y="27"/>
                </a:lnTo>
                <a:lnTo>
                  <a:pt x="150" y="17"/>
                </a:lnTo>
                <a:lnTo>
                  <a:pt x="143" y="8"/>
                </a:lnTo>
                <a:lnTo>
                  <a:pt x="143" y="8"/>
                </a:lnTo>
                <a:close/>
                <a:moveTo>
                  <a:pt x="240" y="92"/>
                </a:moveTo>
                <a:lnTo>
                  <a:pt x="240" y="91"/>
                </a:lnTo>
                <a:lnTo>
                  <a:pt x="241" y="90"/>
                </a:lnTo>
                <a:lnTo>
                  <a:pt x="241" y="90"/>
                </a:lnTo>
                <a:lnTo>
                  <a:pt x="240" y="89"/>
                </a:lnTo>
                <a:lnTo>
                  <a:pt x="240" y="89"/>
                </a:lnTo>
                <a:lnTo>
                  <a:pt x="241" y="88"/>
                </a:lnTo>
                <a:lnTo>
                  <a:pt x="240" y="88"/>
                </a:lnTo>
                <a:lnTo>
                  <a:pt x="235" y="89"/>
                </a:lnTo>
                <a:lnTo>
                  <a:pt x="233" y="91"/>
                </a:lnTo>
                <a:lnTo>
                  <a:pt x="225" y="96"/>
                </a:lnTo>
                <a:lnTo>
                  <a:pt x="225" y="97"/>
                </a:lnTo>
                <a:lnTo>
                  <a:pt x="225" y="98"/>
                </a:lnTo>
                <a:lnTo>
                  <a:pt x="227" y="98"/>
                </a:lnTo>
                <a:lnTo>
                  <a:pt x="228" y="99"/>
                </a:lnTo>
                <a:lnTo>
                  <a:pt x="229" y="98"/>
                </a:lnTo>
                <a:lnTo>
                  <a:pt x="231" y="97"/>
                </a:lnTo>
                <a:lnTo>
                  <a:pt x="232" y="98"/>
                </a:lnTo>
                <a:lnTo>
                  <a:pt x="233" y="99"/>
                </a:lnTo>
                <a:lnTo>
                  <a:pt x="233" y="101"/>
                </a:lnTo>
                <a:lnTo>
                  <a:pt x="234" y="102"/>
                </a:lnTo>
                <a:lnTo>
                  <a:pt x="235" y="102"/>
                </a:lnTo>
                <a:lnTo>
                  <a:pt x="239" y="104"/>
                </a:lnTo>
                <a:lnTo>
                  <a:pt x="240" y="103"/>
                </a:lnTo>
                <a:lnTo>
                  <a:pt x="242" y="102"/>
                </a:lnTo>
                <a:lnTo>
                  <a:pt x="243" y="99"/>
                </a:lnTo>
                <a:lnTo>
                  <a:pt x="244" y="97"/>
                </a:lnTo>
                <a:lnTo>
                  <a:pt x="246" y="95"/>
                </a:lnTo>
                <a:lnTo>
                  <a:pt x="247" y="94"/>
                </a:lnTo>
                <a:lnTo>
                  <a:pt x="246" y="93"/>
                </a:lnTo>
                <a:lnTo>
                  <a:pt x="245" y="93"/>
                </a:lnTo>
                <a:lnTo>
                  <a:pt x="244" y="92"/>
                </a:lnTo>
                <a:lnTo>
                  <a:pt x="242" y="93"/>
                </a:lnTo>
                <a:lnTo>
                  <a:pt x="240" y="92"/>
                </a:lnTo>
                <a:lnTo>
                  <a:pt x="240" y="92"/>
                </a:lnTo>
                <a:close/>
                <a:moveTo>
                  <a:pt x="263" y="91"/>
                </a:moveTo>
                <a:lnTo>
                  <a:pt x="263" y="90"/>
                </a:lnTo>
                <a:lnTo>
                  <a:pt x="263" y="89"/>
                </a:lnTo>
                <a:lnTo>
                  <a:pt x="261" y="86"/>
                </a:lnTo>
                <a:lnTo>
                  <a:pt x="258" y="85"/>
                </a:lnTo>
                <a:lnTo>
                  <a:pt x="254" y="86"/>
                </a:lnTo>
                <a:lnTo>
                  <a:pt x="253" y="86"/>
                </a:lnTo>
                <a:lnTo>
                  <a:pt x="253" y="88"/>
                </a:lnTo>
                <a:lnTo>
                  <a:pt x="254" y="88"/>
                </a:lnTo>
                <a:lnTo>
                  <a:pt x="256" y="88"/>
                </a:lnTo>
                <a:lnTo>
                  <a:pt x="263" y="91"/>
                </a:lnTo>
                <a:lnTo>
                  <a:pt x="263" y="91"/>
                </a:lnTo>
                <a:lnTo>
                  <a:pt x="263" y="9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83" name="Aruba">
            <a:extLst>
              <a:ext uri="{FF2B5EF4-FFF2-40B4-BE49-F238E27FC236}">
                <a16:creationId xmlns:a16="http://schemas.microsoft.com/office/drawing/2014/main" id="{DC89C181-C377-473E-9CA2-9AA814E7244B}"/>
              </a:ext>
            </a:extLst>
          </p:cNvPr>
          <p:cNvSpPr>
            <a:spLocks/>
          </p:cNvSpPr>
          <p:nvPr/>
        </p:nvSpPr>
        <p:spPr bwMode="auto">
          <a:xfrm>
            <a:off x="2716110" y="3831625"/>
            <a:ext cx="5103" cy="5104"/>
          </a:xfrm>
          <a:custGeom>
            <a:avLst/>
            <a:gdLst>
              <a:gd name="T0" fmla="*/ 3 w 3"/>
              <a:gd name="T1" fmla="*/ 3 h 3"/>
              <a:gd name="T2" fmla="*/ 3 w 3"/>
              <a:gd name="T3" fmla="*/ 2 h 3"/>
              <a:gd name="T4" fmla="*/ 2 w 3"/>
              <a:gd name="T5" fmla="*/ 1 h 3"/>
              <a:gd name="T6" fmla="*/ 1 w 3"/>
              <a:gd name="T7" fmla="*/ 0 h 3"/>
              <a:gd name="T8" fmla="*/ 0 w 3"/>
              <a:gd name="T9" fmla="*/ 0 h 3"/>
              <a:gd name="T10" fmla="*/ 0 w 3"/>
              <a:gd name="T11" fmla="*/ 1 h 3"/>
              <a:gd name="T12" fmla="*/ 1 w 3"/>
              <a:gd name="T13" fmla="*/ 1 h 3"/>
              <a:gd name="T14" fmla="*/ 2 w 3"/>
              <a:gd name="T15" fmla="*/ 3 h 3"/>
              <a:gd name="T16" fmla="*/ 3 w 3"/>
              <a:gd name="T17" fmla="*/ 3 h 3"/>
              <a:gd name="T18" fmla="*/ 3 w 3"/>
              <a:gd name="T19" fmla="*/ 3 h 3"/>
              <a:gd name="T20" fmla="*/ 3 w 3"/>
              <a:gd name="T2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3" y="3"/>
                </a:moveTo>
                <a:lnTo>
                  <a:pt x="3" y="2"/>
                </a:lnTo>
                <a:lnTo>
                  <a:pt x="2" y="1"/>
                </a:lnTo>
                <a:lnTo>
                  <a:pt x="1" y="0"/>
                </a:lnTo>
                <a:lnTo>
                  <a:pt x="0" y="0"/>
                </a:lnTo>
                <a:lnTo>
                  <a:pt x="0" y="1"/>
                </a:lnTo>
                <a:lnTo>
                  <a:pt x="1" y="1"/>
                </a:lnTo>
                <a:lnTo>
                  <a:pt x="2" y="3"/>
                </a:lnTo>
                <a:lnTo>
                  <a:pt x="3" y="3"/>
                </a:lnTo>
                <a:lnTo>
                  <a:pt x="3" y="3"/>
                </a:lnTo>
                <a:lnTo>
                  <a:pt x="3" y="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84" name="Andorra">
            <a:extLst>
              <a:ext uri="{FF2B5EF4-FFF2-40B4-BE49-F238E27FC236}">
                <a16:creationId xmlns:a16="http://schemas.microsoft.com/office/drawing/2014/main" id="{120EC53B-BED6-4F55-A487-58BCBA244CF9}"/>
              </a:ext>
            </a:extLst>
          </p:cNvPr>
          <p:cNvSpPr>
            <a:spLocks/>
          </p:cNvSpPr>
          <p:nvPr/>
        </p:nvSpPr>
        <p:spPr bwMode="auto">
          <a:xfrm>
            <a:off x="5247518" y="2615259"/>
            <a:ext cx="8505" cy="8506"/>
          </a:xfrm>
          <a:custGeom>
            <a:avLst/>
            <a:gdLst>
              <a:gd name="T0" fmla="*/ 5 w 5"/>
              <a:gd name="T1" fmla="*/ 4 h 5"/>
              <a:gd name="T2" fmla="*/ 5 w 5"/>
              <a:gd name="T3" fmla="*/ 3 h 5"/>
              <a:gd name="T4" fmla="*/ 5 w 5"/>
              <a:gd name="T5" fmla="*/ 2 h 5"/>
              <a:gd name="T6" fmla="*/ 5 w 5"/>
              <a:gd name="T7" fmla="*/ 2 h 5"/>
              <a:gd name="T8" fmla="*/ 5 w 5"/>
              <a:gd name="T9" fmla="*/ 1 h 5"/>
              <a:gd name="T10" fmla="*/ 2 w 5"/>
              <a:gd name="T11" fmla="*/ 1 h 5"/>
              <a:gd name="T12" fmla="*/ 1 w 5"/>
              <a:gd name="T13" fmla="*/ 0 h 5"/>
              <a:gd name="T14" fmla="*/ 0 w 5"/>
              <a:gd name="T15" fmla="*/ 1 h 5"/>
              <a:gd name="T16" fmla="*/ 0 w 5"/>
              <a:gd name="T17" fmla="*/ 1 h 5"/>
              <a:gd name="T18" fmla="*/ 0 w 5"/>
              <a:gd name="T19" fmla="*/ 3 h 5"/>
              <a:gd name="T20" fmla="*/ 0 w 5"/>
              <a:gd name="T21" fmla="*/ 3 h 5"/>
              <a:gd name="T22" fmla="*/ 0 w 5"/>
              <a:gd name="T23" fmla="*/ 4 h 5"/>
              <a:gd name="T24" fmla="*/ 0 w 5"/>
              <a:gd name="T25" fmla="*/ 5 h 5"/>
              <a:gd name="T26" fmla="*/ 0 w 5"/>
              <a:gd name="T27" fmla="*/ 5 h 5"/>
              <a:gd name="T28" fmla="*/ 0 w 5"/>
              <a:gd name="T29" fmla="*/ 5 h 5"/>
              <a:gd name="T30" fmla="*/ 1 w 5"/>
              <a:gd name="T31" fmla="*/ 5 h 5"/>
              <a:gd name="T32" fmla="*/ 2 w 5"/>
              <a:gd name="T33" fmla="*/ 5 h 5"/>
              <a:gd name="T34" fmla="*/ 4 w 5"/>
              <a:gd name="T35" fmla="*/ 4 h 5"/>
              <a:gd name="T36" fmla="*/ 5 w 5"/>
              <a:gd name="T37" fmla="*/ 4 h 5"/>
              <a:gd name="T38" fmla="*/ 5 w 5"/>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5">
                <a:moveTo>
                  <a:pt x="5" y="4"/>
                </a:moveTo>
                <a:lnTo>
                  <a:pt x="5" y="3"/>
                </a:lnTo>
                <a:lnTo>
                  <a:pt x="5" y="2"/>
                </a:lnTo>
                <a:lnTo>
                  <a:pt x="5" y="2"/>
                </a:lnTo>
                <a:lnTo>
                  <a:pt x="5" y="1"/>
                </a:lnTo>
                <a:lnTo>
                  <a:pt x="2" y="1"/>
                </a:lnTo>
                <a:lnTo>
                  <a:pt x="1" y="0"/>
                </a:lnTo>
                <a:lnTo>
                  <a:pt x="0" y="1"/>
                </a:lnTo>
                <a:lnTo>
                  <a:pt x="0" y="1"/>
                </a:lnTo>
                <a:lnTo>
                  <a:pt x="0" y="3"/>
                </a:lnTo>
                <a:lnTo>
                  <a:pt x="0" y="3"/>
                </a:lnTo>
                <a:lnTo>
                  <a:pt x="0" y="4"/>
                </a:lnTo>
                <a:lnTo>
                  <a:pt x="0" y="5"/>
                </a:lnTo>
                <a:lnTo>
                  <a:pt x="0" y="5"/>
                </a:lnTo>
                <a:lnTo>
                  <a:pt x="0" y="5"/>
                </a:lnTo>
                <a:lnTo>
                  <a:pt x="1" y="5"/>
                </a:lnTo>
                <a:lnTo>
                  <a:pt x="2" y="5"/>
                </a:lnTo>
                <a:lnTo>
                  <a:pt x="4" y="4"/>
                </a:lnTo>
                <a:lnTo>
                  <a:pt x="5" y="4"/>
                </a:lnTo>
                <a:lnTo>
                  <a:pt x="5" y="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85" name="Antigua and Barbuda">
            <a:extLst>
              <a:ext uri="{FF2B5EF4-FFF2-40B4-BE49-F238E27FC236}">
                <a16:creationId xmlns:a16="http://schemas.microsoft.com/office/drawing/2014/main" id="{2D643397-0C36-4C1D-BC55-19EFC562FF5A}"/>
              </a:ext>
            </a:extLst>
          </p:cNvPr>
          <p:cNvSpPr>
            <a:spLocks noEditPoints="1"/>
          </p:cNvSpPr>
          <p:nvPr/>
        </p:nvSpPr>
        <p:spPr bwMode="auto">
          <a:xfrm>
            <a:off x="3020627" y="3624079"/>
            <a:ext cx="5103" cy="28921"/>
          </a:xfrm>
          <a:custGeom>
            <a:avLst/>
            <a:gdLst>
              <a:gd name="T0" fmla="*/ 2 w 3"/>
              <a:gd name="T1" fmla="*/ 16 h 17"/>
              <a:gd name="T2" fmla="*/ 3 w 3"/>
              <a:gd name="T3" fmla="*/ 16 h 17"/>
              <a:gd name="T4" fmla="*/ 3 w 3"/>
              <a:gd name="T5" fmla="*/ 15 h 17"/>
              <a:gd name="T6" fmla="*/ 3 w 3"/>
              <a:gd name="T7" fmla="*/ 15 h 17"/>
              <a:gd name="T8" fmla="*/ 3 w 3"/>
              <a:gd name="T9" fmla="*/ 14 h 17"/>
              <a:gd name="T10" fmla="*/ 2 w 3"/>
              <a:gd name="T11" fmla="*/ 13 h 17"/>
              <a:gd name="T12" fmla="*/ 1 w 3"/>
              <a:gd name="T13" fmla="*/ 13 h 17"/>
              <a:gd name="T14" fmla="*/ 0 w 3"/>
              <a:gd name="T15" fmla="*/ 15 h 17"/>
              <a:gd name="T16" fmla="*/ 0 w 3"/>
              <a:gd name="T17" fmla="*/ 15 h 17"/>
              <a:gd name="T18" fmla="*/ 0 w 3"/>
              <a:gd name="T19" fmla="*/ 17 h 17"/>
              <a:gd name="T20" fmla="*/ 1 w 3"/>
              <a:gd name="T21" fmla="*/ 17 h 17"/>
              <a:gd name="T22" fmla="*/ 2 w 3"/>
              <a:gd name="T23" fmla="*/ 16 h 17"/>
              <a:gd name="T24" fmla="*/ 2 w 3"/>
              <a:gd name="T25" fmla="*/ 16 h 17"/>
              <a:gd name="T26" fmla="*/ 3 w 3"/>
              <a:gd name="T27" fmla="*/ 3 h 17"/>
              <a:gd name="T28" fmla="*/ 3 w 3"/>
              <a:gd name="T29" fmla="*/ 1 h 17"/>
              <a:gd name="T30" fmla="*/ 3 w 3"/>
              <a:gd name="T31" fmla="*/ 0 h 17"/>
              <a:gd name="T32" fmla="*/ 1 w 3"/>
              <a:gd name="T33" fmla="*/ 0 h 17"/>
              <a:gd name="T34" fmla="*/ 1 w 3"/>
              <a:gd name="T35" fmla="*/ 0 h 17"/>
              <a:gd name="T36" fmla="*/ 1 w 3"/>
              <a:gd name="T37" fmla="*/ 0 h 17"/>
              <a:gd name="T38" fmla="*/ 0 w 3"/>
              <a:gd name="T39" fmla="*/ 0 h 17"/>
              <a:gd name="T40" fmla="*/ 1 w 3"/>
              <a:gd name="T41" fmla="*/ 3 h 17"/>
              <a:gd name="T42" fmla="*/ 3 w 3"/>
              <a:gd name="T43" fmla="*/ 4 h 17"/>
              <a:gd name="T44" fmla="*/ 3 w 3"/>
              <a:gd name="T45" fmla="*/ 3 h 17"/>
              <a:gd name="T46" fmla="*/ 3 w 3"/>
              <a:gd name="T47"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17">
                <a:moveTo>
                  <a:pt x="2" y="16"/>
                </a:moveTo>
                <a:lnTo>
                  <a:pt x="3" y="16"/>
                </a:lnTo>
                <a:lnTo>
                  <a:pt x="3" y="15"/>
                </a:lnTo>
                <a:lnTo>
                  <a:pt x="3" y="15"/>
                </a:lnTo>
                <a:lnTo>
                  <a:pt x="3" y="14"/>
                </a:lnTo>
                <a:lnTo>
                  <a:pt x="2" y="13"/>
                </a:lnTo>
                <a:lnTo>
                  <a:pt x="1" y="13"/>
                </a:lnTo>
                <a:lnTo>
                  <a:pt x="0" y="15"/>
                </a:lnTo>
                <a:lnTo>
                  <a:pt x="0" y="15"/>
                </a:lnTo>
                <a:lnTo>
                  <a:pt x="0" y="17"/>
                </a:lnTo>
                <a:lnTo>
                  <a:pt x="1" y="17"/>
                </a:lnTo>
                <a:lnTo>
                  <a:pt x="2" y="16"/>
                </a:lnTo>
                <a:lnTo>
                  <a:pt x="2" y="16"/>
                </a:lnTo>
                <a:close/>
                <a:moveTo>
                  <a:pt x="3" y="3"/>
                </a:moveTo>
                <a:lnTo>
                  <a:pt x="3" y="1"/>
                </a:lnTo>
                <a:lnTo>
                  <a:pt x="3" y="0"/>
                </a:lnTo>
                <a:lnTo>
                  <a:pt x="1" y="0"/>
                </a:lnTo>
                <a:lnTo>
                  <a:pt x="1" y="0"/>
                </a:lnTo>
                <a:lnTo>
                  <a:pt x="1" y="0"/>
                </a:lnTo>
                <a:lnTo>
                  <a:pt x="0" y="0"/>
                </a:lnTo>
                <a:lnTo>
                  <a:pt x="1" y="3"/>
                </a:lnTo>
                <a:lnTo>
                  <a:pt x="3" y="4"/>
                </a:lnTo>
                <a:lnTo>
                  <a:pt x="3" y="3"/>
                </a:lnTo>
                <a:lnTo>
                  <a:pt x="3" y="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86" name="The Bahamas">
            <a:extLst>
              <a:ext uri="{FF2B5EF4-FFF2-40B4-BE49-F238E27FC236}">
                <a16:creationId xmlns:a16="http://schemas.microsoft.com/office/drawing/2014/main" id="{863B722E-EBD9-4A65-ADB2-C6C182728880}"/>
              </a:ext>
            </a:extLst>
          </p:cNvPr>
          <p:cNvSpPr>
            <a:spLocks noEditPoints="1"/>
          </p:cNvSpPr>
          <p:nvPr/>
        </p:nvSpPr>
        <p:spPr bwMode="auto">
          <a:xfrm>
            <a:off x="2467734" y="3251513"/>
            <a:ext cx="192236" cy="243274"/>
          </a:xfrm>
          <a:custGeom>
            <a:avLst/>
            <a:gdLst>
              <a:gd name="T0" fmla="*/ 100 w 113"/>
              <a:gd name="T1" fmla="*/ 137 h 143"/>
              <a:gd name="T2" fmla="*/ 90 w 113"/>
              <a:gd name="T3" fmla="*/ 139 h 143"/>
              <a:gd name="T4" fmla="*/ 90 w 113"/>
              <a:gd name="T5" fmla="*/ 143 h 143"/>
              <a:gd name="T6" fmla="*/ 107 w 113"/>
              <a:gd name="T7" fmla="*/ 129 h 143"/>
              <a:gd name="T8" fmla="*/ 107 w 113"/>
              <a:gd name="T9" fmla="*/ 129 h 143"/>
              <a:gd name="T10" fmla="*/ 108 w 113"/>
              <a:gd name="T11" fmla="*/ 108 h 143"/>
              <a:gd name="T12" fmla="*/ 111 w 113"/>
              <a:gd name="T13" fmla="*/ 108 h 143"/>
              <a:gd name="T14" fmla="*/ 82 w 113"/>
              <a:gd name="T15" fmla="*/ 112 h 143"/>
              <a:gd name="T16" fmla="*/ 91 w 113"/>
              <a:gd name="T17" fmla="*/ 100 h 143"/>
              <a:gd name="T18" fmla="*/ 89 w 113"/>
              <a:gd name="T19" fmla="*/ 104 h 143"/>
              <a:gd name="T20" fmla="*/ 85 w 113"/>
              <a:gd name="T21" fmla="*/ 109 h 143"/>
              <a:gd name="T22" fmla="*/ 86 w 113"/>
              <a:gd name="T23" fmla="*/ 100 h 143"/>
              <a:gd name="T24" fmla="*/ 82 w 113"/>
              <a:gd name="T25" fmla="*/ 99 h 143"/>
              <a:gd name="T26" fmla="*/ 86 w 113"/>
              <a:gd name="T27" fmla="*/ 100 h 143"/>
              <a:gd name="T28" fmla="*/ 67 w 113"/>
              <a:gd name="T29" fmla="*/ 86 h 143"/>
              <a:gd name="T30" fmla="*/ 64 w 113"/>
              <a:gd name="T31" fmla="*/ 80 h 143"/>
              <a:gd name="T32" fmla="*/ 65 w 113"/>
              <a:gd name="T33" fmla="*/ 88 h 143"/>
              <a:gd name="T34" fmla="*/ 71 w 113"/>
              <a:gd name="T35" fmla="*/ 96 h 143"/>
              <a:gd name="T36" fmla="*/ 51 w 113"/>
              <a:gd name="T37" fmla="*/ 78 h 143"/>
              <a:gd name="T38" fmla="*/ 56 w 113"/>
              <a:gd name="T39" fmla="*/ 83 h 143"/>
              <a:gd name="T40" fmla="*/ 83 w 113"/>
              <a:gd name="T41" fmla="*/ 67 h 143"/>
              <a:gd name="T42" fmla="*/ 84 w 113"/>
              <a:gd name="T43" fmla="*/ 68 h 143"/>
              <a:gd name="T44" fmla="*/ 13 w 113"/>
              <a:gd name="T45" fmla="*/ 64 h 143"/>
              <a:gd name="T46" fmla="*/ 14 w 113"/>
              <a:gd name="T47" fmla="*/ 73 h 143"/>
              <a:gd name="T48" fmla="*/ 19 w 113"/>
              <a:gd name="T49" fmla="*/ 72 h 143"/>
              <a:gd name="T50" fmla="*/ 18 w 113"/>
              <a:gd name="T51" fmla="*/ 64 h 143"/>
              <a:gd name="T52" fmla="*/ 17 w 113"/>
              <a:gd name="T53" fmla="*/ 64 h 143"/>
              <a:gd name="T54" fmla="*/ 59 w 113"/>
              <a:gd name="T55" fmla="*/ 53 h 143"/>
              <a:gd name="T56" fmla="*/ 61 w 113"/>
              <a:gd name="T57" fmla="*/ 58 h 143"/>
              <a:gd name="T58" fmla="*/ 61 w 113"/>
              <a:gd name="T59" fmla="*/ 66 h 143"/>
              <a:gd name="T60" fmla="*/ 66 w 113"/>
              <a:gd name="T61" fmla="*/ 65 h 143"/>
              <a:gd name="T62" fmla="*/ 25 w 113"/>
              <a:gd name="T63" fmla="*/ 44 h 143"/>
              <a:gd name="T64" fmla="*/ 27 w 113"/>
              <a:gd name="T65" fmla="*/ 46 h 143"/>
              <a:gd name="T66" fmla="*/ 14 w 113"/>
              <a:gd name="T67" fmla="*/ 46 h 143"/>
              <a:gd name="T68" fmla="*/ 10 w 113"/>
              <a:gd name="T69" fmla="*/ 46 h 143"/>
              <a:gd name="T70" fmla="*/ 7 w 113"/>
              <a:gd name="T71" fmla="*/ 54 h 143"/>
              <a:gd name="T72" fmla="*/ 6 w 113"/>
              <a:gd name="T73" fmla="*/ 59 h 143"/>
              <a:gd name="T74" fmla="*/ 10 w 113"/>
              <a:gd name="T75" fmla="*/ 62 h 143"/>
              <a:gd name="T76" fmla="*/ 16 w 113"/>
              <a:gd name="T77" fmla="*/ 58 h 143"/>
              <a:gd name="T78" fmla="*/ 42 w 113"/>
              <a:gd name="T79" fmla="*/ 32 h 143"/>
              <a:gd name="T80" fmla="*/ 43 w 113"/>
              <a:gd name="T81" fmla="*/ 36 h 143"/>
              <a:gd name="T82" fmla="*/ 51 w 113"/>
              <a:gd name="T83" fmla="*/ 46 h 143"/>
              <a:gd name="T84" fmla="*/ 48 w 113"/>
              <a:gd name="T85" fmla="*/ 52 h 143"/>
              <a:gd name="T86" fmla="*/ 52 w 113"/>
              <a:gd name="T87" fmla="*/ 44 h 143"/>
              <a:gd name="T88" fmla="*/ 43 w 113"/>
              <a:gd name="T89" fmla="*/ 34 h 143"/>
              <a:gd name="T90" fmla="*/ 7 w 113"/>
              <a:gd name="T91" fmla="*/ 5 h 143"/>
              <a:gd name="T92" fmla="*/ 0 w 113"/>
              <a:gd name="T93" fmla="*/ 5 h 143"/>
              <a:gd name="T94" fmla="*/ 15 w 113"/>
              <a:gd name="T95" fmla="*/ 7 h 143"/>
              <a:gd name="T96" fmla="*/ 15 w 113"/>
              <a:gd name="T97" fmla="*/ 4 h 143"/>
              <a:gd name="T98" fmla="*/ 33 w 113"/>
              <a:gd name="T99" fmla="*/ 23 h 143"/>
              <a:gd name="T100" fmla="*/ 35 w 113"/>
              <a:gd name="T101" fmla="*/ 7 h 143"/>
              <a:gd name="T102" fmla="*/ 31 w 113"/>
              <a:gd name="T103" fmla="*/ 3 h 143"/>
              <a:gd name="T104" fmla="*/ 22 w 113"/>
              <a:gd name="T105" fmla="*/ 1 h 143"/>
              <a:gd name="T106" fmla="*/ 35 w 113"/>
              <a:gd name="T107" fmla="*/ 10 h 143"/>
              <a:gd name="T108" fmla="*/ 31 w 113"/>
              <a:gd name="T109" fmla="*/ 19 h 143"/>
              <a:gd name="T110" fmla="*/ 32 w 113"/>
              <a:gd name="T111" fmla="*/ 2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 h="143">
                <a:moveTo>
                  <a:pt x="104" y="136"/>
                </a:moveTo>
                <a:lnTo>
                  <a:pt x="104" y="134"/>
                </a:lnTo>
                <a:lnTo>
                  <a:pt x="103" y="133"/>
                </a:lnTo>
                <a:lnTo>
                  <a:pt x="101" y="136"/>
                </a:lnTo>
                <a:lnTo>
                  <a:pt x="100" y="137"/>
                </a:lnTo>
                <a:lnTo>
                  <a:pt x="99" y="137"/>
                </a:lnTo>
                <a:lnTo>
                  <a:pt x="96" y="136"/>
                </a:lnTo>
                <a:lnTo>
                  <a:pt x="94" y="136"/>
                </a:lnTo>
                <a:lnTo>
                  <a:pt x="92" y="138"/>
                </a:lnTo>
                <a:lnTo>
                  <a:pt x="90" y="139"/>
                </a:lnTo>
                <a:lnTo>
                  <a:pt x="90" y="139"/>
                </a:lnTo>
                <a:lnTo>
                  <a:pt x="90" y="140"/>
                </a:lnTo>
                <a:lnTo>
                  <a:pt x="89" y="141"/>
                </a:lnTo>
                <a:lnTo>
                  <a:pt x="89" y="142"/>
                </a:lnTo>
                <a:lnTo>
                  <a:pt x="90" y="143"/>
                </a:lnTo>
                <a:lnTo>
                  <a:pt x="96" y="143"/>
                </a:lnTo>
                <a:lnTo>
                  <a:pt x="100" y="142"/>
                </a:lnTo>
                <a:lnTo>
                  <a:pt x="103" y="138"/>
                </a:lnTo>
                <a:lnTo>
                  <a:pt x="104" y="136"/>
                </a:lnTo>
                <a:close/>
                <a:moveTo>
                  <a:pt x="107" y="129"/>
                </a:moveTo>
                <a:lnTo>
                  <a:pt x="105" y="128"/>
                </a:lnTo>
                <a:lnTo>
                  <a:pt x="104" y="129"/>
                </a:lnTo>
                <a:lnTo>
                  <a:pt x="104" y="130"/>
                </a:lnTo>
                <a:lnTo>
                  <a:pt x="107" y="129"/>
                </a:lnTo>
                <a:lnTo>
                  <a:pt x="107" y="129"/>
                </a:lnTo>
                <a:close/>
                <a:moveTo>
                  <a:pt x="107" y="107"/>
                </a:moveTo>
                <a:lnTo>
                  <a:pt x="105" y="106"/>
                </a:lnTo>
                <a:lnTo>
                  <a:pt x="104" y="108"/>
                </a:lnTo>
                <a:lnTo>
                  <a:pt x="105" y="109"/>
                </a:lnTo>
                <a:lnTo>
                  <a:pt x="108" y="108"/>
                </a:lnTo>
                <a:lnTo>
                  <a:pt x="110" y="109"/>
                </a:lnTo>
                <a:lnTo>
                  <a:pt x="112" y="110"/>
                </a:lnTo>
                <a:lnTo>
                  <a:pt x="113" y="109"/>
                </a:lnTo>
                <a:lnTo>
                  <a:pt x="113" y="109"/>
                </a:lnTo>
                <a:lnTo>
                  <a:pt x="111" y="108"/>
                </a:lnTo>
                <a:lnTo>
                  <a:pt x="109" y="107"/>
                </a:lnTo>
                <a:lnTo>
                  <a:pt x="108" y="107"/>
                </a:lnTo>
                <a:lnTo>
                  <a:pt x="107" y="107"/>
                </a:lnTo>
                <a:lnTo>
                  <a:pt x="107" y="107"/>
                </a:lnTo>
                <a:close/>
                <a:moveTo>
                  <a:pt x="82" y="112"/>
                </a:moveTo>
                <a:lnTo>
                  <a:pt x="85" y="110"/>
                </a:lnTo>
                <a:lnTo>
                  <a:pt x="87" y="109"/>
                </a:lnTo>
                <a:lnTo>
                  <a:pt x="91" y="104"/>
                </a:lnTo>
                <a:lnTo>
                  <a:pt x="90" y="102"/>
                </a:lnTo>
                <a:lnTo>
                  <a:pt x="91" y="100"/>
                </a:lnTo>
                <a:lnTo>
                  <a:pt x="89" y="100"/>
                </a:lnTo>
                <a:lnTo>
                  <a:pt x="88" y="102"/>
                </a:lnTo>
                <a:lnTo>
                  <a:pt x="88" y="103"/>
                </a:lnTo>
                <a:lnTo>
                  <a:pt x="89" y="103"/>
                </a:lnTo>
                <a:lnTo>
                  <a:pt x="89" y="104"/>
                </a:lnTo>
                <a:lnTo>
                  <a:pt x="88" y="106"/>
                </a:lnTo>
                <a:lnTo>
                  <a:pt x="87" y="106"/>
                </a:lnTo>
                <a:lnTo>
                  <a:pt x="87" y="107"/>
                </a:lnTo>
                <a:lnTo>
                  <a:pt x="86" y="107"/>
                </a:lnTo>
                <a:lnTo>
                  <a:pt x="85" y="109"/>
                </a:lnTo>
                <a:lnTo>
                  <a:pt x="82" y="112"/>
                </a:lnTo>
                <a:lnTo>
                  <a:pt x="81" y="113"/>
                </a:lnTo>
                <a:lnTo>
                  <a:pt x="82" y="112"/>
                </a:lnTo>
                <a:lnTo>
                  <a:pt x="82" y="112"/>
                </a:lnTo>
                <a:close/>
                <a:moveTo>
                  <a:pt x="86" y="100"/>
                </a:moveTo>
                <a:lnTo>
                  <a:pt x="85" y="100"/>
                </a:lnTo>
                <a:lnTo>
                  <a:pt x="84" y="98"/>
                </a:lnTo>
                <a:lnTo>
                  <a:pt x="82" y="98"/>
                </a:lnTo>
                <a:lnTo>
                  <a:pt x="82" y="98"/>
                </a:lnTo>
                <a:lnTo>
                  <a:pt x="82" y="99"/>
                </a:lnTo>
                <a:lnTo>
                  <a:pt x="82" y="101"/>
                </a:lnTo>
                <a:lnTo>
                  <a:pt x="83" y="100"/>
                </a:lnTo>
                <a:lnTo>
                  <a:pt x="86" y="102"/>
                </a:lnTo>
                <a:lnTo>
                  <a:pt x="87" y="101"/>
                </a:lnTo>
                <a:lnTo>
                  <a:pt x="86" y="100"/>
                </a:lnTo>
                <a:close/>
                <a:moveTo>
                  <a:pt x="71" y="96"/>
                </a:moveTo>
                <a:lnTo>
                  <a:pt x="71" y="93"/>
                </a:lnTo>
                <a:lnTo>
                  <a:pt x="70" y="91"/>
                </a:lnTo>
                <a:lnTo>
                  <a:pt x="68" y="90"/>
                </a:lnTo>
                <a:lnTo>
                  <a:pt x="67" y="86"/>
                </a:lnTo>
                <a:lnTo>
                  <a:pt x="66" y="83"/>
                </a:lnTo>
                <a:lnTo>
                  <a:pt x="65" y="81"/>
                </a:lnTo>
                <a:lnTo>
                  <a:pt x="64" y="77"/>
                </a:lnTo>
                <a:lnTo>
                  <a:pt x="64" y="79"/>
                </a:lnTo>
                <a:lnTo>
                  <a:pt x="64" y="80"/>
                </a:lnTo>
                <a:lnTo>
                  <a:pt x="65" y="82"/>
                </a:lnTo>
                <a:lnTo>
                  <a:pt x="66" y="86"/>
                </a:lnTo>
                <a:lnTo>
                  <a:pt x="67" y="87"/>
                </a:lnTo>
                <a:lnTo>
                  <a:pt x="66" y="88"/>
                </a:lnTo>
                <a:lnTo>
                  <a:pt x="65" y="88"/>
                </a:lnTo>
                <a:lnTo>
                  <a:pt x="64" y="89"/>
                </a:lnTo>
                <a:lnTo>
                  <a:pt x="66" y="90"/>
                </a:lnTo>
                <a:lnTo>
                  <a:pt x="69" y="92"/>
                </a:lnTo>
                <a:lnTo>
                  <a:pt x="71" y="97"/>
                </a:lnTo>
                <a:lnTo>
                  <a:pt x="71" y="96"/>
                </a:lnTo>
                <a:lnTo>
                  <a:pt x="71" y="96"/>
                </a:lnTo>
                <a:close/>
                <a:moveTo>
                  <a:pt x="56" y="83"/>
                </a:moveTo>
                <a:lnTo>
                  <a:pt x="54" y="82"/>
                </a:lnTo>
                <a:lnTo>
                  <a:pt x="54" y="81"/>
                </a:lnTo>
                <a:lnTo>
                  <a:pt x="51" y="78"/>
                </a:lnTo>
                <a:lnTo>
                  <a:pt x="50" y="77"/>
                </a:lnTo>
                <a:lnTo>
                  <a:pt x="49" y="79"/>
                </a:lnTo>
                <a:lnTo>
                  <a:pt x="50" y="79"/>
                </a:lnTo>
                <a:lnTo>
                  <a:pt x="54" y="82"/>
                </a:lnTo>
                <a:lnTo>
                  <a:pt x="56" y="83"/>
                </a:lnTo>
                <a:lnTo>
                  <a:pt x="56" y="83"/>
                </a:lnTo>
                <a:lnTo>
                  <a:pt x="56" y="83"/>
                </a:lnTo>
                <a:close/>
                <a:moveTo>
                  <a:pt x="84" y="68"/>
                </a:moveTo>
                <a:lnTo>
                  <a:pt x="83" y="67"/>
                </a:lnTo>
                <a:lnTo>
                  <a:pt x="83" y="67"/>
                </a:lnTo>
                <a:lnTo>
                  <a:pt x="82" y="67"/>
                </a:lnTo>
                <a:lnTo>
                  <a:pt x="80" y="71"/>
                </a:lnTo>
                <a:lnTo>
                  <a:pt x="82" y="71"/>
                </a:lnTo>
                <a:lnTo>
                  <a:pt x="84" y="68"/>
                </a:lnTo>
                <a:lnTo>
                  <a:pt x="84" y="68"/>
                </a:lnTo>
                <a:close/>
                <a:moveTo>
                  <a:pt x="17" y="64"/>
                </a:moveTo>
                <a:lnTo>
                  <a:pt x="16" y="62"/>
                </a:lnTo>
                <a:lnTo>
                  <a:pt x="15" y="63"/>
                </a:lnTo>
                <a:lnTo>
                  <a:pt x="14" y="63"/>
                </a:lnTo>
                <a:lnTo>
                  <a:pt x="13" y="64"/>
                </a:lnTo>
                <a:lnTo>
                  <a:pt x="12" y="64"/>
                </a:lnTo>
                <a:lnTo>
                  <a:pt x="11" y="64"/>
                </a:lnTo>
                <a:lnTo>
                  <a:pt x="12" y="68"/>
                </a:lnTo>
                <a:lnTo>
                  <a:pt x="13" y="69"/>
                </a:lnTo>
                <a:lnTo>
                  <a:pt x="14" y="73"/>
                </a:lnTo>
                <a:lnTo>
                  <a:pt x="15" y="73"/>
                </a:lnTo>
                <a:lnTo>
                  <a:pt x="14" y="75"/>
                </a:lnTo>
                <a:lnTo>
                  <a:pt x="18" y="75"/>
                </a:lnTo>
                <a:lnTo>
                  <a:pt x="19" y="73"/>
                </a:lnTo>
                <a:lnTo>
                  <a:pt x="19" y="72"/>
                </a:lnTo>
                <a:lnTo>
                  <a:pt x="19" y="72"/>
                </a:lnTo>
                <a:lnTo>
                  <a:pt x="19" y="71"/>
                </a:lnTo>
                <a:lnTo>
                  <a:pt x="19" y="70"/>
                </a:lnTo>
                <a:lnTo>
                  <a:pt x="19" y="66"/>
                </a:lnTo>
                <a:lnTo>
                  <a:pt x="18" y="64"/>
                </a:lnTo>
                <a:lnTo>
                  <a:pt x="16" y="67"/>
                </a:lnTo>
                <a:lnTo>
                  <a:pt x="15" y="66"/>
                </a:lnTo>
                <a:lnTo>
                  <a:pt x="17" y="64"/>
                </a:lnTo>
                <a:lnTo>
                  <a:pt x="17" y="64"/>
                </a:lnTo>
                <a:lnTo>
                  <a:pt x="17" y="64"/>
                </a:lnTo>
                <a:close/>
                <a:moveTo>
                  <a:pt x="66" y="65"/>
                </a:moveTo>
                <a:lnTo>
                  <a:pt x="62" y="60"/>
                </a:lnTo>
                <a:lnTo>
                  <a:pt x="62" y="59"/>
                </a:lnTo>
                <a:lnTo>
                  <a:pt x="60" y="53"/>
                </a:lnTo>
                <a:lnTo>
                  <a:pt x="59" y="53"/>
                </a:lnTo>
                <a:lnTo>
                  <a:pt x="58" y="53"/>
                </a:lnTo>
                <a:lnTo>
                  <a:pt x="58" y="54"/>
                </a:lnTo>
                <a:lnTo>
                  <a:pt x="59" y="56"/>
                </a:lnTo>
                <a:lnTo>
                  <a:pt x="59" y="57"/>
                </a:lnTo>
                <a:lnTo>
                  <a:pt x="61" y="58"/>
                </a:lnTo>
                <a:lnTo>
                  <a:pt x="62" y="62"/>
                </a:lnTo>
                <a:lnTo>
                  <a:pt x="64" y="63"/>
                </a:lnTo>
                <a:lnTo>
                  <a:pt x="63" y="64"/>
                </a:lnTo>
                <a:lnTo>
                  <a:pt x="62" y="66"/>
                </a:lnTo>
                <a:lnTo>
                  <a:pt x="61" y="66"/>
                </a:lnTo>
                <a:lnTo>
                  <a:pt x="62" y="66"/>
                </a:lnTo>
                <a:lnTo>
                  <a:pt x="64" y="66"/>
                </a:lnTo>
                <a:lnTo>
                  <a:pt x="66" y="66"/>
                </a:lnTo>
                <a:lnTo>
                  <a:pt x="66" y="65"/>
                </a:lnTo>
                <a:lnTo>
                  <a:pt x="66" y="65"/>
                </a:lnTo>
                <a:close/>
                <a:moveTo>
                  <a:pt x="27" y="46"/>
                </a:moveTo>
                <a:lnTo>
                  <a:pt x="29" y="45"/>
                </a:lnTo>
                <a:lnTo>
                  <a:pt x="29" y="45"/>
                </a:lnTo>
                <a:lnTo>
                  <a:pt x="28" y="44"/>
                </a:lnTo>
                <a:lnTo>
                  <a:pt x="25" y="44"/>
                </a:lnTo>
                <a:lnTo>
                  <a:pt x="23" y="45"/>
                </a:lnTo>
                <a:lnTo>
                  <a:pt x="22" y="46"/>
                </a:lnTo>
                <a:lnTo>
                  <a:pt x="23" y="46"/>
                </a:lnTo>
                <a:lnTo>
                  <a:pt x="24" y="46"/>
                </a:lnTo>
                <a:lnTo>
                  <a:pt x="27" y="46"/>
                </a:lnTo>
                <a:lnTo>
                  <a:pt x="27" y="46"/>
                </a:lnTo>
                <a:close/>
                <a:moveTo>
                  <a:pt x="17" y="53"/>
                </a:moveTo>
                <a:lnTo>
                  <a:pt x="15" y="51"/>
                </a:lnTo>
                <a:lnTo>
                  <a:pt x="15" y="47"/>
                </a:lnTo>
                <a:lnTo>
                  <a:pt x="14" y="46"/>
                </a:lnTo>
                <a:lnTo>
                  <a:pt x="15" y="44"/>
                </a:lnTo>
                <a:lnTo>
                  <a:pt x="13" y="43"/>
                </a:lnTo>
                <a:lnTo>
                  <a:pt x="11" y="41"/>
                </a:lnTo>
                <a:lnTo>
                  <a:pt x="10" y="42"/>
                </a:lnTo>
                <a:lnTo>
                  <a:pt x="10" y="46"/>
                </a:lnTo>
                <a:lnTo>
                  <a:pt x="9" y="47"/>
                </a:lnTo>
                <a:lnTo>
                  <a:pt x="6" y="52"/>
                </a:lnTo>
                <a:lnTo>
                  <a:pt x="7" y="53"/>
                </a:lnTo>
                <a:lnTo>
                  <a:pt x="7" y="53"/>
                </a:lnTo>
                <a:lnTo>
                  <a:pt x="7" y="54"/>
                </a:lnTo>
                <a:lnTo>
                  <a:pt x="5" y="56"/>
                </a:lnTo>
                <a:lnTo>
                  <a:pt x="5" y="55"/>
                </a:lnTo>
                <a:lnTo>
                  <a:pt x="3" y="55"/>
                </a:lnTo>
                <a:lnTo>
                  <a:pt x="4" y="57"/>
                </a:lnTo>
                <a:lnTo>
                  <a:pt x="6" y="59"/>
                </a:lnTo>
                <a:lnTo>
                  <a:pt x="7" y="59"/>
                </a:lnTo>
                <a:lnTo>
                  <a:pt x="9" y="58"/>
                </a:lnTo>
                <a:lnTo>
                  <a:pt x="9" y="60"/>
                </a:lnTo>
                <a:lnTo>
                  <a:pt x="10" y="61"/>
                </a:lnTo>
                <a:lnTo>
                  <a:pt x="10" y="62"/>
                </a:lnTo>
                <a:lnTo>
                  <a:pt x="11" y="61"/>
                </a:lnTo>
                <a:lnTo>
                  <a:pt x="14" y="60"/>
                </a:lnTo>
                <a:lnTo>
                  <a:pt x="15" y="60"/>
                </a:lnTo>
                <a:lnTo>
                  <a:pt x="16" y="59"/>
                </a:lnTo>
                <a:lnTo>
                  <a:pt x="16" y="58"/>
                </a:lnTo>
                <a:lnTo>
                  <a:pt x="17" y="56"/>
                </a:lnTo>
                <a:lnTo>
                  <a:pt x="17" y="53"/>
                </a:lnTo>
                <a:lnTo>
                  <a:pt x="17" y="53"/>
                </a:lnTo>
                <a:close/>
                <a:moveTo>
                  <a:pt x="43" y="34"/>
                </a:moveTo>
                <a:lnTo>
                  <a:pt x="42" y="32"/>
                </a:lnTo>
                <a:lnTo>
                  <a:pt x="41" y="32"/>
                </a:lnTo>
                <a:lnTo>
                  <a:pt x="41" y="34"/>
                </a:lnTo>
                <a:lnTo>
                  <a:pt x="40" y="36"/>
                </a:lnTo>
                <a:lnTo>
                  <a:pt x="42" y="35"/>
                </a:lnTo>
                <a:lnTo>
                  <a:pt x="43" y="36"/>
                </a:lnTo>
                <a:lnTo>
                  <a:pt x="45" y="38"/>
                </a:lnTo>
                <a:lnTo>
                  <a:pt x="48" y="38"/>
                </a:lnTo>
                <a:lnTo>
                  <a:pt x="49" y="41"/>
                </a:lnTo>
                <a:lnTo>
                  <a:pt x="51" y="43"/>
                </a:lnTo>
                <a:lnTo>
                  <a:pt x="51" y="46"/>
                </a:lnTo>
                <a:lnTo>
                  <a:pt x="50" y="47"/>
                </a:lnTo>
                <a:lnTo>
                  <a:pt x="49" y="50"/>
                </a:lnTo>
                <a:lnTo>
                  <a:pt x="47" y="50"/>
                </a:lnTo>
                <a:lnTo>
                  <a:pt x="47" y="51"/>
                </a:lnTo>
                <a:lnTo>
                  <a:pt x="48" y="52"/>
                </a:lnTo>
                <a:lnTo>
                  <a:pt x="49" y="53"/>
                </a:lnTo>
                <a:lnTo>
                  <a:pt x="50" y="54"/>
                </a:lnTo>
                <a:lnTo>
                  <a:pt x="50" y="51"/>
                </a:lnTo>
                <a:lnTo>
                  <a:pt x="51" y="48"/>
                </a:lnTo>
                <a:lnTo>
                  <a:pt x="52" y="44"/>
                </a:lnTo>
                <a:lnTo>
                  <a:pt x="52" y="43"/>
                </a:lnTo>
                <a:lnTo>
                  <a:pt x="51" y="42"/>
                </a:lnTo>
                <a:lnTo>
                  <a:pt x="48" y="38"/>
                </a:lnTo>
                <a:lnTo>
                  <a:pt x="45" y="37"/>
                </a:lnTo>
                <a:lnTo>
                  <a:pt x="43" y="34"/>
                </a:lnTo>
                <a:lnTo>
                  <a:pt x="43" y="34"/>
                </a:lnTo>
                <a:close/>
                <a:moveTo>
                  <a:pt x="10" y="4"/>
                </a:moveTo>
                <a:lnTo>
                  <a:pt x="8" y="4"/>
                </a:lnTo>
                <a:lnTo>
                  <a:pt x="7" y="4"/>
                </a:lnTo>
                <a:lnTo>
                  <a:pt x="7" y="5"/>
                </a:lnTo>
                <a:lnTo>
                  <a:pt x="7" y="6"/>
                </a:lnTo>
                <a:lnTo>
                  <a:pt x="5" y="8"/>
                </a:lnTo>
                <a:lnTo>
                  <a:pt x="3" y="8"/>
                </a:lnTo>
                <a:lnTo>
                  <a:pt x="1" y="6"/>
                </a:lnTo>
                <a:lnTo>
                  <a:pt x="0" y="5"/>
                </a:lnTo>
                <a:lnTo>
                  <a:pt x="2" y="10"/>
                </a:lnTo>
                <a:lnTo>
                  <a:pt x="3" y="10"/>
                </a:lnTo>
                <a:lnTo>
                  <a:pt x="5" y="10"/>
                </a:lnTo>
                <a:lnTo>
                  <a:pt x="9" y="9"/>
                </a:lnTo>
                <a:lnTo>
                  <a:pt x="15" y="7"/>
                </a:lnTo>
                <a:lnTo>
                  <a:pt x="21" y="6"/>
                </a:lnTo>
                <a:lnTo>
                  <a:pt x="21" y="5"/>
                </a:lnTo>
                <a:lnTo>
                  <a:pt x="21" y="4"/>
                </a:lnTo>
                <a:lnTo>
                  <a:pt x="18" y="5"/>
                </a:lnTo>
                <a:lnTo>
                  <a:pt x="15" y="4"/>
                </a:lnTo>
                <a:lnTo>
                  <a:pt x="14" y="5"/>
                </a:lnTo>
                <a:lnTo>
                  <a:pt x="12" y="5"/>
                </a:lnTo>
                <a:lnTo>
                  <a:pt x="10" y="4"/>
                </a:lnTo>
                <a:close/>
                <a:moveTo>
                  <a:pt x="32" y="24"/>
                </a:moveTo>
                <a:lnTo>
                  <a:pt x="33" y="23"/>
                </a:lnTo>
                <a:lnTo>
                  <a:pt x="35" y="17"/>
                </a:lnTo>
                <a:lnTo>
                  <a:pt x="38" y="14"/>
                </a:lnTo>
                <a:lnTo>
                  <a:pt x="38" y="10"/>
                </a:lnTo>
                <a:lnTo>
                  <a:pt x="36" y="8"/>
                </a:lnTo>
                <a:lnTo>
                  <a:pt x="35" y="7"/>
                </a:lnTo>
                <a:lnTo>
                  <a:pt x="34" y="6"/>
                </a:lnTo>
                <a:lnTo>
                  <a:pt x="35" y="5"/>
                </a:lnTo>
                <a:lnTo>
                  <a:pt x="34" y="5"/>
                </a:lnTo>
                <a:lnTo>
                  <a:pt x="33" y="4"/>
                </a:lnTo>
                <a:lnTo>
                  <a:pt x="31" y="3"/>
                </a:lnTo>
                <a:lnTo>
                  <a:pt x="29" y="1"/>
                </a:lnTo>
                <a:lnTo>
                  <a:pt x="28" y="1"/>
                </a:lnTo>
                <a:lnTo>
                  <a:pt x="25" y="0"/>
                </a:lnTo>
                <a:lnTo>
                  <a:pt x="24" y="0"/>
                </a:lnTo>
                <a:lnTo>
                  <a:pt x="22" y="1"/>
                </a:lnTo>
                <a:lnTo>
                  <a:pt x="25" y="1"/>
                </a:lnTo>
                <a:lnTo>
                  <a:pt x="30" y="2"/>
                </a:lnTo>
                <a:lnTo>
                  <a:pt x="33" y="7"/>
                </a:lnTo>
                <a:lnTo>
                  <a:pt x="35" y="9"/>
                </a:lnTo>
                <a:lnTo>
                  <a:pt x="35" y="10"/>
                </a:lnTo>
                <a:lnTo>
                  <a:pt x="34" y="12"/>
                </a:lnTo>
                <a:lnTo>
                  <a:pt x="34" y="14"/>
                </a:lnTo>
                <a:lnTo>
                  <a:pt x="33" y="16"/>
                </a:lnTo>
                <a:lnTo>
                  <a:pt x="33" y="18"/>
                </a:lnTo>
                <a:lnTo>
                  <a:pt x="31" y="19"/>
                </a:lnTo>
                <a:lnTo>
                  <a:pt x="29" y="21"/>
                </a:lnTo>
                <a:lnTo>
                  <a:pt x="30" y="22"/>
                </a:lnTo>
                <a:lnTo>
                  <a:pt x="31" y="25"/>
                </a:lnTo>
                <a:lnTo>
                  <a:pt x="32" y="24"/>
                </a:lnTo>
                <a:lnTo>
                  <a:pt x="32" y="2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87" name="Bermuda">
            <a:extLst>
              <a:ext uri="{FF2B5EF4-FFF2-40B4-BE49-F238E27FC236}">
                <a16:creationId xmlns:a16="http://schemas.microsoft.com/office/drawing/2014/main" id="{784FDB04-4F31-4B38-A146-9BB26A8D9E53}"/>
              </a:ext>
            </a:extLst>
          </p:cNvPr>
          <p:cNvSpPr>
            <a:spLocks/>
          </p:cNvSpPr>
          <p:nvPr/>
        </p:nvSpPr>
        <p:spPr bwMode="auto">
          <a:xfrm>
            <a:off x="2995110" y="3032055"/>
            <a:ext cx="5103" cy="5104"/>
          </a:xfrm>
          <a:custGeom>
            <a:avLst/>
            <a:gdLst>
              <a:gd name="T0" fmla="*/ 2 w 3"/>
              <a:gd name="T1" fmla="*/ 2 h 3"/>
              <a:gd name="T2" fmla="*/ 3 w 3"/>
              <a:gd name="T3" fmla="*/ 0 h 3"/>
              <a:gd name="T4" fmla="*/ 3 w 3"/>
              <a:gd name="T5" fmla="*/ 0 h 3"/>
              <a:gd name="T6" fmla="*/ 1 w 3"/>
              <a:gd name="T7" fmla="*/ 2 h 3"/>
              <a:gd name="T8" fmla="*/ 0 w 3"/>
              <a:gd name="T9" fmla="*/ 3 h 3"/>
              <a:gd name="T10" fmla="*/ 0 w 3"/>
              <a:gd name="T11" fmla="*/ 3 h 3"/>
              <a:gd name="T12" fmla="*/ 0 w 3"/>
              <a:gd name="T13" fmla="*/ 3 h 3"/>
              <a:gd name="T14" fmla="*/ 2 w 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2" y="2"/>
                </a:moveTo>
                <a:lnTo>
                  <a:pt x="3" y="0"/>
                </a:lnTo>
                <a:lnTo>
                  <a:pt x="3" y="0"/>
                </a:lnTo>
                <a:lnTo>
                  <a:pt x="1" y="2"/>
                </a:lnTo>
                <a:lnTo>
                  <a:pt x="0" y="3"/>
                </a:lnTo>
                <a:lnTo>
                  <a:pt x="0" y="3"/>
                </a:lnTo>
                <a:lnTo>
                  <a:pt x="0" y="3"/>
                </a:lnTo>
                <a:lnTo>
                  <a:pt x="2" y="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88" name="Barbados">
            <a:extLst>
              <a:ext uri="{FF2B5EF4-FFF2-40B4-BE49-F238E27FC236}">
                <a16:creationId xmlns:a16="http://schemas.microsoft.com/office/drawing/2014/main" id="{3548CB0C-B20C-458B-842B-B1F307431A9D}"/>
              </a:ext>
            </a:extLst>
          </p:cNvPr>
          <p:cNvSpPr>
            <a:spLocks/>
          </p:cNvSpPr>
          <p:nvPr/>
        </p:nvSpPr>
        <p:spPr bwMode="auto">
          <a:xfrm>
            <a:off x="3086975" y="3802706"/>
            <a:ext cx="6805" cy="8506"/>
          </a:xfrm>
          <a:custGeom>
            <a:avLst/>
            <a:gdLst>
              <a:gd name="T0" fmla="*/ 3 w 4"/>
              <a:gd name="T1" fmla="*/ 5 h 5"/>
              <a:gd name="T2" fmla="*/ 4 w 4"/>
              <a:gd name="T3" fmla="*/ 4 h 5"/>
              <a:gd name="T4" fmla="*/ 3 w 4"/>
              <a:gd name="T5" fmla="*/ 3 h 5"/>
              <a:gd name="T6" fmla="*/ 2 w 4"/>
              <a:gd name="T7" fmla="*/ 0 h 5"/>
              <a:gd name="T8" fmla="*/ 0 w 4"/>
              <a:gd name="T9" fmla="*/ 0 h 5"/>
              <a:gd name="T10" fmla="*/ 0 w 4"/>
              <a:gd name="T11" fmla="*/ 4 h 5"/>
              <a:gd name="T12" fmla="*/ 1 w 4"/>
              <a:gd name="T13" fmla="*/ 4 h 5"/>
              <a:gd name="T14" fmla="*/ 3 w 4"/>
              <a:gd name="T15" fmla="*/ 5 h 5"/>
              <a:gd name="T16" fmla="*/ 3 w 4"/>
              <a:gd name="T17" fmla="*/ 5 h 5"/>
              <a:gd name="T18" fmla="*/ 3 w 4"/>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3" y="5"/>
                </a:moveTo>
                <a:lnTo>
                  <a:pt x="4" y="4"/>
                </a:lnTo>
                <a:lnTo>
                  <a:pt x="3" y="3"/>
                </a:lnTo>
                <a:lnTo>
                  <a:pt x="2" y="0"/>
                </a:lnTo>
                <a:lnTo>
                  <a:pt x="0" y="0"/>
                </a:lnTo>
                <a:lnTo>
                  <a:pt x="0" y="4"/>
                </a:lnTo>
                <a:lnTo>
                  <a:pt x="1" y="4"/>
                </a:lnTo>
                <a:lnTo>
                  <a:pt x="3" y="5"/>
                </a:lnTo>
                <a:lnTo>
                  <a:pt x="3" y="5"/>
                </a:lnTo>
                <a:lnTo>
                  <a:pt x="3" y="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89" name="Comoros">
            <a:extLst>
              <a:ext uri="{FF2B5EF4-FFF2-40B4-BE49-F238E27FC236}">
                <a16:creationId xmlns:a16="http://schemas.microsoft.com/office/drawing/2014/main" id="{CB5191EF-CB84-428E-99C5-61EF2808E028}"/>
              </a:ext>
            </a:extLst>
          </p:cNvPr>
          <p:cNvSpPr>
            <a:spLocks noEditPoints="1"/>
          </p:cNvSpPr>
          <p:nvPr/>
        </p:nvSpPr>
        <p:spPr bwMode="auto">
          <a:xfrm>
            <a:off x="6732678" y="4799617"/>
            <a:ext cx="45932" cy="40829"/>
          </a:xfrm>
          <a:custGeom>
            <a:avLst/>
            <a:gdLst>
              <a:gd name="T0" fmla="*/ 12 w 27"/>
              <a:gd name="T1" fmla="*/ 23 h 24"/>
              <a:gd name="T2" fmla="*/ 11 w 27"/>
              <a:gd name="T3" fmla="*/ 21 h 24"/>
              <a:gd name="T4" fmla="*/ 9 w 27"/>
              <a:gd name="T5" fmla="*/ 21 h 24"/>
              <a:gd name="T6" fmla="*/ 9 w 27"/>
              <a:gd name="T7" fmla="*/ 22 h 24"/>
              <a:gd name="T8" fmla="*/ 10 w 27"/>
              <a:gd name="T9" fmla="*/ 23 h 24"/>
              <a:gd name="T10" fmla="*/ 13 w 27"/>
              <a:gd name="T11" fmla="*/ 24 h 24"/>
              <a:gd name="T12" fmla="*/ 12 w 27"/>
              <a:gd name="T13" fmla="*/ 23 h 24"/>
              <a:gd name="T14" fmla="*/ 12 w 27"/>
              <a:gd name="T15" fmla="*/ 23 h 24"/>
              <a:gd name="T16" fmla="*/ 27 w 27"/>
              <a:gd name="T17" fmla="*/ 17 h 24"/>
              <a:gd name="T18" fmla="*/ 27 w 27"/>
              <a:gd name="T19" fmla="*/ 17 h 24"/>
              <a:gd name="T20" fmla="*/ 26 w 27"/>
              <a:gd name="T21" fmla="*/ 17 h 24"/>
              <a:gd name="T22" fmla="*/ 25 w 27"/>
              <a:gd name="T23" fmla="*/ 18 h 24"/>
              <a:gd name="T24" fmla="*/ 25 w 27"/>
              <a:gd name="T25" fmla="*/ 19 h 24"/>
              <a:gd name="T26" fmla="*/ 24 w 27"/>
              <a:gd name="T27" fmla="*/ 19 h 24"/>
              <a:gd name="T28" fmla="*/ 23 w 27"/>
              <a:gd name="T29" fmla="*/ 19 h 24"/>
              <a:gd name="T30" fmla="*/ 21 w 27"/>
              <a:gd name="T31" fmla="*/ 19 h 24"/>
              <a:gd name="T32" fmla="*/ 25 w 27"/>
              <a:gd name="T33" fmla="*/ 21 h 24"/>
              <a:gd name="T34" fmla="*/ 27 w 27"/>
              <a:gd name="T35" fmla="*/ 23 h 24"/>
              <a:gd name="T36" fmla="*/ 27 w 27"/>
              <a:gd name="T37" fmla="*/ 23 h 24"/>
              <a:gd name="T38" fmla="*/ 27 w 27"/>
              <a:gd name="T39" fmla="*/ 23 h 24"/>
              <a:gd name="T40" fmla="*/ 27 w 27"/>
              <a:gd name="T41" fmla="*/ 21 h 24"/>
              <a:gd name="T42" fmla="*/ 27 w 27"/>
              <a:gd name="T43" fmla="*/ 17 h 24"/>
              <a:gd name="T44" fmla="*/ 27 w 27"/>
              <a:gd name="T45" fmla="*/ 17 h 24"/>
              <a:gd name="T46" fmla="*/ 6 w 27"/>
              <a:gd name="T47" fmla="*/ 13 h 24"/>
              <a:gd name="T48" fmla="*/ 6 w 27"/>
              <a:gd name="T49" fmla="*/ 11 h 24"/>
              <a:gd name="T50" fmla="*/ 6 w 27"/>
              <a:gd name="T51" fmla="*/ 9 h 24"/>
              <a:gd name="T52" fmla="*/ 4 w 27"/>
              <a:gd name="T53" fmla="*/ 6 h 24"/>
              <a:gd name="T54" fmla="*/ 4 w 27"/>
              <a:gd name="T55" fmla="*/ 1 h 24"/>
              <a:gd name="T56" fmla="*/ 4 w 27"/>
              <a:gd name="T57" fmla="*/ 0 h 24"/>
              <a:gd name="T58" fmla="*/ 2 w 27"/>
              <a:gd name="T59" fmla="*/ 0 h 24"/>
              <a:gd name="T60" fmla="*/ 2 w 27"/>
              <a:gd name="T61" fmla="*/ 0 h 24"/>
              <a:gd name="T62" fmla="*/ 2 w 27"/>
              <a:gd name="T63" fmla="*/ 2 h 24"/>
              <a:gd name="T64" fmla="*/ 0 w 27"/>
              <a:gd name="T65" fmla="*/ 9 h 24"/>
              <a:gd name="T66" fmla="*/ 2 w 27"/>
              <a:gd name="T67" fmla="*/ 11 h 24"/>
              <a:gd name="T68" fmla="*/ 3 w 27"/>
              <a:gd name="T69" fmla="*/ 11 h 24"/>
              <a:gd name="T70" fmla="*/ 5 w 27"/>
              <a:gd name="T71" fmla="*/ 13 h 24"/>
              <a:gd name="T72" fmla="*/ 6 w 27"/>
              <a:gd name="T73" fmla="*/ 13 h 24"/>
              <a:gd name="T74" fmla="*/ 6 w 27"/>
              <a:gd name="T75"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 h="24">
                <a:moveTo>
                  <a:pt x="12" y="23"/>
                </a:moveTo>
                <a:lnTo>
                  <a:pt x="11" y="21"/>
                </a:lnTo>
                <a:lnTo>
                  <a:pt x="9" y="21"/>
                </a:lnTo>
                <a:lnTo>
                  <a:pt x="9" y="22"/>
                </a:lnTo>
                <a:lnTo>
                  <a:pt x="10" y="23"/>
                </a:lnTo>
                <a:lnTo>
                  <a:pt x="13" y="24"/>
                </a:lnTo>
                <a:lnTo>
                  <a:pt x="12" y="23"/>
                </a:lnTo>
                <a:lnTo>
                  <a:pt x="12" y="23"/>
                </a:lnTo>
                <a:close/>
                <a:moveTo>
                  <a:pt x="27" y="17"/>
                </a:moveTo>
                <a:lnTo>
                  <a:pt x="27" y="17"/>
                </a:lnTo>
                <a:lnTo>
                  <a:pt x="26" y="17"/>
                </a:lnTo>
                <a:lnTo>
                  <a:pt x="25" y="18"/>
                </a:lnTo>
                <a:lnTo>
                  <a:pt x="25" y="19"/>
                </a:lnTo>
                <a:lnTo>
                  <a:pt x="24" y="19"/>
                </a:lnTo>
                <a:lnTo>
                  <a:pt x="23" y="19"/>
                </a:lnTo>
                <a:lnTo>
                  <a:pt x="21" y="19"/>
                </a:lnTo>
                <a:lnTo>
                  <a:pt x="25" y="21"/>
                </a:lnTo>
                <a:lnTo>
                  <a:pt x="27" y="23"/>
                </a:lnTo>
                <a:lnTo>
                  <a:pt x="27" y="23"/>
                </a:lnTo>
                <a:lnTo>
                  <a:pt x="27" y="23"/>
                </a:lnTo>
                <a:lnTo>
                  <a:pt x="27" y="21"/>
                </a:lnTo>
                <a:lnTo>
                  <a:pt x="27" y="17"/>
                </a:lnTo>
                <a:lnTo>
                  <a:pt x="27" y="17"/>
                </a:lnTo>
                <a:close/>
                <a:moveTo>
                  <a:pt x="6" y="13"/>
                </a:moveTo>
                <a:lnTo>
                  <a:pt x="6" y="11"/>
                </a:lnTo>
                <a:lnTo>
                  <a:pt x="6" y="9"/>
                </a:lnTo>
                <a:lnTo>
                  <a:pt x="4" y="6"/>
                </a:lnTo>
                <a:lnTo>
                  <a:pt x="4" y="1"/>
                </a:lnTo>
                <a:lnTo>
                  <a:pt x="4" y="0"/>
                </a:lnTo>
                <a:lnTo>
                  <a:pt x="2" y="0"/>
                </a:lnTo>
                <a:lnTo>
                  <a:pt x="2" y="0"/>
                </a:lnTo>
                <a:lnTo>
                  <a:pt x="2" y="2"/>
                </a:lnTo>
                <a:lnTo>
                  <a:pt x="0" y="9"/>
                </a:lnTo>
                <a:lnTo>
                  <a:pt x="2" y="11"/>
                </a:lnTo>
                <a:lnTo>
                  <a:pt x="3" y="11"/>
                </a:lnTo>
                <a:lnTo>
                  <a:pt x="5" y="13"/>
                </a:lnTo>
                <a:lnTo>
                  <a:pt x="6" y="13"/>
                </a:lnTo>
                <a:lnTo>
                  <a:pt x="6" y="1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90" name="Cape Verde">
            <a:extLst>
              <a:ext uri="{FF2B5EF4-FFF2-40B4-BE49-F238E27FC236}">
                <a16:creationId xmlns:a16="http://schemas.microsoft.com/office/drawing/2014/main" id="{51275333-BA0F-43FC-A8C9-69FFA53ED5F2}"/>
              </a:ext>
            </a:extLst>
          </p:cNvPr>
          <p:cNvSpPr>
            <a:spLocks noEditPoints="1"/>
          </p:cNvSpPr>
          <p:nvPr/>
        </p:nvSpPr>
        <p:spPr bwMode="auto">
          <a:xfrm>
            <a:off x="4306746" y="3644492"/>
            <a:ext cx="93566" cy="96969"/>
          </a:xfrm>
          <a:custGeom>
            <a:avLst/>
            <a:gdLst>
              <a:gd name="T0" fmla="*/ 20 w 55"/>
              <a:gd name="T1" fmla="*/ 55 h 57"/>
              <a:gd name="T2" fmla="*/ 18 w 55"/>
              <a:gd name="T3" fmla="*/ 52 h 57"/>
              <a:gd name="T4" fmla="*/ 16 w 55"/>
              <a:gd name="T5" fmla="*/ 55 h 57"/>
              <a:gd name="T6" fmla="*/ 18 w 55"/>
              <a:gd name="T7" fmla="*/ 56 h 57"/>
              <a:gd name="T8" fmla="*/ 20 w 55"/>
              <a:gd name="T9" fmla="*/ 55 h 57"/>
              <a:gd name="T10" fmla="*/ 44 w 55"/>
              <a:gd name="T11" fmla="*/ 50 h 57"/>
              <a:gd name="T12" fmla="*/ 45 w 55"/>
              <a:gd name="T13" fmla="*/ 46 h 57"/>
              <a:gd name="T14" fmla="*/ 43 w 55"/>
              <a:gd name="T15" fmla="*/ 45 h 57"/>
              <a:gd name="T16" fmla="*/ 43 w 55"/>
              <a:gd name="T17" fmla="*/ 47 h 57"/>
              <a:gd name="T18" fmla="*/ 43 w 55"/>
              <a:gd name="T19" fmla="*/ 50 h 57"/>
              <a:gd name="T20" fmla="*/ 44 w 55"/>
              <a:gd name="T21" fmla="*/ 50 h 57"/>
              <a:gd name="T22" fmla="*/ 36 w 55"/>
              <a:gd name="T23" fmla="*/ 49 h 57"/>
              <a:gd name="T24" fmla="*/ 33 w 55"/>
              <a:gd name="T25" fmla="*/ 46 h 57"/>
              <a:gd name="T26" fmla="*/ 32 w 55"/>
              <a:gd name="T27" fmla="*/ 44 h 57"/>
              <a:gd name="T28" fmla="*/ 32 w 55"/>
              <a:gd name="T29" fmla="*/ 47 h 57"/>
              <a:gd name="T30" fmla="*/ 32 w 55"/>
              <a:gd name="T31" fmla="*/ 51 h 57"/>
              <a:gd name="T32" fmla="*/ 34 w 55"/>
              <a:gd name="T33" fmla="*/ 55 h 57"/>
              <a:gd name="T34" fmla="*/ 38 w 55"/>
              <a:gd name="T35" fmla="*/ 53 h 57"/>
              <a:gd name="T36" fmla="*/ 50 w 55"/>
              <a:gd name="T37" fmla="*/ 24 h 57"/>
              <a:gd name="T38" fmla="*/ 48 w 55"/>
              <a:gd name="T39" fmla="*/ 27 h 57"/>
              <a:gd name="T40" fmla="*/ 52 w 55"/>
              <a:gd name="T41" fmla="*/ 29 h 57"/>
              <a:gd name="T42" fmla="*/ 55 w 55"/>
              <a:gd name="T43" fmla="*/ 26 h 57"/>
              <a:gd name="T44" fmla="*/ 53 w 55"/>
              <a:gd name="T45" fmla="*/ 24 h 57"/>
              <a:gd name="T46" fmla="*/ 52 w 55"/>
              <a:gd name="T47" fmla="*/ 24 h 57"/>
              <a:gd name="T48" fmla="*/ 50 w 55"/>
              <a:gd name="T49" fmla="*/ 24 h 57"/>
              <a:gd name="T50" fmla="*/ 22 w 55"/>
              <a:gd name="T51" fmla="*/ 13 h 57"/>
              <a:gd name="T52" fmla="*/ 19 w 55"/>
              <a:gd name="T53" fmla="*/ 12 h 57"/>
              <a:gd name="T54" fmla="*/ 21 w 55"/>
              <a:gd name="T55" fmla="*/ 17 h 57"/>
              <a:gd name="T56" fmla="*/ 22 w 55"/>
              <a:gd name="T57" fmla="*/ 14 h 57"/>
              <a:gd name="T58" fmla="*/ 27 w 55"/>
              <a:gd name="T59" fmla="*/ 15 h 57"/>
              <a:gd name="T60" fmla="*/ 26 w 55"/>
              <a:gd name="T61" fmla="*/ 14 h 57"/>
              <a:gd name="T62" fmla="*/ 51 w 55"/>
              <a:gd name="T63" fmla="*/ 13 h 57"/>
              <a:gd name="T64" fmla="*/ 50 w 55"/>
              <a:gd name="T65" fmla="*/ 9 h 57"/>
              <a:gd name="T66" fmla="*/ 48 w 55"/>
              <a:gd name="T67" fmla="*/ 10 h 57"/>
              <a:gd name="T68" fmla="*/ 49 w 55"/>
              <a:gd name="T69" fmla="*/ 12 h 57"/>
              <a:gd name="T70" fmla="*/ 51 w 55"/>
              <a:gd name="T71" fmla="*/ 13 h 57"/>
              <a:gd name="T72" fmla="*/ 9 w 55"/>
              <a:gd name="T73" fmla="*/ 10 h 57"/>
              <a:gd name="T74" fmla="*/ 8 w 55"/>
              <a:gd name="T75" fmla="*/ 7 h 57"/>
              <a:gd name="T76" fmla="*/ 5 w 55"/>
              <a:gd name="T77" fmla="*/ 8 h 57"/>
              <a:gd name="T78" fmla="*/ 7 w 55"/>
              <a:gd name="T79" fmla="*/ 10 h 57"/>
              <a:gd name="T80" fmla="*/ 9 w 55"/>
              <a:gd name="T81" fmla="*/ 10 h 57"/>
              <a:gd name="T82" fmla="*/ 4 w 55"/>
              <a:gd name="T83" fmla="*/ 6 h 57"/>
              <a:gd name="T84" fmla="*/ 7 w 55"/>
              <a:gd name="T85" fmla="*/ 3 h 57"/>
              <a:gd name="T86" fmla="*/ 5 w 55"/>
              <a:gd name="T87" fmla="*/ 0 h 57"/>
              <a:gd name="T88" fmla="*/ 0 w 55"/>
              <a:gd name="T89" fmla="*/ 3 h 57"/>
              <a:gd name="T90" fmla="*/ 1 w 55"/>
              <a:gd name="T91" fmla="*/ 7 h 57"/>
              <a:gd name="T92" fmla="*/ 4 w 55"/>
              <a:gd name="T93" fmla="*/ 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 h="57">
                <a:moveTo>
                  <a:pt x="20" y="55"/>
                </a:moveTo>
                <a:lnTo>
                  <a:pt x="20" y="55"/>
                </a:lnTo>
                <a:lnTo>
                  <a:pt x="19" y="52"/>
                </a:lnTo>
                <a:lnTo>
                  <a:pt x="18" y="52"/>
                </a:lnTo>
                <a:lnTo>
                  <a:pt x="17" y="54"/>
                </a:lnTo>
                <a:lnTo>
                  <a:pt x="16" y="55"/>
                </a:lnTo>
                <a:lnTo>
                  <a:pt x="17" y="55"/>
                </a:lnTo>
                <a:lnTo>
                  <a:pt x="18" y="56"/>
                </a:lnTo>
                <a:lnTo>
                  <a:pt x="18" y="57"/>
                </a:lnTo>
                <a:lnTo>
                  <a:pt x="20" y="55"/>
                </a:lnTo>
                <a:lnTo>
                  <a:pt x="20" y="55"/>
                </a:lnTo>
                <a:close/>
                <a:moveTo>
                  <a:pt x="44" y="50"/>
                </a:moveTo>
                <a:lnTo>
                  <a:pt x="45" y="49"/>
                </a:lnTo>
                <a:lnTo>
                  <a:pt x="45" y="46"/>
                </a:lnTo>
                <a:lnTo>
                  <a:pt x="45" y="45"/>
                </a:lnTo>
                <a:lnTo>
                  <a:pt x="43" y="45"/>
                </a:lnTo>
                <a:lnTo>
                  <a:pt x="43" y="46"/>
                </a:lnTo>
                <a:lnTo>
                  <a:pt x="43" y="47"/>
                </a:lnTo>
                <a:lnTo>
                  <a:pt x="43" y="48"/>
                </a:lnTo>
                <a:lnTo>
                  <a:pt x="43" y="50"/>
                </a:lnTo>
                <a:lnTo>
                  <a:pt x="44" y="50"/>
                </a:lnTo>
                <a:lnTo>
                  <a:pt x="44" y="50"/>
                </a:lnTo>
                <a:close/>
                <a:moveTo>
                  <a:pt x="38" y="53"/>
                </a:moveTo>
                <a:lnTo>
                  <a:pt x="36" y="49"/>
                </a:lnTo>
                <a:lnTo>
                  <a:pt x="35" y="49"/>
                </a:lnTo>
                <a:lnTo>
                  <a:pt x="33" y="46"/>
                </a:lnTo>
                <a:lnTo>
                  <a:pt x="33" y="45"/>
                </a:lnTo>
                <a:lnTo>
                  <a:pt x="32" y="44"/>
                </a:lnTo>
                <a:lnTo>
                  <a:pt x="32" y="45"/>
                </a:lnTo>
                <a:lnTo>
                  <a:pt x="32" y="47"/>
                </a:lnTo>
                <a:lnTo>
                  <a:pt x="32" y="49"/>
                </a:lnTo>
                <a:lnTo>
                  <a:pt x="32" y="51"/>
                </a:lnTo>
                <a:lnTo>
                  <a:pt x="32" y="54"/>
                </a:lnTo>
                <a:lnTo>
                  <a:pt x="34" y="55"/>
                </a:lnTo>
                <a:lnTo>
                  <a:pt x="37" y="55"/>
                </a:lnTo>
                <a:lnTo>
                  <a:pt x="38" y="53"/>
                </a:lnTo>
                <a:lnTo>
                  <a:pt x="38" y="53"/>
                </a:lnTo>
                <a:close/>
                <a:moveTo>
                  <a:pt x="50" y="24"/>
                </a:moveTo>
                <a:lnTo>
                  <a:pt x="50" y="26"/>
                </a:lnTo>
                <a:lnTo>
                  <a:pt x="48" y="27"/>
                </a:lnTo>
                <a:lnTo>
                  <a:pt x="50" y="29"/>
                </a:lnTo>
                <a:lnTo>
                  <a:pt x="52" y="29"/>
                </a:lnTo>
                <a:lnTo>
                  <a:pt x="54" y="27"/>
                </a:lnTo>
                <a:lnTo>
                  <a:pt x="55" y="26"/>
                </a:lnTo>
                <a:lnTo>
                  <a:pt x="54" y="25"/>
                </a:lnTo>
                <a:lnTo>
                  <a:pt x="53" y="24"/>
                </a:lnTo>
                <a:lnTo>
                  <a:pt x="52" y="24"/>
                </a:lnTo>
                <a:lnTo>
                  <a:pt x="52" y="24"/>
                </a:lnTo>
                <a:lnTo>
                  <a:pt x="50" y="24"/>
                </a:lnTo>
                <a:lnTo>
                  <a:pt x="50" y="24"/>
                </a:lnTo>
                <a:close/>
                <a:moveTo>
                  <a:pt x="26" y="14"/>
                </a:moveTo>
                <a:lnTo>
                  <a:pt x="22" y="13"/>
                </a:lnTo>
                <a:lnTo>
                  <a:pt x="20" y="12"/>
                </a:lnTo>
                <a:lnTo>
                  <a:pt x="19" y="12"/>
                </a:lnTo>
                <a:lnTo>
                  <a:pt x="19" y="14"/>
                </a:lnTo>
                <a:lnTo>
                  <a:pt x="21" y="17"/>
                </a:lnTo>
                <a:lnTo>
                  <a:pt x="22" y="15"/>
                </a:lnTo>
                <a:lnTo>
                  <a:pt x="22" y="14"/>
                </a:lnTo>
                <a:lnTo>
                  <a:pt x="26" y="15"/>
                </a:lnTo>
                <a:lnTo>
                  <a:pt x="27" y="15"/>
                </a:lnTo>
                <a:lnTo>
                  <a:pt x="27" y="14"/>
                </a:lnTo>
                <a:lnTo>
                  <a:pt x="26" y="14"/>
                </a:lnTo>
                <a:lnTo>
                  <a:pt x="26" y="14"/>
                </a:lnTo>
                <a:close/>
                <a:moveTo>
                  <a:pt x="51" y="13"/>
                </a:moveTo>
                <a:lnTo>
                  <a:pt x="50" y="12"/>
                </a:lnTo>
                <a:lnTo>
                  <a:pt x="50" y="9"/>
                </a:lnTo>
                <a:lnTo>
                  <a:pt x="50" y="9"/>
                </a:lnTo>
                <a:lnTo>
                  <a:pt x="48" y="10"/>
                </a:lnTo>
                <a:lnTo>
                  <a:pt x="49" y="12"/>
                </a:lnTo>
                <a:lnTo>
                  <a:pt x="49" y="12"/>
                </a:lnTo>
                <a:lnTo>
                  <a:pt x="50" y="14"/>
                </a:lnTo>
                <a:lnTo>
                  <a:pt x="51" y="13"/>
                </a:lnTo>
                <a:lnTo>
                  <a:pt x="51" y="13"/>
                </a:lnTo>
                <a:close/>
                <a:moveTo>
                  <a:pt x="9" y="10"/>
                </a:moveTo>
                <a:lnTo>
                  <a:pt x="9" y="9"/>
                </a:lnTo>
                <a:lnTo>
                  <a:pt x="8" y="7"/>
                </a:lnTo>
                <a:lnTo>
                  <a:pt x="7" y="7"/>
                </a:lnTo>
                <a:lnTo>
                  <a:pt x="5" y="8"/>
                </a:lnTo>
                <a:lnTo>
                  <a:pt x="5" y="9"/>
                </a:lnTo>
                <a:lnTo>
                  <a:pt x="7" y="10"/>
                </a:lnTo>
                <a:lnTo>
                  <a:pt x="7" y="10"/>
                </a:lnTo>
                <a:lnTo>
                  <a:pt x="9" y="10"/>
                </a:lnTo>
                <a:lnTo>
                  <a:pt x="9" y="10"/>
                </a:lnTo>
                <a:close/>
                <a:moveTo>
                  <a:pt x="4" y="6"/>
                </a:moveTo>
                <a:lnTo>
                  <a:pt x="7" y="4"/>
                </a:lnTo>
                <a:lnTo>
                  <a:pt x="7" y="3"/>
                </a:lnTo>
                <a:lnTo>
                  <a:pt x="7" y="1"/>
                </a:lnTo>
                <a:lnTo>
                  <a:pt x="5" y="0"/>
                </a:lnTo>
                <a:lnTo>
                  <a:pt x="1" y="3"/>
                </a:lnTo>
                <a:lnTo>
                  <a:pt x="0" y="3"/>
                </a:lnTo>
                <a:lnTo>
                  <a:pt x="1" y="5"/>
                </a:lnTo>
                <a:lnTo>
                  <a:pt x="1" y="7"/>
                </a:lnTo>
                <a:lnTo>
                  <a:pt x="2" y="7"/>
                </a:lnTo>
                <a:lnTo>
                  <a:pt x="4" y="6"/>
                </a:lnTo>
                <a:lnTo>
                  <a:pt x="4" y="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91" name="Cayman Islands">
            <a:extLst>
              <a:ext uri="{FF2B5EF4-FFF2-40B4-BE49-F238E27FC236}">
                <a16:creationId xmlns:a16="http://schemas.microsoft.com/office/drawing/2014/main" id="{06570E20-2EA0-4FF5-A6E6-83345768D1C8}"/>
              </a:ext>
            </a:extLst>
          </p:cNvPr>
          <p:cNvSpPr>
            <a:spLocks noEditPoints="1"/>
          </p:cNvSpPr>
          <p:nvPr/>
        </p:nvSpPr>
        <p:spPr bwMode="auto">
          <a:xfrm>
            <a:off x="2341843" y="3542419"/>
            <a:ext cx="59542" cy="18714"/>
          </a:xfrm>
          <a:custGeom>
            <a:avLst/>
            <a:gdLst>
              <a:gd name="T0" fmla="*/ 1 w 35"/>
              <a:gd name="T1" fmla="*/ 9 h 11"/>
              <a:gd name="T2" fmla="*/ 1 w 35"/>
              <a:gd name="T3" fmla="*/ 8 h 11"/>
              <a:gd name="T4" fmla="*/ 0 w 35"/>
              <a:gd name="T5" fmla="*/ 9 h 11"/>
              <a:gd name="T6" fmla="*/ 0 w 35"/>
              <a:gd name="T7" fmla="*/ 11 h 11"/>
              <a:gd name="T8" fmla="*/ 2 w 35"/>
              <a:gd name="T9" fmla="*/ 11 h 11"/>
              <a:gd name="T10" fmla="*/ 3 w 35"/>
              <a:gd name="T11" fmla="*/ 11 h 11"/>
              <a:gd name="T12" fmla="*/ 4 w 35"/>
              <a:gd name="T13" fmla="*/ 10 h 11"/>
              <a:gd name="T14" fmla="*/ 6 w 35"/>
              <a:gd name="T15" fmla="*/ 10 h 11"/>
              <a:gd name="T16" fmla="*/ 5 w 35"/>
              <a:gd name="T17" fmla="*/ 9 h 11"/>
              <a:gd name="T18" fmla="*/ 3 w 35"/>
              <a:gd name="T19" fmla="*/ 9 h 11"/>
              <a:gd name="T20" fmla="*/ 3 w 35"/>
              <a:gd name="T21" fmla="*/ 9 h 11"/>
              <a:gd name="T22" fmla="*/ 2 w 35"/>
              <a:gd name="T23" fmla="*/ 10 h 11"/>
              <a:gd name="T24" fmla="*/ 1 w 35"/>
              <a:gd name="T25" fmla="*/ 9 h 11"/>
              <a:gd name="T26" fmla="*/ 1 w 35"/>
              <a:gd name="T27" fmla="*/ 9 h 11"/>
              <a:gd name="T28" fmla="*/ 31 w 35"/>
              <a:gd name="T29" fmla="*/ 1 h 11"/>
              <a:gd name="T30" fmla="*/ 31 w 35"/>
              <a:gd name="T31" fmla="*/ 1 h 11"/>
              <a:gd name="T32" fmla="*/ 31 w 35"/>
              <a:gd name="T33" fmla="*/ 1 h 11"/>
              <a:gd name="T34" fmla="*/ 30 w 35"/>
              <a:gd name="T35" fmla="*/ 1 h 11"/>
              <a:gd name="T36" fmla="*/ 29 w 35"/>
              <a:gd name="T37" fmla="*/ 1 h 11"/>
              <a:gd name="T38" fmla="*/ 29 w 35"/>
              <a:gd name="T39" fmla="*/ 1 h 11"/>
              <a:gd name="T40" fmla="*/ 28 w 35"/>
              <a:gd name="T41" fmla="*/ 1 h 11"/>
              <a:gd name="T42" fmla="*/ 28 w 35"/>
              <a:gd name="T43" fmla="*/ 2 h 11"/>
              <a:gd name="T44" fmla="*/ 27 w 35"/>
              <a:gd name="T45" fmla="*/ 2 h 11"/>
              <a:gd name="T46" fmla="*/ 28 w 35"/>
              <a:gd name="T47" fmla="*/ 2 h 11"/>
              <a:gd name="T48" fmla="*/ 30 w 35"/>
              <a:gd name="T49" fmla="*/ 1 h 11"/>
              <a:gd name="T50" fmla="*/ 31 w 35"/>
              <a:gd name="T51" fmla="*/ 1 h 11"/>
              <a:gd name="T52" fmla="*/ 31 w 35"/>
              <a:gd name="T53" fmla="*/ 1 h 11"/>
              <a:gd name="T54" fmla="*/ 31 w 35"/>
              <a:gd name="T55" fmla="*/ 1 h 11"/>
              <a:gd name="T56" fmla="*/ 33 w 35"/>
              <a:gd name="T57" fmla="*/ 1 h 11"/>
              <a:gd name="T58" fmla="*/ 35 w 35"/>
              <a:gd name="T59" fmla="*/ 0 h 11"/>
              <a:gd name="T60" fmla="*/ 35 w 35"/>
              <a:gd name="T61" fmla="*/ 0 h 11"/>
              <a:gd name="T62" fmla="*/ 35 w 35"/>
              <a:gd name="T63" fmla="*/ 0 h 11"/>
              <a:gd name="T64" fmla="*/ 34 w 35"/>
              <a:gd name="T65" fmla="*/ 0 h 11"/>
              <a:gd name="T66" fmla="*/ 34 w 35"/>
              <a:gd name="T67" fmla="*/ 0 h 11"/>
              <a:gd name="T68" fmla="*/ 34 w 35"/>
              <a:gd name="T69" fmla="*/ 0 h 11"/>
              <a:gd name="T70" fmla="*/ 33 w 35"/>
              <a:gd name="T71" fmla="*/ 1 h 11"/>
              <a:gd name="T72" fmla="*/ 33 w 35"/>
              <a:gd name="T73" fmla="*/ 1 h 11"/>
              <a:gd name="T74" fmla="*/ 33 w 35"/>
              <a:gd name="T75" fmla="*/ 1 h 11"/>
              <a:gd name="T76" fmla="*/ 33 w 35"/>
              <a:gd name="T7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 h="11">
                <a:moveTo>
                  <a:pt x="1" y="9"/>
                </a:moveTo>
                <a:lnTo>
                  <a:pt x="1" y="8"/>
                </a:lnTo>
                <a:lnTo>
                  <a:pt x="0" y="9"/>
                </a:lnTo>
                <a:lnTo>
                  <a:pt x="0" y="11"/>
                </a:lnTo>
                <a:lnTo>
                  <a:pt x="2" y="11"/>
                </a:lnTo>
                <a:lnTo>
                  <a:pt x="3" y="11"/>
                </a:lnTo>
                <a:lnTo>
                  <a:pt x="4" y="10"/>
                </a:lnTo>
                <a:lnTo>
                  <a:pt x="6" y="10"/>
                </a:lnTo>
                <a:lnTo>
                  <a:pt x="5" y="9"/>
                </a:lnTo>
                <a:lnTo>
                  <a:pt x="3" y="9"/>
                </a:lnTo>
                <a:lnTo>
                  <a:pt x="3" y="9"/>
                </a:lnTo>
                <a:lnTo>
                  <a:pt x="2" y="10"/>
                </a:lnTo>
                <a:lnTo>
                  <a:pt x="1" y="9"/>
                </a:lnTo>
                <a:lnTo>
                  <a:pt x="1" y="9"/>
                </a:lnTo>
                <a:close/>
                <a:moveTo>
                  <a:pt x="31" y="1"/>
                </a:moveTo>
                <a:lnTo>
                  <a:pt x="31" y="1"/>
                </a:lnTo>
                <a:lnTo>
                  <a:pt x="31" y="1"/>
                </a:lnTo>
                <a:lnTo>
                  <a:pt x="30" y="1"/>
                </a:lnTo>
                <a:lnTo>
                  <a:pt x="29" y="1"/>
                </a:lnTo>
                <a:lnTo>
                  <a:pt x="29" y="1"/>
                </a:lnTo>
                <a:lnTo>
                  <a:pt x="28" y="1"/>
                </a:lnTo>
                <a:lnTo>
                  <a:pt x="28" y="2"/>
                </a:lnTo>
                <a:lnTo>
                  <a:pt x="27" y="2"/>
                </a:lnTo>
                <a:lnTo>
                  <a:pt x="28" y="2"/>
                </a:lnTo>
                <a:lnTo>
                  <a:pt x="30" y="1"/>
                </a:lnTo>
                <a:lnTo>
                  <a:pt x="31" y="1"/>
                </a:lnTo>
                <a:lnTo>
                  <a:pt x="31" y="1"/>
                </a:lnTo>
                <a:lnTo>
                  <a:pt x="31" y="1"/>
                </a:lnTo>
                <a:close/>
                <a:moveTo>
                  <a:pt x="33" y="1"/>
                </a:moveTo>
                <a:lnTo>
                  <a:pt x="35" y="0"/>
                </a:lnTo>
                <a:lnTo>
                  <a:pt x="35" y="0"/>
                </a:lnTo>
                <a:lnTo>
                  <a:pt x="35" y="0"/>
                </a:lnTo>
                <a:lnTo>
                  <a:pt x="34" y="0"/>
                </a:lnTo>
                <a:lnTo>
                  <a:pt x="34" y="0"/>
                </a:lnTo>
                <a:lnTo>
                  <a:pt x="34" y="0"/>
                </a:lnTo>
                <a:lnTo>
                  <a:pt x="33" y="1"/>
                </a:lnTo>
                <a:lnTo>
                  <a:pt x="33" y="1"/>
                </a:lnTo>
                <a:lnTo>
                  <a:pt x="33" y="1"/>
                </a:lnTo>
                <a:lnTo>
                  <a:pt x="33"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92" name="Dominica">
            <a:extLst>
              <a:ext uri="{FF2B5EF4-FFF2-40B4-BE49-F238E27FC236}">
                <a16:creationId xmlns:a16="http://schemas.microsoft.com/office/drawing/2014/main" id="{396EA554-804F-48BF-8616-91E5BDDA1F18}"/>
              </a:ext>
            </a:extLst>
          </p:cNvPr>
          <p:cNvSpPr>
            <a:spLocks/>
          </p:cNvSpPr>
          <p:nvPr/>
        </p:nvSpPr>
        <p:spPr bwMode="auto">
          <a:xfrm>
            <a:off x="3029135" y="3709138"/>
            <a:ext cx="6805" cy="15311"/>
          </a:xfrm>
          <a:custGeom>
            <a:avLst/>
            <a:gdLst>
              <a:gd name="T0" fmla="*/ 3 w 4"/>
              <a:gd name="T1" fmla="*/ 8 h 9"/>
              <a:gd name="T2" fmla="*/ 4 w 4"/>
              <a:gd name="T3" fmla="*/ 6 h 9"/>
              <a:gd name="T4" fmla="*/ 4 w 4"/>
              <a:gd name="T5" fmla="*/ 2 h 9"/>
              <a:gd name="T6" fmla="*/ 3 w 4"/>
              <a:gd name="T7" fmla="*/ 1 h 9"/>
              <a:gd name="T8" fmla="*/ 0 w 4"/>
              <a:gd name="T9" fmla="*/ 0 h 9"/>
              <a:gd name="T10" fmla="*/ 0 w 4"/>
              <a:gd name="T11" fmla="*/ 1 h 9"/>
              <a:gd name="T12" fmla="*/ 0 w 4"/>
              <a:gd name="T13" fmla="*/ 2 h 9"/>
              <a:gd name="T14" fmla="*/ 1 w 4"/>
              <a:gd name="T15" fmla="*/ 5 h 9"/>
              <a:gd name="T16" fmla="*/ 1 w 4"/>
              <a:gd name="T17" fmla="*/ 9 h 9"/>
              <a:gd name="T18" fmla="*/ 3 w 4"/>
              <a:gd name="T19"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3" y="8"/>
                </a:moveTo>
                <a:lnTo>
                  <a:pt x="4" y="6"/>
                </a:lnTo>
                <a:lnTo>
                  <a:pt x="4" y="2"/>
                </a:lnTo>
                <a:lnTo>
                  <a:pt x="3" y="1"/>
                </a:lnTo>
                <a:lnTo>
                  <a:pt x="0" y="0"/>
                </a:lnTo>
                <a:lnTo>
                  <a:pt x="0" y="1"/>
                </a:lnTo>
                <a:lnTo>
                  <a:pt x="0" y="2"/>
                </a:lnTo>
                <a:lnTo>
                  <a:pt x="1" y="5"/>
                </a:lnTo>
                <a:lnTo>
                  <a:pt x="1" y="9"/>
                </a:lnTo>
                <a:lnTo>
                  <a:pt x="3" y="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93" name="Falkland Islands">
            <a:extLst>
              <a:ext uri="{FF2B5EF4-FFF2-40B4-BE49-F238E27FC236}">
                <a16:creationId xmlns:a16="http://schemas.microsoft.com/office/drawing/2014/main" id="{BEB7D892-1A5A-4194-AEAE-DAECB63E5372}"/>
              </a:ext>
            </a:extLst>
          </p:cNvPr>
          <p:cNvSpPr>
            <a:spLocks noEditPoints="1"/>
          </p:cNvSpPr>
          <p:nvPr/>
        </p:nvSpPr>
        <p:spPr bwMode="auto">
          <a:xfrm>
            <a:off x="3331951" y="6403863"/>
            <a:ext cx="96969" cy="39128"/>
          </a:xfrm>
          <a:custGeom>
            <a:avLst/>
            <a:gdLst>
              <a:gd name="T0" fmla="*/ 27 w 57"/>
              <a:gd name="T1" fmla="*/ 20 h 23"/>
              <a:gd name="T2" fmla="*/ 27 w 57"/>
              <a:gd name="T3" fmla="*/ 21 h 23"/>
              <a:gd name="T4" fmla="*/ 28 w 57"/>
              <a:gd name="T5" fmla="*/ 22 h 23"/>
              <a:gd name="T6" fmla="*/ 49 w 57"/>
              <a:gd name="T7" fmla="*/ 16 h 23"/>
              <a:gd name="T8" fmla="*/ 48 w 57"/>
              <a:gd name="T9" fmla="*/ 18 h 23"/>
              <a:gd name="T10" fmla="*/ 49 w 57"/>
              <a:gd name="T11" fmla="*/ 17 h 23"/>
              <a:gd name="T12" fmla="*/ 0 w 57"/>
              <a:gd name="T13" fmla="*/ 12 h 23"/>
              <a:gd name="T14" fmla="*/ 3 w 57"/>
              <a:gd name="T15" fmla="*/ 15 h 23"/>
              <a:gd name="T16" fmla="*/ 2 w 57"/>
              <a:gd name="T17" fmla="*/ 11 h 23"/>
              <a:gd name="T18" fmla="*/ 12 w 57"/>
              <a:gd name="T19" fmla="*/ 4 h 23"/>
              <a:gd name="T20" fmla="*/ 5 w 57"/>
              <a:gd name="T21" fmla="*/ 2 h 23"/>
              <a:gd name="T22" fmla="*/ 8 w 57"/>
              <a:gd name="T23" fmla="*/ 5 h 23"/>
              <a:gd name="T24" fmla="*/ 14 w 57"/>
              <a:gd name="T25" fmla="*/ 8 h 23"/>
              <a:gd name="T26" fmla="*/ 9 w 57"/>
              <a:gd name="T27" fmla="*/ 9 h 23"/>
              <a:gd name="T28" fmla="*/ 13 w 57"/>
              <a:gd name="T29" fmla="*/ 10 h 23"/>
              <a:gd name="T30" fmla="*/ 14 w 57"/>
              <a:gd name="T31" fmla="*/ 10 h 23"/>
              <a:gd name="T32" fmla="*/ 14 w 57"/>
              <a:gd name="T33" fmla="*/ 12 h 23"/>
              <a:gd name="T34" fmla="*/ 7 w 57"/>
              <a:gd name="T35" fmla="*/ 15 h 23"/>
              <a:gd name="T36" fmla="*/ 11 w 57"/>
              <a:gd name="T37" fmla="*/ 21 h 23"/>
              <a:gd name="T38" fmla="*/ 14 w 57"/>
              <a:gd name="T39" fmla="*/ 20 h 23"/>
              <a:gd name="T40" fmla="*/ 16 w 57"/>
              <a:gd name="T41" fmla="*/ 18 h 23"/>
              <a:gd name="T42" fmla="*/ 18 w 57"/>
              <a:gd name="T43" fmla="*/ 16 h 23"/>
              <a:gd name="T44" fmla="*/ 25 w 57"/>
              <a:gd name="T45" fmla="*/ 12 h 23"/>
              <a:gd name="T46" fmla="*/ 28 w 57"/>
              <a:gd name="T47" fmla="*/ 7 h 23"/>
              <a:gd name="T48" fmla="*/ 29 w 57"/>
              <a:gd name="T49" fmla="*/ 4 h 23"/>
              <a:gd name="T50" fmla="*/ 28 w 57"/>
              <a:gd name="T51" fmla="*/ 2 h 23"/>
              <a:gd name="T52" fmla="*/ 22 w 57"/>
              <a:gd name="T53" fmla="*/ 4 h 23"/>
              <a:gd name="T54" fmla="*/ 18 w 57"/>
              <a:gd name="T55" fmla="*/ 2 h 23"/>
              <a:gd name="T56" fmla="*/ 12 w 57"/>
              <a:gd name="T57" fmla="*/ 4 h 23"/>
              <a:gd name="T58" fmla="*/ 14 w 57"/>
              <a:gd name="T59" fmla="*/ 1 h 23"/>
              <a:gd name="T60" fmla="*/ 11 w 57"/>
              <a:gd name="T61" fmla="*/ 0 h 23"/>
              <a:gd name="T62" fmla="*/ 14 w 57"/>
              <a:gd name="T63" fmla="*/ 2 h 23"/>
              <a:gd name="T64" fmla="*/ 36 w 57"/>
              <a:gd name="T65" fmla="*/ 2 h 23"/>
              <a:gd name="T66" fmla="*/ 35 w 57"/>
              <a:gd name="T67" fmla="*/ 9 h 23"/>
              <a:gd name="T68" fmla="*/ 33 w 57"/>
              <a:gd name="T69" fmla="*/ 9 h 23"/>
              <a:gd name="T70" fmla="*/ 28 w 57"/>
              <a:gd name="T71" fmla="*/ 15 h 23"/>
              <a:gd name="T72" fmla="*/ 28 w 57"/>
              <a:gd name="T73" fmla="*/ 19 h 23"/>
              <a:gd name="T74" fmla="*/ 35 w 57"/>
              <a:gd name="T75" fmla="*/ 21 h 23"/>
              <a:gd name="T76" fmla="*/ 39 w 57"/>
              <a:gd name="T77" fmla="*/ 21 h 23"/>
              <a:gd name="T78" fmla="*/ 46 w 57"/>
              <a:gd name="T79" fmla="*/ 19 h 23"/>
              <a:gd name="T80" fmla="*/ 44 w 57"/>
              <a:gd name="T81" fmla="*/ 15 h 23"/>
              <a:gd name="T82" fmla="*/ 53 w 57"/>
              <a:gd name="T83" fmla="*/ 11 h 23"/>
              <a:gd name="T84" fmla="*/ 57 w 57"/>
              <a:gd name="T85" fmla="*/ 9 h 23"/>
              <a:gd name="T86" fmla="*/ 55 w 57"/>
              <a:gd name="T87" fmla="*/ 7 h 23"/>
              <a:gd name="T88" fmla="*/ 54 w 57"/>
              <a:gd name="T89" fmla="*/ 3 h 23"/>
              <a:gd name="T90" fmla="*/ 48 w 57"/>
              <a:gd name="T91" fmla="*/ 3 h 23"/>
              <a:gd name="T92" fmla="*/ 49 w 57"/>
              <a:gd name="T93" fmla="*/ 6 h 23"/>
              <a:gd name="T94" fmla="*/ 44 w 57"/>
              <a:gd name="T95" fmla="*/ 5 h 23"/>
              <a:gd name="T96" fmla="*/ 44 w 57"/>
              <a:gd name="T97" fmla="*/ 3 h 23"/>
              <a:gd name="T98" fmla="*/ 44 w 57"/>
              <a:gd name="T99" fmla="*/ 1 h 23"/>
              <a:gd name="T100" fmla="*/ 36 w 57"/>
              <a:gd name="T10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 h="23">
                <a:moveTo>
                  <a:pt x="28" y="22"/>
                </a:moveTo>
                <a:lnTo>
                  <a:pt x="28" y="21"/>
                </a:lnTo>
                <a:lnTo>
                  <a:pt x="27" y="20"/>
                </a:lnTo>
                <a:lnTo>
                  <a:pt x="26" y="19"/>
                </a:lnTo>
                <a:lnTo>
                  <a:pt x="27" y="20"/>
                </a:lnTo>
                <a:lnTo>
                  <a:pt x="27" y="21"/>
                </a:lnTo>
                <a:lnTo>
                  <a:pt x="28" y="22"/>
                </a:lnTo>
                <a:lnTo>
                  <a:pt x="28" y="23"/>
                </a:lnTo>
                <a:lnTo>
                  <a:pt x="28" y="22"/>
                </a:lnTo>
                <a:lnTo>
                  <a:pt x="28" y="22"/>
                </a:lnTo>
                <a:close/>
                <a:moveTo>
                  <a:pt x="49" y="17"/>
                </a:moveTo>
                <a:lnTo>
                  <a:pt x="49" y="16"/>
                </a:lnTo>
                <a:lnTo>
                  <a:pt x="48" y="16"/>
                </a:lnTo>
                <a:lnTo>
                  <a:pt x="48" y="17"/>
                </a:lnTo>
                <a:lnTo>
                  <a:pt x="48" y="18"/>
                </a:lnTo>
                <a:lnTo>
                  <a:pt x="50" y="19"/>
                </a:lnTo>
                <a:lnTo>
                  <a:pt x="49" y="17"/>
                </a:lnTo>
                <a:lnTo>
                  <a:pt x="49" y="17"/>
                </a:lnTo>
                <a:close/>
                <a:moveTo>
                  <a:pt x="1" y="11"/>
                </a:moveTo>
                <a:lnTo>
                  <a:pt x="0" y="12"/>
                </a:lnTo>
                <a:lnTo>
                  <a:pt x="0" y="12"/>
                </a:lnTo>
                <a:lnTo>
                  <a:pt x="0" y="13"/>
                </a:lnTo>
                <a:lnTo>
                  <a:pt x="2" y="15"/>
                </a:lnTo>
                <a:lnTo>
                  <a:pt x="3" y="15"/>
                </a:lnTo>
                <a:lnTo>
                  <a:pt x="4" y="14"/>
                </a:lnTo>
                <a:lnTo>
                  <a:pt x="3" y="11"/>
                </a:lnTo>
                <a:lnTo>
                  <a:pt x="2" y="11"/>
                </a:lnTo>
                <a:lnTo>
                  <a:pt x="1" y="11"/>
                </a:lnTo>
                <a:lnTo>
                  <a:pt x="1" y="11"/>
                </a:lnTo>
                <a:close/>
                <a:moveTo>
                  <a:pt x="12" y="4"/>
                </a:moveTo>
                <a:lnTo>
                  <a:pt x="8" y="3"/>
                </a:lnTo>
                <a:lnTo>
                  <a:pt x="7" y="2"/>
                </a:lnTo>
                <a:lnTo>
                  <a:pt x="5" y="2"/>
                </a:lnTo>
                <a:lnTo>
                  <a:pt x="7" y="3"/>
                </a:lnTo>
                <a:lnTo>
                  <a:pt x="7" y="4"/>
                </a:lnTo>
                <a:lnTo>
                  <a:pt x="8" y="5"/>
                </a:lnTo>
                <a:lnTo>
                  <a:pt x="10" y="6"/>
                </a:lnTo>
                <a:lnTo>
                  <a:pt x="13" y="7"/>
                </a:lnTo>
                <a:lnTo>
                  <a:pt x="14" y="8"/>
                </a:lnTo>
                <a:lnTo>
                  <a:pt x="14" y="9"/>
                </a:lnTo>
                <a:lnTo>
                  <a:pt x="11" y="9"/>
                </a:lnTo>
                <a:lnTo>
                  <a:pt x="9" y="9"/>
                </a:lnTo>
                <a:lnTo>
                  <a:pt x="9" y="9"/>
                </a:lnTo>
                <a:lnTo>
                  <a:pt x="10" y="10"/>
                </a:lnTo>
                <a:lnTo>
                  <a:pt x="13" y="10"/>
                </a:lnTo>
                <a:lnTo>
                  <a:pt x="13" y="9"/>
                </a:lnTo>
                <a:lnTo>
                  <a:pt x="14" y="9"/>
                </a:lnTo>
                <a:lnTo>
                  <a:pt x="14" y="10"/>
                </a:lnTo>
                <a:lnTo>
                  <a:pt x="14" y="11"/>
                </a:lnTo>
                <a:lnTo>
                  <a:pt x="14" y="11"/>
                </a:lnTo>
                <a:lnTo>
                  <a:pt x="14" y="12"/>
                </a:lnTo>
                <a:lnTo>
                  <a:pt x="13" y="13"/>
                </a:lnTo>
                <a:lnTo>
                  <a:pt x="10" y="15"/>
                </a:lnTo>
                <a:lnTo>
                  <a:pt x="7" y="15"/>
                </a:lnTo>
                <a:lnTo>
                  <a:pt x="4" y="18"/>
                </a:lnTo>
                <a:lnTo>
                  <a:pt x="8" y="20"/>
                </a:lnTo>
                <a:lnTo>
                  <a:pt x="11" y="21"/>
                </a:lnTo>
                <a:lnTo>
                  <a:pt x="14" y="21"/>
                </a:lnTo>
                <a:lnTo>
                  <a:pt x="14" y="21"/>
                </a:lnTo>
                <a:lnTo>
                  <a:pt x="14" y="20"/>
                </a:lnTo>
                <a:lnTo>
                  <a:pt x="15" y="20"/>
                </a:lnTo>
                <a:lnTo>
                  <a:pt x="16" y="20"/>
                </a:lnTo>
                <a:lnTo>
                  <a:pt x="16" y="18"/>
                </a:lnTo>
                <a:lnTo>
                  <a:pt x="16" y="16"/>
                </a:lnTo>
                <a:lnTo>
                  <a:pt x="17" y="16"/>
                </a:lnTo>
                <a:lnTo>
                  <a:pt x="18" y="16"/>
                </a:lnTo>
                <a:lnTo>
                  <a:pt x="21" y="16"/>
                </a:lnTo>
                <a:lnTo>
                  <a:pt x="22" y="15"/>
                </a:lnTo>
                <a:lnTo>
                  <a:pt x="25" y="12"/>
                </a:lnTo>
                <a:lnTo>
                  <a:pt x="26" y="9"/>
                </a:lnTo>
                <a:lnTo>
                  <a:pt x="27" y="8"/>
                </a:lnTo>
                <a:lnTo>
                  <a:pt x="28" y="7"/>
                </a:lnTo>
                <a:lnTo>
                  <a:pt x="28" y="6"/>
                </a:lnTo>
                <a:lnTo>
                  <a:pt x="28" y="5"/>
                </a:lnTo>
                <a:lnTo>
                  <a:pt x="29" y="4"/>
                </a:lnTo>
                <a:lnTo>
                  <a:pt x="29" y="3"/>
                </a:lnTo>
                <a:lnTo>
                  <a:pt x="28" y="2"/>
                </a:lnTo>
                <a:lnTo>
                  <a:pt x="28" y="2"/>
                </a:lnTo>
                <a:lnTo>
                  <a:pt x="26" y="3"/>
                </a:lnTo>
                <a:lnTo>
                  <a:pt x="26" y="2"/>
                </a:lnTo>
                <a:lnTo>
                  <a:pt x="22" y="4"/>
                </a:lnTo>
                <a:lnTo>
                  <a:pt x="20" y="4"/>
                </a:lnTo>
                <a:lnTo>
                  <a:pt x="19" y="3"/>
                </a:lnTo>
                <a:lnTo>
                  <a:pt x="18" y="2"/>
                </a:lnTo>
                <a:lnTo>
                  <a:pt x="16" y="3"/>
                </a:lnTo>
                <a:lnTo>
                  <a:pt x="14" y="5"/>
                </a:lnTo>
                <a:lnTo>
                  <a:pt x="12" y="4"/>
                </a:lnTo>
                <a:lnTo>
                  <a:pt x="12" y="4"/>
                </a:lnTo>
                <a:close/>
                <a:moveTo>
                  <a:pt x="14" y="2"/>
                </a:moveTo>
                <a:lnTo>
                  <a:pt x="14" y="1"/>
                </a:lnTo>
                <a:lnTo>
                  <a:pt x="14" y="0"/>
                </a:lnTo>
                <a:lnTo>
                  <a:pt x="13" y="0"/>
                </a:lnTo>
                <a:lnTo>
                  <a:pt x="11" y="0"/>
                </a:lnTo>
                <a:lnTo>
                  <a:pt x="11" y="2"/>
                </a:lnTo>
                <a:lnTo>
                  <a:pt x="12" y="2"/>
                </a:lnTo>
                <a:lnTo>
                  <a:pt x="14" y="2"/>
                </a:lnTo>
                <a:close/>
                <a:moveTo>
                  <a:pt x="36" y="0"/>
                </a:moveTo>
                <a:lnTo>
                  <a:pt x="35" y="0"/>
                </a:lnTo>
                <a:lnTo>
                  <a:pt x="36" y="2"/>
                </a:lnTo>
                <a:lnTo>
                  <a:pt x="33" y="5"/>
                </a:lnTo>
                <a:lnTo>
                  <a:pt x="34" y="7"/>
                </a:lnTo>
                <a:lnTo>
                  <a:pt x="35" y="9"/>
                </a:lnTo>
                <a:lnTo>
                  <a:pt x="35" y="9"/>
                </a:lnTo>
                <a:lnTo>
                  <a:pt x="35" y="9"/>
                </a:lnTo>
                <a:lnTo>
                  <a:pt x="33" y="9"/>
                </a:lnTo>
                <a:lnTo>
                  <a:pt x="32" y="10"/>
                </a:lnTo>
                <a:lnTo>
                  <a:pt x="31" y="11"/>
                </a:lnTo>
                <a:lnTo>
                  <a:pt x="28" y="15"/>
                </a:lnTo>
                <a:lnTo>
                  <a:pt x="29" y="15"/>
                </a:lnTo>
                <a:lnTo>
                  <a:pt x="28" y="18"/>
                </a:lnTo>
                <a:lnTo>
                  <a:pt x="28" y="19"/>
                </a:lnTo>
                <a:lnTo>
                  <a:pt x="31" y="22"/>
                </a:lnTo>
                <a:lnTo>
                  <a:pt x="35" y="23"/>
                </a:lnTo>
                <a:lnTo>
                  <a:pt x="35" y="21"/>
                </a:lnTo>
                <a:lnTo>
                  <a:pt x="36" y="21"/>
                </a:lnTo>
                <a:lnTo>
                  <a:pt x="38" y="21"/>
                </a:lnTo>
                <a:lnTo>
                  <a:pt x="39" y="21"/>
                </a:lnTo>
                <a:lnTo>
                  <a:pt x="36" y="17"/>
                </a:lnTo>
                <a:lnTo>
                  <a:pt x="37" y="17"/>
                </a:lnTo>
                <a:lnTo>
                  <a:pt x="46" y="19"/>
                </a:lnTo>
                <a:lnTo>
                  <a:pt x="46" y="17"/>
                </a:lnTo>
                <a:lnTo>
                  <a:pt x="45" y="16"/>
                </a:lnTo>
                <a:lnTo>
                  <a:pt x="44" y="15"/>
                </a:lnTo>
                <a:lnTo>
                  <a:pt x="50" y="13"/>
                </a:lnTo>
                <a:lnTo>
                  <a:pt x="52" y="12"/>
                </a:lnTo>
                <a:lnTo>
                  <a:pt x="53" y="11"/>
                </a:lnTo>
                <a:lnTo>
                  <a:pt x="55" y="10"/>
                </a:lnTo>
                <a:lnTo>
                  <a:pt x="57" y="9"/>
                </a:lnTo>
                <a:lnTo>
                  <a:pt x="57" y="9"/>
                </a:lnTo>
                <a:lnTo>
                  <a:pt x="57" y="8"/>
                </a:lnTo>
                <a:lnTo>
                  <a:pt x="56" y="8"/>
                </a:lnTo>
                <a:lnTo>
                  <a:pt x="55" y="7"/>
                </a:lnTo>
                <a:lnTo>
                  <a:pt x="55" y="6"/>
                </a:lnTo>
                <a:lnTo>
                  <a:pt x="56" y="6"/>
                </a:lnTo>
                <a:lnTo>
                  <a:pt x="54" y="3"/>
                </a:lnTo>
                <a:lnTo>
                  <a:pt x="53" y="2"/>
                </a:lnTo>
                <a:lnTo>
                  <a:pt x="49" y="3"/>
                </a:lnTo>
                <a:lnTo>
                  <a:pt x="48" y="3"/>
                </a:lnTo>
                <a:lnTo>
                  <a:pt x="48" y="4"/>
                </a:lnTo>
                <a:lnTo>
                  <a:pt x="48" y="5"/>
                </a:lnTo>
                <a:lnTo>
                  <a:pt x="49" y="6"/>
                </a:lnTo>
                <a:lnTo>
                  <a:pt x="50" y="7"/>
                </a:lnTo>
                <a:lnTo>
                  <a:pt x="49" y="7"/>
                </a:lnTo>
                <a:lnTo>
                  <a:pt x="44" y="5"/>
                </a:lnTo>
                <a:lnTo>
                  <a:pt x="44" y="5"/>
                </a:lnTo>
                <a:lnTo>
                  <a:pt x="43" y="3"/>
                </a:lnTo>
                <a:lnTo>
                  <a:pt x="44" y="3"/>
                </a:lnTo>
                <a:lnTo>
                  <a:pt x="45" y="3"/>
                </a:lnTo>
                <a:lnTo>
                  <a:pt x="45" y="2"/>
                </a:lnTo>
                <a:lnTo>
                  <a:pt x="44" y="1"/>
                </a:lnTo>
                <a:lnTo>
                  <a:pt x="42" y="0"/>
                </a:lnTo>
                <a:lnTo>
                  <a:pt x="39" y="1"/>
                </a:lnTo>
                <a:lnTo>
                  <a:pt x="36" y="0"/>
                </a:lnTo>
                <a:lnTo>
                  <a:pt x="36"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94" name="Faroe Islands">
            <a:extLst>
              <a:ext uri="{FF2B5EF4-FFF2-40B4-BE49-F238E27FC236}">
                <a16:creationId xmlns:a16="http://schemas.microsoft.com/office/drawing/2014/main" id="{A1FCF9D7-3781-490C-AA0C-18CDDF38325D}"/>
              </a:ext>
            </a:extLst>
          </p:cNvPr>
          <p:cNvSpPr>
            <a:spLocks noEditPoints="1"/>
          </p:cNvSpPr>
          <p:nvPr/>
        </p:nvSpPr>
        <p:spPr bwMode="auto">
          <a:xfrm>
            <a:off x="4992336" y="1858216"/>
            <a:ext cx="28920" cy="34025"/>
          </a:xfrm>
          <a:custGeom>
            <a:avLst/>
            <a:gdLst>
              <a:gd name="T0" fmla="*/ 11 w 17"/>
              <a:gd name="T1" fmla="*/ 19 h 20"/>
              <a:gd name="T2" fmla="*/ 11 w 17"/>
              <a:gd name="T3" fmla="*/ 17 h 20"/>
              <a:gd name="T4" fmla="*/ 9 w 17"/>
              <a:gd name="T5" fmla="*/ 17 h 20"/>
              <a:gd name="T6" fmla="*/ 8 w 17"/>
              <a:gd name="T7" fmla="*/ 16 h 20"/>
              <a:gd name="T8" fmla="*/ 9 w 17"/>
              <a:gd name="T9" fmla="*/ 19 h 20"/>
              <a:gd name="T10" fmla="*/ 11 w 17"/>
              <a:gd name="T11" fmla="*/ 20 h 20"/>
              <a:gd name="T12" fmla="*/ 11 w 17"/>
              <a:gd name="T13" fmla="*/ 20 h 20"/>
              <a:gd name="T14" fmla="*/ 13 w 17"/>
              <a:gd name="T15" fmla="*/ 12 h 20"/>
              <a:gd name="T16" fmla="*/ 12 w 17"/>
              <a:gd name="T17" fmla="*/ 11 h 20"/>
              <a:gd name="T18" fmla="*/ 9 w 17"/>
              <a:gd name="T19" fmla="*/ 10 h 20"/>
              <a:gd name="T20" fmla="*/ 9 w 17"/>
              <a:gd name="T21" fmla="*/ 11 h 20"/>
              <a:gd name="T22" fmla="*/ 11 w 17"/>
              <a:gd name="T23" fmla="*/ 12 h 20"/>
              <a:gd name="T24" fmla="*/ 13 w 17"/>
              <a:gd name="T25" fmla="*/ 13 h 20"/>
              <a:gd name="T26" fmla="*/ 13 w 17"/>
              <a:gd name="T27" fmla="*/ 12 h 20"/>
              <a:gd name="T28" fmla="*/ 4 w 17"/>
              <a:gd name="T29" fmla="*/ 5 h 20"/>
              <a:gd name="T30" fmla="*/ 0 w 17"/>
              <a:gd name="T31" fmla="*/ 6 h 20"/>
              <a:gd name="T32" fmla="*/ 3 w 17"/>
              <a:gd name="T33" fmla="*/ 7 h 20"/>
              <a:gd name="T34" fmla="*/ 6 w 17"/>
              <a:gd name="T35" fmla="*/ 7 h 20"/>
              <a:gd name="T36" fmla="*/ 6 w 17"/>
              <a:gd name="T37" fmla="*/ 6 h 20"/>
              <a:gd name="T38" fmla="*/ 4 w 17"/>
              <a:gd name="T39" fmla="*/ 6 h 20"/>
              <a:gd name="T40" fmla="*/ 10 w 17"/>
              <a:gd name="T41" fmla="*/ 3 h 20"/>
              <a:gd name="T42" fmla="*/ 5 w 17"/>
              <a:gd name="T43" fmla="*/ 2 h 20"/>
              <a:gd name="T44" fmla="*/ 10 w 17"/>
              <a:gd name="T45" fmla="*/ 8 h 20"/>
              <a:gd name="T46" fmla="*/ 11 w 17"/>
              <a:gd name="T47" fmla="*/ 9 h 20"/>
              <a:gd name="T48" fmla="*/ 10 w 17"/>
              <a:gd name="T49" fmla="*/ 6 h 20"/>
              <a:gd name="T50" fmla="*/ 9 w 17"/>
              <a:gd name="T51" fmla="*/ 6 h 20"/>
              <a:gd name="T52" fmla="*/ 11 w 17"/>
              <a:gd name="T53" fmla="*/ 6 h 20"/>
              <a:gd name="T54" fmla="*/ 13 w 17"/>
              <a:gd name="T55" fmla="*/ 6 h 20"/>
              <a:gd name="T56" fmla="*/ 13 w 17"/>
              <a:gd name="T57" fmla="*/ 4 h 20"/>
              <a:gd name="T58" fmla="*/ 16 w 17"/>
              <a:gd name="T59" fmla="*/ 2 h 20"/>
              <a:gd name="T60" fmla="*/ 15 w 17"/>
              <a:gd name="T61" fmla="*/ 2 h 20"/>
              <a:gd name="T62" fmla="*/ 15 w 17"/>
              <a:gd name="T63" fmla="*/ 4 h 20"/>
              <a:gd name="T64" fmla="*/ 16 w 17"/>
              <a:gd name="T65" fmla="*/ 4 h 20"/>
              <a:gd name="T66" fmla="*/ 17 w 17"/>
              <a:gd name="T67"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 h="20">
                <a:moveTo>
                  <a:pt x="11" y="20"/>
                </a:moveTo>
                <a:lnTo>
                  <a:pt x="11" y="19"/>
                </a:lnTo>
                <a:lnTo>
                  <a:pt x="11" y="18"/>
                </a:lnTo>
                <a:lnTo>
                  <a:pt x="11" y="17"/>
                </a:lnTo>
                <a:lnTo>
                  <a:pt x="10" y="17"/>
                </a:lnTo>
                <a:lnTo>
                  <a:pt x="9" y="17"/>
                </a:lnTo>
                <a:lnTo>
                  <a:pt x="9" y="16"/>
                </a:lnTo>
                <a:lnTo>
                  <a:pt x="8" y="16"/>
                </a:lnTo>
                <a:lnTo>
                  <a:pt x="8" y="17"/>
                </a:lnTo>
                <a:lnTo>
                  <a:pt x="9" y="19"/>
                </a:lnTo>
                <a:lnTo>
                  <a:pt x="10" y="20"/>
                </a:lnTo>
                <a:lnTo>
                  <a:pt x="11" y="20"/>
                </a:lnTo>
                <a:lnTo>
                  <a:pt x="11" y="20"/>
                </a:lnTo>
                <a:lnTo>
                  <a:pt x="11" y="20"/>
                </a:lnTo>
                <a:lnTo>
                  <a:pt x="11" y="20"/>
                </a:lnTo>
                <a:close/>
                <a:moveTo>
                  <a:pt x="13" y="12"/>
                </a:moveTo>
                <a:lnTo>
                  <a:pt x="13" y="12"/>
                </a:lnTo>
                <a:lnTo>
                  <a:pt x="12" y="11"/>
                </a:lnTo>
                <a:lnTo>
                  <a:pt x="10" y="10"/>
                </a:lnTo>
                <a:lnTo>
                  <a:pt x="9" y="10"/>
                </a:lnTo>
                <a:lnTo>
                  <a:pt x="9" y="10"/>
                </a:lnTo>
                <a:lnTo>
                  <a:pt x="9" y="11"/>
                </a:lnTo>
                <a:lnTo>
                  <a:pt x="9" y="11"/>
                </a:lnTo>
                <a:lnTo>
                  <a:pt x="11" y="12"/>
                </a:lnTo>
                <a:lnTo>
                  <a:pt x="12" y="13"/>
                </a:lnTo>
                <a:lnTo>
                  <a:pt x="13" y="13"/>
                </a:lnTo>
                <a:lnTo>
                  <a:pt x="13" y="12"/>
                </a:lnTo>
                <a:lnTo>
                  <a:pt x="13" y="12"/>
                </a:lnTo>
                <a:close/>
                <a:moveTo>
                  <a:pt x="4" y="6"/>
                </a:moveTo>
                <a:lnTo>
                  <a:pt x="4" y="5"/>
                </a:lnTo>
                <a:lnTo>
                  <a:pt x="2" y="6"/>
                </a:lnTo>
                <a:lnTo>
                  <a:pt x="0" y="6"/>
                </a:lnTo>
                <a:lnTo>
                  <a:pt x="1" y="6"/>
                </a:lnTo>
                <a:lnTo>
                  <a:pt x="3" y="7"/>
                </a:lnTo>
                <a:lnTo>
                  <a:pt x="4" y="7"/>
                </a:lnTo>
                <a:lnTo>
                  <a:pt x="6" y="7"/>
                </a:lnTo>
                <a:lnTo>
                  <a:pt x="6" y="6"/>
                </a:lnTo>
                <a:lnTo>
                  <a:pt x="6" y="6"/>
                </a:lnTo>
                <a:lnTo>
                  <a:pt x="4" y="6"/>
                </a:lnTo>
                <a:lnTo>
                  <a:pt x="4" y="6"/>
                </a:lnTo>
                <a:close/>
                <a:moveTo>
                  <a:pt x="13" y="4"/>
                </a:moveTo>
                <a:lnTo>
                  <a:pt x="10" y="3"/>
                </a:lnTo>
                <a:lnTo>
                  <a:pt x="9" y="2"/>
                </a:lnTo>
                <a:lnTo>
                  <a:pt x="5" y="2"/>
                </a:lnTo>
                <a:lnTo>
                  <a:pt x="8" y="6"/>
                </a:lnTo>
                <a:lnTo>
                  <a:pt x="10" y="8"/>
                </a:lnTo>
                <a:lnTo>
                  <a:pt x="11" y="9"/>
                </a:lnTo>
                <a:lnTo>
                  <a:pt x="11" y="9"/>
                </a:lnTo>
                <a:lnTo>
                  <a:pt x="11" y="8"/>
                </a:lnTo>
                <a:lnTo>
                  <a:pt x="10" y="6"/>
                </a:lnTo>
                <a:lnTo>
                  <a:pt x="9" y="6"/>
                </a:lnTo>
                <a:lnTo>
                  <a:pt x="9" y="6"/>
                </a:lnTo>
                <a:lnTo>
                  <a:pt x="10" y="6"/>
                </a:lnTo>
                <a:lnTo>
                  <a:pt x="11" y="6"/>
                </a:lnTo>
                <a:lnTo>
                  <a:pt x="12" y="6"/>
                </a:lnTo>
                <a:lnTo>
                  <a:pt x="13" y="6"/>
                </a:lnTo>
                <a:lnTo>
                  <a:pt x="13" y="4"/>
                </a:lnTo>
                <a:lnTo>
                  <a:pt x="13" y="4"/>
                </a:lnTo>
                <a:close/>
                <a:moveTo>
                  <a:pt x="17" y="3"/>
                </a:moveTo>
                <a:lnTo>
                  <a:pt x="16" y="2"/>
                </a:lnTo>
                <a:lnTo>
                  <a:pt x="15" y="0"/>
                </a:lnTo>
                <a:lnTo>
                  <a:pt x="15" y="2"/>
                </a:lnTo>
                <a:lnTo>
                  <a:pt x="15" y="4"/>
                </a:lnTo>
                <a:lnTo>
                  <a:pt x="15" y="4"/>
                </a:lnTo>
                <a:lnTo>
                  <a:pt x="15" y="4"/>
                </a:lnTo>
                <a:lnTo>
                  <a:pt x="16" y="4"/>
                </a:lnTo>
                <a:lnTo>
                  <a:pt x="17" y="3"/>
                </a:lnTo>
                <a:lnTo>
                  <a:pt x="17" y="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95" name="Grenada">
            <a:extLst>
              <a:ext uri="{FF2B5EF4-FFF2-40B4-BE49-F238E27FC236}">
                <a16:creationId xmlns:a16="http://schemas.microsoft.com/office/drawing/2014/main" id="{49BAEB7E-B416-4476-B731-60CB1884E366}"/>
              </a:ext>
            </a:extLst>
          </p:cNvPr>
          <p:cNvSpPr>
            <a:spLocks/>
          </p:cNvSpPr>
          <p:nvPr/>
        </p:nvSpPr>
        <p:spPr bwMode="auto">
          <a:xfrm>
            <a:off x="3008720" y="3845234"/>
            <a:ext cx="6805" cy="10207"/>
          </a:xfrm>
          <a:custGeom>
            <a:avLst/>
            <a:gdLst>
              <a:gd name="T0" fmla="*/ 1 w 4"/>
              <a:gd name="T1" fmla="*/ 6 h 6"/>
              <a:gd name="T2" fmla="*/ 3 w 4"/>
              <a:gd name="T3" fmla="*/ 5 h 6"/>
              <a:gd name="T4" fmla="*/ 4 w 4"/>
              <a:gd name="T5" fmla="*/ 1 h 6"/>
              <a:gd name="T6" fmla="*/ 3 w 4"/>
              <a:gd name="T7" fmla="*/ 0 h 6"/>
              <a:gd name="T8" fmla="*/ 2 w 4"/>
              <a:gd name="T9" fmla="*/ 1 h 6"/>
              <a:gd name="T10" fmla="*/ 1 w 4"/>
              <a:gd name="T11" fmla="*/ 3 h 6"/>
              <a:gd name="T12" fmla="*/ 1 w 4"/>
              <a:gd name="T13" fmla="*/ 5 h 6"/>
              <a:gd name="T14" fmla="*/ 0 w 4"/>
              <a:gd name="T15" fmla="*/ 6 h 6"/>
              <a:gd name="T16" fmla="*/ 1 w 4"/>
              <a:gd name="T17" fmla="*/ 6 h 6"/>
              <a:gd name="T18" fmla="*/ 1 w 4"/>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1" y="6"/>
                </a:moveTo>
                <a:lnTo>
                  <a:pt x="3" y="5"/>
                </a:lnTo>
                <a:lnTo>
                  <a:pt x="4" y="1"/>
                </a:lnTo>
                <a:lnTo>
                  <a:pt x="3" y="0"/>
                </a:lnTo>
                <a:lnTo>
                  <a:pt x="2" y="1"/>
                </a:lnTo>
                <a:lnTo>
                  <a:pt x="1" y="3"/>
                </a:lnTo>
                <a:lnTo>
                  <a:pt x="1" y="5"/>
                </a:lnTo>
                <a:lnTo>
                  <a:pt x="0" y="6"/>
                </a:lnTo>
                <a:lnTo>
                  <a:pt x="1" y="6"/>
                </a:lnTo>
                <a:lnTo>
                  <a:pt x="1" y="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96" name="Hong-Kong">
            <a:extLst>
              <a:ext uri="{FF2B5EF4-FFF2-40B4-BE49-F238E27FC236}">
                <a16:creationId xmlns:a16="http://schemas.microsoft.com/office/drawing/2014/main" id="{3938B515-2492-427D-B8DB-CB71A09032C3}"/>
              </a:ext>
            </a:extLst>
          </p:cNvPr>
          <p:cNvSpPr>
            <a:spLocks noEditPoints="1"/>
          </p:cNvSpPr>
          <p:nvPr/>
        </p:nvSpPr>
        <p:spPr bwMode="auto">
          <a:xfrm>
            <a:off x="9177324" y="3426737"/>
            <a:ext cx="17012" cy="17012"/>
          </a:xfrm>
          <a:custGeom>
            <a:avLst/>
            <a:gdLst>
              <a:gd name="T0" fmla="*/ 9 w 10"/>
              <a:gd name="T1" fmla="*/ 10 h 10"/>
              <a:gd name="T2" fmla="*/ 9 w 10"/>
              <a:gd name="T3" fmla="*/ 9 h 10"/>
              <a:gd name="T4" fmla="*/ 9 w 10"/>
              <a:gd name="T5" fmla="*/ 8 h 10"/>
              <a:gd name="T6" fmla="*/ 7 w 10"/>
              <a:gd name="T7" fmla="*/ 7 h 10"/>
              <a:gd name="T8" fmla="*/ 6 w 10"/>
              <a:gd name="T9" fmla="*/ 7 h 10"/>
              <a:gd name="T10" fmla="*/ 6 w 10"/>
              <a:gd name="T11" fmla="*/ 8 h 10"/>
              <a:gd name="T12" fmla="*/ 8 w 10"/>
              <a:gd name="T13" fmla="*/ 10 h 10"/>
              <a:gd name="T14" fmla="*/ 9 w 10"/>
              <a:gd name="T15" fmla="*/ 10 h 10"/>
              <a:gd name="T16" fmla="*/ 9 w 10"/>
              <a:gd name="T17" fmla="*/ 10 h 10"/>
              <a:gd name="T18" fmla="*/ 3 w 10"/>
              <a:gd name="T19" fmla="*/ 10 h 10"/>
              <a:gd name="T20" fmla="*/ 3 w 10"/>
              <a:gd name="T21" fmla="*/ 8 h 10"/>
              <a:gd name="T22" fmla="*/ 4 w 10"/>
              <a:gd name="T23" fmla="*/ 6 h 10"/>
              <a:gd name="T24" fmla="*/ 0 w 10"/>
              <a:gd name="T25" fmla="*/ 8 h 10"/>
              <a:gd name="T26" fmla="*/ 0 w 10"/>
              <a:gd name="T27" fmla="*/ 9 h 10"/>
              <a:gd name="T28" fmla="*/ 0 w 10"/>
              <a:gd name="T29" fmla="*/ 9 h 10"/>
              <a:gd name="T30" fmla="*/ 1 w 10"/>
              <a:gd name="T31" fmla="*/ 10 h 10"/>
              <a:gd name="T32" fmla="*/ 3 w 10"/>
              <a:gd name="T33" fmla="*/ 10 h 10"/>
              <a:gd name="T34" fmla="*/ 3 w 10"/>
              <a:gd name="T35" fmla="*/ 10 h 10"/>
              <a:gd name="T36" fmla="*/ 10 w 10"/>
              <a:gd name="T37" fmla="*/ 5 h 10"/>
              <a:gd name="T38" fmla="*/ 9 w 10"/>
              <a:gd name="T39" fmla="*/ 4 h 10"/>
              <a:gd name="T40" fmla="*/ 9 w 10"/>
              <a:gd name="T41" fmla="*/ 3 h 10"/>
              <a:gd name="T42" fmla="*/ 8 w 10"/>
              <a:gd name="T43" fmla="*/ 2 h 10"/>
              <a:gd name="T44" fmla="*/ 8 w 10"/>
              <a:gd name="T45" fmla="*/ 1 h 10"/>
              <a:gd name="T46" fmla="*/ 8 w 10"/>
              <a:gd name="T47" fmla="*/ 1 h 10"/>
              <a:gd name="T48" fmla="*/ 7 w 10"/>
              <a:gd name="T49" fmla="*/ 1 h 10"/>
              <a:gd name="T50" fmla="*/ 6 w 10"/>
              <a:gd name="T51" fmla="*/ 0 h 10"/>
              <a:gd name="T52" fmla="*/ 4 w 10"/>
              <a:gd name="T53" fmla="*/ 0 h 10"/>
              <a:gd name="T54" fmla="*/ 4 w 10"/>
              <a:gd name="T55" fmla="*/ 1 h 10"/>
              <a:gd name="T56" fmla="*/ 3 w 10"/>
              <a:gd name="T57" fmla="*/ 1 h 10"/>
              <a:gd name="T58" fmla="*/ 2 w 10"/>
              <a:gd name="T59" fmla="*/ 2 h 10"/>
              <a:gd name="T60" fmla="*/ 2 w 10"/>
              <a:gd name="T61" fmla="*/ 2 h 10"/>
              <a:gd name="T62" fmla="*/ 2 w 10"/>
              <a:gd name="T63" fmla="*/ 2 h 10"/>
              <a:gd name="T64" fmla="*/ 0 w 10"/>
              <a:gd name="T65" fmla="*/ 4 h 10"/>
              <a:gd name="T66" fmla="*/ 0 w 10"/>
              <a:gd name="T67" fmla="*/ 5 h 10"/>
              <a:gd name="T68" fmla="*/ 1 w 10"/>
              <a:gd name="T69" fmla="*/ 6 h 10"/>
              <a:gd name="T70" fmla="*/ 3 w 10"/>
              <a:gd name="T71" fmla="*/ 5 h 10"/>
              <a:gd name="T72" fmla="*/ 6 w 10"/>
              <a:gd name="T73" fmla="*/ 6 h 10"/>
              <a:gd name="T74" fmla="*/ 9 w 10"/>
              <a:gd name="T75" fmla="*/ 7 h 10"/>
              <a:gd name="T76" fmla="*/ 9 w 10"/>
              <a:gd name="T77" fmla="*/ 6 h 10"/>
              <a:gd name="T78" fmla="*/ 9 w 10"/>
              <a:gd name="T79" fmla="*/ 5 h 10"/>
              <a:gd name="T80" fmla="*/ 10 w 10"/>
              <a:gd name="T81" fmla="*/ 5 h 10"/>
              <a:gd name="T82" fmla="*/ 10 w 10"/>
              <a:gd name="T83"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10">
                <a:moveTo>
                  <a:pt x="9" y="10"/>
                </a:moveTo>
                <a:lnTo>
                  <a:pt x="9" y="9"/>
                </a:lnTo>
                <a:lnTo>
                  <a:pt x="9" y="8"/>
                </a:lnTo>
                <a:lnTo>
                  <a:pt x="7" y="7"/>
                </a:lnTo>
                <a:lnTo>
                  <a:pt x="6" y="7"/>
                </a:lnTo>
                <a:lnTo>
                  <a:pt x="6" y="8"/>
                </a:lnTo>
                <a:lnTo>
                  <a:pt x="8" y="10"/>
                </a:lnTo>
                <a:lnTo>
                  <a:pt x="9" y="10"/>
                </a:lnTo>
                <a:lnTo>
                  <a:pt x="9" y="10"/>
                </a:lnTo>
                <a:close/>
                <a:moveTo>
                  <a:pt x="3" y="10"/>
                </a:moveTo>
                <a:lnTo>
                  <a:pt x="3" y="8"/>
                </a:lnTo>
                <a:lnTo>
                  <a:pt x="4" y="6"/>
                </a:lnTo>
                <a:lnTo>
                  <a:pt x="0" y="8"/>
                </a:lnTo>
                <a:lnTo>
                  <a:pt x="0" y="9"/>
                </a:lnTo>
                <a:lnTo>
                  <a:pt x="0" y="9"/>
                </a:lnTo>
                <a:lnTo>
                  <a:pt x="1" y="10"/>
                </a:lnTo>
                <a:lnTo>
                  <a:pt x="3" y="10"/>
                </a:lnTo>
                <a:lnTo>
                  <a:pt x="3" y="10"/>
                </a:lnTo>
                <a:close/>
                <a:moveTo>
                  <a:pt x="10" y="5"/>
                </a:moveTo>
                <a:lnTo>
                  <a:pt x="9" y="4"/>
                </a:lnTo>
                <a:lnTo>
                  <a:pt x="9" y="3"/>
                </a:lnTo>
                <a:lnTo>
                  <a:pt x="8" y="2"/>
                </a:lnTo>
                <a:lnTo>
                  <a:pt x="8" y="1"/>
                </a:lnTo>
                <a:lnTo>
                  <a:pt x="8" y="1"/>
                </a:lnTo>
                <a:lnTo>
                  <a:pt x="7" y="1"/>
                </a:lnTo>
                <a:lnTo>
                  <a:pt x="6" y="0"/>
                </a:lnTo>
                <a:lnTo>
                  <a:pt x="4" y="0"/>
                </a:lnTo>
                <a:lnTo>
                  <a:pt x="4" y="1"/>
                </a:lnTo>
                <a:lnTo>
                  <a:pt x="3" y="1"/>
                </a:lnTo>
                <a:lnTo>
                  <a:pt x="2" y="2"/>
                </a:lnTo>
                <a:lnTo>
                  <a:pt x="2" y="2"/>
                </a:lnTo>
                <a:lnTo>
                  <a:pt x="2" y="2"/>
                </a:lnTo>
                <a:lnTo>
                  <a:pt x="0" y="4"/>
                </a:lnTo>
                <a:lnTo>
                  <a:pt x="0" y="5"/>
                </a:lnTo>
                <a:lnTo>
                  <a:pt x="1" y="6"/>
                </a:lnTo>
                <a:lnTo>
                  <a:pt x="3" y="5"/>
                </a:lnTo>
                <a:lnTo>
                  <a:pt x="6" y="6"/>
                </a:lnTo>
                <a:lnTo>
                  <a:pt x="9" y="7"/>
                </a:lnTo>
                <a:lnTo>
                  <a:pt x="9" y="6"/>
                </a:lnTo>
                <a:lnTo>
                  <a:pt x="9" y="5"/>
                </a:lnTo>
                <a:lnTo>
                  <a:pt x="10" y="5"/>
                </a:lnTo>
                <a:lnTo>
                  <a:pt x="10" y="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97" name="Saint Kitts and Nevis">
            <a:extLst>
              <a:ext uri="{FF2B5EF4-FFF2-40B4-BE49-F238E27FC236}">
                <a16:creationId xmlns:a16="http://schemas.microsoft.com/office/drawing/2014/main" id="{FBF4BFB5-3202-4A37-A140-6E65722484DD}"/>
              </a:ext>
            </a:extLst>
          </p:cNvPr>
          <p:cNvSpPr>
            <a:spLocks noEditPoints="1"/>
          </p:cNvSpPr>
          <p:nvPr/>
        </p:nvSpPr>
        <p:spPr bwMode="auto">
          <a:xfrm>
            <a:off x="2986603" y="3637687"/>
            <a:ext cx="10207" cy="11909"/>
          </a:xfrm>
          <a:custGeom>
            <a:avLst/>
            <a:gdLst>
              <a:gd name="T0" fmla="*/ 6 w 6"/>
              <a:gd name="T1" fmla="*/ 6 h 7"/>
              <a:gd name="T2" fmla="*/ 6 w 6"/>
              <a:gd name="T3" fmla="*/ 5 h 7"/>
              <a:gd name="T4" fmla="*/ 6 w 6"/>
              <a:gd name="T5" fmla="*/ 4 h 7"/>
              <a:gd name="T6" fmla="*/ 5 w 6"/>
              <a:gd name="T7" fmla="*/ 4 h 7"/>
              <a:gd name="T8" fmla="*/ 5 w 6"/>
              <a:gd name="T9" fmla="*/ 6 h 7"/>
              <a:gd name="T10" fmla="*/ 5 w 6"/>
              <a:gd name="T11" fmla="*/ 7 h 7"/>
              <a:gd name="T12" fmla="*/ 6 w 6"/>
              <a:gd name="T13" fmla="*/ 6 h 7"/>
              <a:gd name="T14" fmla="*/ 5 w 6"/>
              <a:gd name="T15" fmla="*/ 3 h 7"/>
              <a:gd name="T16" fmla="*/ 4 w 6"/>
              <a:gd name="T17" fmla="*/ 2 h 7"/>
              <a:gd name="T18" fmla="*/ 4 w 6"/>
              <a:gd name="T19" fmla="*/ 2 h 7"/>
              <a:gd name="T20" fmla="*/ 3 w 6"/>
              <a:gd name="T21" fmla="*/ 1 h 7"/>
              <a:gd name="T22" fmla="*/ 1 w 6"/>
              <a:gd name="T23" fmla="*/ 0 h 7"/>
              <a:gd name="T24" fmla="*/ 1 w 6"/>
              <a:gd name="T25" fmla="*/ 0 h 7"/>
              <a:gd name="T26" fmla="*/ 0 w 6"/>
              <a:gd name="T27" fmla="*/ 1 h 7"/>
              <a:gd name="T28" fmla="*/ 0 w 6"/>
              <a:gd name="T29" fmla="*/ 1 h 7"/>
              <a:gd name="T30" fmla="*/ 0 w 6"/>
              <a:gd name="T31" fmla="*/ 1 h 7"/>
              <a:gd name="T32" fmla="*/ 1 w 6"/>
              <a:gd name="T33" fmla="*/ 2 h 7"/>
              <a:gd name="T34" fmla="*/ 3 w 6"/>
              <a:gd name="T35" fmla="*/ 2 h 7"/>
              <a:gd name="T36" fmla="*/ 4 w 6"/>
              <a:gd name="T37" fmla="*/ 3 h 7"/>
              <a:gd name="T38" fmla="*/ 5 w 6"/>
              <a:gd name="T39" fmla="*/ 3 h 7"/>
              <a:gd name="T40" fmla="*/ 5 w 6"/>
              <a:gd name="T4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7">
                <a:moveTo>
                  <a:pt x="6" y="6"/>
                </a:moveTo>
                <a:lnTo>
                  <a:pt x="6" y="5"/>
                </a:lnTo>
                <a:lnTo>
                  <a:pt x="6" y="4"/>
                </a:lnTo>
                <a:lnTo>
                  <a:pt x="5" y="4"/>
                </a:lnTo>
                <a:lnTo>
                  <a:pt x="5" y="6"/>
                </a:lnTo>
                <a:lnTo>
                  <a:pt x="5" y="7"/>
                </a:lnTo>
                <a:lnTo>
                  <a:pt x="6" y="6"/>
                </a:lnTo>
                <a:close/>
                <a:moveTo>
                  <a:pt x="5" y="3"/>
                </a:moveTo>
                <a:lnTo>
                  <a:pt x="4" y="2"/>
                </a:lnTo>
                <a:lnTo>
                  <a:pt x="4" y="2"/>
                </a:lnTo>
                <a:lnTo>
                  <a:pt x="3" y="1"/>
                </a:lnTo>
                <a:lnTo>
                  <a:pt x="1" y="0"/>
                </a:lnTo>
                <a:lnTo>
                  <a:pt x="1" y="0"/>
                </a:lnTo>
                <a:lnTo>
                  <a:pt x="0" y="1"/>
                </a:lnTo>
                <a:lnTo>
                  <a:pt x="0" y="1"/>
                </a:lnTo>
                <a:lnTo>
                  <a:pt x="0" y="1"/>
                </a:lnTo>
                <a:lnTo>
                  <a:pt x="1" y="2"/>
                </a:lnTo>
                <a:lnTo>
                  <a:pt x="3" y="2"/>
                </a:lnTo>
                <a:lnTo>
                  <a:pt x="4" y="3"/>
                </a:lnTo>
                <a:lnTo>
                  <a:pt x="5" y="3"/>
                </a:lnTo>
                <a:lnTo>
                  <a:pt x="5" y="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98" name="Saint Lucia">
            <a:extLst>
              <a:ext uri="{FF2B5EF4-FFF2-40B4-BE49-F238E27FC236}">
                <a16:creationId xmlns:a16="http://schemas.microsoft.com/office/drawing/2014/main" id="{E8757413-2D03-48D6-AD2D-97607D876E1B}"/>
              </a:ext>
            </a:extLst>
          </p:cNvPr>
          <p:cNvSpPr>
            <a:spLocks/>
          </p:cNvSpPr>
          <p:nvPr/>
        </p:nvSpPr>
        <p:spPr bwMode="auto">
          <a:xfrm>
            <a:off x="3039343" y="3770382"/>
            <a:ext cx="5103" cy="15311"/>
          </a:xfrm>
          <a:custGeom>
            <a:avLst/>
            <a:gdLst>
              <a:gd name="T0" fmla="*/ 3 w 3"/>
              <a:gd name="T1" fmla="*/ 7 h 9"/>
              <a:gd name="T2" fmla="*/ 3 w 3"/>
              <a:gd name="T3" fmla="*/ 2 h 9"/>
              <a:gd name="T4" fmla="*/ 3 w 3"/>
              <a:gd name="T5" fmla="*/ 0 h 9"/>
              <a:gd name="T6" fmla="*/ 3 w 3"/>
              <a:gd name="T7" fmla="*/ 0 h 9"/>
              <a:gd name="T8" fmla="*/ 2 w 3"/>
              <a:gd name="T9" fmla="*/ 2 h 9"/>
              <a:gd name="T10" fmla="*/ 0 w 3"/>
              <a:gd name="T11" fmla="*/ 4 h 9"/>
              <a:gd name="T12" fmla="*/ 0 w 3"/>
              <a:gd name="T13" fmla="*/ 6 h 9"/>
              <a:gd name="T14" fmla="*/ 0 w 3"/>
              <a:gd name="T15" fmla="*/ 8 h 9"/>
              <a:gd name="T16" fmla="*/ 2 w 3"/>
              <a:gd name="T17" fmla="*/ 9 h 9"/>
              <a:gd name="T18" fmla="*/ 3 w 3"/>
              <a:gd name="T19" fmla="*/ 7 h 9"/>
              <a:gd name="T20" fmla="*/ 3 w 3"/>
              <a:gd name="T2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9">
                <a:moveTo>
                  <a:pt x="3" y="7"/>
                </a:moveTo>
                <a:lnTo>
                  <a:pt x="3" y="2"/>
                </a:lnTo>
                <a:lnTo>
                  <a:pt x="3" y="0"/>
                </a:lnTo>
                <a:lnTo>
                  <a:pt x="3" y="0"/>
                </a:lnTo>
                <a:lnTo>
                  <a:pt x="2" y="2"/>
                </a:lnTo>
                <a:lnTo>
                  <a:pt x="0" y="4"/>
                </a:lnTo>
                <a:lnTo>
                  <a:pt x="0" y="6"/>
                </a:lnTo>
                <a:lnTo>
                  <a:pt x="0" y="8"/>
                </a:lnTo>
                <a:lnTo>
                  <a:pt x="2" y="9"/>
                </a:lnTo>
                <a:lnTo>
                  <a:pt x="3" y="7"/>
                </a:lnTo>
                <a:lnTo>
                  <a:pt x="3" y="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99" name="Liechtenstein">
            <a:extLst>
              <a:ext uri="{FF2B5EF4-FFF2-40B4-BE49-F238E27FC236}">
                <a16:creationId xmlns:a16="http://schemas.microsoft.com/office/drawing/2014/main" id="{6569EE9B-9A38-422A-A093-911EAFEA026E}"/>
              </a:ext>
            </a:extLst>
          </p:cNvPr>
          <p:cNvSpPr>
            <a:spLocks/>
          </p:cNvSpPr>
          <p:nvPr/>
        </p:nvSpPr>
        <p:spPr bwMode="auto">
          <a:xfrm>
            <a:off x="5499297" y="2434929"/>
            <a:ext cx="5103" cy="8506"/>
          </a:xfrm>
          <a:custGeom>
            <a:avLst/>
            <a:gdLst>
              <a:gd name="T0" fmla="*/ 3 w 3"/>
              <a:gd name="T1" fmla="*/ 5 h 5"/>
              <a:gd name="T2" fmla="*/ 3 w 3"/>
              <a:gd name="T3" fmla="*/ 5 h 5"/>
              <a:gd name="T4" fmla="*/ 3 w 3"/>
              <a:gd name="T5" fmla="*/ 4 h 5"/>
              <a:gd name="T6" fmla="*/ 3 w 3"/>
              <a:gd name="T7" fmla="*/ 3 h 5"/>
              <a:gd name="T8" fmla="*/ 2 w 3"/>
              <a:gd name="T9" fmla="*/ 3 h 5"/>
              <a:gd name="T10" fmla="*/ 2 w 3"/>
              <a:gd name="T11" fmla="*/ 2 h 5"/>
              <a:gd name="T12" fmla="*/ 2 w 3"/>
              <a:gd name="T13" fmla="*/ 1 h 5"/>
              <a:gd name="T14" fmla="*/ 1 w 3"/>
              <a:gd name="T15" fmla="*/ 1 h 5"/>
              <a:gd name="T16" fmla="*/ 1 w 3"/>
              <a:gd name="T17" fmla="*/ 0 h 5"/>
              <a:gd name="T18" fmla="*/ 1 w 3"/>
              <a:gd name="T19" fmla="*/ 0 h 5"/>
              <a:gd name="T20" fmla="*/ 0 w 3"/>
              <a:gd name="T21" fmla="*/ 2 h 5"/>
              <a:gd name="T22" fmla="*/ 0 w 3"/>
              <a:gd name="T23" fmla="*/ 4 h 5"/>
              <a:gd name="T24" fmla="*/ 1 w 3"/>
              <a:gd name="T25" fmla="*/ 5 h 5"/>
              <a:gd name="T26" fmla="*/ 1 w 3"/>
              <a:gd name="T27" fmla="*/ 5 h 5"/>
              <a:gd name="T28" fmla="*/ 3 w 3"/>
              <a:gd name="T29" fmla="*/ 5 h 5"/>
              <a:gd name="T30" fmla="*/ 3 w 3"/>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5">
                <a:moveTo>
                  <a:pt x="3" y="5"/>
                </a:moveTo>
                <a:lnTo>
                  <a:pt x="3" y="5"/>
                </a:lnTo>
                <a:lnTo>
                  <a:pt x="3" y="4"/>
                </a:lnTo>
                <a:lnTo>
                  <a:pt x="3" y="3"/>
                </a:lnTo>
                <a:lnTo>
                  <a:pt x="2" y="3"/>
                </a:lnTo>
                <a:lnTo>
                  <a:pt x="2" y="2"/>
                </a:lnTo>
                <a:lnTo>
                  <a:pt x="2" y="1"/>
                </a:lnTo>
                <a:lnTo>
                  <a:pt x="1" y="1"/>
                </a:lnTo>
                <a:lnTo>
                  <a:pt x="1" y="0"/>
                </a:lnTo>
                <a:lnTo>
                  <a:pt x="1" y="0"/>
                </a:lnTo>
                <a:lnTo>
                  <a:pt x="0" y="2"/>
                </a:lnTo>
                <a:lnTo>
                  <a:pt x="0" y="4"/>
                </a:lnTo>
                <a:lnTo>
                  <a:pt x="1" y="5"/>
                </a:lnTo>
                <a:lnTo>
                  <a:pt x="1" y="5"/>
                </a:lnTo>
                <a:lnTo>
                  <a:pt x="3" y="5"/>
                </a:lnTo>
                <a:lnTo>
                  <a:pt x="3" y="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00" name="Maldives">
            <a:extLst>
              <a:ext uri="{FF2B5EF4-FFF2-40B4-BE49-F238E27FC236}">
                <a16:creationId xmlns:a16="http://schemas.microsoft.com/office/drawing/2014/main" id="{B4640E6E-D3FF-449D-821A-FEDE1A34FE8E}"/>
              </a:ext>
            </a:extLst>
          </p:cNvPr>
          <p:cNvSpPr>
            <a:spLocks noEditPoints="1"/>
          </p:cNvSpPr>
          <p:nvPr/>
        </p:nvSpPr>
        <p:spPr bwMode="auto">
          <a:xfrm>
            <a:off x="7819755" y="4168466"/>
            <a:ext cx="3403" cy="40829"/>
          </a:xfrm>
          <a:custGeom>
            <a:avLst/>
            <a:gdLst>
              <a:gd name="T0" fmla="*/ 0 w 2"/>
              <a:gd name="T1" fmla="*/ 24 h 24"/>
              <a:gd name="T2" fmla="*/ 1 w 2"/>
              <a:gd name="T3" fmla="*/ 24 h 24"/>
              <a:gd name="T4" fmla="*/ 1 w 2"/>
              <a:gd name="T5" fmla="*/ 23 h 24"/>
              <a:gd name="T6" fmla="*/ 0 w 2"/>
              <a:gd name="T7" fmla="*/ 23 h 24"/>
              <a:gd name="T8" fmla="*/ 0 w 2"/>
              <a:gd name="T9" fmla="*/ 23 h 24"/>
              <a:gd name="T10" fmla="*/ 0 w 2"/>
              <a:gd name="T11" fmla="*/ 24 h 24"/>
              <a:gd name="T12" fmla="*/ 0 w 2"/>
              <a:gd name="T13" fmla="*/ 24 h 24"/>
              <a:gd name="T14" fmla="*/ 0 w 2"/>
              <a:gd name="T15" fmla="*/ 24 h 24"/>
              <a:gd name="T16" fmla="*/ 0 w 2"/>
              <a:gd name="T17" fmla="*/ 24 h 24"/>
              <a:gd name="T18" fmla="*/ 2 w 2"/>
              <a:gd name="T19" fmla="*/ 2 h 24"/>
              <a:gd name="T20" fmla="*/ 2 w 2"/>
              <a:gd name="T21" fmla="*/ 1 h 24"/>
              <a:gd name="T22" fmla="*/ 2 w 2"/>
              <a:gd name="T23" fmla="*/ 1 h 24"/>
              <a:gd name="T24" fmla="*/ 2 w 2"/>
              <a:gd name="T25" fmla="*/ 0 h 24"/>
              <a:gd name="T26" fmla="*/ 2 w 2"/>
              <a:gd name="T27" fmla="*/ 0 h 24"/>
              <a:gd name="T28" fmla="*/ 2 w 2"/>
              <a:gd name="T29" fmla="*/ 0 h 24"/>
              <a:gd name="T30" fmla="*/ 2 w 2"/>
              <a:gd name="T31" fmla="*/ 0 h 24"/>
              <a:gd name="T32" fmla="*/ 1 w 2"/>
              <a:gd name="T33" fmla="*/ 1 h 24"/>
              <a:gd name="T34" fmla="*/ 1 w 2"/>
              <a:gd name="T35" fmla="*/ 1 h 24"/>
              <a:gd name="T36" fmla="*/ 1 w 2"/>
              <a:gd name="T37" fmla="*/ 1 h 24"/>
              <a:gd name="T38" fmla="*/ 1 w 2"/>
              <a:gd name="T39" fmla="*/ 2 h 24"/>
              <a:gd name="T40" fmla="*/ 1 w 2"/>
              <a:gd name="T41" fmla="*/ 2 h 24"/>
              <a:gd name="T42" fmla="*/ 2 w 2"/>
              <a:gd name="T43"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 h="24">
                <a:moveTo>
                  <a:pt x="0" y="24"/>
                </a:moveTo>
                <a:lnTo>
                  <a:pt x="1" y="24"/>
                </a:lnTo>
                <a:lnTo>
                  <a:pt x="1" y="23"/>
                </a:lnTo>
                <a:lnTo>
                  <a:pt x="0" y="23"/>
                </a:lnTo>
                <a:lnTo>
                  <a:pt x="0" y="23"/>
                </a:lnTo>
                <a:lnTo>
                  <a:pt x="0" y="24"/>
                </a:lnTo>
                <a:lnTo>
                  <a:pt x="0" y="24"/>
                </a:lnTo>
                <a:lnTo>
                  <a:pt x="0" y="24"/>
                </a:lnTo>
                <a:lnTo>
                  <a:pt x="0" y="24"/>
                </a:lnTo>
                <a:close/>
                <a:moveTo>
                  <a:pt x="2" y="2"/>
                </a:moveTo>
                <a:lnTo>
                  <a:pt x="2" y="1"/>
                </a:lnTo>
                <a:lnTo>
                  <a:pt x="2" y="1"/>
                </a:lnTo>
                <a:lnTo>
                  <a:pt x="2" y="0"/>
                </a:lnTo>
                <a:lnTo>
                  <a:pt x="2" y="0"/>
                </a:lnTo>
                <a:lnTo>
                  <a:pt x="2" y="0"/>
                </a:lnTo>
                <a:lnTo>
                  <a:pt x="2" y="0"/>
                </a:lnTo>
                <a:lnTo>
                  <a:pt x="1" y="1"/>
                </a:lnTo>
                <a:lnTo>
                  <a:pt x="1" y="1"/>
                </a:lnTo>
                <a:lnTo>
                  <a:pt x="1" y="1"/>
                </a:lnTo>
                <a:lnTo>
                  <a:pt x="1" y="2"/>
                </a:lnTo>
                <a:lnTo>
                  <a:pt x="1" y="2"/>
                </a:lnTo>
                <a:lnTo>
                  <a:pt x="2" y="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01" name="Malta">
            <a:extLst>
              <a:ext uri="{FF2B5EF4-FFF2-40B4-BE49-F238E27FC236}">
                <a16:creationId xmlns:a16="http://schemas.microsoft.com/office/drawing/2014/main" id="{7E818D4F-6775-4392-8403-6DF233C3DD4A}"/>
              </a:ext>
            </a:extLst>
          </p:cNvPr>
          <p:cNvSpPr>
            <a:spLocks noEditPoints="1"/>
          </p:cNvSpPr>
          <p:nvPr/>
        </p:nvSpPr>
        <p:spPr bwMode="auto">
          <a:xfrm>
            <a:off x="5676224" y="2880647"/>
            <a:ext cx="11908" cy="11909"/>
          </a:xfrm>
          <a:custGeom>
            <a:avLst/>
            <a:gdLst>
              <a:gd name="T0" fmla="*/ 7 w 7"/>
              <a:gd name="T1" fmla="*/ 6 h 7"/>
              <a:gd name="T2" fmla="*/ 7 w 7"/>
              <a:gd name="T3" fmla="*/ 5 h 7"/>
              <a:gd name="T4" fmla="*/ 5 w 7"/>
              <a:gd name="T5" fmla="*/ 3 h 7"/>
              <a:gd name="T6" fmla="*/ 3 w 7"/>
              <a:gd name="T7" fmla="*/ 3 h 7"/>
              <a:gd name="T8" fmla="*/ 3 w 7"/>
              <a:gd name="T9" fmla="*/ 5 h 7"/>
              <a:gd name="T10" fmla="*/ 5 w 7"/>
              <a:gd name="T11" fmla="*/ 7 h 7"/>
              <a:gd name="T12" fmla="*/ 7 w 7"/>
              <a:gd name="T13" fmla="*/ 7 h 7"/>
              <a:gd name="T14" fmla="*/ 7 w 7"/>
              <a:gd name="T15" fmla="*/ 6 h 7"/>
              <a:gd name="T16" fmla="*/ 7 w 7"/>
              <a:gd name="T17" fmla="*/ 6 h 7"/>
              <a:gd name="T18" fmla="*/ 2 w 7"/>
              <a:gd name="T19" fmla="*/ 1 h 7"/>
              <a:gd name="T20" fmla="*/ 2 w 7"/>
              <a:gd name="T21" fmla="*/ 1 h 7"/>
              <a:gd name="T22" fmla="*/ 2 w 7"/>
              <a:gd name="T23" fmla="*/ 0 h 7"/>
              <a:gd name="T24" fmla="*/ 1 w 7"/>
              <a:gd name="T25" fmla="*/ 0 h 7"/>
              <a:gd name="T26" fmla="*/ 0 w 7"/>
              <a:gd name="T27" fmla="*/ 0 h 7"/>
              <a:gd name="T28" fmla="*/ 0 w 7"/>
              <a:gd name="T29" fmla="*/ 1 h 7"/>
              <a:gd name="T30" fmla="*/ 1 w 7"/>
              <a:gd name="T31" fmla="*/ 2 h 7"/>
              <a:gd name="T32" fmla="*/ 2 w 7"/>
              <a:gd name="T3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7">
                <a:moveTo>
                  <a:pt x="7" y="6"/>
                </a:moveTo>
                <a:lnTo>
                  <a:pt x="7" y="5"/>
                </a:lnTo>
                <a:lnTo>
                  <a:pt x="5" y="3"/>
                </a:lnTo>
                <a:lnTo>
                  <a:pt x="3" y="3"/>
                </a:lnTo>
                <a:lnTo>
                  <a:pt x="3" y="5"/>
                </a:lnTo>
                <a:lnTo>
                  <a:pt x="5" y="7"/>
                </a:lnTo>
                <a:lnTo>
                  <a:pt x="7" y="7"/>
                </a:lnTo>
                <a:lnTo>
                  <a:pt x="7" y="6"/>
                </a:lnTo>
                <a:lnTo>
                  <a:pt x="7" y="6"/>
                </a:lnTo>
                <a:close/>
                <a:moveTo>
                  <a:pt x="2" y="1"/>
                </a:moveTo>
                <a:lnTo>
                  <a:pt x="2" y="1"/>
                </a:lnTo>
                <a:lnTo>
                  <a:pt x="2" y="0"/>
                </a:lnTo>
                <a:lnTo>
                  <a:pt x="1" y="0"/>
                </a:lnTo>
                <a:lnTo>
                  <a:pt x="0" y="0"/>
                </a:lnTo>
                <a:lnTo>
                  <a:pt x="0" y="1"/>
                </a:lnTo>
                <a:lnTo>
                  <a:pt x="1" y="2"/>
                </a:lnTo>
                <a:lnTo>
                  <a:pt x="2"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02" name="Montserrat">
            <a:extLst>
              <a:ext uri="{FF2B5EF4-FFF2-40B4-BE49-F238E27FC236}">
                <a16:creationId xmlns:a16="http://schemas.microsoft.com/office/drawing/2014/main" id="{6F7FC986-A8E0-4A86-B714-D3866E6E3A80}"/>
              </a:ext>
            </a:extLst>
          </p:cNvPr>
          <p:cNvSpPr>
            <a:spLocks/>
          </p:cNvSpPr>
          <p:nvPr/>
        </p:nvSpPr>
        <p:spPr bwMode="auto">
          <a:xfrm>
            <a:off x="3007018" y="3661503"/>
            <a:ext cx="1701" cy="3403"/>
          </a:xfrm>
          <a:custGeom>
            <a:avLst/>
            <a:gdLst>
              <a:gd name="T0" fmla="*/ 1 w 1"/>
              <a:gd name="T1" fmla="*/ 2 h 2"/>
              <a:gd name="T2" fmla="*/ 1 w 1"/>
              <a:gd name="T3" fmla="*/ 0 h 2"/>
              <a:gd name="T4" fmla="*/ 0 w 1"/>
              <a:gd name="T5" fmla="*/ 0 h 2"/>
              <a:gd name="T6" fmla="*/ 0 w 1"/>
              <a:gd name="T7" fmla="*/ 1 h 2"/>
              <a:gd name="T8" fmla="*/ 0 w 1"/>
              <a:gd name="T9" fmla="*/ 2 h 2"/>
              <a:gd name="T10" fmla="*/ 1 w 1"/>
              <a:gd name="T11" fmla="*/ 2 h 2"/>
              <a:gd name="T12" fmla="*/ 1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2"/>
                </a:moveTo>
                <a:lnTo>
                  <a:pt x="1" y="0"/>
                </a:lnTo>
                <a:lnTo>
                  <a:pt x="0" y="0"/>
                </a:lnTo>
                <a:lnTo>
                  <a:pt x="0" y="1"/>
                </a:lnTo>
                <a:lnTo>
                  <a:pt x="0" y="2"/>
                </a:lnTo>
                <a:lnTo>
                  <a:pt x="1" y="2"/>
                </a:lnTo>
                <a:lnTo>
                  <a:pt x="1" y="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03" name="Mauritius">
            <a:extLst>
              <a:ext uri="{FF2B5EF4-FFF2-40B4-BE49-F238E27FC236}">
                <a16:creationId xmlns:a16="http://schemas.microsoft.com/office/drawing/2014/main" id="{389A4921-7B8B-46A2-A6ED-EDA691A9406E}"/>
              </a:ext>
            </a:extLst>
          </p:cNvPr>
          <p:cNvSpPr>
            <a:spLocks/>
          </p:cNvSpPr>
          <p:nvPr/>
        </p:nvSpPr>
        <p:spPr bwMode="auto">
          <a:xfrm>
            <a:off x="7210720" y="5148365"/>
            <a:ext cx="15310" cy="22117"/>
          </a:xfrm>
          <a:custGeom>
            <a:avLst/>
            <a:gdLst>
              <a:gd name="T0" fmla="*/ 6 w 9"/>
              <a:gd name="T1" fmla="*/ 12 h 13"/>
              <a:gd name="T2" fmla="*/ 7 w 9"/>
              <a:gd name="T3" fmla="*/ 11 h 13"/>
              <a:gd name="T4" fmla="*/ 8 w 9"/>
              <a:gd name="T5" fmla="*/ 9 h 13"/>
              <a:gd name="T6" fmla="*/ 9 w 9"/>
              <a:gd name="T7" fmla="*/ 8 h 13"/>
              <a:gd name="T8" fmla="*/ 9 w 9"/>
              <a:gd name="T9" fmla="*/ 5 h 13"/>
              <a:gd name="T10" fmla="*/ 9 w 9"/>
              <a:gd name="T11" fmla="*/ 2 h 13"/>
              <a:gd name="T12" fmla="*/ 7 w 9"/>
              <a:gd name="T13" fmla="*/ 0 h 13"/>
              <a:gd name="T14" fmla="*/ 5 w 9"/>
              <a:gd name="T15" fmla="*/ 1 h 13"/>
              <a:gd name="T16" fmla="*/ 4 w 9"/>
              <a:gd name="T17" fmla="*/ 1 h 13"/>
              <a:gd name="T18" fmla="*/ 3 w 9"/>
              <a:gd name="T19" fmla="*/ 3 h 13"/>
              <a:gd name="T20" fmla="*/ 1 w 9"/>
              <a:gd name="T21" fmla="*/ 4 h 13"/>
              <a:gd name="T22" fmla="*/ 1 w 9"/>
              <a:gd name="T23" fmla="*/ 6 h 13"/>
              <a:gd name="T24" fmla="*/ 0 w 9"/>
              <a:gd name="T25" fmla="*/ 8 h 13"/>
              <a:gd name="T26" fmla="*/ 0 w 9"/>
              <a:gd name="T27" fmla="*/ 10 h 13"/>
              <a:gd name="T28" fmla="*/ 0 w 9"/>
              <a:gd name="T29" fmla="*/ 10 h 13"/>
              <a:gd name="T30" fmla="*/ 0 w 9"/>
              <a:gd name="T31" fmla="*/ 11 h 13"/>
              <a:gd name="T32" fmla="*/ 0 w 9"/>
              <a:gd name="T33" fmla="*/ 12 h 13"/>
              <a:gd name="T34" fmla="*/ 3 w 9"/>
              <a:gd name="T35" fmla="*/ 13 h 13"/>
              <a:gd name="T36" fmla="*/ 6 w 9"/>
              <a:gd name="T37" fmla="*/ 12 h 13"/>
              <a:gd name="T38" fmla="*/ 6 w 9"/>
              <a:gd name="T39"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 h="13">
                <a:moveTo>
                  <a:pt x="6" y="12"/>
                </a:moveTo>
                <a:lnTo>
                  <a:pt x="7" y="11"/>
                </a:lnTo>
                <a:lnTo>
                  <a:pt x="8" y="9"/>
                </a:lnTo>
                <a:lnTo>
                  <a:pt x="9" y="8"/>
                </a:lnTo>
                <a:lnTo>
                  <a:pt x="9" y="5"/>
                </a:lnTo>
                <a:lnTo>
                  <a:pt x="9" y="2"/>
                </a:lnTo>
                <a:lnTo>
                  <a:pt x="7" y="0"/>
                </a:lnTo>
                <a:lnTo>
                  <a:pt x="5" y="1"/>
                </a:lnTo>
                <a:lnTo>
                  <a:pt x="4" y="1"/>
                </a:lnTo>
                <a:lnTo>
                  <a:pt x="3" y="3"/>
                </a:lnTo>
                <a:lnTo>
                  <a:pt x="1" y="4"/>
                </a:lnTo>
                <a:lnTo>
                  <a:pt x="1" y="6"/>
                </a:lnTo>
                <a:lnTo>
                  <a:pt x="0" y="8"/>
                </a:lnTo>
                <a:lnTo>
                  <a:pt x="0" y="10"/>
                </a:lnTo>
                <a:lnTo>
                  <a:pt x="0" y="10"/>
                </a:lnTo>
                <a:lnTo>
                  <a:pt x="0" y="11"/>
                </a:lnTo>
                <a:lnTo>
                  <a:pt x="0" y="12"/>
                </a:lnTo>
                <a:lnTo>
                  <a:pt x="3" y="13"/>
                </a:lnTo>
                <a:lnTo>
                  <a:pt x="6" y="12"/>
                </a:lnTo>
                <a:lnTo>
                  <a:pt x="6" y="1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04" name="New Caledonia">
            <a:extLst>
              <a:ext uri="{FF2B5EF4-FFF2-40B4-BE49-F238E27FC236}">
                <a16:creationId xmlns:a16="http://schemas.microsoft.com/office/drawing/2014/main" id="{9F3F7CFC-29EC-4539-8BAD-4750A0A05173}"/>
              </a:ext>
            </a:extLst>
          </p:cNvPr>
          <p:cNvSpPr>
            <a:spLocks noEditPoints="1"/>
          </p:cNvSpPr>
          <p:nvPr/>
        </p:nvSpPr>
        <p:spPr bwMode="auto">
          <a:xfrm>
            <a:off x="10815593" y="5112639"/>
            <a:ext cx="267090" cy="142901"/>
          </a:xfrm>
          <a:custGeom>
            <a:avLst/>
            <a:gdLst>
              <a:gd name="T0" fmla="*/ 136 w 157"/>
              <a:gd name="T1" fmla="*/ 81 h 84"/>
              <a:gd name="T2" fmla="*/ 136 w 157"/>
              <a:gd name="T3" fmla="*/ 84 h 84"/>
              <a:gd name="T4" fmla="*/ 137 w 157"/>
              <a:gd name="T5" fmla="*/ 83 h 84"/>
              <a:gd name="T6" fmla="*/ 154 w 157"/>
              <a:gd name="T7" fmla="*/ 53 h 84"/>
              <a:gd name="T8" fmla="*/ 151 w 157"/>
              <a:gd name="T9" fmla="*/ 54 h 84"/>
              <a:gd name="T10" fmla="*/ 152 w 157"/>
              <a:gd name="T11" fmla="*/ 59 h 84"/>
              <a:gd name="T12" fmla="*/ 156 w 157"/>
              <a:gd name="T13" fmla="*/ 60 h 84"/>
              <a:gd name="T14" fmla="*/ 155 w 157"/>
              <a:gd name="T15" fmla="*/ 55 h 84"/>
              <a:gd name="T16" fmla="*/ 145 w 157"/>
              <a:gd name="T17" fmla="*/ 47 h 84"/>
              <a:gd name="T18" fmla="*/ 143 w 157"/>
              <a:gd name="T19" fmla="*/ 42 h 84"/>
              <a:gd name="T20" fmla="*/ 142 w 157"/>
              <a:gd name="T21" fmla="*/ 37 h 84"/>
              <a:gd name="T22" fmla="*/ 140 w 157"/>
              <a:gd name="T23" fmla="*/ 39 h 84"/>
              <a:gd name="T24" fmla="*/ 137 w 157"/>
              <a:gd name="T25" fmla="*/ 43 h 84"/>
              <a:gd name="T26" fmla="*/ 141 w 157"/>
              <a:gd name="T27" fmla="*/ 48 h 84"/>
              <a:gd name="T28" fmla="*/ 129 w 157"/>
              <a:gd name="T29" fmla="*/ 38 h 84"/>
              <a:gd name="T30" fmla="*/ 131 w 157"/>
              <a:gd name="T31" fmla="*/ 35 h 84"/>
              <a:gd name="T32" fmla="*/ 133 w 157"/>
              <a:gd name="T33" fmla="*/ 32 h 84"/>
              <a:gd name="T34" fmla="*/ 131 w 157"/>
              <a:gd name="T35" fmla="*/ 32 h 84"/>
              <a:gd name="T36" fmla="*/ 128 w 157"/>
              <a:gd name="T37" fmla="*/ 38 h 84"/>
              <a:gd name="T38" fmla="*/ 83 w 157"/>
              <a:gd name="T39" fmla="*/ 27 h 84"/>
              <a:gd name="T40" fmla="*/ 80 w 157"/>
              <a:gd name="T41" fmla="*/ 27 h 84"/>
              <a:gd name="T42" fmla="*/ 81 w 157"/>
              <a:gd name="T43" fmla="*/ 29 h 84"/>
              <a:gd name="T44" fmla="*/ 83 w 157"/>
              <a:gd name="T45" fmla="*/ 36 h 84"/>
              <a:gd name="T46" fmla="*/ 87 w 157"/>
              <a:gd name="T47" fmla="*/ 43 h 84"/>
              <a:gd name="T48" fmla="*/ 91 w 157"/>
              <a:gd name="T49" fmla="*/ 51 h 84"/>
              <a:gd name="T50" fmla="*/ 99 w 157"/>
              <a:gd name="T51" fmla="*/ 59 h 84"/>
              <a:gd name="T52" fmla="*/ 105 w 157"/>
              <a:gd name="T53" fmla="*/ 64 h 84"/>
              <a:gd name="T54" fmla="*/ 112 w 157"/>
              <a:gd name="T55" fmla="*/ 68 h 84"/>
              <a:gd name="T56" fmla="*/ 113 w 157"/>
              <a:gd name="T57" fmla="*/ 71 h 84"/>
              <a:gd name="T58" fmla="*/ 118 w 157"/>
              <a:gd name="T59" fmla="*/ 74 h 84"/>
              <a:gd name="T60" fmla="*/ 119 w 157"/>
              <a:gd name="T61" fmla="*/ 75 h 84"/>
              <a:gd name="T62" fmla="*/ 126 w 157"/>
              <a:gd name="T63" fmla="*/ 78 h 84"/>
              <a:gd name="T64" fmla="*/ 129 w 157"/>
              <a:gd name="T65" fmla="*/ 71 h 84"/>
              <a:gd name="T66" fmla="*/ 122 w 157"/>
              <a:gd name="T67" fmla="*/ 65 h 84"/>
              <a:gd name="T68" fmla="*/ 114 w 157"/>
              <a:gd name="T69" fmla="*/ 56 h 84"/>
              <a:gd name="T70" fmla="*/ 110 w 157"/>
              <a:gd name="T71" fmla="*/ 53 h 84"/>
              <a:gd name="T72" fmla="*/ 106 w 157"/>
              <a:gd name="T73" fmla="*/ 50 h 84"/>
              <a:gd name="T74" fmla="*/ 104 w 157"/>
              <a:gd name="T75" fmla="*/ 45 h 84"/>
              <a:gd name="T76" fmla="*/ 101 w 157"/>
              <a:gd name="T77" fmla="*/ 40 h 84"/>
              <a:gd name="T78" fmla="*/ 96 w 157"/>
              <a:gd name="T79" fmla="*/ 37 h 84"/>
              <a:gd name="T80" fmla="*/ 85 w 157"/>
              <a:gd name="T81" fmla="*/ 29 h 84"/>
              <a:gd name="T82" fmla="*/ 1 w 157"/>
              <a:gd name="T83" fmla="*/ 5 h 84"/>
              <a:gd name="T84" fmla="*/ 1 w 157"/>
              <a:gd name="T85" fmla="*/ 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7" h="84">
                <a:moveTo>
                  <a:pt x="137" y="83"/>
                </a:moveTo>
                <a:lnTo>
                  <a:pt x="137" y="82"/>
                </a:lnTo>
                <a:lnTo>
                  <a:pt x="136" y="81"/>
                </a:lnTo>
                <a:lnTo>
                  <a:pt x="135" y="83"/>
                </a:lnTo>
                <a:lnTo>
                  <a:pt x="135" y="84"/>
                </a:lnTo>
                <a:lnTo>
                  <a:pt x="136" y="84"/>
                </a:lnTo>
                <a:lnTo>
                  <a:pt x="136" y="84"/>
                </a:lnTo>
                <a:lnTo>
                  <a:pt x="137" y="83"/>
                </a:lnTo>
                <a:lnTo>
                  <a:pt x="137" y="83"/>
                </a:lnTo>
                <a:close/>
                <a:moveTo>
                  <a:pt x="155" y="55"/>
                </a:moveTo>
                <a:lnTo>
                  <a:pt x="154" y="55"/>
                </a:lnTo>
                <a:lnTo>
                  <a:pt x="154" y="53"/>
                </a:lnTo>
                <a:lnTo>
                  <a:pt x="155" y="53"/>
                </a:lnTo>
                <a:lnTo>
                  <a:pt x="153" y="53"/>
                </a:lnTo>
                <a:lnTo>
                  <a:pt x="151" y="54"/>
                </a:lnTo>
                <a:lnTo>
                  <a:pt x="151" y="57"/>
                </a:lnTo>
                <a:lnTo>
                  <a:pt x="151" y="59"/>
                </a:lnTo>
                <a:lnTo>
                  <a:pt x="152" y="59"/>
                </a:lnTo>
                <a:lnTo>
                  <a:pt x="152" y="61"/>
                </a:lnTo>
                <a:lnTo>
                  <a:pt x="153" y="61"/>
                </a:lnTo>
                <a:lnTo>
                  <a:pt x="156" y="60"/>
                </a:lnTo>
                <a:lnTo>
                  <a:pt x="157" y="55"/>
                </a:lnTo>
                <a:lnTo>
                  <a:pt x="155" y="55"/>
                </a:lnTo>
                <a:lnTo>
                  <a:pt x="155" y="55"/>
                </a:lnTo>
                <a:lnTo>
                  <a:pt x="155" y="55"/>
                </a:lnTo>
                <a:close/>
                <a:moveTo>
                  <a:pt x="144" y="49"/>
                </a:moveTo>
                <a:lnTo>
                  <a:pt x="145" y="47"/>
                </a:lnTo>
                <a:lnTo>
                  <a:pt x="145" y="46"/>
                </a:lnTo>
                <a:lnTo>
                  <a:pt x="144" y="44"/>
                </a:lnTo>
                <a:lnTo>
                  <a:pt x="143" y="42"/>
                </a:lnTo>
                <a:lnTo>
                  <a:pt x="144" y="38"/>
                </a:lnTo>
                <a:lnTo>
                  <a:pt x="144" y="38"/>
                </a:lnTo>
                <a:lnTo>
                  <a:pt x="142" y="37"/>
                </a:lnTo>
                <a:lnTo>
                  <a:pt x="139" y="38"/>
                </a:lnTo>
                <a:lnTo>
                  <a:pt x="138" y="39"/>
                </a:lnTo>
                <a:lnTo>
                  <a:pt x="140" y="39"/>
                </a:lnTo>
                <a:lnTo>
                  <a:pt x="141" y="40"/>
                </a:lnTo>
                <a:lnTo>
                  <a:pt x="139" y="43"/>
                </a:lnTo>
                <a:lnTo>
                  <a:pt x="137" y="43"/>
                </a:lnTo>
                <a:lnTo>
                  <a:pt x="138" y="45"/>
                </a:lnTo>
                <a:lnTo>
                  <a:pt x="138" y="47"/>
                </a:lnTo>
                <a:lnTo>
                  <a:pt x="141" y="48"/>
                </a:lnTo>
                <a:lnTo>
                  <a:pt x="142" y="49"/>
                </a:lnTo>
                <a:lnTo>
                  <a:pt x="144" y="49"/>
                </a:lnTo>
                <a:close/>
                <a:moveTo>
                  <a:pt x="129" y="38"/>
                </a:moveTo>
                <a:lnTo>
                  <a:pt x="130" y="36"/>
                </a:lnTo>
                <a:lnTo>
                  <a:pt x="131" y="36"/>
                </a:lnTo>
                <a:lnTo>
                  <a:pt x="131" y="35"/>
                </a:lnTo>
                <a:lnTo>
                  <a:pt x="131" y="34"/>
                </a:lnTo>
                <a:lnTo>
                  <a:pt x="132" y="33"/>
                </a:lnTo>
                <a:lnTo>
                  <a:pt x="133" y="32"/>
                </a:lnTo>
                <a:lnTo>
                  <a:pt x="132" y="31"/>
                </a:lnTo>
                <a:lnTo>
                  <a:pt x="131" y="31"/>
                </a:lnTo>
                <a:lnTo>
                  <a:pt x="131" y="32"/>
                </a:lnTo>
                <a:lnTo>
                  <a:pt x="130" y="35"/>
                </a:lnTo>
                <a:lnTo>
                  <a:pt x="130" y="36"/>
                </a:lnTo>
                <a:lnTo>
                  <a:pt x="128" y="38"/>
                </a:lnTo>
                <a:lnTo>
                  <a:pt x="129" y="38"/>
                </a:lnTo>
                <a:lnTo>
                  <a:pt x="129" y="38"/>
                </a:lnTo>
                <a:close/>
                <a:moveTo>
                  <a:pt x="83" y="27"/>
                </a:moveTo>
                <a:lnTo>
                  <a:pt x="80" y="24"/>
                </a:lnTo>
                <a:lnTo>
                  <a:pt x="80" y="25"/>
                </a:lnTo>
                <a:lnTo>
                  <a:pt x="80" y="27"/>
                </a:lnTo>
                <a:lnTo>
                  <a:pt x="80" y="28"/>
                </a:lnTo>
                <a:lnTo>
                  <a:pt x="81" y="29"/>
                </a:lnTo>
                <a:lnTo>
                  <a:pt x="81" y="29"/>
                </a:lnTo>
                <a:lnTo>
                  <a:pt x="81" y="31"/>
                </a:lnTo>
                <a:lnTo>
                  <a:pt x="81" y="33"/>
                </a:lnTo>
                <a:lnTo>
                  <a:pt x="83" y="36"/>
                </a:lnTo>
                <a:lnTo>
                  <a:pt x="84" y="38"/>
                </a:lnTo>
                <a:lnTo>
                  <a:pt x="85" y="41"/>
                </a:lnTo>
                <a:lnTo>
                  <a:pt x="87" y="43"/>
                </a:lnTo>
                <a:lnTo>
                  <a:pt x="88" y="45"/>
                </a:lnTo>
                <a:lnTo>
                  <a:pt x="91" y="50"/>
                </a:lnTo>
                <a:lnTo>
                  <a:pt x="91" y="51"/>
                </a:lnTo>
                <a:lnTo>
                  <a:pt x="93" y="53"/>
                </a:lnTo>
                <a:lnTo>
                  <a:pt x="97" y="57"/>
                </a:lnTo>
                <a:lnTo>
                  <a:pt x="99" y="59"/>
                </a:lnTo>
                <a:lnTo>
                  <a:pt x="100" y="60"/>
                </a:lnTo>
                <a:lnTo>
                  <a:pt x="104" y="63"/>
                </a:lnTo>
                <a:lnTo>
                  <a:pt x="105" y="64"/>
                </a:lnTo>
                <a:lnTo>
                  <a:pt x="106" y="65"/>
                </a:lnTo>
                <a:lnTo>
                  <a:pt x="109" y="66"/>
                </a:lnTo>
                <a:lnTo>
                  <a:pt x="112" y="68"/>
                </a:lnTo>
                <a:lnTo>
                  <a:pt x="112" y="68"/>
                </a:lnTo>
                <a:lnTo>
                  <a:pt x="112" y="70"/>
                </a:lnTo>
                <a:lnTo>
                  <a:pt x="113" y="71"/>
                </a:lnTo>
                <a:lnTo>
                  <a:pt x="115" y="72"/>
                </a:lnTo>
                <a:lnTo>
                  <a:pt x="117" y="74"/>
                </a:lnTo>
                <a:lnTo>
                  <a:pt x="118" y="74"/>
                </a:lnTo>
                <a:lnTo>
                  <a:pt x="118" y="75"/>
                </a:lnTo>
                <a:lnTo>
                  <a:pt x="119" y="75"/>
                </a:lnTo>
                <a:lnTo>
                  <a:pt x="119" y="75"/>
                </a:lnTo>
                <a:lnTo>
                  <a:pt x="123" y="78"/>
                </a:lnTo>
                <a:lnTo>
                  <a:pt x="125" y="78"/>
                </a:lnTo>
                <a:lnTo>
                  <a:pt x="126" y="78"/>
                </a:lnTo>
                <a:lnTo>
                  <a:pt x="128" y="77"/>
                </a:lnTo>
                <a:lnTo>
                  <a:pt x="129" y="75"/>
                </a:lnTo>
                <a:lnTo>
                  <a:pt x="129" y="71"/>
                </a:lnTo>
                <a:lnTo>
                  <a:pt x="127" y="69"/>
                </a:lnTo>
                <a:lnTo>
                  <a:pt x="124" y="67"/>
                </a:lnTo>
                <a:lnTo>
                  <a:pt x="122" y="65"/>
                </a:lnTo>
                <a:lnTo>
                  <a:pt x="121" y="64"/>
                </a:lnTo>
                <a:lnTo>
                  <a:pt x="118" y="60"/>
                </a:lnTo>
                <a:lnTo>
                  <a:pt x="114" y="56"/>
                </a:lnTo>
                <a:lnTo>
                  <a:pt x="112" y="55"/>
                </a:lnTo>
                <a:lnTo>
                  <a:pt x="111" y="54"/>
                </a:lnTo>
                <a:lnTo>
                  <a:pt x="110" y="53"/>
                </a:lnTo>
                <a:lnTo>
                  <a:pt x="109" y="52"/>
                </a:lnTo>
                <a:lnTo>
                  <a:pt x="107" y="51"/>
                </a:lnTo>
                <a:lnTo>
                  <a:pt x="106" y="50"/>
                </a:lnTo>
                <a:lnTo>
                  <a:pt x="104" y="47"/>
                </a:lnTo>
                <a:lnTo>
                  <a:pt x="104" y="46"/>
                </a:lnTo>
                <a:lnTo>
                  <a:pt x="104" y="45"/>
                </a:lnTo>
                <a:lnTo>
                  <a:pt x="104" y="44"/>
                </a:lnTo>
                <a:lnTo>
                  <a:pt x="102" y="42"/>
                </a:lnTo>
                <a:lnTo>
                  <a:pt x="101" y="40"/>
                </a:lnTo>
                <a:lnTo>
                  <a:pt x="101" y="39"/>
                </a:lnTo>
                <a:lnTo>
                  <a:pt x="99" y="38"/>
                </a:lnTo>
                <a:lnTo>
                  <a:pt x="96" y="37"/>
                </a:lnTo>
                <a:lnTo>
                  <a:pt x="90" y="30"/>
                </a:lnTo>
                <a:lnTo>
                  <a:pt x="88" y="28"/>
                </a:lnTo>
                <a:lnTo>
                  <a:pt x="85" y="29"/>
                </a:lnTo>
                <a:lnTo>
                  <a:pt x="83" y="27"/>
                </a:lnTo>
                <a:lnTo>
                  <a:pt x="83" y="27"/>
                </a:lnTo>
                <a:close/>
                <a:moveTo>
                  <a:pt x="1" y="5"/>
                </a:moveTo>
                <a:lnTo>
                  <a:pt x="2" y="3"/>
                </a:lnTo>
                <a:lnTo>
                  <a:pt x="2" y="0"/>
                </a:lnTo>
                <a:lnTo>
                  <a:pt x="1" y="2"/>
                </a:lnTo>
                <a:lnTo>
                  <a:pt x="0" y="6"/>
                </a:lnTo>
                <a:lnTo>
                  <a:pt x="1" y="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05" name="Marshall Islands">
            <a:extLst>
              <a:ext uri="{FF2B5EF4-FFF2-40B4-BE49-F238E27FC236}">
                <a16:creationId xmlns:a16="http://schemas.microsoft.com/office/drawing/2014/main" id="{6115C299-8450-4A16-9B43-A9FCE2B96756}"/>
              </a:ext>
            </a:extLst>
          </p:cNvPr>
          <p:cNvSpPr>
            <a:spLocks/>
          </p:cNvSpPr>
          <p:nvPr/>
        </p:nvSpPr>
        <p:spPr bwMode="auto">
          <a:xfrm>
            <a:off x="11160939" y="4360703"/>
            <a:ext cx="0" cy="1702"/>
          </a:xfrm>
          <a:custGeom>
            <a:avLst/>
            <a:gdLst>
              <a:gd name="T0" fmla="*/ 0 h 1"/>
              <a:gd name="T1" fmla="*/ 0 h 1"/>
              <a:gd name="T2" fmla="*/ 0 h 1"/>
              <a:gd name="T3" fmla="*/ 0 h 1"/>
              <a:gd name="T4" fmla="*/ 0 h 1"/>
              <a:gd name="T5" fmla="*/ 0 h 1"/>
              <a:gd name="T6" fmla="*/ 1 h 1"/>
              <a:gd name="T7" fmla="*/ 0 h 1"/>
              <a:gd name="T8"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1">
                <a:moveTo>
                  <a:pt x="0" y="0"/>
                </a:moveTo>
                <a:lnTo>
                  <a:pt x="0" y="0"/>
                </a:lnTo>
                <a:lnTo>
                  <a:pt x="0" y="0"/>
                </a:lnTo>
                <a:lnTo>
                  <a:pt x="0" y="0"/>
                </a:lnTo>
                <a:lnTo>
                  <a:pt x="0" y="0"/>
                </a:lnTo>
                <a:lnTo>
                  <a:pt x="0" y="0"/>
                </a:lnTo>
                <a:lnTo>
                  <a:pt x="0" y="1"/>
                </a:lnTo>
                <a:lnTo>
                  <a:pt x="0" y="0"/>
                </a:lnTo>
                <a:lnTo>
                  <a:pt x="0"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06" name="Puerto Rico">
            <a:extLst>
              <a:ext uri="{FF2B5EF4-FFF2-40B4-BE49-F238E27FC236}">
                <a16:creationId xmlns:a16="http://schemas.microsoft.com/office/drawing/2014/main" id="{AF4427BC-AE6E-4E87-8B06-71C396A816BB}"/>
              </a:ext>
            </a:extLst>
          </p:cNvPr>
          <p:cNvSpPr>
            <a:spLocks noEditPoints="1"/>
          </p:cNvSpPr>
          <p:nvPr/>
        </p:nvSpPr>
        <p:spPr bwMode="auto">
          <a:xfrm>
            <a:off x="2809677" y="3591755"/>
            <a:ext cx="91866" cy="23818"/>
          </a:xfrm>
          <a:custGeom>
            <a:avLst/>
            <a:gdLst>
              <a:gd name="T0" fmla="*/ 1 w 54"/>
              <a:gd name="T1" fmla="*/ 11 h 14"/>
              <a:gd name="T2" fmla="*/ 2 w 54"/>
              <a:gd name="T3" fmla="*/ 11 h 14"/>
              <a:gd name="T4" fmla="*/ 2 w 54"/>
              <a:gd name="T5" fmla="*/ 10 h 14"/>
              <a:gd name="T6" fmla="*/ 2 w 54"/>
              <a:gd name="T7" fmla="*/ 10 h 14"/>
              <a:gd name="T8" fmla="*/ 2 w 54"/>
              <a:gd name="T9" fmla="*/ 10 h 14"/>
              <a:gd name="T10" fmla="*/ 0 w 54"/>
              <a:gd name="T11" fmla="*/ 10 h 14"/>
              <a:gd name="T12" fmla="*/ 0 w 54"/>
              <a:gd name="T13" fmla="*/ 10 h 14"/>
              <a:gd name="T14" fmla="*/ 1 w 54"/>
              <a:gd name="T15" fmla="*/ 11 h 14"/>
              <a:gd name="T16" fmla="*/ 1 w 54"/>
              <a:gd name="T17" fmla="*/ 11 h 14"/>
              <a:gd name="T18" fmla="*/ 53 w 54"/>
              <a:gd name="T19" fmla="*/ 10 h 14"/>
              <a:gd name="T20" fmla="*/ 54 w 54"/>
              <a:gd name="T21" fmla="*/ 9 h 14"/>
              <a:gd name="T22" fmla="*/ 51 w 54"/>
              <a:gd name="T23" fmla="*/ 8 h 14"/>
              <a:gd name="T24" fmla="*/ 50 w 54"/>
              <a:gd name="T25" fmla="*/ 10 h 14"/>
              <a:gd name="T26" fmla="*/ 53 w 54"/>
              <a:gd name="T27" fmla="*/ 10 h 14"/>
              <a:gd name="T28" fmla="*/ 38 w 54"/>
              <a:gd name="T29" fmla="*/ 1 h 14"/>
              <a:gd name="T30" fmla="*/ 25 w 54"/>
              <a:gd name="T31" fmla="*/ 1 h 14"/>
              <a:gd name="T32" fmla="*/ 18 w 54"/>
              <a:gd name="T33" fmla="*/ 1 h 14"/>
              <a:gd name="T34" fmla="*/ 17 w 54"/>
              <a:gd name="T35" fmla="*/ 2 h 14"/>
              <a:gd name="T36" fmla="*/ 15 w 54"/>
              <a:gd name="T37" fmla="*/ 3 h 14"/>
              <a:gd name="T38" fmla="*/ 15 w 54"/>
              <a:gd name="T39" fmla="*/ 5 h 14"/>
              <a:gd name="T40" fmla="*/ 16 w 54"/>
              <a:gd name="T41" fmla="*/ 9 h 14"/>
              <a:gd name="T42" fmla="*/ 16 w 54"/>
              <a:gd name="T43" fmla="*/ 14 h 14"/>
              <a:gd name="T44" fmla="*/ 20 w 54"/>
              <a:gd name="T45" fmla="*/ 14 h 14"/>
              <a:gd name="T46" fmla="*/ 23 w 54"/>
              <a:gd name="T47" fmla="*/ 14 h 14"/>
              <a:gd name="T48" fmla="*/ 27 w 54"/>
              <a:gd name="T49" fmla="*/ 13 h 14"/>
              <a:gd name="T50" fmla="*/ 32 w 54"/>
              <a:gd name="T51" fmla="*/ 14 h 14"/>
              <a:gd name="T52" fmla="*/ 34 w 54"/>
              <a:gd name="T53" fmla="*/ 14 h 14"/>
              <a:gd name="T54" fmla="*/ 38 w 54"/>
              <a:gd name="T55" fmla="*/ 14 h 14"/>
              <a:gd name="T56" fmla="*/ 43 w 54"/>
              <a:gd name="T57" fmla="*/ 11 h 14"/>
              <a:gd name="T58" fmla="*/ 46 w 54"/>
              <a:gd name="T59" fmla="*/ 8 h 14"/>
              <a:gd name="T60" fmla="*/ 49 w 54"/>
              <a:gd name="T61" fmla="*/ 3 h 14"/>
              <a:gd name="T62" fmla="*/ 43 w 54"/>
              <a:gd name="T63" fmla="*/ 1 h 14"/>
              <a:gd name="T64" fmla="*/ 39 w 54"/>
              <a:gd name="T65" fmla="*/ 1 h 14"/>
              <a:gd name="T66" fmla="*/ 39 w 54"/>
              <a:gd name="T67" fmla="*/ 2 h 14"/>
              <a:gd name="T68" fmla="*/ 39 w 54"/>
              <a:gd name="T6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14">
                <a:moveTo>
                  <a:pt x="1" y="11"/>
                </a:moveTo>
                <a:lnTo>
                  <a:pt x="1" y="11"/>
                </a:lnTo>
                <a:lnTo>
                  <a:pt x="1" y="11"/>
                </a:lnTo>
                <a:lnTo>
                  <a:pt x="2" y="11"/>
                </a:lnTo>
                <a:lnTo>
                  <a:pt x="2" y="10"/>
                </a:lnTo>
                <a:lnTo>
                  <a:pt x="2" y="10"/>
                </a:lnTo>
                <a:lnTo>
                  <a:pt x="2" y="10"/>
                </a:lnTo>
                <a:lnTo>
                  <a:pt x="2" y="10"/>
                </a:lnTo>
                <a:lnTo>
                  <a:pt x="2" y="10"/>
                </a:lnTo>
                <a:lnTo>
                  <a:pt x="2" y="10"/>
                </a:lnTo>
                <a:lnTo>
                  <a:pt x="0" y="10"/>
                </a:lnTo>
                <a:lnTo>
                  <a:pt x="0" y="10"/>
                </a:lnTo>
                <a:lnTo>
                  <a:pt x="0" y="10"/>
                </a:lnTo>
                <a:lnTo>
                  <a:pt x="0" y="10"/>
                </a:lnTo>
                <a:lnTo>
                  <a:pt x="1" y="11"/>
                </a:lnTo>
                <a:lnTo>
                  <a:pt x="1" y="11"/>
                </a:lnTo>
                <a:lnTo>
                  <a:pt x="1" y="11"/>
                </a:lnTo>
                <a:lnTo>
                  <a:pt x="1" y="11"/>
                </a:lnTo>
                <a:lnTo>
                  <a:pt x="1" y="11"/>
                </a:lnTo>
                <a:close/>
                <a:moveTo>
                  <a:pt x="53" y="10"/>
                </a:moveTo>
                <a:lnTo>
                  <a:pt x="54" y="9"/>
                </a:lnTo>
                <a:lnTo>
                  <a:pt x="54" y="9"/>
                </a:lnTo>
                <a:lnTo>
                  <a:pt x="53" y="8"/>
                </a:lnTo>
                <a:lnTo>
                  <a:pt x="51" y="8"/>
                </a:lnTo>
                <a:lnTo>
                  <a:pt x="49" y="9"/>
                </a:lnTo>
                <a:lnTo>
                  <a:pt x="50" y="10"/>
                </a:lnTo>
                <a:lnTo>
                  <a:pt x="51" y="10"/>
                </a:lnTo>
                <a:lnTo>
                  <a:pt x="53" y="10"/>
                </a:lnTo>
                <a:close/>
                <a:moveTo>
                  <a:pt x="39" y="1"/>
                </a:moveTo>
                <a:lnTo>
                  <a:pt x="38" y="1"/>
                </a:lnTo>
                <a:lnTo>
                  <a:pt x="38" y="1"/>
                </a:lnTo>
                <a:lnTo>
                  <a:pt x="25" y="1"/>
                </a:lnTo>
                <a:lnTo>
                  <a:pt x="19" y="0"/>
                </a:lnTo>
                <a:lnTo>
                  <a:pt x="18" y="1"/>
                </a:lnTo>
                <a:lnTo>
                  <a:pt x="17" y="1"/>
                </a:lnTo>
                <a:lnTo>
                  <a:pt x="17" y="2"/>
                </a:lnTo>
                <a:lnTo>
                  <a:pt x="16" y="2"/>
                </a:lnTo>
                <a:lnTo>
                  <a:pt x="15" y="3"/>
                </a:lnTo>
                <a:lnTo>
                  <a:pt x="15" y="4"/>
                </a:lnTo>
                <a:lnTo>
                  <a:pt x="15" y="5"/>
                </a:lnTo>
                <a:lnTo>
                  <a:pt x="16" y="7"/>
                </a:lnTo>
                <a:lnTo>
                  <a:pt x="16" y="9"/>
                </a:lnTo>
                <a:lnTo>
                  <a:pt x="15" y="13"/>
                </a:lnTo>
                <a:lnTo>
                  <a:pt x="16" y="14"/>
                </a:lnTo>
                <a:lnTo>
                  <a:pt x="19" y="13"/>
                </a:lnTo>
                <a:lnTo>
                  <a:pt x="20" y="14"/>
                </a:lnTo>
                <a:lnTo>
                  <a:pt x="21" y="14"/>
                </a:lnTo>
                <a:lnTo>
                  <a:pt x="23" y="14"/>
                </a:lnTo>
                <a:lnTo>
                  <a:pt x="25" y="13"/>
                </a:lnTo>
                <a:lnTo>
                  <a:pt x="27" y="13"/>
                </a:lnTo>
                <a:lnTo>
                  <a:pt x="29" y="13"/>
                </a:lnTo>
                <a:lnTo>
                  <a:pt x="32" y="14"/>
                </a:lnTo>
                <a:lnTo>
                  <a:pt x="33" y="14"/>
                </a:lnTo>
                <a:lnTo>
                  <a:pt x="34" y="14"/>
                </a:lnTo>
                <a:lnTo>
                  <a:pt x="35" y="14"/>
                </a:lnTo>
                <a:lnTo>
                  <a:pt x="38" y="14"/>
                </a:lnTo>
                <a:lnTo>
                  <a:pt x="40" y="13"/>
                </a:lnTo>
                <a:lnTo>
                  <a:pt x="43" y="11"/>
                </a:lnTo>
                <a:lnTo>
                  <a:pt x="45" y="9"/>
                </a:lnTo>
                <a:lnTo>
                  <a:pt x="46" y="8"/>
                </a:lnTo>
                <a:lnTo>
                  <a:pt x="49" y="6"/>
                </a:lnTo>
                <a:lnTo>
                  <a:pt x="49" y="3"/>
                </a:lnTo>
                <a:lnTo>
                  <a:pt x="46" y="2"/>
                </a:lnTo>
                <a:lnTo>
                  <a:pt x="43" y="1"/>
                </a:lnTo>
                <a:lnTo>
                  <a:pt x="39" y="1"/>
                </a:lnTo>
                <a:lnTo>
                  <a:pt x="39" y="1"/>
                </a:lnTo>
                <a:lnTo>
                  <a:pt x="39" y="2"/>
                </a:lnTo>
                <a:lnTo>
                  <a:pt x="39" y="2"/>
                </a:lnTo>
                <a:lnTo>
                  <a:pt x="39" y="1"/>
                </a:lnTo>
                <a:lnTo>
                  <a:pt x="39"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07" name="Singapore">
            <a:extLst>
              <a:ext uri="{FF2B5EF4-FFF2-40B4-BE49-F238E27FC236}">
                <a16:creationId xmlns:a16="http://schemas.microsoft.com/office/drawing/2014/main" id="{3F89C8E8-A667-400D-AD89-9533B42C2088}"/>
              </a:ext>
            </a:extLst>
          </p:cNvPr>
          <p:cNvSpPr>
            <a:spLocks/>
          </p:cNvSpPr>
          <p:nvPr/>
        </p:nvSpPr>
        <p:spPr bwMode="auto">
          <a:xfrm>
            <a:off x="8901727" y="4282446"/>
            <a:ext cx="10207" cy="5104"/>
          </a:xfrm>
          <a:custGeom>
            <a:avLst/>
            <a:gdLst>
              <a:gd name="T0" fmla="*/ 6 w 6"/>
              <a:gd name="T1" fmla="*/ 3 h 3"/>
              <a:gd name="T2" fmla="*/ 6 w 6"/>
              <a:gd name="T3" fmla="*/ 2 h 3"/>
              <a:gd name="T4" fmla="*/ 6 w 6"/>
              <a:gd name="T5" fmla="*/ 1 h 3"/>
              <a:gd name="T6" fmla="*/ 5 w 6"/>
              <a:gd name="T7" fmla="*/ 1 h 3"/>
              <a:gd name="T8" fmla="*/ 3 w 6"/>
              <a:gd name="T9" fmla="*/ 0 h 3"/>
              <a:gd name="T10" fmla="*/ 1 w 6"/>
              <a:gd name="T11" fmla="*/ 0 h 3"/>
              <a:gd name="T12" fmla="*/ 0 w 6"/>
              <a:gd name="T13" fmla="*/ 3 h 3"/>
              <a:gd name="T14" fmla="*/ 3 w 6"/>
              <a:gd name="T15" fmla="*/ 3 h 3"/>
              <a:gd name="T16" fmla="*/ 6 w 6"/>
              <a:gd name="T17" fmla="*/ 3 h 3"/>
              <a:gd name="T18" fmla="*/ 6 w 6"/>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3"/>
                </a:moveTo>
                <a:lnTo>
                  <a:pt x="6" y="2"/>
                </a:lnTo>
                <a:lnTo>
                  <a:pt x="6" y="1"/>
                </a:lnTo>
                <a:lnTo>
                  <a:pt x="5" y="1"/>
                </a:lnTo>
                <a:lnTo>
                  <a:pt x="3" y="0"/>
                </a:lnTo>
                <a:lnTo>
                  <a:pt x="1" y="0"/>
                </a:lnTo>
                <a:lnTo>
                  <a:pt x="0" y="3"/>
                </a:lnTo>
                <a:lnTo>
                  <a:pt x="3" y="3"/>
                </a:lnTo>
                <a:lnTo>
                  <a:pt x="6" y="3"/>
                </a:lnTo>
                <a:lnTo>
                  <a:pt x="6" y="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08" name="Solomon Islands">
            <a:extLst>
              <a:ext uri="{FF2B5EF4-FFF2-40B4-BE49-F238E27FC236}">
                <a16:creationId xmlns:a16="http://schemas.microsoft.com/office/drawing/2014/main" id="{15506C0E-D404-4C2A-8EF5-8513C92C11AE}"/>
              </a:ext>
            </a:extLst>
          </p:cNvPr>
          <p:cNvSpPr>
            <a:spLocks noEditPoints="1"/>
          </p:cNvSpPr>
          <p:nvPr/>
        </p:nvSpPr>
        <p:spPr bwMode="auto">
          <a:xfrm>
            <a:off x="10745843" y="4607379"/>
            <a:ext cx="377670" cy="210951"/>
          </a:xfrm>
          <a:custGeom>
            <a:avLst/>
            <a:gdLst>
              <a:gd name="T0" fmla="*/ 220 w 222"/>
              <a:gd name="T1" fmla="*/ 121 h 124"/>
              <a:gd name="T2" fmla="*/ 88 w 222"/>
              <a:gd name="T3" fmla="*/ 121 h 124"/>
              <a:gd name="T4" fmla="*/ 80 w 222"/>
              <a:gd name="T5" fmla="*/ 119 h 124"/>
              <a:gd name="T6" fmla="*/ 87 w 222"/>
              <a:gd name="T7" fmla="*/ 123 h 124"/>
              <a:gd name="T8" fmla="*/ 210 w 222"/>
              <a:gd name="T9" fmla="*/ 97 h 124"/>
              <a:gd name="T10" fmla="*/ 202 w 222"/>
              <a:gd name="T11" fmla="*/ 98 h 124"/>
              <a:gd name="T12" fmla="*/ 207 w 222"/>
              <a:gd name="T13" fmla="*/ 99 h 124"/>
              <a:gd name="T14" fmla="*/ 117 w 222"/>
              <a:gd name="T15" fmla="*/ 89 h 124"/>
              <a:gd name="T16" fmla="*/ 112 w 222"/>
              <a:gd name="T17" fmla="*/ 89 h 124"/>
              <a:gd name="T18" fmla="*/ 121 w 222"/>
              <a:gd name="T19" fmla="*/ 99 h 124"/>
              <a:gd name="T20" fmla="*/ 129 w 222"/>
              <a:gd name="T21" fmla="*/ 99 h 124"/>
              <a:gd name="T22" fmla="*/ 120 w 222"/>
              <a:gd name="T23" fmla="*/ 91 h 124"/>
              <a:gd name="T24" fmla="*/ 114 w 222"/>
              <a:gd name="T25" fmla="*/ 67 h 124"/>
              <a:gd name="T26" fmla="*/ 117 w 222"/>
              <a:gd name="T27" fmla="*/ 75 h 124"/>
              <a:gd name="T28" fmla="*/ 76 w 222"/>
              <a:gd name="T29" fmla="*/ 66 h 124"/>
              <a:gd name="T30" fmla="*/ 80 w 222"/>
              <a:gd name="T31" fmla="*/ 76 h 124"/>
              <a:gd name="T32" fmla="*/ 101 w 222"/>
              <a:gd name="T33" fmla="*/ 78 h 124"/>
              <a:gd name="T34" fmla="*/ 95 w 222"/>
              <a:gd name="T35" fmla="*/ 69 h 124"/>
              <a:gd name="T36" fmla="*/ 89 w 222"/>
              <a:gd name="T37" fmla="*/ 57 h 124"/>
              <a:gd name="T38" fmla="*/ 91 w 222"/>
              <a:gd name="T39" fmla="*/ 61 h 124"/>
              <a:gd name="T40" fmla="*/ 90 w 222"/>
              <a:gd name="T41" fmla="*/ 57 h 124"/>
              <a:gd name="T42" fmla="*/ 69 w 222"/>
              <a:gd name="T43" fmla="*/ 57 h 124"/>
              <a:gd name="T44" fmla="*/ 67 w 222"/>
              <a:gd name="T45" fmla="*/ 59 h 124"/>
              <a:gd name="T46" fmla="*/ 35 w 222"/>
              <a:gd name="T47" fmla="*/ 50 h 124"/>
              <a:gd name="T48" fmla="*/ 37 w 222"/>
              <a:gd name="T49" fmla="*/ 52 h 124"/>
              <a:gd name="T50" fmla="*/ 47 w 222"/>
              <a:gd name="T51" fmla="*/ 52 h 124"/>
              <a:gd name="T52" fmla="*/ 47 w 222"/>
              <a:gd name="T53" fmla="*/ 48 h 124"/>
              <a:gd name="T54" fmla="*/ 43 w 222"/>
              <a:gd name="T55" fmla="*/ 47 h 124"/>
              <a:gd name="T56" fmla="*/ 47 w 222"/>
              <a:gd name="T57" fmla="*/ 50 h 124"/>
              <a:gd name="T58" fmla="*/ 33 w 222"/>
              <a:gd name="T59" fmla="*/ 43 h 124"/>
              <a:gd name="T60" fmla="*/ 32 w 222"/>
              <a:gd name="T61" fmla="*/ 50 h 124"/>
              <a:gd name="T62" fmla="*/ 78 w 222"/>
              <a:gd name="T63" fmla="*/ 42 h 124"/>
              <a:gd name="T64" fmla="*/ 103 w 222"/>
              <a:gd name="T65" fmla="*/ 40 h 124"/>
              <a:gd name="T66" fmla="*/ 102 w 222"/>
              <a:gd name="T67" fmla="*/ 46 h 124"/>
              <a:gd name="T68" fmla="*/ 110 w 222"/>
              <a:gd name="T69" fmla="*/ 66 h 124"/>
              <a:gd name="T70" fmla="*/ 112 w 222"/>
              <a:gd name="T71" fmla="*/ 61 h 124"/>
              <a:gd name="T72" fmla="*/ 106 w 222"/>
              <a:gd name="T73" fmla="*/ 52 h 124"/>
              <a:gd name="T74" fmla="*/ 41 w 222"/>
              <a:gd name="T75" fmla="*/ 38 h 124"/>
              <a:gd name="T76" fmla="*/ 33 w 222"/>
              <a:gd name="T77" fmla="*/ 36 h 124"/>
              <a:gd name="T78" fmla="*/ 32 w 222"/>
              <a:gd name="T79" fmla="*/ 39 h 124"/>
              <a:gd name="T80" fmla="*/ 40 w 222"/>
              <a:gd name="T81" fmla="*/ 46 h 124"/>
              <a:gd name="T82" fmla="*/ 41 w 222"/>
              <a:gd name="T83" fmla="*/ 38 h 124"/>
              <a:gd name="T84" fmla="*/ 16 w 222"/>
              <a:gd name="T85" fmla="*/ 33 h 124"/>
              <a:gd name="T86" fmla="*/ 30 w 222"/>
              <a:gd name="T87" fmla="*/ 34 h 124"/>
              <a:gd name="T88" fmla="*/ 24 w 222"/>
              <a:gd name="T89" fmla="*/ 34 h 124"/>
              <a:gd name="T90" fmla="*/ 19 w 222"/>
              <a:gd name="T91" fmla="*/ 30 h 124"/>
              <a:gd name="T92" fmla="*/ 16 w 222"/>
              <a:gd name="T93" fmla="*/ 24 h 124"/>
              <a:gd name="T94" fmla="*/ 19 w 222"/>
              <a:gd name="T95" fmla="*/ 31 h 124"/>
              <a:gd name="T96" fmla="*/ 76 w 222"/>
              <a:gd name="T97" fmla="*/ 34 h 124"/>
              <a:gd name="T98" fmla="*/ 67 w 222"/>
              <a:gd name="T99" fmla="*/ 28 h 124"/>
              <a:gd name="T100" fmla="*/ 60 w 222"/>
              <a:gd name="T101" fmla="*/ 27 h 124"/>
              <a:gd name="T102" fmla="*/ 69 w 222"/>
              <a:gd name="T103" fmla="*/ 36 h 124"/>
              <a:gd name="T104" fmla="*/ 84 w 222"/>
              <a:gd name="T105" fmla="*/ 46 h 124"/>
              <a:gd name="T106" fmla="*/ 0 w 222"/>
              <a:gd name="T107" fmla="*/ 9 h 124"/>
              <a:gd name="T108" fmla="*/ 36 w 222"/>
              <a:gd name="T109" fmla="*/ 17 h 124"/>
              <a:gd name="T110" fmla="*/ 28 w 222"/>
              <a:gd name="T111" fmla="*/ 7 h 124"/>
              <a:gd name="T112" fmla="*/ 18 w 222"/>
              <a:gd name="T113" fmla="*/ 4 h 124"/>
              <a:gd name="T114" fmla="*/ 33 w 222"/>
              <a:gd name="T115" fmla="*/ 1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2" h="124">
                <a:moveTo>
                  <a:pt x="222" y="121"/>
                </a:moveTo>
                <a:lnTo>
                  <a:pt x="222" y="120"/>
                </a:lnTo>
                <a:lnTo>
                  <a:pt x="221" y="118"/>
                </a:lnTo>
                <a:lnTo>
                  <a:pt x="220" y="118"/>
                </a:lnTo>
                <a:lnTo>
                  <a:pt x="219" y="119"/>
                </a:lnTo>
                <a:lnTo>
                  <a:pt x="220" y="121"/>
                </a:lnTo>
                <a:lnTo>
                  <a:pt x="220" y="121"/>
                </a:lnTo>
                <a:lnTo>
                  <a:pt x="222" y="121"/>
                </a:lnTo>
                <a:lnTo>
                  <a:pt x="222" y="121"/>
                </a:lnTo>
                <a:close/>
                <a:moveTo>
                  <a:pt x="89" y="123"/>
                </a:moveTo>
                <a:lnTo>
                  <a:pt x="89" y="122"/>
                </a:lnTo>
                <a:lnTo>
                  <a:pt x="88" y="121"/>
                </a:lnTo>
                <a:lnTo>
                  <a:pt x="80" y="116"/>
                </a:lnTo>
                <a:lnTo>
                  <a:pt x="78" y="116"/>
                </a:lnTo>
                <a:lnTo>
                  <a:pt x="78" y="116"/>
                </a:lnTo>
                <a:lnTo>
                  <a:pt x="78" y="117"/>
                </a:lnTo>
                <a:lnTo>
                  <a:pt x="78" y="118"/>
                </a:lnTo>
                <a:lnTo>
                  <a:pt x="80" y="119"/>
                </a:lnTo>
                <a:lnTo>
                  <a:pt x="80" y="119"/>
                </a:lnTo>
                <a:lnTo>
                  <a:pt x="81" y="120"/>
                </a:lnTo>
                <a:lnTo>
                  <a:pt x="84" y="121"/>
                </a:lnTo>
                <a:lnTo>
                  <a:pt x="86" y="122"/>
                </a:lnTo>
                <a:lnTo>
                  <a:pt x="86" y="123"/>
                </a:lnTo>
                <a:lnTo>
                  <a:pt x="87" y="123"/>
                </a:lnTo>
                <a:lnTo>
                  <a:pt x="88" y="124"/>
                </a:lnTo>
                <a:lnTo>
                  <a:pt x="89" y="123"/>
                </a:lnTo>
                <a:lnTo>
                  <a:pt x="89" y="123"/>
                </a:lnTo>
                <a:close/>
                <a:moveTo>
                  <a:pt x="209" y="98"/>
                </a:moveTo>
                <a:lnTo>
                  <a:pt x="209" y="98"/>
                </a:lnTo>
                <a:lnTo>
                  <a:pt x="210" y="97"/>
                </a:lnTo>
                <a:lnTo>
                  <a:pt x="209" y="96"/>
                </a:lnTo>
                <a:lnTo>
                  <a:pt x="207" y="96"/>
                </a:lnTo>
                <a:lnTo>
                  <a:pt x="204" y="96"/>
                </a:lnTo>
                <a:lnTo>
                  <a:pt x="203" y="97"/>
                </a:lnTo>
                <a:lnTo>
                  <a:pt x="202" y="98"/>
                </a:lnTo>
                <a:lnTo>
                  <a:pt x="202" y="98"/>
                </a:lnTo>
                <a:lnTo>
                  <a:pt x="202" y="99"/>
                </a:lnTo>
                <a:lnTo>
                  <a:pt x="202" y="101"/>
                </a:lnTo>
                <a:lnTo>
                  <a:pt x="203" y="100"/>
                </a:lnTo>
                <a:lnTo>
                  <a:pt x="203" y="101"/>
                </a:lnTo>
                <a:lnTo>
                  <a:pt x="205" y="99"/>
                </a:lnTo>
                <a:lnTo>
                  <a:pt x="207" y="99"/>
                </a:lnTo>
                <a:lnTo>
                  <a:pt x="207" y="99"/>
                </a:lnTo>
                <a:lnTo>
                  <a:pt x="209" y="98"/>
                </a:lnTo>
                <a:lnTo>
                  <a:pt x="209" y="98"/>
                </a:lnTo>
                <a:close/>
                <a:moveTo>
                  <a:pt x="117" y="90"/>
                </a:moveTo>
                <a:lnTo>
                  <a:pt x="117" y="89"/>
                </a:lnTo>
                <a:lnTo>
                  <a:pt x="117" y="89"/>
                </a:lnTo>
                <a:lnTo>
                  <a:pt x="114" y="86"/>
                </a:lnTo>
                <a:lnTo>
                  <a:pt x="112" y="85"/>
                </a:lnTo>
                <a:lnTo>
                  <a:pt x="110" y="85"/>
                </a:lnTo>
                <a:lnTo>
                  <a:pt x="109" y="87"/>
                </a:lnTo>
                <a:lnTo>
                  <a:pt x="109" y="89"/>
                </a:lnTo>
                <a:lnTo>
                  <a:pt x="112" y="89"/>
                </a:lnTo>
                <a:lnTo>
                  <a:pt x="113" y="89"/>
                </a:lnTo>
                <a:lnTo>
                  <a:pt x="113" y="92"/>
                </a:lnTo>
                <a:lnTo>
                  <a:pt x="114" y="93"/>
                </a:lnTo>
                <a:lnTo>
                  <a:pt x="114" y="94"/>
                </a:lnTo>
                <a:lnTo>
                  <a:pt x="118" y="97"/>
                </a:lnTo>
                <a:lnTo>
                  <a:pt x="121" y="99"/>
                </a:lnTo>
                <a:lnTo>
                  <a:pt x="123" y="99"/>
                </a:lnTo>
                <a:lnTo>
                  <a:pt x="125" y="100"/>
                </a:lnTo>
                <a:lnTo>
                  <a:pt x="127" y="100"/>
                </a:lnTo>
                <a:lnTo>
                  <a:pt x="129" y="100"/>
                </a:lnTo>
                <a:lnTo>
                  <a:pt x="131" y="100"/>
                </a:lnTo>
                <a:lnTo>
                  <a:pt x="129" y="99"/>
                </a:lnTo>
                <a:lnTo>
                  <a:pt x="129" y="97"/>
                </a:lnTo>
                <a:lnTo>
                  <a:pt x="127" y="93"/>
                </a:lnTo>
                <a:lnTo>
                  <a:pt x="126" y="92"/>
                </a:lnTo>
                <a:lnTo>
                  <a:pt x="124" y="92"/>
                </a:lnTo>
                <a:lnTo>
                  <a:pt x="122" y="91"/>
                </a:lnTo>
                <a:lnTo>
                  <a:pt x="120" y="91"/>
                </a:lnTo>
                <a:lnTo>
                  <a:pt x="117" y="90"/>
                </a:lnTo>
                <a:lnTo>
                  <a:pt x="117" y="90"/>
                </a:lnTo>
                <a:close/>
                <a:moveTo>
                  <a:pt x="117" y="72"/>
                </a:moveTo>
                <a:lnTo>
                  <a:pt x="114" y="66"/>
                </a:lnTo>
                <a:lnTo>
                  <a:pt x="114" y="66"/>
                </a:lnTo>
                <a:lnTo>
                  <a:pt x="114" y="67"/>
                </a:lnTo>
                <a:lnTo>
                  <a:pt x="114" y="69"/>
                </a:lnTo>
                <a:lnTo>
                  <a:pt x="114" y="71"/>
                </a:lnTo>
                <a:lnTo>
                  <a:pt x="114" y="73"/>
                </a:lnTo>
                <a:lnTo>
                  <a:pt x="114" y="74"/>
                </a:lnTo>
                <a:lnTo>
                  <a:pt x="115" y="73"/>
                </a:lnTo>
                <a:lnTo>
                  <a:pt x="117" y="75"/>
                </a:lnTo>
                <a:lnTo>
                  <a:pt x="117" y="74"/>
                </a:lnTo>
                <a:lnTo>
                  <a:pt x="117" y="72"/>
                </a:lnTo>
                <a:close/>
                <a:moveTo>
                  <a:pt x="80" y="64"/>
                </a:moveTo>
                <a:lnTo>
                  <a:pt x="78" y="63"/>
                </a:lnTo>
                <a:lnTo>
                  <a:pt x="77" y="65"/>
                </a:lnTo>
                <a:lnTo>
                  <a:pt x="76" y="66"/>
                </a:lnTo>
                <a:lnTo>
                  <a:pt x="76" y="68"/>
                </a:lnTo>
                <a:lnTo>
                  <a:pt x="76" y="69"/>
                </a:lnTo>
                <a:lnTo>
                  <a:pt x="77" y="72"/>
                </a:lnTo>
                <a:lnTo>
                  <a:pt x="78" y="74"/>
                </a:lnTo>
                <a:lnTo>
                  <a:pt x="80" y="75"/>
                </a:lnTo>
                <a:lnTo>
                  <a:pt x="80" y="76"/>
                </a:lnTo>
                <a:lnTo>
                  <a:pt x="84" y="76"/>
                </a:lnTo>
                <a:lnTo>
                  <a:pt x="90" y="77"/>
                </a:lnTo>
                <a:lnTo>
                  <a:pt x="93" y="78"/>
                </a:lnTo>
                <a:lnTo>
                  <a:pt x="97" y="79"/>
                </a:lnTo>
                <a:lnTo>
                  <a:pt x="99" y="79"/>
                </a:lnTo>
                <a:lnTo>
                  <a:pt x="101" y="78"/>
                </a:lnTo>
                <a:lnTo>
                  <a:pt x="101" y="78"/>
                </a:lnTo>
                <a:lnTo>
                  <a:pt x="101" y="75"/>
                </a:lnTo>
                <a:lnTo>
                  <a:pt x="100" y="74"/>
                </a:lnTo>
                <a:lnTo>
                  <a:pt x="98" y="73"/>
                </a:lnTo>
                <a:lnTo>
                  <a:pt x="97" y="71"/>
                </a:lnTo>
                <a:lnTo>
                  <a:pt x="95" y="69"/>
                </a:lnTo>
                <a:lnTo>
                  <a:pt x="92" y="66"/>
                </a:lnTo>
                <a:lnTo>
                  <a:pt x="86" y="66"/>
                </a:lnTo>
                <a:lnTo>
                  <a:pt x="84" y="67"/>
                </a:lnTo>
                <a:lnTo>
                  <a:pt x="80" y="64"/>
                </a:lnTo>
                <a:lnTo>
                  <a:pt x="80" y="64"/>
                </a:lnTo>
                <a:close/>
                <a:moveTo>
                  <a:pt x="89" y="57"/>
                </a:moveTo>
                <a:lnTo>
                  <a:pt x="88" y="57"/>
                </a:lnTo>
                <a:lnTo>
                  <a:pt x="88" y="59"/>
                </a:lnTo>
                <a:lnTo>
                  <a:pt x="89" y="59"/>
                </a:lnTo>
                <a:lnTo>
                  <a:pt x="90" y="60"/>
                </a:lnTo>
                <a:lnTo>
                  <a:pt x="91" y="61"/>
                </a:lnTo>
                <a:lnTo>
                  <a:pt x="91" y="61"/>
                </a:lnTo>
                <a:lnTo>
                  <a:pt x="91" y="61"/>
                </a:lnTo>
                <a:lnTo>
                  <a:pt x="93" y="61"/>
                </a:lnTo>
                <a:lnTo>
                  <a:pt x="94" y="60"/>
                </a:lnTo>
                <a:lnTo>
                  <a:pt x="92" y="58"/>
                </a:lnTo>
                <a:lnTo>
                  <a:pt x="91" y="57"/>
                </a:lnTo>
                <a:lnTo>
                  <a:pt x="90" y="57"/>
                </a:lnTo>
                <a:lnTo>
                  <a:pt x="89" y="57"/>
                </a:lnTo>
                <a:lnTo>
                  <a:pt x="89" y="57"/>
                </a:lnTo>
                <a:close/>
                <a:moveTo>
                  <a:pt x="69" y="60"/>
                </a:moveTo>
                <a:lnTo>
                  <a:pt x="70" y="59"/>
                </a:lnTo>
                <a:lnTo>
                  <a:pt x="70" y="57"/>
                </a:lnTo>
                <a:lnTo>
                  <a:pt x="69" y="57"/>
                </a:lnTo>
                <a:lnTo>
                  <a:pt x="68" y="57"/>
                </a:lnTo>
                <a:lnTo>
                  <a:pt x="67" y="57"/>
                </a:lnTo>
                <a:lnTo>
                  <a:pt x="66" y="57"/>
                </a:lnTo>
                <a:lnTo>
                  <a:pt x="65" y="59"/>
                </a:lnTo>
                <a:lnTo>
                  <a:pt x="66" y="59"/>
                </a:lnTo>
                <a:lnTo>
                  <a:pt x="67" y="59"/>
                </a:lnTo>
                <a:lnTo>
                  <a:pt x="68" y="60"/>
                </a:lnTo>
                <a:lnTo>
                  <a:pt x="69" y="60"/>
                </a:lnTo>
                <a:lnTo>
                  <a:pt x="69" y="60"/>
                </a:lnTo>
                <a:close/>
                <a:moveTo>
                  <a:pt x="37" y="52"/>
                </a:moveTo>
                <a:lnTo>
                  <a:pt x="37" y="51"/>
                </a:lnTo>
                <a:lnTo>
                  <a:pt x="35" y="50"/>
                </a:lnTo>
                <a:lnTo>
                  <a:pt x="35" y="50"/>
                </a:lnTo>
                <a:lnTo>
                  <a:pt x="33" y="50"/>
                </a:lnTo>
                <a:lnTo>
                  <a:pt x="33" y="51"/>
                </a:lnTo>
                <a:lnTo>
                  <a:pt x="35" y="52"/>
                </a:lnTo>
                <a:lnTo>
                  <a:pt x="37" y="52"/>
                </a:lnTo>
                <a:lnTo>
                  <a:pt x="37" y="52"/>
                </a:lnTo>
                <a:lnTo>
                  <a:pt x="37" y="52"/>
                </a:lnTo>
                <a:close/>
                <a:moveTo>
                  <a:pt x="48" y="52"/>
                </a:moveTo>
                <a:lnTo>
                  <a:pt x="50" y="52"/>
                </a:lnTo>
                <a:lnTo>
                  <a:pt x="49" y="52"/>
                </a:lnTo>
                <a:lnTo>
                  <a:pt x="49" y="50"/>
                </a:lnTo>
                <a:lnTo>
                  <a:pt x="47" y="52"/>
                </a:lnTo>
                <a:lnTo>
                  <a:pt x="48" y="52"/>
                </a:lnTo>
                <a:lnTo>
                  <a:pt x="48" y="52"/>
                </a:lnTo>
                <a:close/>
                <a:moveTo>
                  <a:pt x="47" y="50"/>
                </a:moveTo>
                <a:lnTo>
                  <a:pt x="47" y="49"/>
                </a:lnTo>
                <a:lnTo>
                  <a:pt x="47" y="48"/>
                </a:lnTo>
                <a:lnTo>
                  <a:pt x="47" y="48"/>
                </a:lnTo>
                <a:lnTo>
                  <a:pt x="47" y="46"/>
                </a:lnTo>
                <a:lnTo>
                  <a:pt x="47" y="46"/>
                </a:lnTo>
                <a:lnTo>
                  <a:pt x="45" y="45"/>
                </a:lnTo>
                <a:lnTo>
                  <a:pt x="45" y="46"/>
                </a:lnTo>
                <a:lnTo>
                  <a:pt x="44" y="46"/>
                </a:lnTo>
                <a:lnTo>
                  <a:pt x="43" y="47"/>
                </a:lnTo>
                <a:lnTo>
                  <a:pt x="43" y="47"/>
                </a:lnTo>
                <a:lnTo>
                  <a:pt x="43" y="49"/>
                </a:lnTo>
                <a:lnTo>
                  <a:pt x="43" y="51"/>
                </a:lnTo>
                <a:lnTo>
                  <a:pt x="45" y="52"/>
                </a:lnTo>
                <a:lnTo>
                  <a:pt x="47" y="50"/>
                </a:lnTo>
                <a:lnTo>
                  <a:pt x="47" y="50"/>
                </a:lnTo>
                <a:close/>
                <a:moveTo>
                  <a:pt x="32" y="50"/>
                </a:moveTo>
                <a:lnTo>
                  <a:pt x="31" y="49"/>
                </a:lnTo>
                <a:lnTo>
                  <a:pt x="32" y="47"/>
                </a:lnTo>
                <a:lnTo>
                  <a:pt x="32" y="46"/>
                </a:lnTo>
                <a:lnTo>
                  <a:pt x="33" y="44"/>
                </a:lnTo>
                <a:lnTo>
                  <a:pt x="33" y="43"/>
                </a:lnTo>
                <a:lnTo>
                  <a:pt x="32" y="43"/>
                </a:lnTo>
                <a:lnTo>
                  <a:pt x="29" y="46"/>
                </a:lnTo>
                <a:lnTo>
                  <a:pt x="29" y="47"/>
                </a:lnTo>
                <a:lnTo>
                  <a:pt x="31" y="50"/>
                </a:lnTo>
                <a:lnTo>
                  <a:pt x="32" y="51"/>
                </a:lnTo>
                <a:lnTo>
                  <a:pt x="32" y="50"/>
                </a:lnTo>
                <a:lnTo>
                  <a:pt x="32" y="50"/>
                </a:lnTo>
                <a:close/>
                <a:moveTo>
                  <a:pt x="80" y="45"/>
                </a:moveTo>
                <a:lnTo>
                  <a:pt x="80" y="44"/>
                </a:lnTo>
                <a:lnTo>
                  <a:pt x="80" y="43"/>
                </a:lnTo>
                <a:lnTo>
                  <a:pt x="78" y="42"/>
                </a:lnTo>
                <a:lnTo>
                  <a:pt x="78" y="42"/>
                </a:lnTo>
                <a:lnTo>
                  <a:pt x="77" y="44"/>
                </a:lnTo>
                <a:lnTo>
                  <a:pt x="78" y="44"/>
                </a:lnTo>
                <a:lnTo>
                  <a:pt x="79" y="46"/>
                </a:lnTo>
                <a:lnTo>
                  <a:pt x="80" y="45"/>
                </a:lnTo>
                <a:lnTo>
                  <a:pt x="80" y="45"/>
                </a:lnTo>
                <a:close/>
                <a:moveTo>
                  <a:pt x="103" y="40"/>
                </a:moveTo>
                <a:lnTo>
                  <a:pt x="103" y="40"/>
                </a:lnTo>
                <a:lnTo>
                  <a:pt x="102" y="41"/>
                </a:lnTo>
                <a:lnTo>
                  <a:pt x="101" y="41"/>
                </a:lnTo>
                <a:lnTo>
                  <a:pt x="100" y="41"/>
                </a:lnTo>
                <a:lnTo>
                  <a:pt x="100" y="42"/>
                </a:lnTo>
                <a:lnTo>
                  <a:pt x="102" y="46"/>
                </a:lnTo>
                <a:lnTo>
                  <a:pt x="101" y="48"/>
                </a:lnTo>
                <a:lnTo>
                  <a:pt x="103" y="56"/>
                </a:lnTo>
                <a:lnTo>
                  <a:pt x="103" y="61"/>
                </a:lnTo>
                <a:lnTo>
                  <a:pt x="106" y="64"/>
                </a:lnTo>
                <a:lnTo>
                  <a:pt x="106" y="65"/>
                </a:lnTo>
                <a:lnTo>
                  <a:pt x="110" y="66"/>
                </a:lnTo>
                <a:lnTo>
                  <a:pt x="112" y="71"/>
                </a:lnTo>
                <a:lnTo>
                  <a:pt x="113" y="71"/>
                </a:lnTo>
                <a:lnTo>
                  <a:pt x="113" y="70"/>
                </a:lnTo>
                <a:lnTo>
                  <a:pt x="113" y="68"/>
                </a:lnTo>
                <a:lnTo>
                  <a:pt x="111" y="65"/>
                </a:lnTo>
                <a:lnTo>
                  <a:pt x="112" y="61"/>
                </a:lnTo>
                <a:lnTo>
                  <a:pt x="111" y="60"/>
                </a:lnTo>
                <a:lnTo>
                  <a:pt x="111" y="59"/>
                </a:lnTo>
                <a:lnTo>
                  <a:pt x="110" y="56"/>
                </a:lnTo>
                <a:lnTo>
                  <a:pt x="108" y="53"/>
                </a:lnTo>
                <a:lnTo>
                  <a:pt x="106" y="53"/>
                </a:lnTo>
                <a:lnTo>
                  <a:pt x="106" y="52"/>
                </a:lnTo>
                <a:lnTo>
                  <a:pt x="106" y="50"/>
                </a:lnTo>
                <a:lnTo>
                  <a:pt x="107" y="49"/>
                </a:lnTo>
                <a:lnTo>
                  <a:pt x="108" y="48"/>
                </a:lnTo>
                <a:lnTo>
                  <a:pt x="103" y="40"/>
                </a:lnTo>
                <a:lnTo>
                  <a:pt x="103" y="40"/>
                </a:lnTo>
                <a:close/>
                <a:moveTo>
                  <a:pt x="41" y="38"/>
                </a:moveTo>
                <a:lnTo>
                  <a:pt x="39" y="38"/>
                </a:lnTo>
                <a:lnTo>
                  <a:pt x="38" y="37"/>
                </a:lnTo>
                <a:lnTo>
                  <a:pt x="38" y="33"/>
                </a:lnTo>
                <a:lnTo>
                  <a:pt x="35" y="32"/>
                </a:lnTo>
                <a:lnTo>
                  <a:pt x="34" y="33"/>
                </a:lnTo>
                <a:lnTo>
                  <a:pt x="33" y="36"/>
                </a:lnTo>
                <a:lnTo>
                  <a:pt x="32" y="37"/>
                </a:lnTo>
                <a:lnTo>
                  <a:pt x="30" y="38"/>
                </a:lnTo>
                <a:lnTo>
                  <a:pt x="30" y="39"/>
                </a:lnTo>
                <a:lnTo>
                  <a:pt x="30" y="40"/>
                </a:lnTo>
                <a:lnTo>
                  <a:pt x="31" y="41"/>
                </a:lnTo>
                <a:lnTo>
                  <a:pt x="32" y="39"/>
                </a:lnTo>
                <a:lnTo>
                  <a:pt x="35" y="39"/>
                </a:lnTo>
                <a:lnTo>
                  <a:pt x="36" y="39"/>
                </a:lnTo>
                <a:lnTo>
                  <a:pt x="36" y="41"/>
                </a:lnTo>
                <a:lnTo>
                  <a:pt x="37" y="44"/>
                </a:lnTo>
                <a:lnTo>
                  <a:pt x="38" y="45"/>
                </a:lnTo>
                <a:lnTo>
                  <a:pt x="40" y="46"/>
                </a:lnTo>
                <a:lnTo>
                  <a:pt x="41" y="48"/>
                </a:lnTo>
                <a:lnTo>
                  <a:pt x="42" y="47"/>
                </a:lnTo>
                <a:lnTo>
                  <a:pt x="43" y="47"/>
                </a:lnTo>
                <a:lnTo>
                  <a:pt x="43" y="45"/>
                </a:lnTo>
                <a:lnTo>
                  <a:pt x="42" y="40"/>
                </a:lnTo>
                <a:lnTo>
                  <a:pt x="41" y="38"/>
                </a:lnTo>
                <a:lnTo>
                  <a:pt x="41" y="38"/>
                </a:lnTo>
                <a:close/>
                <a:moveTo>
                  <a:pt x="17" y="38"/>
                </a:moveTo>
                <a:lnTo>
                  <a:pt x="17" y="36"/>
                </a:lnTo>
                <a:lnTo>
                  <a:pt x="17" y="32"/>
                </a:lnTo>
                <a:lnTo>
                  <a:pt x="16" y="33"/>
                </a:lnTo>
                <a:lnTo>
                  <a:pt x="16" y="33"/>
                </a:lnTo>
                <a:lnTo>
                  <a:pt x="16" y="35"/>
                </a:lnTo>
                <a:lnTo>
                  <a:pt x="17" y="38"/>
                </a:lnTo>
                <a:lnTo>
                  <a:pt x="17" y="38"/>
                </a:lnTo>
                <a:close/>
                <a:moveTo>
                  <a:pt x="29" y="36"/>
                </a:moveTo>
                <a:lnTo>
                  <a:pt x="30" y="35"/>
                </a:lnTo>
                <a:lnTo>
                  <a:pt x="30" y="34"/>
                </a:lnTo>
                <a:lnTo>
                  <a:pt x="30" y="32"/>
                </a:lnTo>
                <a:lnTo>
                  <a:pt x="29" y="30"/>
                </a:lnTo>
                <a:lnTo>
                  <a:pt x="28" y="29"/>
                </a:lnTo>
                <a:lnTo>
                  <a:pt x="26" y="30"/>
                </a:lnTo>
                <a:lnTo>
                  <a:pt x="24" y="32"/>
                </a:lnTo>
                <a:lnTo>
                  <a:pt x="24" y="34"/>
                </a:lnTo>
                <a:lnTo>
                  <a:pt x="26" y="36"/>
                </a:lnTo>
                <a:lnTo>
                  <a:pt x="28" y="36"/>
                </a:lnTo>
                <a:lnTo>
                  <a:pt x="29" y="36"/>
                </a:lnTo>
                <a:lnTo>
                  <a:pt x="29" y="36"/>
                </a:lnTo>
                <a:close/>
                <a:moveTo>
                  <a:pt x="19" y="31"/>
                </a:moveTo>
                <a:lnTo>
                  <a:pt x="19" y="30"/>
                </a:lnTo>
                <a:lnTo>
                  <a:pt x="21" y="27"/>
                </a:lnTo>
                <a:lnTo>
                  <a:pt x="22" y="26"/>
                </a:lnTo>
                <a:lnTo>
                  <a:pt x="20" y="25"/>
                </a:lnTo>
                <a:lnTo>
                  <a:pt x="19" y="24"/>
                </a:lnTo>
                <a:lnTo>
                  <a:pt x="17" y="24"/>
                </a:lnTo>
                <a:lnTo>
                  <a:pt x="16" y="24"/>
                </a:lnTo>
                <a:lnTo>
                  <a:pt x="16" y="26"/>
                </a:lnTo>
                <a:lnTo>
                  <a:pt x="18" y="28"/>
                </a:lnTo>
                <a:lnTo>
                  <a:pt x="18" y="30"/>
                </a:lnTo>
                <a:lnTo>
                  <a:pt x="19" y="30"/>
                </a:lnTo>
                <a:lnTo>
                  <a:pt x="19" y="32"/>
                </a:lnTo>
                <a:lnTo>
                  <a:pt x="19" y="31"/>
                </a:lnTo>
                <a:lnTo>
                  <a:pt x="19" y="31"/>
                </a:lnTo>
                <a:close/>
                <a:moveTo>
                  <a:pt x="84" y="46"/>
                </a:moveTo>
                <a:lnTo>
                  <a:pt x="84" y="44"/>
                </a:lnTo>
                <a:lnTo>
                  <a:pt x="83" y="42"/>
                </a:lnTo>
                <a:lnTo>
                  <a:pt x="84" y="40"/>
                </a:lnTo>
                <a:lnTo>
                  <a:pt x="76" y="34"/>
                </a:lnTo>
                <a:lnTo>
                  <a:pt x="75" y="33"/>
                </a:lnTo>
                <a:lnTo>
                  <a:pt x="74" y="33"/>
                </a:lnTo>
                <a:lnTo>
                  <a:pt x="72" y="31"/>
                </a:lnTo>
                <a:lnTo>
                  <a:pt x="70" y="31"/>
                </a:lnTo>
                <a:lnTo>
                  <a:pt x="68" y="29"/>
                </a:lnTo>
                <a:lnTo>
                  <a:pt x="67" y="28"/>
                </a:lnTo>
                <a:lnTo>
                  <a:pt x="65" y="26"/>
                </a:lnTo>
                <a:lnTo>
                  <a:pt x="62" y="24"/>
                </a:lnTo>
                <a:lnTo>
                  <a:pt x="57" y="23"/>
                </a:lnTo>
                <a:lnTo>
                  <a:pt x="58" y="24"/>
                </a:lnTo>
                <a:lnTo>
                  <a:pt x="59" y="24"/>
                </a:lnTo>
                <a:lnTo>
                  <a:pt x="60" y="27"/>
                </a:lnTo>
                <a:lnTo>
                  <a:pt x="61" y="29"/>
                </a:lnTo>
                <a:lnTo>
                  <a:pt x="63" y="31"/>
                </a:lnTo>
                <a:lnTo>
                  <a:pt x="63" y="31"/>
                </a:lnTo>
                <a:lnTo>
                  <a:pt x="64" y="32"/>
                </a:lnTo>
                <a:lnTo>
                  <a:pt x="66" y="34"/>
                </a:lnTo>
                <a:lnTo>
                  <a:pt x="69" y="36"/>
                </a:lnTo>
                <a:lnTo>
                  <a:pt x="72" y="38"/>
                </a:lnTo>
                <a:lnTo>
                  <a:pt x="73" y="38"/>
                </a:lnTo>
                <a:lnTo>
                  <a:pt x="75" y="39"/>
                </a:lnTo>
                <a:lnTo>
                  <a:pt x="80" y="42"/>
                </a:lnTo>
                <a:lnTo>
                  <a:pt x="82" y="44"/>
                </a:lnTo>
                <a:lnTo>
                  <a:pt x="84" y="46"/>
                </a:lnTo>
                <a:lnTo>
                  <a:pt x="84" y="46"/>
                </a:lnTo>
                <a:lnTo>
                  <a:pt x="84" y="46"/>
                </a:lnTo>
                <a:close/>
                <a:moveTo>
                  <a:pt x="3" y="11"/>
                </a:moveTo>
                <a:lnTo>
                  <a:pt x="4" y="10"/>
                </a:lnTo>
                <a:lnTo>
                  <a:pt x="1" y="9"/>
                </a:lnTo>
                <a:lnTo>
                  <a:pt x="0" y="9"/>
                </a:lnTo>
                <a:lnTo>
                  <a:pt x="0" y="11"/>
                </a:lnTo>
                <a:lnTo>
                  <a:pt x="1" y="12"/>
                </a:lnTo>
                <a:lnTo>
                  <a:pt x="3" y="11"/>
                </a:lnTo>
                <a:lnTo>
                  <a:pt x="3" y="11"/>
                </a:lnTo>
                <a:close/>
                <a:moveTo>
                  <a:pt x="37" y="17"/>
                </a:moveTo>
                <a:lnTo>
                  <a:pt x="36" y="17"/>
                </a:lnTo>
                <a:lnTo>
                  <a:pt x="35" y="17"/>
                </a:lnTo>
                <a:lnTo>
                  <a:pt x="33" y="16"/>
                </a:lnTo>
                <a:lnTo>
                  <a:pt x="32" y="13"/>
                </a:lnTo>
                <a:lnTo>
                  <a:pt x="31" y="12"/>
                </a:lnTo>
                <a:lnTo>
                  <a:pt x="30" y="9"/>
                </a:lnTo>
                <a:lnTo>
                  <a:pt x="28" y="7"/>
                </a:lnTo>
                <a:lnTo>
                  <a:pt x="23" y="4"/>
                </a:lnTo>
                <a:lnTo>
                  <a:pt x="20" y="1"/>
                </a:lnTo>
                <a:lnTo>
                  <a:pt x="18" y="0"/>
                </a:lnTo>
                <a:lnTo>
                  <a:pt x="17" y="1"/>
                </a:lnTo>
                <a:lnTo>
                  <a:pt x="17" y="3"/>
                </a:lnTo>
                <a:lnTo>
                  <a:pt x="18" y="4"/>
                </a:lnTo>
                <a:lnTo>
                  <a:pt x="21" y="7"/>
                </a:lnTo>
                <a:lnTo>
                  <a:pt x="25" y="13"/>
                </a:lnTo>
                <a:lnTo>
                  <a:pt x="29" y="17"/>
                </a:lnTo>
                <a:lnTo>
                  <a:pt x="32" y="18"/>
                </a:lnTo>
                <a:lnTo>
                  <a:pt x="33" y="18"/>
                </a:lnTo>
                <a:lnTo>
                  <a:pt x="33" y="18"/>
                </a:lnTo>
                <a:lnTo>
                  <a:pt x="33" y="19"/>
                </a:lnTo>
                <a:lnTo>
                  <a:pt x="35" y="20"/>
                </a:lnTo>
                <a:lnTo>
                  <a:pt x="37" y="18"/>
                </a:lnTo>
                <a:lnTo>
                  <a:pt x="37" y="17"/>
                </a:lnTo>
                <a:lnTo>
                  <a:pt x="37" y="1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09" name="Sao Tome and Principe">
            <a:extLst>
              <a:ext uri="{FF2B5EF4-FFF2-40B4-BE49-F238E27FC236}">
                <a16:creationId xmlns:a16="http://schemas.microsoft.com/office/drawing/2014/main" id="{61F61236-3614-416B-B56C-BBED8D2DEC19}"/>
              </a:ext>
            </a:extLst>
          </p:cNvPr>
          <p:cNvSpPr>
            <a:spLocks noEditPoints="1"/>
          </p:cNvSpPr>
          <p:nvPr/>
        </p:nvSpPr>
        <p:spPr bwMode="auto">
          <a:xfrm>
            <a:off x="5431249" y="4272239"/>
            <a:ext cx="34025" cy="66348"/>
          </a:xfrm>
          <a:custGeom>
            <a:avLst/>
            <a:gdLst>
              <a:gd name="T0" fmla="*/ 4 w 20"/>
              <a:gd name="T1" fmla="*/ 37 h 39"/>
              <a:gd name="T2" fmla="*/ 5 w 20"/>
              <a:gd name="T3" fmla="*/ 34 h 39"/>
              <a:gd name="T4" fmla="*/ 5 w 20"/>
              <a:gd name="T5" fmla="*/ 32 h 39"/>
              <a:gd name="T6" fmla="*/ 4 w 20"/>
              <a:gd name="T7" fmla="*/ 30 h 39"/>
              <a:gd name="T8" fmla="*/ 4 w 20"/>
              <a:gd name="T9" fmla="*/ 30 h 39"/>
              <a:gd name="T10" fmla="*/ 2 w 20"/>
              <a:gd name="T11" fmla="*/ 32 h 39"/>
              <a:gd name="T12" fmla="*/ 0 w 20"/>
              <a:gd name="T13" fmla="*/ 34 h 39"/>
              <a:gd name="T14" fmla="*/ 0 w 20"/>
              <a:gd name="T15" fmla="*/ 35 h 39"/>
              <a:gd name="T16" fmla="*/ 1 w 20"/>
              <a:gd name="T17" fmla="*/ 37 h 39"/>
              <a:gd name="T18" fmla="*/ 1 w 20"/>
              <a:gd name="T19" fmla="*/ 38 h 39"/>
              <a:gd name="T20" fmla="*/ 2 w 20"/>
              <a:gd name="T21" fmla="*/ 39 h 39"/>
              <a:gd name="T22" fmla="*/ 4 w 20"/>
              <a:gd name="T23" fmla="*/ 37 h 39"/>
              <a:gd name="T24" fmla="*/ 4 w 20"/>
              <a:gd name="T25" fmla="*/ 37 h 39"/>
              <a:gd name="T26" fmla="*/ 20 w 20"/>
              <a:gd name="T27" fmla="*/ 3 h 39"/>
              <a:gd name="T28" fmla="*/ 20 w 20"/>
              <a:gd name="T29" fmla="*/ 1 h 39"/>
              <a:gd name="T30" fmla="*/ 20 w 20"/>
              <a:gd name="T31" fmla="*/ 0 h 39"/>
              <a:gd name="T32" fmla="*/ 20 w 20"/>
              <a:gd name="T33" fmla="*/ 0 h 39"/>
              <a:gd name="T34" fmla="*/ 20 w 20"/>
              <a:gd name="T35" fmla="*/ 0 h 39"/>
              <a:gd name="T36" fmla="*/ 19 w 20"/>
              <a:gd name="T37" fmla="*/ 0 h 39"/>
              <a:gd name="T38" fmla="*/ 18 w 20"/>
              <a:gd name="T39" fmla="*/ 2 h 39"/>
              <a:gd name="T40" fmla="*/ 18 w 20"/>
              <a:gd name="T41" fmla="*/ 3 h 39"/>
              <a:gd name="T42" fmla="*/ 19 w 20"/>
              <a:gd name="T43" fmla="*/ 4 h 39"/>
              <a:gd name="T44" fmla="*/ 20 w 20"/>
              <a:gd name="T45" fmla="*/ 3 h 39"/>
              <a:gd name="T46" fmla="*/ 20 w 20"/>
              <a:gd name="T4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39">
                <a:moveTo>
                  <a:pt x="4" y="37"/>
                </a:moveTo>
                <a:lnTo>
                  <a:pt x="5" y="34"/>
                </a:lnTo>
                <a:lnTo>
                  <a:pt x="5" y="32"/>
                </a:lnTo>
                <a:lnTo>
                  <a:pt x="4" y="30"/>
                </a:lnTo>
                <a:lnTo>
                  <a:pt x="4" y="30"/>
                </a:lnTo>
                <a:lnTo>
                  <a:pt x="2" y="32"/>
                </a:lnTo>
                <a:lnTo>
                  <a:pt x="0" y="34"/>
                </a:lnTo>
                <a:lnTo>
                  <a:pt x="0" y="35"/>
                </a:lnTo>
                <a:lnTo>
                  <a:pt x="1" y="37"/>
                </a:lnTo>
                <a:lnTo>
                  <a:pt x="1" y="38"/>
                </a:lnTo>
                <a:lnTo>
                  <a:pt x="2" y="39"/>
                </a:lnTo>
                <a:lnTo>
                  <a:pt x="4" y="37"/>
                </a:lnTo>
                <a:lnTo>
                  <a:pt x="4" y="37"/>
                </a:lnTo>
                <a:close/>
                <a:moveTo>
                  <a:pt x="20" y="3"/>
                </a:moveTo>
                <a:lnTo>
                  <a:pt x="20" y="1"/>
                </a:lnTo>
                <a:lnTo>
                  <a:pt x="20" y="0"/>
                </a:lnTo>
                <a:lnTo>
                  <a:pt x="20" y="0"/>
                </a:lnTo>
                <a:lnTo>
                  <a:pt x="20" y="0"/>
                </a:lnTo>
                <a:lnTo>
                  <a:pt x="19" y="0"/>
                </a:lnTo>
                <a:lnTo>
                  <a:pt x="18" y="2"/>
                </a:lnTo>
                <a:lnTo>
                  <a:pt x="18" y="3"/>
                </a:lnTo>
                <a:lnTo>
                  <a:pt x="19" y="4"/>
                </a:lnTo>
                <a:lnTo>
                  <a:pt x="20" y="3"/>
                </a:lnTo>
                <a:lnTo>
                  <a:pt x="20" y="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2610" name="Anguilla">
            <a:extLst>
              <a:ext uri="{FF2B5EF4-FFF2-40B4-BE49-F238E27FC236}">
                <a16:creationId xmlns:a16="http://schemas.microsoft.com/office/drawing/2014/main" id="{34BD99FD-5B99-4EA4-A231-D831E7BAA4F5}"/>
              </a:ext>
            </a:extLst>
          </p:cNvPr>
          <p:cNvGrpSpPr/>
          <p:nvPr/>
        </p:nvGrpSpPr>
        <p:grpSpPr>
          <a:xfrm>
            <a:off x="2978098" y="3601962"/>
            <a:ext cx="6805" cy="10207"/>
            <a:chOff x="3927475" y="3794126"/>
            <a:chExt cx="6350" cy="9525"/>
          </a:xfrm>
          <a:solidFill>
            <a:srgbClr val="002050">
              <a:alpha val="80000"/>
            </a:srgbClr>
          </a:solidFill>
        </p:grpSpPr>
        <p:sp>
          <p:nvSpPr>
            <p:cNvPr id="12627" name="Freeform 2013">
              <a:extLst>
                <a:ext uri="{FF2B5EF4-FFF2-40B4-BE49-F238E27FC236}">
                  <a16:creationId xmlns:a16="http://schemas.microsoft.com/office/drawing/2014/main" id="{09C5B800-26A2-4A9F-9768-55B9C77A1B24}"/>
                </a:ext>
              </a:extLst>
            </p:cNvPr>
            <p:cNvSpPr>
              <a:spLocks/>
            </p:cNvSpPr>
            <p:nvPr/>
          </p:nvSpPr>
          <p:spPr bwMode="auto">
            <a:xfrm>
              <a:off x="3927475" y="3794126"/>
              <a:ext cx="6350" cy="3175"/>
            </a:xfrm>
            <a:custGeom>
              <a:avLst/>
              <a:gdLst>
                <a:gd name="T0" fmla="*/ 4 w 4"/>
                <a:gd name="T1" fmla="*/ 1 h 2"/>
                <a:gd name="T2" fmla="*/ 4 w 4"/>
                <a:gd name="T3" fmla="*/ 0 h 2"/>
                <a:gd name="T4" fmla="*/ 3 w 4"/>
                <a:gd name="T5" fmla="*/ 0 h 2"/>
                <a:gd name="T6" fmla="*/ 0 w 4"/>
                <a:gd name="T7" fmla="*/ 2 h 2"/>
                <a:gd name="T8" fmla="*/ 0 w 4"/>
                <a:gd name="T9" fmla="*/ 2 h 2"/>
                <a:gd name="T10" fmla="*/ 4 w 4"/>
                <a:gd name="T11" fmla="*/ 1 h 2"/>
              </a:gdLst>
              <a:ahLst/>
              <a:cxnLst>
                <a:cxn ang="0">
                  <a:pos x="T0" y="T1"/>
                </a:cxn>
                <a:cxn ang="0">
                  <a:pos x="T2" y="T3"/>
                </a:cxn>
                <a:cxn ang="0">
                  <a:pos x="T4" y="T5"/>
                </a:cxn>
                <a:cxn ang="0">
                  <a:pos x="T6" y="T7"/>
                </a:cxn>
                <a:cxn ang="0">
                  <a:pos x="T8" y="T9"/>
                </a:cxn>
                <a:cxn ang="0">
                  <a:pos x="T10" y="T11"/>
                </a:cxn>
              </a:cxnLst>
              <a:rect l="0" t="0" r="r" b="b"/>
              <a:pathLst>
                <a:path w="4" h="2">
                  <a:moveTo>
                    <a:pt x="4" y="1"/>
                  </a:moveTo>
                  <a:lnTo>
                    <a:pt x="4" y="0"/>
                  </a:lnTo>
                  <a:lnTo>
                    <a:pt x="3" y="0"/>
                  </a:lnTo>
                  <a:lnTo>
                    <a:pt x="0" y="2"/>
                  </a:lnTo>
                  <a:lnTo>
                    <a:pt x="0" y="2"/>
                  </a:lnTo>
                  <a:lnTo>
                    <a:pt x="4" y="1"/>
                  </a:lnTo>
                  <a:close/>
                </a:path>
              </a:pathLst>
            </a:custGeom>
            <a:grp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28" name="Freeform 202">
              <a:extLst>
                <a:ext uri="{FF2B5EF4-FFF2-40B4-BE49-F238E27FC236}">
                  <a16:creationId xmlns:a16="http://schemas.microsoft.com/office/drawing/2014/main" id="{E6FB9474-25F7-4E82-B4E6-C684D83840B5}"/>
                </a:ext>
              </a:extLst>
            </p:cNvPr>
            <p:cNvSpPr>
              <a:spLocks/>
            </p:cNvSpPr>
            <p:nvPr/>
          </p:nvSpPr>
          <p:spPr bwMode="auto">
            <a:xfrm>
              <a:off x="3927475" y="3802063"/>
              <a:ext cx="4762" cy="1588"/>
            </a:xfrm>
            <a:custGeom>
              <a:avLst/>
              <a:gdLst>
                <a:gd name="T0" fmla="*/ 0 w 3"/>
                <a:gd name="T1" fmla="*/ 0 h 1"/>
                <a:gd name="T2" fmla="*/ 0 w 3"/>
                <a:gd name="T3" fmla="*/ 0 h 1"/>
                <a:gd name="T4" fmla="*/ 1 w 3"/>
                <a:gd name="T5" fmla="*/ 1 h 1"/>
                <a:gd name="T6" fmla="*/ 2 w 3"/>
                <a:gd name="T7" fmla="*/ 1 h 1"/>
                <a:gd name="T8" fmla="*/ 3 w 3"/>
                <a:gd name="T9" fmla="*/ 1 h 1"/>
                <a:gd name="T10" fmla="*/ 3 w 3"/>
                <a:gd name="T11" fmla="*/ 0 h 1"/>
                <a:gd name="T12" fmla="*/ 0 w 3"/>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0" y="0"/>
                  </a:moveTo>
                  <a:lnTo>
                    <a:pt x="0" y="0"/>
                  </a:lnTo>
                  <a:lnTo>
                    <a:pt x="1" y="1"/>
                  </a:lnTo>
                  <a:lnTo>
                    <a:pt x="2" y="1"/>
                  </a:lnTo>
                  <a:lnTo>
                    <a:pt x="3" y="1"/>
                  </a:lnTo>
                  <a:lnTo>
                    <a:pt x="3" y="0"/>
                  </a:lnTo>
                  <a:lnTo>
                    <a:pt x="0" y="0"/>
                  </a:lnTo>
                  <a:close/>
                </a:path>
              </a:pathLst>
            </a:custGeom>
            <a:grp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2611" name="Seychelles">
            <a:extLst>
              <a:ext uri="{FF2B5EF4-FFF2-40B4-BE49-F238E27FC236}">
                <a16:creationId xmlns:a16="http://schemas.microsoft.com/office/drawing/2014/main" id="{F19F02A6-FC40-43BF-AAFA-E1DBA6745877}"/>
              </a:ext>
            </a:extLst>
          </p:cNvPr>
          <p:cNvSpPr>
            <a:spLocks/>
          </p:cNvSpPr>
          <p:nvPr/>
        </p:nvSpPr>
        <p:spPr bwMode="auto">
          <a:xfrm>
            <a:off x="7174993" y="4525721"/>
            <a:ext cx="6805" cy="6805"/>
          </a:xfrm>
          <a:custGeom>
            <a:avLst/>
            <a:gdLst>
              <a:gd name="T0" fmla="*/ 4 w 4"/>
              <a:gd name="T1" fmla="*/ 2 h 4"/>
              <a:gd name="T2" fmla="*/ 2 w 4"/>
              <a:gd name="T3" fmla="*/ 0 h 4"/>
              <a:gd name="T4" fmla="*/ 0 w 4"/>
              <a:gd name="T5" fmla="*/ 1 h 4"/>
              <a:gd name="T6" fmla="*/ 1 w 4"/>
              <a:gd name="T7" fmla="*/ 1 h 4"/>
              <a:gd name="T8" fmla="*/ 2 w 4"/>
              <a:gd name="T9" fmla="*/ 2 h 4"/>
              <a:gd name="T10" fmla="*/ 3 w 4"/>
              <a:gd name="T11" fmla="*/ 4 h 4"/>
              <a:gd name="T12" fmla="*/ 4 w 4"/>
              <a:gd name="T13" fmla="*/ 4 h 4"/>
              <a:gd name="T14" fmla="*/ 4 w 4"/>
              <a:gd name="T15" fmla="*/ 2 h 4"/>
              <a:gd name="T16" fmla="*/ 4 w 4"/>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2"/>
                </a:moveTo>
                <a:lnTo>
                  <a:pt x="2" y="0"/>
                </a:lnTo>
                <a:lnTo>
                  <a:pt x="0" y="1"/>
                </a:lnTo>
                <a:lnTo>
                  <a:pt x="1" y="1"/>
                </a:lnTo>
                <a:lnTo>
                  <a:pt x="2" y="2"/>
                </a:lnTo>
                <a:lnTo>
                  <a:pt x="3" y="4"/>
                </a:lnTo>
                <a:lnTo>
                  <a:pt x="4" y="4"/>
                </a:lnTo>
                <a:lnTo>
                  <a:pt x="4" y="2"/>
                </a:lnTo>
                <a:lnTo>
                  <a:pt x="4" y="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12" name="Turks and Caicos Islands">
            <a:extLst>
              <a:ext uri="{FF2B5EF4-FFF2-40B4-BE49-F238E27FC236}">
                <a16:creationId xmlns:a16="http://schemas.microsoft.com/office/drawing/2014/main" id="{3A209CE8-E08D-45C6-96A3-0A7C19950A28}"/>
              </a:ext>
            </a:extLst>
          </p:cNvPr>
          <p:cNvSpPr>
            <a:spLocks noEditPoints="1"/>
          </p:cNvSpPr>
          <p:nvPr/>
        </p:nvSpPr>
        <p:spPr bwMode="auto">
          <a:xfrm>
            <a:off x="2670178" y="3452255"/>
            <a:ext cx="25517" cy="8506"/>
          </a:xfrm>
          <a:custGeom>
            <a:avLst/>
            <a:gdLst>
              <a:gd name="T0" fmla="*/ 1 w 15"/>
              <a:gd name="T1" fmla="*/ 2 h 5"/>
              <a:gd name="T2" fmla="*/ 0 w 15"/>
              <a:gd name="T3" fmla="*/ 4 h 5"/>
              <a:gd name="T4" fmla="*/ 0 w 15"/>
              <a:gd name="T5" fmla="*/ 5 h 5"/>
              <a:gd name="T6" fmla="*/ 1 w 15"/>
              <a:gd name="T7" fmla="*/ 5 h 5"/>
              <a:gd name="T8" fmla="*/ 4 w 15"/>
              <a:gd name="T9" fmla="*/ 5 h 5"/>
              <a:gd name="T10" fmla="*/ 4 w 15"/>
              <a:gd name="T11" fmla="*/ 4 h 5"/>
              <a:gd name="T12" fmla="*/ 5 w 15"/>
              <a:gd name="T13" fmla="*/ 4 h 5"/>
              <a:gd name="T14" fmla="*/ 5 w 15"/>
              <a:gd name="T15" fmla="*/ 4 h 5"/>
              <a:gd name="T16" fmla="*/ 3 w 15"/>
              <a:gd name="T17" fmla="*/ 4 h 5"/>
              <a:gd name="T18" fmla="*/ 1 w 15"/>
              <a:gd name="T19" fmla="*/ 2 h 5"/>
              <a:gd name="T20" fmla="*/ 14 w 15"/>
              <a:gd name="T21" fmla="*/ 5 h 5"/>
              <a:gd name="T22" fmla="*/ 15 w 15"/>
              <a:gd name="T23" fmla="*/ 4 h 5"/>
              <a:gd name="T24" fmla="*/ 14 w 15"/>
              <a:gd name="T25" fmla="*/ 3 h 5"/>
              <a:gd name="T26" fmla="*/ 11 w 15"/>
              <a:gd name="T27" fmla="*/ 2 h 5"/>
              <a:gd name="T28" fmla="*/ 11 w 15"/>
              <a:gd name="T29" fmla="*/ 3 h 5"/>
              <a:gd name="T30" fmla="*/ 11 w 15"/>
              <a:gd name="T31" fmla="*/ 4 h 5"/>
              <a:gd name="T32" fmla="*/ 13 w 15"/>
              <a:gd name="T33" fmla="*/ 4 h 5"/>
              <a:gd name="T34" fmla="*/ 14 w 15"/>
              <a:gd name="T35" fmla="*/ 5 h 5"/>
              <a:gd name="T36" fmla="*/ 14 w 15"/>
              <a:gd name="T37" fmla="*/ 5 h 5"/>
              <a:gd name="T38" fmla="*/ 14 w 15"/>
              <a:gd name="T39" fmla="*/ 5 h 5"/>
              <a:gd name="T40" fmla="*/ 10 w 15"/>
              <a:gd name="T41" fmla="*/ 3 h 5"/>
              <a:gd name="T42" fmla="*/ 9 w 15"/>
              <a:gd name="T43" fmla="*/ 2 h 5"/>
              <a:gd name="T44" fmla="*/ 9 w 15"/>
              <a:gd name="T45" fmla="*/ 0 h 5"/>
              <a:gd name="T46" fmla="*/ 8 w 15"/>
              <a:gd name="T47" fmla="*/ 0 h 5"/>
              <a:gd name="T48" fmla="*/ 8 w 15"/>
              <a:gd name="T49" fmla="*/ 1 h 5"/>
              <a:gd name="T50" fmla="*/ 8 w 15"/>
              <a:gd name="T51" fmla="*/ 2 h 5"/>
              <a:gd name="T52" fmla="*/ 9 w 15"/>
              <a:gd name="T53" fmla="*/ 2 h 5"/>
              <a:gd name="T54" fmla="*/ 9 w 15"/>
              <a:gd name="T55" fmla="*/ 2 h 5"/>
              <a:gd name="T56" fmla="*/ 9 w 15"/>
              <a:gd name="T57" fmla="*/ 3 h 5"/>
              <a:gd name="T58" fmla="*/ 10 w 15"/>
              <a:gd name="T59" fmla="*/ 3 h 5"/>
              <a:gd name="T60" fmla="*/ 10 w 15"/>
              <a:gd name="T6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 h="5">
                <a:moveTo>
                  <a:pt x="1" y="2"/>
                </a:moveTo>
                <a:lnTo>
                  <a:pt x="0" y="4"/>
                </a:lnTo>
                <a:lnTo>
                  <a:pt x="0" y="5"/>
                </a:lnTo>
                <a:lnTo>
                  <a:pt x="1" y="5"/>
                </a:lnTo>
                <a:lnTo>
                  <a:pt x="4" y="5"/>
                </a:lnTo>
                <a:lnTo>
                  <a:pt x="4" y="4"/>
                </a:lnTo>
                <a:lnTo>
                  <a:pt x="5" y="4"/>
                </a:lnTo>
                <a:lnTo>
                  <a:pt x="5" y="4"/>
                </a:lnTo>
                <a:lnTo>
                  <a:pt x="3" y="4"/>
                </a:lnTo>
                <a:lnTo>
                  <a:pt x="1" y="2"/>
                </a:lnTo>
                <a:close/>
                <a:moveTo>
                  <a:pt x="14" y="5"/>
                </a:moveTo>
                <a:lnTo>
                  <a:pt x="15" y="4"/>
                </a:lnTo>
                <a:lnTo>
                  <a:pt x="14" y="3"/>
                </a:lnTo>
                <a:lnTo>
                  <a:pt x="11" y="2"/>
                </a:lnTo>
                <a:lnTo>
                  <a:pt x="11" y="3"/>
                </a:lnTo>
                <a:lnTo>
                  <a:pt x="11" y="4"/>
                </a:lnTo>
                <a:lnTo>
                  <a:pt x="13" y="4"/>
                </a:lnTo>
                <a:lnTo>
                  <a:pt x="14" y="5"/>
                </a:lnTo>
                <a:lnTo>
                  <a:pt x="14" y="5"/>
                </a:lnTo>
                <a:lnTo>
                  <a:pt x="14" y="5"/>
                </a:lnTo>
                <a:close/>
                <a:moveTo>
                  <a:pt x="10" y="3"/>
                </a:moveTo>
                <a:lnTo>
                  <a:pt x="9" y="2"/>
                </a:lnTo>
                <a:lnTo>
                  <a:pt x="9" y="0"/>
                </a:lnTo>
                <a:lnTo>
                  <a:pt x="8" y="0"/>
                </a:lnTo>
                <a:lnTo>
                  <a:pt x="8" y="1"/>
                </a:lnTo>
                <a:lnTo>
                  <a:pt x="8" y="2"/>
                </a:lnTo>
                <a:lnTo>
                  <a:pt x="9" y="2"/>
                </a:lnTo>
                <a:lnTo>
                  <a:pt x="9" y="2"/>
                </a:lnTo>
                <a:lnTo>
                  <a:pt x="9" y="3"/>
                </a:lnTo>
                <a:lnTo>
                  <a:pt x="10" y="3"/>
                </a:lnTo>
                <a:lnTo>
                  <a:pt x="10" y="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13" name="Trinidad and Tobago">
            <a:extLst>
              <a:ext uri="{FF2B5EF4-FFF2-40B4-BE49-F238E27FC236}">
                <a16:creationId xmlns:a16="http://schemas.microsoft.com/office/drawing/2014/main" id="{9C0C744E-E065-4922-97D4-C46BEF851B8B}"/>
              </a:ext>
            </a:extLst>
          </p:cNvPr>
          <p:cNvSpPr>
            <a:spLocks noEditPoints="1"/>
          </p:cNvSpPr>
          <p:nvPr/>
        </p:nvSpPr>
        <p:spPr bwMode="auto">
          <a:xfrm>
            <a:off x="3000214" y="3880962"/>
            <a:ext cx="51037" cy="51038"/>
          </a:xfrm>
          <a:custGeom>
            <a:avLst/>
            <a:gdLst>
              <a:gd name="T0" fmla="*/ 19 w 30"/>
              <a:gd name="T1" fmla="*/ 29 h 30"/>
              <a:gd name="T2" fmla="*/ 19 w 30"/>
              <a:gd name="T3" fmla="*/ 28 h 30"/>
              <a:gd name="T4" fmla="*/ 19 w 30"/>
              <a:gd name="T5" fmla="*/ 27 h 30"/>
              <a:gd name="T6" fmla="*/ 20 w 30"/>
              <a:gd name="T7" fmla="*/ 25 h 30"/>
              <a:gd name="T8" fmla="*/ 19 w 30"/>
              <a:gd name="T9" fmla="*/ 23 h 30"/>
              <a:gd name="T10" fmla="*/ 19 w 30"/>
              <a:gd name="T11" fmla="*/ 21 h 30"/>
              <a:gd name="T12" fmla="*/ 19 w 30"/>
              <a:gd name="T13" fmla="*/ 19 h 30"/>
              <a:gd name="T14" fmla="*/ 19 w 30"/>
              <a:gd name="T15" fmla="*/ 16 h 30"/>
              <a:gd name="T16" fmla="*/ 20 w 30"/>
              <a:gd name="T17" fmla="*/ 15 h 30"/>
              <a:gd name="T18" fmla="*/ 22 w 30"/>
              <a:gd name="T19" fmla="*/ 13 h 30"/>
              <a:gd name="T20" fmla="*/ 18 w 30"/>
              <a:gd name="T21" fmla="*/ 13 h 30"/>
              <a:gd name="T22" fmla="*/ 16 w 30"/>
              <a:gd name="T23" fmla="*/ 14 h 30"/>
              <a:gd name="T24" fmla="*/ 12 w 30"/>
              <a:gd name="T25" fmla="*/ 14 h 30"/>
              <a:gd name="T26" fmla="*/ 10 w 30"/>
              <a:gd name="T27" fmla="*/ 14 h 30"/>
              <a:gd name="T28" fmla="*/ 8 w 30"/>
              <a:gd name="T29" fmla="*/ 14 h 30"/>
              <a:gd name="T30" fmla="*/ 6 w 30"/>
              <a:gd name="T31" fmla="*/ 15 h 30"/>
              <a:gd name="T32" fmla="*/ 6 w 30"/>
              <a:gd name="T33" fmla="*/ 15 h 30"/>
              <a:gd name="T34" fmla="*/ 8 w 30"/>
              <a:gd name="T35" fmla="*/ 16 h 30"/>
              <a:gd name="T36" fmla="*/ 9 w 30"/>
              <a:gd name="T37" fmla="*/ 17 h 30"/>
              <a:gd name="T38" fmla="*/ 10 w 30"/>
              <a:gd name="T39" fmla="*/ 18 h 30"/>
              <a:gd name="T40" fmla="*/ 10 w 30"/>
              <a:gd name="T41" fmla="*/ 19 h 30"/>
              <a:gd name="T42" fmla="*/ 9 w 30"/>
              <a:gd name="T43" fmla="*/ 26 h 30"/>
              <a:gd name="T44" fmla="*/ 8 w 30"/>
              <a:gd name="T45" fmla="*/ 27 h 30"/>
              <a:gd name="T46" fmla="*/ 6 w 30"/>
              <a:gd name="T47" fmla="*/ 27 h 30"/>
              <a:gd name="T48" fmla="*/ 5 w 30"/>
              <a:gd name="T49" fmla="*/ 28 h 30"/>
              <a:gd name="T50" fmla="*/ 0 w 30"/>
              <a:gd name="T51" fmla="*/ 30 h 30"/>
              <a:gd name="T52" fmla="*/ 3 w 30"/>
              <a:gd name="T53" fmla="*/ 30 h 30"/>
              <a:gd name="T54" fmla="*/ 6 w 30"/>
              <a:gd name="T55" fmla="*/ 30 h 30"/>
              <a:gd name="T56" fmla="*/ 15 w 30"/>
              <a:gd name="T57" fmla="*/ 30 h 30"/>
              <a:gd name="T58" fmla="*/ 19 w 30"/>
              <a:gd name="T59" fmla="*/ 29 h 30"/>
              <a:gd name="T60" fmla="*/ 19 w 30"/>
              <a:gd name="T61" fmla="*/ 29 h 30"/>
              <a:gd name="T62" fmla="*/ 26 w 30"/>
              <a:gd name="T63" fmla="*/ 4 h 30"/>
              <a:gd name="T64" fmla="*/ 30 w 30"/>
              <a:gd name="T65" fmla="*/ 2 h 30"/>
              <a:gd name="T66" fmla="*/ 30 w 30"/>
              <a:gd name="T67" fmla="*/ 0 h 30"/>
              <a:gd name="T68" fmla="*/ 29 w 30"/>
              <a:gd name="T69" fmla="*/ 0 h 30"/>
              <a:gd name="T70" fmla="*/ 26 w 30"/>
              <a:gd name="T71" fmla="*/ 2 h 30"/>
              <a:gd name="T72" fmla="*/ 25 w 30"/>
              <a:gd name="T73" fmla="*/ 4 h 30"/>
              <a:gd name="T74" fmla="*/ 25 w 30"/>
              <a:gd name="T75" fmla="*/ 4 h 30"/>
              <a:gd name="T76" fmla="*/ 26 w 30"/>
              <a:gd name="T77"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 h="30">
                <a:moveTo>
                  <a:pt x="19" y="29"/>
                </a:moveTo>
                <a:lnTo>
                  <a:pt x="19" y="28"/>
                </a:lnTo>
                <a:lnTo>
                  <a:pt x="19" y="27"/>
                </a:lnTo>
                <a:lnTo>
                  <a:pt x="20" y="25"/>
                </a:lnTo>
                <a:lnTo>
                  <a:pt x="19" y="23"/>
                </a:lnTo>
                <a:lnTo>
                  <a:pt x="19" y="21"/>
                </a:lnTo>
                <a:lnTo>
                  <a:pt x="19" y="19"/>
                </a:lnTo>
                <a:lnTo>
                  <a:pt x="19" y="16"/>
                </a:lnTo>
                <a:lnTo>
                  <a:pt x="20" y="15"/>
                </a:lnTo>
                <a:lnTo>
                  <a:pt x="22" y="13"/>
                </a:lnTo>
                <a:lnTo>
                  <a:pt x="18" y="13"/>
                </a:lnTo>
                <a:lnTo>
                  <a:pt x="16" y="14"/>
                </a:lnTo>
                <a:lnTo>
                  <a:pt x="12" y="14"/>
                </a:lnTo>
                <a:lnTo>
                  <a:pt x="10" y="14"/>
                </a:lnTo>
                <a:lnTo>
                  <a:pt x="8" y="14"/>
                </a:lnTo>
                <a:lnTo>
                  <a:pt x="6" y="15"/>
                </a:lnTo>
                <a:lnTo>
                  <a:pt x="6" y="15"/>
                </a:lnTo>
                <a:lnTo>
                  <a:pt x="8" y="16"/>
                </a:lnTo>
                <a:lnTo>
                  <a:pt x="9" y="17"/>
                </a:lnTo>
                <a:lnTo>
                  <a:pt x="10" y="18"/>
                </a:lnTo>
                <a:lnTo>
                  <a:pt x="10" y="19"/>
                </a:lnTo>
                <a:lnTo>
                  <a:pt x="9" y="26"/>
                </a:lnTo>
                <a:lnTo>
                  <a:pt x="8" y="27"/>
                </a:lnTo>
                <a:lnTo>
                  <a:pt x="6" y="27"/>
                </a:lnTo>
                <a:lnTo>
                  <a:pt x="5" y="28"/>
                </a:lnTo>
                <a:lnTo>
                  <a:pt x="0" y="30"/>
                </a:lnTo>
                <a:lnTo>
                  <a:pt x="3" y="30"/>
                </a:lnTo>
                <a:lnTo>
                  <a:pt x="6" y="30"/>
                </a:lnTo>
                <a:lnTo>
                  <a:pt x="15" y="30"/>
                </a:lnTo>
                <a:lnTo>
                  <a:pt x="19" y="29"/>
                </a:lnTo>
                <a:lnTo>
                  <a:pt x="19" y="29"/>
                </a:lnTo>
                <a:close/>
                <a:moveTo>
                  <a:pt x="26" y="4"/>
                </a:moveTo>
                <a:lnTo>
                  <a:pt x="30" y="2"/>
                </a:lnTo>
                <a:lnTo>
                  <a:pt x="30" y="0"/>
                </a:lnTo>
                <a:lnTo>
                  <a:pt x="29" y="0"/>
                </a:lnTo>
                <a:lnTo>
                  <a:pt x="26" y="2"/>
                </a:lnTo>
                <a:lnTo>
                  <a:pt x="25" y="4"/>
                </a:lnTo>
                <a:lnTo>
                  <a:pt x="25" y="4"/>
                </a:lnTo>
                <a:lnTo>
                  <a:pt x="26" y="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14" name="Saint Vincent and the Grenadines">
            <a:extLst>
              <a:ext uri="{FF2B5EF4-FFF2-40B4-BE49-F238E27FC236}">
                <a16:creationId xmlns:a16="http://schemas.microsoft.com/office/drawing/2014/main" id="{60E1FB01-FAB0-4AC0-8BFB-C44FD39BFAD3}"/>
              </a:ext>
            </a:extLst>
          </p:cNvPr>
          <p:cNvSpPr>
            <a:spLocks noEditPoints="1"/>
          </p:cNvSpPr>
          <p:nvPr/>
        </p:nvSpPr>
        <p:spPr bwMode="auto">
          <a:xfrm>
            <a:off x="3025731" y="3801003"/>
            <a:ext cx="10207" cy="27219"/>
          </a:xfrm>
          <a:custGeom>
            <a:avLst/>
            <a:gdLst>
              <a:gd name="T0" fmla="*/ 0 w 6"/>
              <a:gd name="T1" fmla="*/ 16 h 16"/>
              <a:gd name="T2" fmla="*/ 0 w 6"/>
              <a:gd name="T3" fmla="*/ 16 h 16"/>
              <a:gd name="T4" fmla="*/ 0 w 6"/>
              <a:gd name="T5" fmla="*/ 15 h 16"/>
              <a:gd name="T6" fmla="*/ 0 w 6"/>
              <a:gd name="T7" fmla="*/ 15 h 16"/>
              <a:gd name="T8" fmla="*/ 0 w 6"/>
              <a:gd name="T9" fmla="*/ 15 h 16"/>
              <a:gd name="T10" fmla="*/ 0 w 6"/>
              <a:gd name="T11" fmla="*/ 15 h 16"/>
              <a:gd name="T12" fmla="*/ 0 w 6"/>
              <a:gd name="T13" fmla="*/ 14 h 16"/>
              <a:gd name="T14" fmla="*/ 0 w 6"/>
              <a:gd name="T15" fmla="*/ 14 h 16"/>
              <a:gd name="T16" fmla="*/ 0 w 6"/>
              <a:gd name="T17" fmla="*/ 15 h 16"/>
              <a:gd name="T18" fmla="*/ 0 w 6"/>
              <a:gd name="T19" fmla="*/ 15 h 16"/>
              <a:gd name="T20" fmla="*/ 0 w 6"/>
              <a:gd name="T21" fmla="*/ 15 h 16"/>
              <a:gd name="T22" fmla="*/ 0 w 6"/>
              <a:gd name="T23" fmla="*/ 15 h 16"/>
              <a:gd name="T24" fmla="*/ 0 w 6"/>
              <a:gd name="T25" fmla="*/ 16 h 16"/>
              <a:gd name="T26" fmla="*/ 0 w 6"/>
              <a:gd name="T27" fmla="*/ 16 h 16"/>
              <a:gd name="T28" fmla="*/ 0 w 6"/>
              <a:gd name="T29" fmla="*/ 16 h 16"/>
              <a:gd name="T30" fmla="*/ 0 w 6"/>
              <a:gd name="T31" fmla="*/ 16 h 16"/>
              <a:gd name="T32" fmla="*/ 3 w 6"/>
              <a:gd name="T33" fmla="*/ 8 h 16"/>
              <a:gd name="T34" fmla="*/ 3 w 6"/>
              <a:gd name="T35" fmla="*/ 7 h 16"/>
              <a:gd name="T36" fmla="*/ 4 w 6"/>
              <a:gd name="T37" fmla="*/ 7 h 16"/>
              <a:gd name="T38" fmla="*/ 4 w 6"/>
              <a:gd name="T39" fmla="*/ 7 h 16"/>
              <a:gd name="T40" fmla="*/ 4 w 6"/>
              <a:gd name="T41" fmla="*/ 7 h 16"/>
              <a:gd name="T42" fmla="*/ 3 w 6"/>
              <a:gd name="T43" fmla="*/ 6 h 16"/>
              <a:gd name="T44" fmla="*/ 3 w 6"/>
              <a:gd name="T45" fmla="*/ 6 h 16"/>
              <a:gd name="T46" fmla="*/ 3 w 6"/>
              <a:gd name="T47" fmla="*/ 7 h 16"/>
              <a:gd name="T48" fmla="*/ 2 w 6"/>
              <a:gd name="T49" fmla="*/ 7 h 16"/>
              <a:gd name="T50" fmla="*/ 2 w 6"/>
              <a:gd name="T51" fmla="*/ 7 h 16"/>
              <a:gd name="T52" fmla="*/ 2 w 6"/>
              <a:gd name="T53" fmla="*/ 8 h 16"/>
              <a:gd name="T54" fmla="*/ 2 w 6"/>
              <a:gd name="T55" fmla="*/ 8 h 16"/>
              <a:gd name="T56" fmla="*/ 2 w 6"/>
              <a:gd name="T57" fmla="*/ 8 h 16"/>
              <a:gd name="T58" fmla="*/ 2 w 6"/>
              <a:gd name="T59" fmla="*/ 8 h 16"/>
              <a:gd name="T60" fmla="*/ 2 w 6"/>
              <a:gd name="T61" fmla="*/ 8 h 16"/>
              <a:gd name="T62" fmla="*/ 2 w 6"/>
              <a:gd name="T63" fmla="*/ 8 h 16"/>
              <a:gd name="T64" fmla="*/ 2 w 6"/>
              <a:gd name="T65" fmla="*/ 8 h 16"/>
              <a:gd name="T66" fmla="*/ 2 w 6"/>
              <a:gd name="T67" fmla="*/ 8 h 16"/>
              <a:gd name="T68" fmla="*/ 2 w 6"/>
              <a:gd name="T69" fmla="*/ 8 h 16"/>
              <a:gd name="T70" fmla="*/ 2 w 6"/>
              <a:gd name="T71" fmla="*/ 8 h 16"/>
              <a:gd name="T72" fmla="*/ 2 w 6"/>
              <a:gd name="T73" fmla="*/ 8 h 16"/>
              <a:gd name="T74" fmla="*/ 2 w 6"/>
              <a:gd name="T75" fmla="*/ 8 h 16"/>
              <a:gd name="T76" fmla="*/ 3 w 6"/>
              <a:gd name="T77" fmla="*/ 8 h 16"/>
              <a:gd name="T78" fmla="*/ 3 w 6"/>
              <a:gd name="T79" fmla="*/ 8 h 16"/>
              <a:gd name="T80" fmla="*/ 4 w 6"/>
              <a:gd name="T81" fmla="*/ 5 h 16"/>
              <a:gd name="T82" fmla="*/ 5 w 6"/>
              <a:gd name="T83" fmla="*/ 4 h 16"/>
              <a:gd name="T84" fmla="*/ 6 w 6"/>
              <a:gd name="T85" fmla="*/ 1 h 16"/>
              <a:gd name="T86" fmla="*/ 5 w 6"/>
              <a:gd name="T87" fmla="*/ 0 h 16"/>
              <a:gd name="T88" fmla="*/ 4 w 6"/>
              <a:gd name="T89" fmla="*/ 0 h 16"/>
              <a:gd name="T90" fmla="*/ 3 w 6"/>
              <a:gd name="T91" fmla="*/ 0 h 16"/>
              <a:gd name="T92" fmla="*/ 2 w 6"/>
              <a:gd name="T93" fmla="*/ 1 h 16"/>
              <a:gd name="T94" fmla="*/ 2 w 6"/>
              <a:gd name="T95" fmla="*/ 3 h 16"/>
              <a:gd name="T96" fmla="*/ 4 w 6"/>
              <a:gd name="T97" fmla="*/ 5 h 16"/>
              <a:gd name="T98" fmla="*/ 4 w 6"/>
              <a:gd name="T99" fmla="*/ 5 h 16"/>
              <a:gd name="T100" fmla="*/ 4 w 6"/>
              <a:gd name="T101"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 h="16">
                <a:moveTo>
                  <a:pt x="0" y="16"/>
                </a:moveTo>
                <a:lnTo>
                  <a:pt x="0" y="16"/>
                </a:lnTo>
                <a:lnTo>
                  <a:pt x="0" y="15"/>
                </a:lnTo>
                <a:lnTo>
                  <a:pt x="0" y="15"/>
                </a:lnTo>
                <a:lnTo>
                  <a:pt x="0" y="15"/>
                </a:lnTo>
                <a:lnTo>
                  <a:pt x="0" y="15"/>
                </a:lnTo>
                <a:lnTo>
                  <a:pt x="0" y="14"/>
                </a:lnTo>
                <a:lnTo>
                  <a:pt x="0" y="14"/>
                </a:lnTo>
                <a:lnTo>
                  <a:pt x="0" y="15"/>
                </a:lnTo>
                <a:lnTo>
                  <a:pt x="0" y="15"/>
                </a:lnTo>
                <a:lnTo>
                  <a:pt x="0" y="15"/>
                </a:lnTo>
                <a:lnTo>
                  <a:pt x="0" y="15"/>
                </a:lnTo>
                <a:lnTo>
                  <a:pt x="0" y="16"/>
                </a:lnTo>
                <a:lnTo>
                  <a:pt x="0" y="16"/>
                </a:lnTo>
                <a:lnTo>
                  <a:pt x="0" y="16"/>
                </a:lnTo>
                <a:lnTo>
                  <a:pt x="0" y="16"/>
                </a:lnTo>
                <a:close/>
                <a:moveTo>
                  <a:pt x="3" y="8"/>
                </a:moveTo>
                <a:lnTo>
                  <a:pt x="3" y="7"/>
                </a:lnTo>
                <a:lnTo>
                  <a:pt x="4" y="7"/>
                </a:lnTo>
                <a:lnTo>
                  <a:pt x="4" y="7"/>
                </a:lnTo>
                <a:lnTo>
                  <a:pt x="4" y="7"/>
                </a:lnTo>
                <a:lnTo>
                  <a:pt x="3" y="6"/>
                </a:lnTo>
                <a:lnTo>
                  <a:pt x="3" y="6"/>
                </a:lnTo>
                <a:lnTo>
                  <a:pt x="3" y="7"/>
                </a:lnTo>
                <a:lnTo>
                  <a:pt x="2" y="7"/>
                </a:lnTo>
                <a:lnTo>
                  <a:pt x="2" y="7"/>
                </a:lnTo>
                <a:lnTo>
                  <a:pt x="2" y="8"/>
                </a:lnTo>
                <a:lnTo>
                  <a:pt x="2" y="8"/>
                </a:lnTo>
                <a:lnTo>
                  <a:pt x="2" y="8"/>
                </a:lnTo>
                <a:lnTo>
                  <a:pt x="2" y="8"/>
                </a:lnTo>
                <a:lnTo>
                  <a:pt x="2" y="8"/>
                </a:lnTo>
                <a:lnTo>
                  <a:pt x="2" y="8"/>
                </a:lnTo>
                <a:lnTo>
                  <a:pt x="2" y="8"/>
                </a:lnTo>
                <a:lnTo>
                  <a:pt x="2" y="8"/>
                </a:lnTo>
                <a:lnTo>
                  <a:pt x="2" y="8"/>
                </a:lnTo>
                <a:lnTo>
                  <a:pt x="2" y="8"/>
                </a:lnTo>
                <a:lnTo>
                  <a:pt x="2" y="8"/>
                </a:lnTo>
                <a:lnTo>
                  <a:pt x="2" y="8"/>
                </a:lnTo>
                <a:lnTo>
                  <a:pt x="3" y="8"/>
                </a:lnTo>
                <a:lnTo>
                  <a:pt x="3" y="8"/>
                </a:lnTo>
                <a:close/>
                <a:moveTo>
                  <a:pt x="4" y="5"/>
                </a:moveTo>
                <a:lnTo>
                  <a:pt x="5" y="4"/>
                </a:lnTo>
                <a:lnTo>
                  <a:pt x="6" y="1"/>
                </a:lnTo>
                <a:lnTo>
                  <a:pt x="5" y="0"/>
                </a:lnTo>
                <a:lnTo>
                  <a:pt x="4" y="0"/>
                </a:lnTo>
                <a:lnTo>
                  <a:pt x="3" y="0"/>
                </a:lnTo>
                <a:lnTo>
                  <a:pt x="2" y="1"/>
                </a:lnTo>
                <a:lnTo>
                  <a:pt x="2" y="3"/>
                </a:lnTo>
                <a:lnTo>
                  <a:pt x="4" y="5"/>
                </a:lnTo>
                <a:lnTo>
                  <a:pt x="4" y="5"/>
                </a:lnTo>
                <a:lnTo>
                  <a:pt x="4" y="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15" name="British Virgin Islands">
            <a:extLst>
              <a:ext uri="{FF2B5EF4-FFF2-40B4-BE49-F238E27FC236}">
                <a16:creationId xmlns:a16="http://schemas.microsoft.com/office/drawing/2014/main" id="{A1EE43C7-29F9-4CC4-8FC2-CC53FC64200E}"/>
              </a:ext>
            </a:extLst>
          </p:cNvPr>
          <p:cNvSpPr>
            <a:spLocks noEditPoints="1"/>
          </p:cNvSpPr>
          <p:nvPr/>
        </p:nvSpPr>
        <p:spPr bwMode="auto">
          <a:xfrm>
            <a:off x="2925359" y="3583248"/>
            <a:ext cx="15310" cy="11909"/>
          </a:xfrm>
          <a:custGeom>
            <a:avLst/>
            <a:gdLst>
              <a:gd name="T0" fmla="*/ 2 w 9"/>
              <a:gd name="T1" fmla="*/ 7 h 7"/>
              <a:gd name="T2" fmla="*/ 3 w 9"/>
              <a:gd name="T3" fmla="*/ 7 h 7"/>
              <a:gd name="T4" fmla="*/ 2 w 9"/>
              <a:gd name="T5" fmla="*/ 6 h 7"/>
              <a:gd name="T6" fmla="*/ 1 w 9"/>
              <a:gd name="T7" fmla="*/ 6 h 7"/>
              <a:gd name="T8" fmla="*/ 0 w 9"/>
              <a:gd name="T9" fmla="*/ 7 h 7"/>
              <a:gd name="T10" fmla="*/ 0 w 9"/>
              <a:gd name="T11" fmla="*/ 7 h 7"/>
              <a:gd name="T12" fmla="*/ 2 w 9"/>
              <a:gd name="T13" fmla="*/ 7 h 7"/>
              <a:gd name="T14" fmla="*/ 2 w 9"/>
              <a:gd name="T15" fmla="*/ 7 h 7"/>
              <a:gd name="T16" fmla="*/ 6 w 9"/>
              <a:gd name="T17" fmla="*/ 6 h 7"/>
              <a:gd name="T18" fmla="*/ 8 w 9"/>
              <a:gd name="T19" fmla="*/ 5 h 7"/>
              <a:gd name="T20" fmla="*/ 6 w 9"/>
              <a:gd name="T21" fmla="*/ 6 h 7"/>
              <a:gd name="T22" fmla="*/ 5 w 9"/>
              <a:gd name="T23" fmla="*/ 6 h 7"/>
              <a:gd name="T24" fmla="*/ 5 w 9"/>
              <a:gd name="T25" fmla="*/ 6 h 7"/>
              <a:gd name="T26" fmla="*/ 6 w 9"/>
              <a:gd name="T27" fmla="*/ 6 h 7"/>
              <a:gd name="T28" fmla="*/ 6 w 9"/>
              <a:gd name="T29" fmla="*/ 6 h 7"/>
              <a:gd name="T30" fmla="*/ 6 w 9"/>
              <a:gd name="T31" fmla="*/ 6 h 7"/>
              <a:gd name="T32" fmla="*/ 9 w 9"/>
              <a:gd name="T33" fmla="*/ 0 h 7"/>
              <a:gd name="T34" fmla="*/ 9 w 9"/>
              <a:gd name="T35" fmla="*/ 0 h 7"/>
              <a:gd name="T36" fmla="*/ 7 w 9"/>
              <a:gd name="T37" fmla="*/ 0 h 7"/>
              <a:gd name="T38" fmla="*/ 7 w 9"/>
              <a:gd name="T39" fmla="*/ 0 h 7"/>
              <a:gd name="T40" fmla="*/ 7 w 9"/>
              <a:gd name="T41" fmla="*/ 0 h 7"/>
              <a:gd name="T42" fmla="*/ 8 w 9"/>
              <a:gd name="T43" fmla="*/ 0 h 7"/>
              <a:gd name="T44" fmla="*/ 9 w 9"/>
              <a:gd name="T45" fmla="*/ 0 h 7"/>
              <a:gd name="T46" fmla="*/ 9 w 9"/>
              <a:gd name="T47" fmla="*/ 0 h 7"/>
              <a:gd name="T48" fmla="*/ 9 w 9"/>
              <a:gd name="T49" fmla="*/ 0 h 7"/>
              <a:gd name="T50" fmla="*/ 9 w 9"/>
              <a:gd name="T5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 h="7">
                <a:moveTo>
                  <a:pt x="2" y="7"/>
                </a:moveTo>
                <a:lnTo>
                  <a:pt x="3" y="7"/>
                </a:lnTo>
                <a:lnTo>
                  <a:pt x="2" y="6"/>
                </a:lnTo>
                <a:lnTo>
                  <a:pt x="1" y="6"/>
                </a:lnTo>
                <a:lnTo>
                  <a:pt x="0" y="7"/>
                </a:lnTo>
                <a:lnTo>
                  <a:pt x="0" y="7"/>
                </a:lnTo>
                <a:lnTo>
                  <a:pt x="2" y="7"/>
                </a:lnTo>
                <a:lnTo>
                  <a:pt x="2" y="7"/>
                </a:lnTo>
                <a:close/>
                <a:moveTo>
                  <a:pt x="6" y="6"/>
                </a:moveTo>
                <a:lnTo>
                  <a:pt x="8" y="5"/>
                </a:lnTo>
                <a:lnTo>
                  <a:pt x="6" y="6"/>
                </a:lnTo>
                <a:lnTo>
                  <a:pt x="5" y="6"/>
                </a:lnTo>
                <a:lnTo>
                  <a:pt x="5" y="6"/>
                </a:lnTo>
                <a:lnTo>
                  <a:pt x="6" y="6"/>
                </a:lnTo>
                <a:lnTo>
                  <a:pt x="6" y="6"/>
                </a:lnTo>
                <a:lnTo>
                  <a:pt x="6" y="6"/>
                </a:lnTo>
                <a:close/>
                <a:moveTo>
                  <a:pt x="9" y="0"/>
                </a:moveTo>
                <a:lnTo>
                  <a:pt x="9" y="0"/>
                </a:lnTo>
                <a:lnTo>
                  <a:pt x="7" y="0"/>
                </a:lnTo>
                <a:lnTo>
                  <a:pt x="7" y="0"/>
                </a:lnTo>
                <a:lnTo>
                  <a:pt x="7" y="0"/>
                </a:lnTo>
                <a:lnTo>
                  <a:pt x="8" y="0"/>
                </a:lnTo>
                <a:lnTo>
                  <a:pt x="9" y="0"/>
                </a:lnTo>
                <a:lnTo>
                  <a:pt x="9" y="0"/>
                </a:lnTo>
                <a:lnTo>
                  <a:pt x="9" y="0"/>
                </a:lnTo>
                <a:lnTo>
                  <a:pt x="9"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16" name="Virgin Islands">
            <a:extLst>
              <a:ext uri="{FF2B5EF4-FFF2-40B4-BE49-F238E27FC236}">
                <a16:creationId xmlns:a16="http://schemas.microsoft.com/office/drawing/2014/main" id="{6244312F-5E21-409C-A126-A94086CAAB55}"/>
              </a:ext>
            </a:extLst>
          </p:cNvPr>
          <p:cNvSpPr>
            <a:spLocks noEditPoints="1"/>
          </p:cNvSpPr>
          <p:nvPr/>
        </p:nvSpPr>
        <p:spPr bwMode="auto">
          <a:xfrm>
            <a:off x="2913450" y="3596858"/>
            <a:ext cx="13610" cy="27219"/>
          </a:xfrm>
          <a:custGeom>
            <a:avLst/>
            <a:gdLst>
              <a:gd name="T0" fmla="*/ 5 w 8"/>
              <a:gd name="T1" fmla="*/ 14 h 16"/>
              <a:gd name="T2" fmla="*/ 2 w 8"/>
              <a:gd name="T3" fmla="*/ 14 h 16"/>
              <a:gd name="T4" fmla="*/ 1 w 8"/>
              <a:gd name="T5" fmla="*/ 16 h 16"/>
              <a:gd name="T6" fmla="*/ 6 w 8"/>
              <a:gd name="T7" fmla="*/ 16 h 16"/>
              <a:gd name="T8" fmla="*/ 8 w 8"/>
              <a:gd name="T9" fmla="*/ 15 h 16"/>
              <a:gd name="T10" fmla="*/ 6 w 8"/>
              <a:gd name="T11" fmla="*/ 15 h 16"/>
              <a:gd name="T12" fmla="*/ 5 w 8"/>
              <a:gd name="T13" fmla="*/ 14 h 16"/>
              <a:gd name="T14" fmla="*/ 5 w 8"/>
              <a:gd name="T15" fmla="*/ 14 h 16"/>
              <a:gd name="T16" fmla="*/ 7 w 8"/>
              <a:gd name="T17" fmla="*/ 1 h 16"/>
              <a:gd name="T18" fmla="*/ 6 w 8"/>
              <a:gd name="T19" fmla="*/ 0 h 16"/>
              <a:gd name="T20" fmla="*/ 5 w 8"/>
              <a:gd name="T21" fmla="*/ 1 h 16"/>
              <a:gd name="T22" fmla="*/ 5 w 8"/>
              <a:gd name="T23" fmla="*/ 1 h 16"/>
              <a:gd name="T24" fmla="*/ 7 w 8"/>
              <a:gd name="T25" fmla="*/ 1 h 16"/>
              <a:gd name="T26" fmla="*/ 7 w 8"/>
              <a:gd name="T27" fmla="*/ 1 h 16"/>
              <a:gd name="T28" fmla="*/ 4 w 8"/>
              <a:gd name="T29" fmla="*/ 1 h 16"/>
              <a:gd name="T30" fmla="*/ 3 w 8"/>
              <a:gd name="T31" fmla="*/ 0 h 16"/>
              <a:gd name="T32" fmla="*/ 2 w 8"/>
              <a:gd name="T33" fmla="*/ 0 h 16"/>
              <a:gd name="T34" fmla="*/ 0 w 8"/>
              <a:gd name="T35" fmla="*/ 0 h 16"/>
              <a:gd name="T36" fmla="*/ 2 w 8"/>
              <a:gd name="T37" fmla="*/ 1 h 16"/>
              <a:gd name="T38" fmla="*/ 4 w 8"/>
              <a:gd name="T39" fmla="*/ 1 h 16"/>
              <a:gd name="T40" fmla="*/ 4 w 8"/>
              <a:gd name="T41"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16">
                <a:moveTo>
                  <a:pt x="5" y="14"/>
                </a:moveTo>
                <a:lnTo>
                  <a:pt x="2" y="14"/>
                </a:lnTo>
                <a:lnTo>
                  <a:pt x="1" y="16"/>
                </a:lnTo>
                <a:lnTo>
                  <a:pt x="6" y="16"/>
                </a:lnTo>
                <a:lnTo>
                  <a:pt x="8" y="15"/>
                </a:lnTo>
                <a:lnTo>
                  <a:pt x="6" y="15"/>
                </a:lnTo>
                <a:lnTo>
                  <a:pt x="5" y="14"/>
                </a:lnTo>
                <a:lnTo>
                  <a:pt x="5" y="14"/>
                </a:lnTo>
                <a:close/>
                <a:moveTo>
                  <a:pt x="7" y="1"/>
                </a:moveTo>
                <a:lnTo>
                  <a:pt x="6" y="0"/>
                </a:lnTo>
                <a:lnTo>
                  <a:pt x="5" y="1"/>
                </a:lnTo>
                <a:lnTo>
                  <a:pt x="5" y="1"/>
                </a:lnTo>
                <a:lnTo>
                  <a:pt x="7" y="1"/>
                </a:lnTo>
                <a:lnTo>
                  <a:pt x="7" y="1"/>
                </a:lnTo>
                <a:close/>
                <a:moveTo>
                  <a:pt x="4" y="1"/>
                </a:moveTo>
                <a:lnTo>
                  <a:pt x="3" y="0"/>
                </a:lnTo>
                <a:lnTo>
                  <a:pt x="2" y="0"/>
                </a:lnTo>
                <a:lnTo>
                  <a:pt x="0" y="0"/>
                </a:lnTo>
                <a:lnTo>
                  <a:pt x="2" y="1"/>
                </a:lnTo>
                <a:lnTo>
                  <a:pt x="4" y="1"/>
                </a:lnTo>
                <a:lnTo>
                  <a:pt x="4"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17" name="Cyprus">
            <a:extLst>
              <a:ext uri="{FF2B5EF4-FFF2-40B4-BE49-F238E27FC236}">
                <a16:creationId xmlns:a16="http://schemas.microsoft.com/office/drawing/2014/main" id="{04F9D2E4-1F57-4380-B360-DCA590C0F8C5}"/>
              </a:ext>
            </a:extLst>
          </p:cNvPr>
          <p:cNvSpPr>
            <a:spLocks/>
          </p:cNvSpPr>
          <p:nvPr/>
        </p:nvSpPr>
        <p:spPr bwMode="auto">
          <a:xfrm>
            <a:off x="6286960" y="2899360"/>
            <a:ext cx="73153" cy="44232"/>
          </a:xfrm>
          <a:custGeom>
            <a:avLst/>
            <a:gdLst>
              <a:gd name="T0" fmla="*/ 8 w 43"/>
              <a:gd name="T1" fmla="*/ 12 h 26"/>
              <a:gd name="T2" fmla="*/ 7 w 43"/>
              <a:gd name="T3" fmla="*/ 11 h 26"/>
              <a:gd name="T4" fmla="*/ 5 w 43"/>
              <a:gd name="T5" fmla="*/ 12 h 26"/>
              <a:gd name="T6" fmla="*/ 4 w 43"/>
              <a:gd name="T7" fmla="*/ 14 h 26"/>
              <a:gd name="T8" fmla="*/ 2 w 43"/>
              <a:gd name="T9" fmla="*/ 14 h 26"/>
              <a:gd name="T10" fmla="*/ 0 w 43"/>
              <a:gd name="T11" fmla="*/ 14 h 26"/>
              <a:gd name="T12" fmla="*/ 1 w 43"/>
              <a:gd name="T13" fmla="*/ 16 h 26"/>
              <a:gd name="T14" fmla="*/ 3 w 43"/>
              <a:gd name="T15" fmla="*/ 21 h 26"/>
              <a:gd name="T16" fmla="*/ 4 w 43"/>
              <a:gd name="T17" fmla="*/ 22 h 26"/>
              <a:gd name="T18" fmla="*/ 5 w 43"/>
              <a:gd name="T19" fmla="*/ 23 h 26"/>
              <a:gd name="T20" fmla="*/ 9 w 43"/>
              <a:gd name="T21" fmla="*/ 24 h 26"/>
              <a:gd name="T22" fmla="*/ 10 w 43"/>
              <a:gd name="T23" fmla="*/ 24 h 26"/>
              <a:gd name="T24" fmla="*/ 12 w 43"/>
              <a:gd name="T25" fmla="*/ 24 h 26"/>
              <a:gd name="T26" fmla="*/ 13 w 43"/>
              <a:gd name="T27" fmla="*/ 24 h 26"/>
              <a:gd name="T28" fmla="*/ 14 w 43"/>
              <a:gd name="T29" fmla="*/ 26 h 26"/>
              <a:gd name="T30" fmla="*/ 16 w 43"/>
              <a:gd name="T31" fmla="*/ 26 h 26"/>
              <a:gd name="T32" fmla="*/ 16 w 43"/>
              <a:gd name="T33" fmla="*/ 25 h 26"/>
              <a:gd name="T34" fmla="*/ 16 w 43"/>
              <a:gd name="T35" fmla="*/ 24 h 26"/>
              <a:gd name="T36" fmla="*/ 16 w 43"/>
              <a:gd name="T37" fmla="*/ 23 h 26"/>
              <a:gd name="T38" fmla="*/ 18 w 43"/>
              <a:gd name="T39" fmla="*/ 23 h 26"/>
              <a:gd name="T40" fmla="*/ 19 w 43"/>
              <a:gd name="T41" fmla="*/ 23 h 26"/>
              <a:gd name="T42" fmla="*/ 21 w 43"/>
              <a:gd name="T43" fmla="*/ 22 h 26"/>
              <a:gd name="T44" fmla="*/ 23 w 43"/>
              <a:gd name="T45" fmla="*/ 21 h 26"/>
              <a:gd name="T46" fmla="*/ 25 w 43"/>
              <a:gd name="T47" fmla="*/ 20 h 26"/>
              <a:gd name="T48" fmla="*/ 28 w 43"/>
              <a:gd name="T49" fmla="*/ 16 h 26"/>
              <a:gd name="T50" fmla="*/ 29 w 43"/>
              <a:gd name="T51" fmla="*/ 16 h 26"/>
              <a:gd name="T52" fmla="*/ 31 w 43"/>
              <a:gd name="T53" fmla="*/ 16 h 26"/>
              <a:gd name="T54" fmla="*/ 33 w 43"/>
              <a:gd name="T55" fmla="*/ 16 h 26"/>
              <a:gd name="T56" fmla="*/ 35 w 43"/>
              <a:gd name="T57" fmla="*/ 15 h 26"/>
              <a:gd name="T58" fmla="*/ 35 w 43"/>
              <a:gd name="T59" fmla="*/ 14 h 26"/>
              <a:gd name="T60" fmla="*/ 34 w 43"/>
              <a:gd name="T61" fmla="*/ 14 h 26"/>
              <a:gd name="T62" fmla="*/ 33 w 43"/>
              <a:gd name="T63" fmla="*/ 12 h 26"/>
              <a:gd name="T64" fmla="*/ 32 w 43"/>
              <a:gd name="T65" fmla="*/ 11 h 26"/>
              <a:gd name="T66" fmla="*/ 32 w 43"/>
              <a:gd name="T67" fmla="*/ 8 h 26"/>
              <a:gd name="T68" fmla="*/ 41 w 43"/>
              <a:gd name="T69" fmla="*/ 1 h 26"/>
              <a:gd name="T70" fmla="*/ 43 w 43"/>
              <a:gd name="T71" fmla="*/ 0 h 26"/>
              <a:gd name="T72" fmla="*/ 40 w 43"/>
              <a:gd name="T73" fmla="*/ 0 h 26"/>
              <a:gd name="T74" fmla="*/ 38 w 43"/>
              <a:gd name="T75" fmla="*/ 1 h 26"/>
              <a:gd name="T76" fmla="*/ 36 w 43"/>
              <a:gd name="T77" fmla="*/ 2 h 26"/>
              <a:gd name="T78" fmla="*/ 34 w 43"/>
              <a:gd name="T79" fmla="*/ 4 h 26"/>
              <a:gd name="T80" fmla="*/ 25 w 43"/>
              <a:gd name="T81" fmla="*/ 7 h 26"/>
              <a:gd name="T82" fmla="*/ 22 w 43"/>
              <a:gd name="T83" fmla="*/ 7 h 26"/>
              <a:gd name="T84" fmla="*/ 20 w 43"/>
              <a:gd name="T85" fmla="*/ 7 h 26"/>
              <a:gd name="T86" fmla="*/ 16 w 43"/>
              <a:gd name="T87" fmla="*/ 7 h 26"/>
              <a:gd name="T88" fmla="*/ 12 w 43"/>
              <a:gd name="T89" fmla="*/ 6 h 26"/>
              <a:gd name="T90" fmla="*/ 12 w 43"/>
              <a:gd name="T91" fmla="*/ 9 h 26"/>
              <a:gd name="T92" fmla="*/ 11 w 43"/>
              <a:gd name="T93" fmla="*/ 11 h 26"/>
              <a:gd name="T94" fmla="*/ 9 w 43"/>
              <a:gd name="T95" fmla="*/ 12 h 26"/>
              <a:gd name="T96" fmla="*/ 8 w 43"/>
              <a:gd name="T97" fmla="*/ 12 h 26"/>
              <a:gd name="T98" fmla="*/ 8 w 43"/>
              <a:gd name="T99"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 h="26">
                <a:moveTo>
                  <a:pt x="8" y="12"/>
                </a:moveTo>
                <a:lnTo>
                  <a:pt x="7" y="11"/>
                </a:lnTo>
                <a:lnTo>
                  <a:pt x="5" y="12"/>
                </a:lnTo>
                <a:lnTo>
                  <a:pt x="4" y="14"/>
                </a:lnTo>
                <a:lnTo>
                  <a:pt x="2" y="14"/>
                </a:lnTo>
                <a:lnTo>
                  <a:pt x="0" y="14"/>
                </a:lnTo>
                <a:lnTo>
                  <a:pt x="1" y="16"/>
                </a:lnTo>
                <a:lnTo>
                  <a:pt x="3" y="21"/>
                </a:lnTo>
                <a:lnTo>
                  <a:pt x="4" y="22"/>
                </a:lnTo>
                <a:lnTo>
                  <a:pt x="5" y="23"/>
                </a:lnTo>
                <a:lnTo>
                  <a:pt x="9" y="24"/>
                </a:lnTo>
                <a:lnTo>
                  <a:pt x="10" y="24"/>
                </a:lnTo>
                <a:lnTo>
                  <a:pt x="12" y="24"/>
                </a:lnTo>
                <a:lnTo>
                  <a:pt x="13" y="24"/>
                </a:lnTo>
                <a:lnTo>
                  <a:pt x="14" y="26"/>
                </a:lnTo>
                <a:lnTo>
                  <a:pt x="16" y="26"/>
                </a:lnTo>
                <a:lnTo>
                  <a:pt x="16" y="25"/>
                </a:lnTo>
                <a:lnTo>
                  <a:pt x="16" y="24"/>
                </a:lnTo>
                <a:lnTo>
                  <a:pt x="16" y="23"/>
                </a:lnTo>
                <a:lnTo>
                  <a:pt x="18" y="23"/>
                </a:lnTo>
                <a:lnTo>
                  <a:pt x="19" y="23"/>
                </a:lnTo>
                <a:lnTo>
                  <a:pt x="21" y="22"/>
                </a:lnTo>
                <a:lnTo>
                  <a:pt x="23" y="21"/>
                </a:lnTo>
                <a:lnTo>
                  <a:pt x="25" y="20"/>
                </a:lnTo>
                <a:lnTo>
                  <a:pt x="28" y="16"/>
                </a:lnTo>
                <a:lnTo>
                  <a:pt x="29" y="16"/>
                </a:lnTo>
                <a:lnTo>
                  <a:pt x="31" y="16"/>
                </a:lnTo>
                <a:lnTo>
                  <a:pt x="33" y="16"/>
                </a:lnTo>
                <a:lnTo>
                  <a:pt x="35" y="15"/>
                </a:lnTo>
                <a:lnTo>
                  <a:pt x="35" y="14"/>
                </a:lnTo>
                <a:lnTo>
                  <a:pt x="34" y="14"/>
                </a:lnTo>
                <a:lnTo>
                  <a:pt x="33" y="12"/>
                </a:lnTo>
                <a:lnTo>
                  <a:pt x="32" y="11"/>
                </a:lnTo>
                <a:lnTo>
                  <a:pt x="32" y="8"/>
                </a:lnTo>
                <a:lnTo>
                  <a:pt x="41" y="1"/>
                </a:lnTo>
                <a:lnTo>
                  <a:pt x="43" y="0"/>
                </a:lnTo>
                <a:lnTo>
                  <a:pt x="40" y="0"/>
                </a:lnTo>
                <a:lnTo>
                  <a:pt x="38" y="1"/>
                </a:lnTo>
                <a:lnTo>
                  <a:pt x="36" y="2"/>
                </a:lnTo>
                <a:lnTo>
                  <a:pt x="34" y="4"/>
                </a:lnTo>
                <a:lnTo>
                  <a:pt x="25" y="7"/>
                </a:lnTo>
                <a:lnTo>
                  <a:pt x="22" y="7"/>
                </a:lnTo>
                <a:lnTo>
                  <a:pt x="20" y="7"/>
                </a:lnTo>
                <a:lnTo>
                  <a:pt x="16" y="7"/>
                </a:lnTo>
                <a:lnTo>
                  <a:pt x="12" y="6"/>
                </a:lnTo>
                <a:lnTo>
                  <a:pt x="12" y="9"/>
                </a:lnTo>
                <a:lnTo>
                  <a:pt x="11" y="11"/>
                </a:lnTo>
                <a:lnTo>
                  <a:pt x="9" y="12"/>
                </a:lnTo>
                <a:lnTo>
                  <a:pt x="8" y="12"/>
                </a:lnTo>
                <a:lnTo>
                  <a:pt x="8" y="1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2618" name="France">
            <a:extLst>
              <a:ext uri="{FF2B5EF4-FFF2-40B4-BE49-F238E27FC236}">
                <a16:creationId xmlns:a16="http://schemas.microsoft.com/office/drawing/2014/main" id="{E205E00B-53B3-4D46-9520-E4CB624EBC55}"/>
              </a:ext>
            </a:extLst>
          </p:cNvPr>
          <p:cNvGrpSpPr/>
          <p:nvPr/>
        </p:nvGrpSpPr>
        <p:grpSpPr>
          <a:xfrm>
            <a:off x="3020627" y="2281819"/>
            <a:ext cx="4133952" cy="2920986"/>
            <a:chOff x="3967163" y="2562226"/>
            <a:chExt cx="3857625" cy="2725738"/>
          </a:xfrm>
          <a:solidFill>
            <a:srgbClr val="002050">
              <a:alpha val="80000"/>
            </a:srgbClr>
          </a:solidFill>
        </p:grpSpPr>
        <p:sp>
          <p:nvSpPr>
            <p:cNvPr id="12621" name="Freeform 213">
              <a:extLst>
                <a:ext uri="{FF2B5EF4-FFF2-40B4-BE49-F238E27FC236}">
                  <a16:creationId xmlns:a16="http://schemas.microsoft.com/office/drawing/2014/main" id="{2BB6B127-23BC-4476-BF27-D0A8081856C1}"/>
                </a:ext>
              </a:extLst>
            </p:cNvPr>
            <p:cNvSpPr>
              <a:spLocks/>
            </p:cNvSpPr>
            <p:nvPr/>
          </p:nvSpPr>
          <p:spPr bwMode="auto">
            <a:xfrm>
              <a:off x="7491413" y="4960938"/>
              <a:ext cx="6350" cy="11113"/>
            </a:xfrm>
            <a:custGeom>
              <a:avLst/>
              <a:gdLst>
                <a:gd name="T0" fmla="*/ 3 w 4"/>
                <a:gd name="T1" fmla="*/ 7 h 7"/>
                <a:gd name="T2" fmla="*/ 3 w 4"/>
                <a:gd name="T3" fmla="*/ 6 h 7"/>
                <a:gd name="T4" fmla="*/ 4 w 4"/>
                <a:gd name="T5" fmla="*/ 5 h 7"/>
                <a:gd name="T6" fmla="*/ 4 w 4"/>
                <a:gd name="T7" fmla="*/ 4 h 7"/>
                <a:gd name="T8" fmla="*/ 4 w 4"/>
                <a:gd name="T9" fmla="*/ 2 h 7"/>
                <a:gd name="T10" fmla="*/ 3 w 4"/>
                <a:gd name="T11" fmla="*/ 1 h 7"/>
                <a:gd name="T12" fmla="*/ 2 w 4"/>
                <a:gd name="T13" fmla="*/ 1 h 7"/>
                <a:gd name="T14" fmla="*/ 1 w 4"/>
                <a:gd name="T15" fmla="*/ 0 h 7"/>
                <a:gd name="T16" fmla="*/ 0 w 4"/>
                <a:gd name="T17" fmla="*/ 1 h 7"/>
                <a:gd name="T18" fmla="*/ 1 w 4"/>
                <a:gd name="T19" fmla="*/ 3 h 7"/>
                <a:gd name="T20" fmla="*/ 1 w 4"/>
                <a:gd name="T21" fmla="*/ 4 h 7"/>
                <a:gd name="T22" fmla="*/ 0 w 4"/>
                <a:gd name="T23" fmla="*/ 6 h 7"/>
                <a:gd name="T24" fmla="*/ 1 w 4"/>
                <a:gd name="T25" fmla="*/ 6 h 7"/>
                <a:gd name="T26" fmla="*/ 2 w 4"/>
                <a:gd name="T27" fmla="*/ 7 h 7"/>
                <a:gd name="T28" fmla="*/ 3 w 4"/>
                <a:gd name="T29" fmla="*/ 7 h 7"/>
                <a:gd name="T30" fmla="*/ 3 w 4"/>
                <a:gd name="T3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7">
                  <a:moveTo>
                    <a:pt x="3" y="7"/>
                  </a:moveTo>
                  <a:lnTo>
                    <a:pt x="3" y="6"/>
                  </a:lnTo>
                  <a:lnTo>
                    <a:pt x="4" y="5"/>
                  </a:lnTo>
                  <a:lnTo>
                    <a:pt x="4" y="4"/>
                  </a:lnTo>
                  <a:lnTo>
                    <a:pt x="4" y="2"/>
                  </a:lnTo>
                  <a:lnTo>
                    <a:pt x="3" y="1"/>
                  </a:lnTo>
                  <a:lnTo>
                    <a:pt x="2" y="1"/>
                  </a:lnTo>
                  <a:lnTo>
                    <a:pt x="1" y="0"/>
                  </a:lnTo>
                  <a:lnTo>
                    <a:pt x="0" y="1"/>
                  </a:lnTo>
                  <a:lnTo>
                    <a:pt x="1" y="3"/>
                  </a:lnTo>
                  <a:lnTo>
                    <a:pt x="1" y="4"/>
                  </a:lnTo>
                  <a:lnTo>
                    <a:pt x="0" y="6"/>
                  </a:lnTo>
                  <a:lnTo>
                    <a:pt x="1" y="6"/>
                  </a:lnTo>
                  <a:lnTo>
                    <a:pt x="2" y="7"/>
                  </a:lnTo>
                  <a:lnTo>
                    <a:pt x="3" y="7"/>
                  </a:lnTo>
                  <a:lnTo>
                    <a:pt x="3" y="7"/>
                  </a:lnTo>
                  <a:close/>
                </a:path>
              </a:pathLst>
            </a:custGeom>
            <a:grp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22" name="Freeform 169">
              <a:extLst>
                <a:ext uri="{FF2B5EF4-FFF2-40B4-BE49-F238E27FC236}">
                  <a16:creationId xmlns:a16="http://schemas.microsoft.com/office/drawing/2014/main" id="{F0CFB8EC-1CF2-4D1B-A6EA-E39C1AEA8D0A}"/>
                </a:ext>
              </a:extLst>
            </p:cNvPr>
            <p:cNvSpPr>
              <a:spLocks/>
            </p:cNvSpPr>
            <p:nvPr/>
          </p:nvSpPr>
          <p:spPr bwMode="auto">
            <a:xfrm>
              <a:off x="4186237" y="4265613"/>
              <a:ext cx="95250" cy="139700"/>
            </a:xfrm>
            <a:custGeom>
              <a:avLst/>
              <a:gdLst>
                <a:gd name="T0" fmla="*/ 41 w 60"/>
                <a:gd name="T1" fmla="*/ 78 h 88"/>
                <a:gd name="T2" fmla="*/ 47 w 60"/>
                <a:gd name="T3" fmla="*/ 60 h 88"/>
                <a:gd name="T4" fmla="*/ 60 w 60"/>
                <a:gd name="T5" fmla="*/ 38 h 88"/>
                <a:gd name="T6" fmla="*/ 57 w 60"/>
                <a:gd name="T7" fmla="*/ 28 h 88"/>
                <a:gd name="T8" fmla="*/ 35 w 60"/>
                <a:gd name="T9" fmla="*/ 8 h 88"/>
                <a:gd name="T10" fmla="*/ 20 w 60"/>
                <a:gd name="T11" fmla="*/ 3 h 88"/>
                <a:gd name="T12" fmla="*/ 13 w 60"/>
                <a:gd name="T13" fmla="*/ 0 h 88"/>
                <a:gd name="T14" fmla="*/ 2 w 60"/>
                <a:gd name="T15" fmla="*/ 21 h 88"/>
                <a:gd name="T16" fmla="*/ 3 w 60"/>
                <a:gd name="T17" fmla="*/ 37 h 88"/>
                <a:gd name="T18" fmla="*/ 11 w 60"/>
                <a:gd name="T19" fmla="*/ 50 h 88"/>
                <a:gd name="T20" fmla="*/ 7 w 60"/>
                <a:gd name="T21" fmla="*/ 61 h 88"/>
                <a:gd name="T22" fmla="*/ 4 w 60"/>
                <a:gd name="T23" fmla="*/ 72 h 88"/>
                <a:gd name="T24" fmla="*/ 0 w 60"/>
                <a:gd name="T25" fmla="*/ 82 h 88"/>
                <a:gd name="T26" fmla="*/ 8 w 60"/>
                <a:gd name="T27" fmla="*/ 87 h 88"/>
                <a:gd name="T28" fmla="*/ 15 w 60"/>
                <a:gd name="T29" fmla="*/ 80 h 88"/>
                <a:gd name="T30" fmla="*/ 19 w 60"/>
                <a:gd name="T31" fmla="*/ 81 h 88"/>
                <a:gd name="T32" fmla="*/ 22 w 60"/>
                <a:gd name="T33" fmla="*/ 88 h 88"/>
                <a:gd name="T34" fmla="*/ 32 w 60"/>
                <a:gd name="T35" fmla="*/ 86 h 88"/>
                <a:gd name="T36" fmla="*/ 41 w 60"/>
                <a:gd name="T37"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88">
                  <a:moveTo>
                    <a:pt x="41" y="78"/>
                  </a:moveTo>
                  <a:lnTo>
                    <a:pt x="47" y="60"/>
                  </a:lnTo>
                  <a:lnTo>
                    <a:pt x="60" y="38"/>
                  </a:lnTo>
                  <a:lnTo>
                    <a:pt x="57" y="28"/>
                  </a:lnTo>
                  <a:lnTo>
                    <a:pt x="35" y="8"/>
                  </a:lnTo>
                  <a:lnTo>
                    <a:pt x="20" y="3"/>
                  </a:lnTo>
                  <a:lnTo>
                    <a:pt x="13" y="0"/>
                  </a:lnTo>
                  <a:lnTo>
                    <a:pt x="2" y="21"/>
                  </a:lnTo>
                  <a:lnTo>
                    <a:pt x="3" y="37"/>
                  </a:lnTo>
                  <a:lnTo>
                    <a:pt x="11" y="50"/>
                  </a:lnTo>
                  <a:lnTo>
                    <a:pt x="7" y="61"/>
                  </a:lnTo>
                  <a:lnTo>
                    <a:pt x="4" y="72"/>
                  </a:lnTo>
                  <a:lnTo>
                    <a:pt x="0" y="82"/>
                  </a:lnTo>
                  <a:lnTo>
                    <a:pt x="8" y="87"/>
                  </a:lnTo>
                  <a:lnTo>
                    <a:pt x="15" y="80"/>
                  </a:lnTo>
                  <a:lnTo>
                    <a:pt x="19" y="81"/>
                  </a:lnTo>
                  <a:lnTo>
                    <a:pt x="22" y="88"/>
                  </a:lnTo>
                  <a:lnTo>
                    <a:pt x="32" y="86"/>
                  </a:lnTo>
                  <a:lnTo>
                    <a:pt x="41" y="78"/>
                  </a:lnTo>
                  <a:close/>
                </a:path>
              </a:pathLst>
            </a:custGeom>
            <a:grp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23" name="Freeform 213">
              <a:extLst>
                <a:ext uri="{FF2B5EF4-FFF2-40B4-BE49-F238E27FC236}">
                  <a16:creationId xmlns:a16="http://schemas.microsoft.com/office/drawing/2014/main" id="{ED71CC47-8130-4130-AEF9-8F74468F9FE1}"/>
                </a:ext>
              </a:extLst>
            </p:cNvPr>
            <p:cNvSpPr>
              <a:spLocks noEditPoints="1"/>
            </p:cNvSpPr>
            <p:nvPr/>
          </p:nvSpPr>
          <p:spPr bwMode="auto">
            <a:xfrm>
              <a:off x="5865812" y="2562226"/>
              <a:ext cx="425450" cy="357188"/>
            </a:xfrm>
            <a:custGeom>
              <a:avLst/>
              <a:gdLst>
                <a:gd name="T0" fmla="*/ 268 w 268"/>
                <a:gd name="T1" fmla="*/ 208 h 225"/>
                <a:gd name="T2" fmla="*/ 264 w 268"/>
                <a:gd name="T3" fmla="*/ 188 h 225"/>
                <a:gd name="T4" fmla="*/ 253 w 268"/>
                <a:gd name="T5" fmla="*/ 197 h 225"/>
                <a:gd name="T6" fmla="*/ 249 w 268"/>
                <a:gd name="T7" fmla="*/ 206 h 225"/>
                <a:gd name="T8" fmla="*/ 253 w 268"/>
                <a:gd name="T9" fmla="*/ 222 h 225"/>
                <a:gd name="T10" fmla="*/ 263 w 268"/>
                <a:gd name="T11" fmla="*/ 225 h 225"/>
                <a:gd name="T12" fmla="*/ 268 w 268"/>
                <a:gd name="T13" fmla="*/ 208 h 225"/>
                <a:gd name="T14" fmla="*/ 151 w 268"/>
                <a:gd name="T15" fmla="*/ 18 h 225"/>
                <a:gd name="T16" fmla="*/ 141 w 268"/>
                <a:gd name="T17" fmla="*/ 9 h 225"/>
                <a:gd name="T18" fmla="*/ 133 w 268"/>
                <a:gd name="T19" fmla="*/ 9 h 225"/>
                <a:gd name="T20" fmla="*/ 131 w 268"/>
                <a:gd name="T21" fmla="*/ 0 h 225"/>
                <a:gd name="T22" fmla="*/ 114 w 268"/>
                <a:gd name="T23" fmla="*/ 5 h 225"/>
                <a:gd name="T24" fmla="*/ 110 w 268"/>
                <a:gd name="T25" fmla="*/ 24 h 225"/>
                <a:gd name="T26" fmla="*/ 68 w 268"/>
                <a:gd name="T27" fmla="*/ 41 h 225"/>
                <a:gd name="T28" fmla="*/ 50 w 268"/>
                <a:gd name="T29" fmla="*/ 32 h 225"/>
                <a:gd name="T30" fmla="*/ 56 w 268"/>
                <a:gd name="T31" fmla="*/ 58 h 225"/>
                <a:gd name="T32" fmla="*/ 25 w 268"/>
                <a:gd name="T33" fmla="*/ 52 h 225"/>
                <a:gd name="T34" fmla="*/ 0 w 268"/>
                <a:gd name="T35" fmla="*/ 57 h 225"/>
                <a:gd name="T36" fmla="*/ 2 w 268"/>
                <a:gd name="T37" fmla="*/ 74 h 225"/>
                <a:gd name="T38" fmla="*/ 30 w 268"/>
                <a:gd name="T39" fmla="*/ 83 h 225"/>
                <a:gd name="T40" fmla="*/ 43 w 268"/>
                <a:gd name="T41" fmla="*/ 95 h 225"/>
                <a:gd name="T42" fmla="*/ 63 w 268"/>
                <a:gd name="T43" fmla="*/ 119 h 225"/>
                <a:gd name="T44" fmla="*/ 59 w 268"/>
                <a:gd name="T45" fmla="*/ 165 h 225"/>
                <a:gd name="T46" fmla="*/ 49 w 268"/>
                <a:gd name="T47" fmla="*/ 179 h 225"/>
                <a:gd name="T48" fmla="*/ 56 w 268"/>
                <a:gd name="T49" fmla="*/ 188 h 225"/>
                <a:gd name="T50" fmla="*/ 92 w 268"/>
                <a:gd name="T51" fmla="*/ 198 h 225"/>
                <a:gd name="T52" fmla="*/ 99 w 268"/>
                <a:gd name="T53" fmla="*/ 194 h 225"/>
                <a:gd name="T54" fmla="*/ 120 w 268"/>
                <a:gd name="T55" fmla="*/ 204 h 225"/>
                <a:gd name="T56" fmla="*/ 142 w 268"/>
                <a:gd name="T57" fmla="*/ 201 h 225"/>
                <a:gd name="T58" fmla="*/ 144 w 268"/>
                <a:gd name="T59" fmla="*/ 187 h 225"/>
                <a:gd name="T60" fmla="*/ 172 w 268"/>
                <a:gd name="T61" fmla="*/ 180 h 225"/>
                <a:gd name="T62" fmla="*/ 210 w 268"/>
                <a:gd name="T63" fmla="*/ 185 h 225"/>
                <a:gd name="T64" fmla="*/ 226 w 268"/>
                <a:gd name="T65" fmla="*/ 173 h 225"/>
                <a:gd name="T66" fmla="*/ 228 w 268"/>
                <a:gd name="T67" fmla="*/ 163 h 225"/>
                <a:gd name="T68" fmla="*/ 218 w 268"/>
                <a:gd name="T69" fmla="*/ 160 h 225"/>
                <a:gd name="T70" fmla="*/ 212 w 268"/>
                <a:gd name="T71" fmla="*/ 141 h 225"/>
                <a:gd name="T72" fmla="*/ 219 w 268"/>
                <a:gd name="T73" fmla="*/ 135 h 225"/>
                <a:gd name="T74" fmla="*/ 212 w 268"/>
                <a:gd name="T75" fmla="*/ 126 h 225"/>
                <a:gd name="T76" fmla="*/ 213 w 268"/>
                <a:gd name="T77" fmla="*/ 120 h 225"/>
                <a:gd name="T78" fmla="*/ 207 w 268"/>
                <a:gd name="T79" fmla="*/ 109 h 225"/>
                <a:gd name="T80" fmla="*/ 197 w 268"/>
                <a:gd name="T81" fmla="*/ 113 h 225"/>
                <a:gd name="T82" fmla="*/ 197 w 268"/>
                <a:gd name="T83" fmla="*/ 102 h 225"/>
                <a:gd name="T84" fmla="*/ 211 w 268"/>
                <a:gd name="T85" fmla="*/ 89 h 225"/>
                <a:gd name="T86" fmla="*/ 210 w 268"/>
                <a:gd name="T87" fmla="*/ 83 h 225"/>
                <a:gd name="T88" fmla="*/ 219 w 268"/>
                <a:gd name="T89" fmla="*/ 85 h 225"/>
                <a:gd name="T90" fmla="*/ 224 w 268"/>
                <a:gd name="T91" fmla="*/ 81 h 225"/>
                <a:gd name="T92" fmla="*/ 225 w 268"/>
                <a:gd name="T93" fmla="*/ 65 h 225"/>
                <a:gd name="T94" fmla="*/ 234 w 268"/>
                <a:gd name="T95" fmla="*/ 50 h 225"/>
                <a:gd name="T96" fmla="*/ 208 w 268"/>
                <a:gd name="T97" fmla="*/ 45 h 225"/>
                <a:gd name="T98" fmla="*/ 198 w 268"/>
                <a:gd name="T99" fmla="*/ 39 h 225"/>
                <a:gd name="T100" fmla="*/ 193 w 268"/>
                <a:gd name="T101" fmla="*/ 39 h 225"/>
                <a:gd name="T102" fmla="*/ 189 w 268"/>
                <a:gd name="T103" fmla="*/ 38 h 225"/>
                <a:gd name="T104" fmla="*/ 172 w 268"/>
                <a:gd name="T105" fmla="*/ 27 h 225"/>
                <a:gd name="T106" fmla="*/ 163 w 268"/>
                <a:gd name="T107" fmla="*/ 28 h 225"/>
                <a:gd name="T108" fmla="*/ 151 w 268"/>
                <a:gd name="T109" fmla="*/ 18 h 225"/>
                <a:gd name="T110" fmla="*/ 151 w 268"/>
                <a:gd name="T111" fmla="*/ 1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8" h="225">
                  <a:moveTo>
                    <a:pt x="268" y="208"/>
                  </a:moveTo>
                  <a:lnTo>
                    <a:pt x="264" y="188"/>
                  </a:lnTo>
                  <a:lnTo>
                    <a:pt x="253" y="197"/>
                  </a:lnTo>
                  <a:lnTo>
                    <a:pt x="249" y="206"/>
                  </a:lnTo>
                  <a:lnTo>
                    <a:pt x="253" y="222"/>
                  </a:lnTo>
                  <a:lnTo>
                    <a:pt x="263" y="225"/>
                  </a:lnTo>
                  <a:lnTo>
                    <a:pt x="268" y="208"/>
                  </a:lnTo>
                  <a:close/>
                  <a:moveTo>
                    <a:pt x="151" y="18"/>
                  </a:moveTo>
                  <a:lnTo>
                    <a:pt x="141" y="9"/>
                  </a:lnTo>
                  <a:lnTo>
                    <a:pt x="133" y="9"/>
                  </a:lnTo>
                  <a:lnTo>
                    <a:pt x="131" y="0"/>
                  </a:lnTo>
                  <a:lnTo>
                    <a:pt x="114" y="5"/>
                  </a:lnTo>
                  <a:lnTo>
                    <a:pt x="110" y="24"/>
                  </a:lnTo>
                  <a:lnTo>
                    <a:pt x="68" y="41"/>
                  </a:lnTo>
                  <a:lnTo>
                    <a:pt x="50" y="32"/>
                  </a:lnTo>
                  <a:lnTo>
                    <a:pt x="56" y="58"/>
                  </a:lnTo>
                  <a:lnTo>
                    <a:pt x="25" y="52"/>
                  </a:lnTo>
                  <a:lnTo>
                    <a:pt x="0" y="57"/>
                  </a:lnTo>
                  <a:lnTo>
                    <a:pt x="2" y="74"/>
                  </a:lnTo>
                  <a:lnTo>
                    <a:pt x="30" y="83"/>
                  </a:lnTo>
                  <a:lnTo>
                    <a:pt x="43" y="95"/>
                  </a:lnTo>
                  <a:lnTo>
                    <a:pt x="63" y="119"/>
                  </a:lnTo>
                  <a:lnTo>
                    <a:pt x="59" y="165"/>
                  </a:lnTo>
                  <a:lnTo>
                    <a:pt x="49" y="179"/>
                  </a:lnTo>
                  <a:lnTo>
                    <a:pt x="56" y="188"/>
                  </a:lnTo>
                  <a:lnTo>
                    <a:pt x="92" y="198"/>
                  </a:lnTo>
                  <a:lnTo>
                    <a:pt x="99" y="194"/>
                  </a:lnTo>
                  <a:lnTo>
                    <a:pt x="120" y="204"/>
                  </a:lnTo>
                  <a:lnTo>
                    <a:pt x="142" y="201"/>
                  </a:lnTo>
                  <a:lnTo>
                    <a:pt x="144" y="187"/>
                  </a:lnTo>
                  <a:lnTo>
                    <a:pt x="172" y="180"/>
                  </a:lnTo>
                  <a:lnTo>
                    <a:pt x="210" y="185"/>
                  </a:lnTo>
                  <a:lnTo>
                    <a:pt x="226" y="173"/>
                  </a:lnTo>
                  <a:lnTo>
                    <a:pt x="228" y="163"/>
                  </a:lnTo>
                  <a:lnTo>
                    <a:pt x="218" y="160"/>
                  </a:lnTo>
                  <a:lnTo>
                    <a:pt x="212" y="141"/>
                  </a:lnTo>
                  <a:lnTo>
                    <a:pt x="219" y="135"/>
                  </a:lnTo>
                  <a:lnTo>
                    <a:pt x="212" y="126"/>
                  </a:lnTo>
                  <a:lnTo>
                    <a:pt x="213" y="120"/>
                  </a:lnTo>
                  <a:lnTo>
                    <a:pt x="207" y="109"/>
                  </a:lnTo>
                  <a:lnTo>
                    <a:pt x="197" y="113"/>
                  </a:lnTo>
                  <a:lnTo>
                    <a:pt x="197" y="102"/>
                  </a:lnTo>
                  <a:lnTo>
                    <a:pt x="211" y="89"/>
                  </a:lnTo>
                  <a:lnTo>
                    <a:pt x="210" y="83"/>
                  </a:lnTo>
                  <a:lnTo>
                    <a:pt x="219" y="85"/>
                  </a:lnTo>
                  <a:lnTo>
                    <a:pt x="224" y="81"/>
                  </a:lnTo>
                  <a:lnTo>
                    <a:pt x="225" y="65"/>
                  </a:lnTo>
                  <a:lnTo>
                    <a:pt x="234" y="50"/>
                  </a:lnTo>
                  <a:lnTo>
                    <a:pt x="208" y="45"/>
                  </a:lnTo>
                  <a:lnTo>
                    <a:pt x="198" y="39"/>
                  </a:lnTo>
                  <a:lnTo>
                    <a:pt x="193" y="39"/>
                  </a:lnTo>
                  <a:lnTo>
                    <a:pt x="189" y="38"/>
                  </a:lnTo>
                  <a:lnTo>
                    <a:pt x="172" y="27"/>
                  </a:lnTo>
                  <a:lnTo>
                    <a:pt x="163" y="28"/>
                  </a:lnTo>
                  <a:lnTo>
                    <a:pt x="151" y="18"/>
                  </a:lnTo>
                  <a:lnTo>
                    <a:pt x="151" y="18"/>
                  </a:lnTo>
                  <a:close/>
                </a:path>
              </a:pathLst>
            </a:custGeom>
            <a:grp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24" name="Freeform 212">
              <a:extLst>
                <a:ext uri="{FF2B5EF4-FFF2-40B4-BE49-F238E27FC236}">
                  <a16:creationId xmlns:a16="http://schemas.microsoft.com/office/drawing/2014/main" id="{BAE50287-5D46-4137-B75A-C541EE45304F}"/>
                </a:ext>
              </a:extLst>
            </p:cNvPr>
            <p:cNvSpPr>
              <a:spLocks/>
            </p:cNvSpPr>
            <p:nvPr/>
          </p:nvSpPr>
          <p:spPr bwMode="auto">
            <a:xfrm>
              <a:off x="7805738" y="5270501"/>
              <a:ext cx="19050" cy="17463"/>
            </a:xfrm>
            <a:custGeom>
              <a:avLst/>
              <a:gdLst>
                <a:gd name="T0" fmla="*/ 11 w 12"/>
                <a:gd name="T1" fmla="*/ 11 h 11"/>
                <a:gd name="T2" fmla="*/ 12 w 12"/>
                <a:gd name="T3" fmla="*/ 9 h 11"/>
                <a:gd name="T4" fmla="*/ 12 w 12"/>
                <a:gd name="T5" fmla="*/ 7 h 11"/>
                <a:gd name="T6" fmla="*/ 11 w 12"/>
                <a:gd name="T7" fmla="*/ 4 h 11"/>
                <a:gd name="T8" fmla="*/ 9 w 12"/>
                <a:gd name="T9" fmla="*/ 1 h 11"/>
                <a:gd name="T10" fmla="*/ 7 w 12"/>
                <a:gd name="T11" fmla="*/ 0 h 11"/>
                <a:gd name="T12" fmla="*/ 4 w 12"/>
                <a:gd name="T13" fmla="*/ 0 h 11"/>
                <a:gd name="T14" fmla="*/ 2 w 12"/>
                <a:gd name="T15" fmla="*/ 1 h 11"/>
                <a:gd name="T16" fmla="*/ 1 w 12"/>
                <a:gd name="T17" fmla="*/ 3 h 11"/>
                <a:gd name="T18" fmla="*/ 0 w 12"/>
                <a:gd name="T19" fmla="*/ 4 h 11"/>
                <a:gd name="T20" fmla="*/ 2 w 12"/>
                <a:gd name="T21" fmla="*/ 8 h 11"/>
                <a:gd name="T22" fmla="*/ 2 w 12"/>
                <a:gd name="T23" fmla="*/ 9 h 11"/>
                <a:gd name="T24" fmla="*/ 6 w 12"/>
                <a:gd name="T25" fmla="*/ 11 h 11"/>
                <a:gd name="T26" fmla="*/ 8 w 12"/>
                <a:gd name="T27" fmla="*/ 11 h 11"/>
                <a:gd name="T28" fmla="*/ 11 w 12"/>
                <a:gd name="T29" fmla="*/ 11 h 11"/>
                <a:gd name="T30" fmla="*/ 11 w 12"/>
                <a:gd name="T3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1">
                  <a:moveTo>
                    <a:pt x="11" y="11"/>
                  </a:moveTo>
                  <a:lnTo>
                    <a:pt x="12" y="9"/>
                  </a:lnTo>
                  <a:lnTo>
                    <a:pt x="12" y="7"/>
                  </a:lnTo>
                  <a:lnTo>
                    <a:pt x="11" y="4"/>
                  </a:lnTo>
                  <a:lnTo>
                    <a:pt x="9" y="1"/>
                  </a:lnTo>
                  <a:lnTo>
                    <a:pt x="7" y="0"/>
                  </a:lnTo>
                  <a:lnTo>
                    <a:pt x="4" y="0"/>
                  </a:lnTo>
                  <a:lnTo>
                    <a:pt x="2" y="1"/>
                  </a:lnTo>
                  <a:lnTo>
                    <a:pt x="1" y="3"/>
                  </a:lnTo>
                  <a:lnTo>
                    <a:pt x="0" y="4"/>
                  </a:lnTo>
                  <a:lnTo>
                    <a:pt x="2" y="8"/>
                  </a:lnTo>
                  <a:lnTo>
                    <a:pt x="2" y="9"/>
                  </a:lnTo>
                  <a:lnTo>
                    <a:pt x="6" y="11"/>
                  </a:lnTo>
                  <a:lnTo>
                    <a:pt x="8" y="11"/>
                  </a:lnTo>
                  <a:lnTo>
                    <a:pt x="11" y="11"/>
                  </a:lnTo>
                  <a:lnTo>
                    <a:pt x="11" y="11"/>
                  </a:lnTo>
                  <a:close/>
                </a:path>
              </a:pathLst>
            </a:custGeom>
            <a:grp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25" name="Freeform 214">
              <a:extLst>
                <a:ext uri="{FF2B5EF4-FFF2-40B4-BE49-F238E27FC236}">
                  <a16:creationId xmlns:a16="http://schemas.microsoft.com/office/drawing/2014/main" id="{4AE631F1-1500-4305-BD01-DB1A0D6DC037}"/>
                </a:ext>
              </a:extLst>
            </p:cNvPr>
            <p:cNvSpPr>
              <a:spLocks/>
            </p:cNvSpPr>
            <p:nvPr/>
          </p:nvSpPr>
          <p:spPr bwMode="auto">
            <a:xfrm>
              <a:off x="3981450" y="3921126"/>
              <a:ext cx="11112" cy="19050"/>
            </a:xfrm>
            <a:custGeom>
              <a:avLst/>
              <a:gdLst>
                <a:gd name="T0" fmla="*/ 7 w 7"/>
                <a:gd name="T1" fmla="*/ 10 h 12"/>
                <a:gd name="T2" fmla="*/ 6 w 7"/>
                <a:gd name="T3" fmla="*/ 7 h 12"/>
                <a:gd name="T4" fmla="*/ 6 w 7"/>
                <a:gd name="T5" fmla="*/ 6 h 12"/>
                <a:gd name="T6" fmla="*/ 5 w 7"/>
                <a:gd name="T7" fmla="*/ 5 h 12"/>
                <a:gd name="T8" fmla="*/ 5 w 7"/>
                <a:gd name="T9" fmla="*/ 4 h 12"/>
                <a:gd name="T10" fmla="*/ 5 w 7"/>
                <a:gd name="T11" fmla="*/ 3 h 12"/>
                <a:gd name="T12" fmla="*/ 5 w 7"/>
                <a:gd name="T13" fmla="*/ 3 h 12"/>
                <a:gd name="T14" fmla="*/ 4 w 7"/>
                <a:gd name="T15" fmla="*/ 1 h 12"/>
                <a:gd name="T16" fmla="*/ 2 w 7"/>
                <a:gd name="T17" fmla="*/ 0 h 12"/>
                <a:gd name="T18" fmla="*/ 1 w 7"/>
                <a:gd name="T19" fmla="*/ 0 h 12"/>
                <a:gd name="T20" fmla="*/ 0 w 7"/>
                <a:gd name="T21" fmla="*/ 1 h 12"/>
                <a:gd name="T22" fmla="*/ 0 w 7"/>
                <a:gd name="T23" fmla="*/ 2 h 12"/>
                <a:gd name="T24" fmla="*/ 1 w 7"/>
                <a:gd name="T25" fmla="*/ 6 h 12"/>
                <a:gd name="T26" fmla="*/ 2 w 7"/>
                <a:gd name="T27" fmla="*/ 6 h 12"/>
                <a:gd name="T28" fmla="*/ 4 w 7"/>
                <a:gd name="T29" fmla="*/ 7 h 12"/>
                <a:gd name="T30" fmla="*/ 2 w 7"/>
                <a:gd name="T31" fmla="*/ 9 h 12"/>
                <a:gd name="T32" fmla="*/ 2 w 7"/>
                <a:gd name="T33" fmla="*/ 9 h 12"/>
                <a:gd name="T34" fmla="*/ 3 w 7"/>
                <a:gd name="T35" fmla="*/ 10 h 12"/>
                <a:gd name="T36" fmla="*/ 5 w 7"/>
                <a:gd name="T37" fmla="*/ 10 h 12"/>
                <a:gd name="T38" fmla="*/ 6 w 7"/>
                <a:gd name="T39" fmla="*/ 12 h 12"/>
                <a:gd name="T40" fmla="*/ 7 w 7"/>
                <a:gd name="T41" fmla="*/ 11 h 12"/>
                <a:gd name="T42" fmla="*/ 7 w 7"/>
                <a:gd name="T43" fmla="*/ 10 h 12"/>
                <a:gd name="T44" fmla="*/ 7 w 7"/>
                <a:gd name="T4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 h="12">
                  <a:moveTo>
                    <a:pt x="7" y="10"/>
                  </a:moveTo>
                  <a:lnTo>
                    <a:pt x="6" y="7"/>
                  </a:lnTo>
                  <a:lnTo>
                    <a:pt x="6" y="6"/>
                  </a:lnTo>
                  <a:lnTo>
                    <a:pt x="5" y="5"/>
                  </a:lnTo>
                  <a:lnTo>
                    <a:pt x="5" y="4"/>
                  </a:lnTo>
                  <a:lnTo>
                    <a:pt x="5" y="3"/>
                  </a:lnTo>
                  <a:lnTo>
                    <a:pt x="5" y="3"/>
                  </a:lnTo>
                  <a:lnTo>
                    <a:pt x="4" y="1"/>
                  </a:lnTo>
                  <a:lnTo>
                    <a:pt x="2" y="0"/>
                  </a:lnTo>
                  <a:lnTo>
                    <a:pt x="1" y="0"/>
                  </a:lnTo>
                  <a:lnTo>
                    <a:pt x="0" y="1"/>
                  </a:lnTo>
                  <a:lnTo>
                    <a:pt x="0" y="2"/>
                  </a:lnTo>
                  <a:lnTo>
                    <a:pt x="1" y="6"/>
                  </a:lnTo>
                  <a:lnTo>
                    <a:pt x="2" y="6"/>
                  </a:lnTo>
                  <a:lnTo>
                    <a:pt x="4" y="7"/>
                  </a:lnTo>
                  <a:lnTo>
                    <a:pt x="2" y="9"/>
                  </a:lnTo>
                  <a:lnTo>
                    <a:pt x="2" y="9"/>
                  </a:lnTo>
                  <a:lnTo>
                    <a:pt x="3" y="10"/>
                  </a:lnTo>
                  <a:lnTo>
                    <a:pt x="5" y="10"/>
                  </a:lnTo>
                  <a:lnTo>
                    <a:pt x="6" y="12"/>
                  </a:lnTo>
                  <a:lnTo>
                    <a:pt x="7" y="11"/>
                  </a:lnTo>
                  <a:lnTo>
                    <a:pt x="7" y="10"/>
                  </a:lnTo>
                  <a:lnTo>
                    <a:pt x="7" y="10"/>
                  </a:lnTo>
                  <a:close/>
                </a:path>
              </a:pathLst>
            </a:custGeom>
            <a:grp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26" name="Freeform 215">
              <a:extLst>
                <a:ext uri="{FF2B5EF4-FFF2-40B4-BE49-F238E27FC236}">
                  <a16:creationId xmlns:a16="http://schemas.microsoft.com/office/drawing/2014/main" id="{DC15C1EC-8377-4AFF-9E4F-44F71513B475}"/>
                </a:ext>
              </a:extLst>
            </p:cNvPr>
            <p:cNvSpPr>
              <a:spLocks noEditPoints="1"/>
            </p:cNvSpPr>
            <p:nvPr/>
          </p:nvSpPr>
          <p:spPr bwMode="auto">
            <a:xfrm>
              <a:off x="3967163" y="3859213"/>
              <a:ext cx="20637" cy="23813"/>
            </a:xfrm>
            <a:custGeom>
              <a:avLst/>
              <a:gdLst>
                <a:gd name="T0" fmla="*/ 11 w 13"/>
                <a:gd name="T1" fmla="*/ 15 h 15"/>
                <a:gd name="T2" fmla="*/ 11 w 13"/>
                <a:gd name="T3" fmla="*/ 15 h 15"/>
                <a:gd name="T4" fmla="*/ 11 w 13"/>
                <a:gd name="T5" fmla="*/ 13 h 15"/>
                <a:gd name="T6" fmla="*/ 11 w 13"/>
                <a:gd name="T7" fmla="*/ 12 h 15"/>
                <a:gd name="T8" fmla="*/ 10 w 13"/>
                <a:gd name="T9" fmla="*/ 13 h 15"/>
                <a:gd name="T10" fmla="*/ 9 w 13"/>
                <a:gd name="T11" fmla="*/ 14 h 15"/>
                <a:gd name="T12" fmla="*/ 9 w 13"/>
                <a:gd name="T13" fmla="*/ 15 h 15"/>
                <a:gd name="T14" fmla="*/ 9 w 13"/>
                <a:gd name="T15" fmla="*/ 15 h 15"/>
                <a:gd name="T16" fmla="*/ 11 w 13"/>
                <a:gd name="T17" fmla="*/ 15 h 15"/>
                <a:gd name="T18" fmla="*/ 11 w 13"/>
                <a:gd name="T19" fmla="*/ 15 h 15"/>
                <a:gd name="T20" fmla="*/ 3 w 13"/>
                <a:gd name="T21" fmla="*/ 12 h 15"/>
                <a:gd name="T22" fmla="*/ 4 w 13"/>
                <a:gd name="T23" fmla="*/ 11 h 15"/>
                <a:gd name="T24" fmla="*/ 4 w 13"/>
                <a:gd name="T25" fmla="*/ 8 h 15"/>
                <a:gd name="T26" fmla="*/ 4 w 13"/>
                <a:gd name="T27" fmla="*/ 6 h 15"/>
                <a:gd name="T28" fmla="*/ 3 w 13"/>
                <a:gd name="T29" fmla="*/ 6 h 15"/>
                <a:gd name="T30" fmla="*/ 3 w 13"/>
                <a:gd name="T31" fmla="*/ 5 h 15"/>
                <a:gd name="T32" fmla="*/ 0 w 13"/>
                <a:gd name="T33" fmla="*/ 4 h 15"/>
                <a:gd name="T34" fmla="*/ 0 w 13"/>
                <a:gd name="T35" fmla="*/ 5 h 15"/>
                <a:gd name="T36" fmla="*/ 0 w 13"/>
                <a:gd name="T37" fmla="*/ 6 h 15"/>
                <a:gd name="T38" fmla="*/ 0 w 13"/>
                <a:gd name="T39" fmla="*/ 11 h 15"/>
                <a:gd name="T40" fmla="*/ 0 w 13"/>
                <a:gd name="T41" fmla="*/ 13 h 15"/>
                <a:gd name="T42" fmla="*/ 1 w 13"/>
                <a:gd name="T43" fmla="*/ 13 h 15"/>
                <a:gd name="T44" fmla="*/ 3 w 13"/>
                <a:gd name="T45" fmla="*/ 12 h 15"/>
                <a:gd name="T46" fmla="*/ 3 w 13"/>
                <a:gd name="T47" fmla="*/ 12 h 15"/>
                <a:gd name="T48" fmla="*/ 9 w 13"/>
                <a:gd name="T49" fmla="*/ 8 h 15"/>
                <a:gd name="T50" fmla="*/ 13 w 13"/>
                <a:gd name="T51" fmla="*/ 7 h 15"/>
                <a:gd name="T52" fmla="*/ 9 w 13"/>
                <a:gd name="T53" fmla="*/ 4 h 15"/>
                <a:gd name="T54" fmla="*/ 8 w 13"/>
                <a:gd name="T55" fmla="*/ 3 h 15"/>
                <a:gd name="T56" fmla="*/ 8 w 13"/>
                <a:gd name="T57" fmla="*/ 2 h 15"/>
                <a:gd name="T58" fmla="*/ 7 w 13"/>
                <a:gd name="T59" fmla="*/ 0 h 15"/>
                <a:gd name="T60" fmla="*/ 6 w 13"/>
                <a:gd name="T61" fmla="*/ 1 h 15"/>
                <a:gd name="T62" fmla="*/ 5 w 13"/>
                <a:gd name="T63" fmla="*/ 2 h 15"/>
                <a:gd name="T64" fmla="*/ 6 w 13"/>
                <a:gd name="T65" fmla="*/ 4 h 15"/>
                <a:gd name="T66" fmla="*/ 5 w 13"/>
                <a:gd name="T67" fmla="*/ 6 h 15"/>
                <a:gd name="T68" fmla="*/ 5 w 13"/>
                <a:gd name="T69" fmla="*/ 8 h 15"/>
                <a:gd name="T70" fmla="*/ 7 w 13"/>
                <a:gd name="T71" fmla="*/ 8 h 15"/>
                <a:gd name="T72" fmla="*/ 9 w 13"/>
                <a:gd name="T73" fmla="*/ 8 h 15"/>
                <a:gd name="T74" fmla="*/ 9 w 13"/>
                <a:gd name="T7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 h="15">
                  <a:moveTo>
                    <a:pt x="11" y="15"/>
                  </a:moveTo>
                  <a:lnTo>
                    <a:pt x="11" y="15"/>
                  </a:lnTo>
                  <a:lnTo>
                    <a:pt x="11" y="13"/>
                  </a:lnTo>
                  <a:lnTo>
                    <a:pt x="11" y="12"/>
                  </a:lnTo>
                  <a:lnTo>
                    <a:pt x="10" y="13"/>
                  </a:lnTo>
                  <a:lnTo>
                    <a:pt x="9" y="14"/>
                  </a:lnTo>
                  <a:lnTo>
                    <a:pt x="9" y="15"/>
                  </a:lnTo>
                  <a:lnTo>
                    <a:pt x="9" y="15"/>
                  </a:lnTo>
                  <a:lnTo>
                    <a:pt x="11" y="15"/>
                  </a:lnTo>
                  <a:lnTo>
                    <a:pt x="11" y="15"/>
                  </a:lnTo>
                  <a:close/>
                  <a:moveTo>
                    <a:pt x="3" y="12"/>
                  </a:moveTo>
                  <a:lnTo>
                    <a:pt x="4" y="11"/>
                  </a:lnTo>
                  <a:lnTo>
                    <a:pt x="4" y="8"/>
                  </a:lnTo>
                  <a:lnTo>
                    <a:pt x="4" y="6"/>
                  </a:lnTo>
                  <a:lnTo>
                    <a:pt x="3" y="6"/>
                  </a:lnTo>
                  <a:lnTo>
                    <a:pt x="3" y="5"/>
                  </a:lnTo>
                  <a:lnTo>
                    <a:pt x="0" y="4"/>
                  </a:lnTo>
                  <a:lnTo>
                    <a:pt x="0" y="5"/>
                  </a:lnTo>
                  <a:lnTo>
                    <a:pt x="0" y="6"/>
                  </a:lnTo>
                  <a:lnTo>
                    <a:pt x="0" y="11"/>
                  </a:lnTo>
                  <a:lnTo>
                    <a:pt x="0" y="13"/>
                  </a:lnTo>
                  <a:lnTo>
                    <a:pt x="1" y="13"/>
                  </a:lnTo>
                  <a:lnTo>
                    <a:pt x="3" y="12"/>
                  </a:lnTo>
                  <a:lnTo>
                    <a:pt x="3" y="12"/>
                  </a:lnTo>
                  <a:close/>
                  <a:moveTo>
                    <a:pt x="9" y="8"/>
                  </a:moveTo>
                  <a:lnTo>
                    <a:pt x="13" y="7"/>
                  </a:lnTo>
                  <a:lnTo>
                    <a:pt x="9" y="4"/>
                  </a:lnTo>
                  <a:lnTo>
                    <a:pt x="8" y="3"/>
                  </a:lnTo>
                  <a:lnTo>
                    <a:pt x="8" y="2"/>
                  </a:lnTo>
                  <a:lnTo>
                    <a:pt x="7" y="0"/>
                  </a:lnTo>
                  <a:lnTo>
                    <a:pt x="6" y="1"/>
                  </a:lnTo>
                  <a:lnTo>
                    <a:pt x="5" y="2"/>
                  </a:lnTo>
                  <a:lnTo>
                    <a:pt x="6" y="4"/>
                  </a:lnTo>
                  <a:lnTo>
                    <a:pt x="5" y="6"/>
                  </a:lnTo>
                  <a:lnTo>
                    <a:pt x="5" y="8"/>
                  </a:lnTo>
                  <a:lnTo>
                    <a:pt x="7" y="8"/>
                  </a:lnTo>
                  <a:lnTo>
                    <a:pt x="9" y="8"/>
                  </a:lnTo>
                  <a:lnTo>
                    <a:pt x="9" y="8"/>
                  </a:lnTo>
                  <a:close/>
                </a:path>
              </a:pathLst>
            </a:custGeom>
            <a:grp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2619" name="Curacao">
            <a:extLst>
              <a:ext uri="{FF2B5EF4-FFF2-40B4-BE49-F238E27FC236}">
                <a16:creationId xmlns:a16="http://schemas.microsoft.com/office/drawing/2014/main" id="{D235ECE0-39F8-4D2A-AF0A-50C3239ADA88}"/>
              </a:ext>
            </a:extLst>
          </p:cNvPr>
          <p:cNvSpPr>
            <a:spLocks/>
          </p:cNvSpPr>
          <p:nvPr/>
        </p:nvSpPr>
        <p:spPr bwMode="auto">
          <a:xfrm>
            <a:off x="2775654" y="3843533"/>
            <a:ext cx="5103" cy="10207"/>
          </a:xfrm>
          <a:custGeom>
            <a:avLst/>
            <a:gdLst>
              <a:gd name="T0" fmla="*/ 3 w 3"/>
              <a:gd name="T1" fmla="*/ 4 h 6"/>
              <a:gd name="T2" fmla="*/ 3 w 3"/>
              <a:gd name="T3" fmla="*/ 1 h 6"/>
              <a:gd name="T4" fmla="*/ 0 w 3"/>
              <a:gd name="T5" fmla="*/ 0 h 6"/>
              <a:gd name="T6" fmla="*/ 0 w 3"/>
              <a:gd name="T7" fmla="*/ 1 h 6"/>
              <a:gd name="T8" fmla="*/ 0 w 3"/>
              <a:gd name="T9" fmla="*/ 2 h 6"/>
              <a:gd name="T10" fmla="*/ 2 w 3"/>
              <a:gd name="T11" fmla="*/ 2 h 6"/>
              <a:gd name="T12" fmla="*/ 2 w 3"/>
              <a:gd name="T13" fmla="*/ 3 h 6"/>
              <a:gd name="T14" fmla="*/ 2 w 3"/>
              <a:gd name="T15" fmla="*/ 5 h 6"/>
              <a:gd name="T16" fmla="*/ 2 w 3"/>
              <a:gd name="T17" fmla="*/ 6 h 6"/>
              <a:gd name="T18" fmla="*/ 3 w 3"/>
              <a:gd name="T19" fmla="*/ 4 h 6"/>
              <a:gd name="T20" fmla="*/ 3 w 3"/>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3" y="4"/>
                </a:moveTo>
                <a:lnTo>
                  <a:pt x="3" y="1"/>
                </a:lnTo>
                <a:lnTo>
                  <a:pt x="0" y="0"/>
                </a:lnTo>
                <a:lnTo>
                  <a:pt x="0" y="1"/>
                </a:lnTo>
                <a:lnTo>
                  <a:pt x="0" y="2"/>
                </a:lnTo>
                <a:lnTo>
                  <a:pt x="2" y="2"/>
                </a:lnTo>
                <a:lnTo>
                  <a:pt x="2" y="3"/>
                </a:lnTo>
                <a:lnTo>
                  <a:pt x="2" y="5"/>
                </a:lnTo>
                <a:lnTo>
                  <a:pt x="2" y="6"/>
                </a:lnTo>
                <a:lnTo>
                  <a:pt x="3" y="4"/>
                </a:lnTo>
                <a:lnTo>
                  <a:pt x="3" y="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20" name="Las Palmas de Gran Canaria">
            <a:extLst>
              <a:ext uri="{FF2B5EF4-FFF2-40B4-BE49-F238E27FC236}">
                <a16:creationId xmlns:a16="http://schemas.microsoft.com/office/drawing/2014/main" id="{46FDA3DC-71D6-42C2-BF07-2137C63A28D1}"/>
              </a:ext>
            </a:extLst>
          </p:cNvPr>
          <p:cNvSpPr>
            <a:spLocks noEditPoints="1"/>
          </p:cNvSpPr>
          <p:nvPr/>
        </p:nvSpPr>
        <p:spPr bwMode="auto">
          <a:xfrm>
            <a:off x="4573830" y="3157918"/>
            <a:ext cx="165017" cy="64646"/>
          </a:xfrm>
          <a:custGeom>
            <a:avLst/>
            <a:gdLst>
              <a:gd name="T0" fmla="*/ 5 w 97"/>
              <a:gd name="T1" fmla="*/ 33 h 38"/>
              <a:gd name="T2" fmla="*/ 0 w 97"/>
              <a:gd name="T3" fmla="*/ 35 h 38"/>
              <a:gd name="T4" fmla="*/ 1 w 97"/>
              <a:gd name="T5" fmla="*/ 37 h 38"/>
              <a:gd name="T6" fmla="*/ 5 w 97"/>
              <a:gd name="T7" fmla="*/ 34 h 38"/>
              <a:gd name="T8" fmla="*/ 56 w 97"/>
              <a:gd name="T9" fmla="*/ 26 h 38"/>
              <a:gd name="T10" fmla="*/ 56 w 97"/>
              <a:gd name="T11" fmla="*/ 26 h 38"/>
              <a:gd name="T12" fmla="*/ 50 w 97"/>
              <a:gd name="T13" fmla="*/ 26 h 38"/>
              <a:gd name="T14" fmla="*/ 48 w 97"/>
              <a:gd name="T15" fmla="*/ 30 h 38"/>
              <a:gd name="T16" fmla="*/ 50 w 97"/>
              <a:gd name="T17" fmla="*/ 35 h 38"/>
              <a:gd name="T18" fmla="*/ 53 w 97"/>
              <a:gd name="T19" fmla="*/ 35 h 38"/>
              <a:gd name="T20" fmla="*/ 56 w 97"/>
              <a:gd name="T21" fmla="*/ 32 h 38"/>
              <a:gd name="T22" fmla="*/ 56 w 97"/>
              <a:gd name="T23" fmla="*/ 28 h 38"/>
              <a:gd name="T24" fmla="*/ 56 w 97"/>
              <a:gd name="T25" fmla="*/ 26 h 38"/>
              <a:gd name="T26" fmla="*/ 22 w 97"/>
              <a:gd name="T27" fmla="*/ 28 h 38"/>
              <a:gd name="T28" fmla="*/ 21 w 97"/>
              <a:gd name="T29" fmla="*/ 26 h 38"/>
              <a:gd name="T30" fmla="*/ 18 w 97"/>
              <a:gd name="T31" fmla="*/ 25 h 38"/>
              <a:gd name="T32" fmla="*/ 17 w 97"/>
              <a:gd name="T33" fmla="*/ 27 h 38"/>
              <a:gd name="T34" fmla="*/ 19 w 97"/>
              <a:gd name="T35" fmla="*/ 30 h 38"/>
              <a:gd name="T36" fmla="*/ 20 w 97"/>
              <a:gd name="T37" fmla="*/ 30 h 38"/>
              <a:gd name="T38" fmla="*/ 42 w 97"/>
              <a:gd name="T39" fmla="*/ 17 h 38"/>
              <a:gd name="T40" fmla="*/ 38 w 97"/>
              <a:gd name="T41" fmla="*/ 17 h 38"/>
              <a:gd name="T42" fmla="*/ 33 w 97"/>
              <a:gd name="T43" fmla="*/ 20 h 38"/>
              <a:gd name="T44" fmla="*/ 28 w 97"/>
              <a:gd name="T45" fmla="*/ 20 h 38"/>
              <a:gd name="T46" fmla="*/ 27 w 97"/>
              <a:gd name="T47" fmla="*/ 22 h 38"/>
              <a:gd name="T48" fmla="*/ 30 w 97"/>
              <a:gd name="T49" fmla="*/ 30 h 38"/>
              <a:gd name="T50" fmla="*/ 34 w 97"/>
              <a:gd name="T51" fmla="*/ 28 h 38"/>
              <a:gd name="T52" fmla="*/ 37 w 97"/>
              <a:gd name="T53" fmla="*/ 20 h 38"/>
              <a:gd name="T54" fmla="*/ 81 w 97"/>
              <a:gd name="T55" fmla="*/ 26 h 38"/>
              <a:gd name="T56" fmla="*/ 87 w 97"/>
              <a:gd name="T57" fmla="*/ 20 h 38"/>
              <a:gd name="T58" fmla="*/ 88 w 97"/>
              <a:gd name="T59" fmla="*/ 13 h 38"/>
              <a:gd name="T60" fmla="*/ 87 w 97"/>
              <a:gd name="T61" fmla="*/ 12 h 38"/>
              <a:gd name="T62" fmla="*/ 85 w 97"/>
              <a:gd name="T63" fmla="*/ 13 h 38"/>
              <a:gd name="T64" fmla="*/ 82 w 97"/>
              <a:gd name="T65" fmla="*/ 20 h 38"/>
              <a:gd name="T66" fmla="*/ 77 w 97"/>
              <a:gd name="T67" fmla="*/ 27 h 38"/>
              <a:gd name="T68" fmla="*/ 75 w 97"/>
              <a:gd name="T69" fmla="*/ 28 h 38"/>
              <a:gd name="T70" fmla="*/ 81 w 97"/>
              <a:gd name="T71" fmla="*/ 26 h 38"/>
              <a:gd name="T72" fmla="*/ 7 w 97"/>
              <a:gd name="T73" fmla="*/ 18 h 38"/>
              <a:gd name="T74" fmla="*/ 9 w 97"/>
              <a:gd name="T75" fmla="*/ 15 h 38"/>
              <a:gd name="T76" fmla="*/ 10 w 97"/>
              <a:gd name="T77" fmla="*/ 13 h 38"/>
              <a:gd name="T78" fmla="*/ 8 w 97"/>
              <a:gd name="T79" fmla="*/ 9 h 38"/>
              <a:gd name="T80" fmla="*/ 4 w 97"/>
              <a:gd name="T81" fmla="*/ 12 h 38"/>
              <a:gd name="T82" fmla="*/ 7 w 97"/>
              <a:gd name="T83" fmla="*/ 18 h 38"/>
              <a:gd name="T84" fmla="*/ 7 w 97"/>
              <a:gd name="T85" fmla="*/ 18 h 38"/>
              <a:gd name="T86" fmla="*/ 94 w 97"/>
              <a:gd name="T87" fmla="*/ 7 h 38"/>
              <a:gd name="T88" fmla="*/ 97 w 97"/>
              <a:gd name="T89" fmla="*/ 3 h 38"/>
              <a:gd name="T90" fmla="*/ 97 w 97"/>
              <a:gd name="T91" fmla="*/ 0 h 38"/>
              <a:gd name="T92" fmla="*/ 95 w 97"/>
              <a:gd name="T93" fmla="*/ 3 h 38"/>
              <a:gd name="T94" fmla="*/ 89 w 97"/>
              <a:gd name="T95" fmla="*/ 4 h 38"/>
              <a:gd name="T96" fmla="*/ 88 w 97"/>
              <a:gd name="T97" fmla="*/ 9 h 38"/>
              <a:gd name="T98" fmla="*/ 91 w 97"/>
              <a:gd name="T99"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7" h="38">
                <a:moveTo>
                  <a:pt x="5" y="34"/>
                </a:moveTo>
                <a:lnTo>
                  <a:pt x="5" y="33"/>
                </a:lnTo>
                <a:lnTo>
                  <a:pt x="2" y="35"/>
                </a:lnTo>
                <a:lnTo>
                  <a:pt x="0" y="35"/>
                </a:lnTo>
                <a:lnTo>
                  <a:pt x="1" y="36"/>
                </a:lnTo>
                <a:lnTo>
                  <a:pt x="1" y="37"/>
                </a:lnTo>
                <a:lnTo>
                  <a:pt x="3" y="38"/>
                </a:lnTo>
                <a:lnTo>
                  <a:pt x="5" y="34"/>
                </a:lnTo>
                <a:lnTo>
                  <a:pt x="5" y="34"/>
                </a:lnTo>
                <a:close/>
                <a:moveTo>
                  <a:pt x="56" y="26"/>
                </a:moveTo>
                <a:lnTo>
                  <a:pt x="56" y="26"/>
                </a:lnTo>
                <a:lnTo>
                  <a:pt x="56" y="26"/>
                </a:lnTo>
                <a:lnTo>
                  <a:pt x="56" y="26"/>
                </a:lnTo>
                <a:lnTo>
                  <a:pt x="50" y="26"/>
                </a:lnTo>
                <a:lnTo>
                  <a:pt x="50" y="28"/>
                </a:lnTo>
                <a:lnTo>
                  <a:pt x="48" y="30"/>
                </a:lnTo>
                <a:lnTo>
                  <a:pt x="48" y="32"/>
                </a:lnTo>
                <a:lnTo>
                  <a:pt x="50" y="35"/>
                </a:lnTo>
                <a:lnTo>
                  <a:pt x="51" y="35"/>
                </a:lnTo>
                <a:lnTo>
                  <a:pt x="53" y="35"/>
                </a:lnTo>
                <a:lnTo>
                  <a:pt x="56" y="34"/>
                </a:lnTo>
                <a:lnTo>
                  <a:pt x="56" y="32"/>
                </a:lnTo>
                <a:lnTo>
                  <a:pt x="57" y="30"/>
                </a:lnTo>
                <a:lnTo>
                  <a:pt x="56" y="28"/>
                </a:lnTo>
                <a:lnTo>
                  <a:pt x="56" y="26"/>
                </a:lnTo>
                <a:lnTo>
                  <a:pt x="56" y="26"/>
                </a:lnTo>
                <a:close/>
                <a:moveTo>
                  <a:pt x="20" y="30"/>
                </a:moveTo>
                <a:lnTo>
                  <a:pt x="22" y="28"/>
                </a:lnTo>
                <a:lnTo>
                  <a:pt x="22" y="27"/>
                </a:lnTo>
                <a:lnTo>
                  <a:pt x="21" y="26"/>
                </a:lnTo>
                <a:lnTo>
                  <a:pt x="19" y="25"/>
                </a:lnTo>
                <a:lnTo>
                  <a:pt x="18" y="25"/>
                </a:lnTo>
                <a:lnTo>
                  <a:pt x="18" y="26"/>
                </a:lnTo>
                <a:lnTo>
                  <a:pt x="17" y="27"/>
                </a:lnTo>
                <a:lnTo>
                  <a:pt x="18" y="29"/>
                </a:lnTo>
                <a:lnTo>
                  <a:pt x="19" y="30"/>
                </a:lnTo>
                <a:lnTo>
                  <a:pt x="20" y="30"/>
                </a:lnTo>
                <a:lnTo>
                  <a:pt x="20" y="30"/>
                </a:lnTo>
                <a:close/>
                <a:moveTo>
                  <a:pt x="37" y="20"/>
                </a:moveTo>
                <a:lnTo>
                  <a:pt x="42" y="17"/>
                </a:lnTo>
                <a:lnTo>
                  <a:pt x="42" y="16"/>
                </a:lnTo>
                <a:lnTo>
                  <a:pt x="38" y="17"/>
                </a:lnTo>
                <a:lnTo>
                  <a:pt x="34" y="20"/>
                </a:lnTo>
                <a:lnTo>
                  <a:pt x="33" y="20"/>
                </a:lnTo>
                <a:lnTo>
                  <a:pt x="30" y="20"/>
                </a:lnTo>
                <a:lnTo>
                  <a:pt x="28" y="20"/>
                </a:lnTo>
                <a:lnTo>
                  <a:pt x="26" y="21"/>
                </a:lnTo>
                <a:lnTo>
                  <a:pt x="27" y="22"/>
                </a:lnTo>
                <a:lnTo>
                  <a:pt x="28" y="26"/>
                </a:lnTo>
                <a:lnTo>
                  <a:pt x="30" y="30"/>
                </a:lnTo>
                <a:lnTo>
                  <a:pt x="33" y="29"/>
                </a:lnTo>
                <a:lnTo>
                  <a:pt x="34" y="28"/>
                </a:lnTo>
                <a:lnTo>
                  <a:pt x="35" y="26"/>
                </a:lnTo>
                <a:lnTo>
                  <a:pt x="37" y="20"/>
                </a:lnTo>
                <a:lnTo>
                  <a:pt x="37" y="20"/>
                </a:lnTo>
                <a:close/>
                <a:moveTo>
                  <a:pt x="81" y="26"/>
                </a:moveTo>
                <a:lnTo>
                  <a:pt x="86" y="24"/>
                </a:lnTo>
                <a:lnTo>
                  <a:pt x="87" y="20"/>
                </a:lnTo>
                <a:lnTo>
                  <a:pt x="88" y="16"/>
                </a:lnTo>
                <a:lnTo>
                  <a:pt x="88" y="13"/>
                </a:lnTo>
                <a:lnTo>
                  <a:pt x="87" y="12"/>
                </a:lnTo>
                <a:lnTo>
                  <a:pt x="87" y="12"/>
                </a:lnTo>
                <a:lnTo>
                  <a:pt x="86" y="12"/>
                </a:lnTo>
                <a:lnTo>
                  <a:pt x="85" y="13"/>
                </a:lnTo>
                <a:lnTo>
                  <a:pt x="85" y="15"/>
                </a:lnTo>
                <a:lnTo>
                  <a:pt x="82" y="20"/>
                </a:lnTo>
                <a:lnTo>
                  <a:pt x="80" y="24"/>
                </a:lnTo>
                <a:lnTo>
                  <a:pt x="77" y="27"/>
                </a:lnTo>
                <a:lnTo>
                  <a:pt x="74" y="28"/>
                </a:lnTo>
                <a:lnTo>
                  <a:pt x="75" y="28"/>
                </a:lnTo>
                <a:lnTo>
                  <a:pt x="78" y="28"/>
                </a:lnTo>
                <a:lnTo>
                  <a:pt x="81" y="26"/>
                </a:lnTo>
                <a:lnTo>
                  <a:pt x="81" y="26"/>
                </a:lnTo>
                <a:close/>
                <a:moveTo>
                  <a:pt x="7" y="18"/>
                </a:moveTo>
                <a:lnTo>
                  <a:pt x="9" y="17"/>
                </a:lnTo>
                <a:lnTo>
                  <a:pt x="9" y="15"/>
                </a:lnTo>
                <a:lnTo>
                  <a:pt x="9" y="13"/>
                </a:lnTo>
                <a:lnTo>
                  <a:pt x="10" y="13"/>
                </a:lnTo>
                <a:lnTo>
                  <a:pt x="9" y="11"/>
                </a:lnTo>
                <a:lnTo>
                  <a:pt x="8" y="9"/>
                </a:lnTo>
                <a:lnTo>
                  <a:pt x="5" y="9"/>
                </a:lnTo>
                <a:lnTo>
                  <a:pt x="4" y="12"/>
                </a:lnTo>
                <a:lnTo>
                  <a:pt x="6" y="17"/>
                </a:lnTo>
                <a:lnTo>
                  <a:pt x="7" y="18"/>
                </a:lnTo>
                <a:lnTo>
                  <a:pt x="7" y="18"/>
                </a:lnTo>
                <a:lnTo>
                  <a:pt x="7" y="18"/>
                </a:lnTo>
                <a:close/>
                <a:moveTo>
                  <a:pt x="91" y="8"/>
                </a:moveTo>
                <a:lnTo>
                  <a:pt x="94" y="7"/>
                </a:lnTo>
                <a:lnTo>
                  <a:pt x="96" y="5"/>
                </a:lnTo>
                <a:lnTo>
                  <a:pt x="97" y="3"/>
                </a:lnTo>
                <a:lnTo>
                  <a:pt x="97" y="2"/>
                </a:lnTo>
                <a:lnTo>
                  <a:pt x="97" y="0"/>
                </a:lnTo>
                <a:lnTo>
                  <a:pt x="96" y="1"/>
                </a:lnTo>
                <a:lnTo>
                  <a:pt x="95" y="3"/>
                </a:lnTo>
                <a:lnTo>
                  <a:pt x="93" y="3"/>
                </a:lnTo>
                <a:lnTo>
                  <a:pt x="89" y="4"/>
                </a:lnTo>
                <a:lnTo>
                  <a:pt x="89" y="5"/>
                </a:lnTo>
                <a:lnTo>
                  <a:pt x="88" y="9"/>
                </a:lnTo>
                <a:lnTo>
                  <a:pt x="89" y="9"/>
                </a:lnTo>
                <a:lnTo>
                  <a:pt x="91" y="8"/>
                </a:lnTo>
                <a:lnTo>
                  <a:pt x="91" y="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1" name="Freeform: Shape 360">
            <a:extLst>
              <a:ext uri="{FF2B5EF4-FFF2-40B4-BE49-F238E27FC236}">
                <a16:creationId xmlns:a16="http://schemas.microsoft.com/office/drawing/2014/main" id="{584E0DA9-F919-4064-9D87-1F0171AF0EBA}"/>
              </a:ext>
            </a:extLst>
          </p:cNvPr>
          <p:cNvSpPr/>
          <p:nvPr/>
        </p:nvSpPr>
        <p:spPr bwMode="auto">
          <a:xfrm flipV="1">
            <a:off x="2390145" y="2294215"/>
            <a:ext cx="2590432" cy="733955"/>
          </a:xfrm>
          <a:custGeom>
            <a:avLst/>
            <a:gdLst>
              <a:gd name="connsiteX0" fmla="*/ 1490133 w 1490133"/>
              <a:gd name="connsiteY0" fmla="*/ 338667 h 338667"/>
              <a:gd name="connsiteX1" fmla="*/ 0 w 1490133"/>
              <a:gd name="connsiteY1" fmla="*/ 0 h 338667"/>
              <a:gd name="connsiteX0" fmla="*/ 1490133 w 1490133"/>
              <a:gd name="connsiteY0" fmla="*/ 338667 h 338667"/>
              <a:gd name="connsiteX1" fmla="*/ 0 w 1490133"/>
              <a:gd name="connsiteY1" fmla="*/ 0 h 338667"/>
              <a:gd name="connsiteX0" fmla="*/ 1490133 w 1490133"/>
              <a:gd name="connsiteY0" fmla="*/ 348136 h 348136"/>
              <a:gd name="connsiteX1" fmla="*/ 0 w 1490133"/>
              <a:gd name="connsiteY1" fmla="*/ 9469 h 348136"/>
              <a:gd name="connsiteX0" fmla="*/ 1490133 w 1490133"/>
              <a:gd name="connsiteY0" fmla="*/ 350313 h 350313"/>
              <a:gd name="connsiteX1" fmla="*/ 0 w 1490133"/>
              <a:gd name="connsiteY1" fmla="*/ 11646 h 350313"/>
              <a:gd name="connsiteX0" fmla="*/ 1490133 w 1490133"/>
              <a:gd name="connsiteY0" fmla="*/ 338667 h 338667"/>
              <a:gd name="connsiteX1" fmla="*/ 0 w 1490133"/>
              <a:gd name="connsiteY1" fmla="*/ 0 h 338667"/>
              <a:gd name="connsiteX0" fmla="*/ 1490133 w 1490133"/>
              <a:gd name="connsiteY0" fmla="*/ 338667 h 338667"/>
              <a:gd name="connsiteX1" fmla="*/ 0 w 1490133"/>
              <a:gd name="connsiteY1" fmla="*/ 0 h 338667"/>
              <a:gd name="connsiteX0" fmla="*/ 1490133 w 1490133"/>
              <a:gd name="connsiteY0" fmla="*/ 338667 h 338667"/>
              <a:gd name="connsiteX1" fmla="*/ 0 w 1490133"/>
              <a:gd name="connsiteY1" fmla="*/ 0 h 338667"/>
            </a:gdLst>
            <a:ahLst/>
            <a:cxnLst>
              <a:cxn ang="0">
                <a:pos x="connsiteX0" y="connsiteY0"/>
              </a:cxn>
              <a:cxn ang="0">
                <a:pos x="connsiteX1" y="connsiteY1"/>
              </a:cxn>
            </a:cxnLst>
            <a:rect l="l" t="t" r="r" b="b"/>
            <a:pathLst>
              <a:path w="1490133" h="338667">
                <a:moveTo>
                  <a:pt x="1490133" y="338667"/>
                </a:moveTo>
                <a:cubicBezTo>
                  <a:pt x="728010" y="306324"/>
                  <a:pt x="427391" y="217595"/>
                  <a:pt x="0" y="0"/>
                </a:cubicBezTo>
              </a:path>
            </a:pathLst>
          </a:custGeom>
          <a:noFill/>
          <a:ln w="19050" cap="flat" cmpd="sng" algn="ctr">
            <a:solidFill>
              <a:schemeClr val="accent4">
                <a:lumMod val="40000"/>
                <a:lumOff val="60000"/>
              </a:schemeClr>
            </a:solidFill>
            <a:prstDash val="solid"/>
            <a:headEnd type="none" w="med" len="med"/>
            <a:tailEnd type="triangle" w="lg"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362" name="Group 361">
            <a:extLst>
              <a:ext uri="{FF2B5EF4-FFF2-40B4-BE49-F238E27FC236}">
                <a16:creationId xmlns:a16="http://schemas.microsoft.com/office/drawing/2014/main" id="{F20ACFD7-A534-48DA-B8D0-CF8AC2763FA4}"/>
              </a:ext>
            </a:extLst>
          </p:cNvPr>
          <p:cNvGrpSpPr/>
          <p:nvPr/>
        </p:nvGrpSpPr>
        <p:grpSpPr>
          <a:xfrm>
            <a:off x="1428515" y="3390501"/>
            <a:ext cx="397024" cy="397024"/>
            <a:chOff x="-834766" y="2904920"/>
            <a:chExt cx="514726" cy="514726"/>
          </a:xfrm>
        </p:grpSpPr>
        <p:sp>
          <p:nvSpPr>
            <p:cNvPr id="502" name="Oval 501">
              <a:extLst>
                <a:ext uri="{FF2B5EF4-FFF2-40B4-BE49-F238E27FC236}">
                  <a16:creationId xmlns:a16="http://schemas.microsoft.com/office/drawing/2014/main" id="{C1050602-D9C5-4626-8327-24C3019690B4}"/>
                </a:ext>
              </a:extLst>
            </p:cNvPr>
            <p:cNvSpPr/>
            <p:nvPr/>
          </p:nvSpPr>
          <p:spPr bwMode="auto">
            <a:xfrm>
              <a:off x="-834766" y="2904920"/>
              <a:ext cx="514726" cy="514726"/>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3" name="Freeform 65">
              <a:extLst>
                <a:ext uri="{FF2B5EF4-FFF2-40B4-BE49-F238E27FC236}">
                  <a16:creationId xmlns:a16="http://schemas.microsoft.com/office/drawing/2014/main" id="{3828288D-A1E4-4E8F-ADDF-A25E1BA0CB9B}"/>
                </a:ext>
              </a:extLst>
            </p:cNvPr>
            <p:cNvSpPr>
              <a:spLocks/>
            </p:cNvSpPr>
            <p:nvPr/>
          </p:nvSpPr>
          <p:spPr bwMode="auto">
            <a:xfrm>
              <a:off x="-778369" y="2973220"/>
              <a:ext cx="373501" cy="305938"/>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363" name="Group 362">
            <a:extLst>
              <a:ext uri="{FF2B5EF4-FFF2-40B4-BE49-F238E27FC236}">
                <a16:creationId xmlns:a16="http://schemas.microsoft.com/office/drawing/2014/main" id="{DD40CD6B-40F6-4D99-B3EE-7FCF9FDAB9B0}"/>
              </a:ext>
            </a:extLst>
          </p:cNvPr>
          <p:cNvGrpSpPr/>
          <p:nvPr/>
        </p:nvGrpSpPr>
        <p:grpSpPr>
          <a:xfrm>
            <a:off x="2048187" y="2933366"/>
            <a:ext cx="397024" cy="397024"/>
            <a:chOff x="-834766" y="2904920"/>
            <a:chExt cx="514726" cy="514726"/>
          </a:xfrm>
        </p:grpSpPr>
        <p:sp>
          <p:nvSpPr>
            <p:cNvPr id="500" name="Oval 499">
              <a:extLst>
                <a:ext uri="{FF2B5EF4-FFF2-40B4-BE49-F238E27FC236}">
                  <a16:creationId xmlns:a16="http://schemas.microsoft.com/office/drawing/2014/main" id="{F992243E-CDF6-47AF-B0D5-70849D061A3A}"/>
                </a:ext>
              </a:extLst>
            </p:cNvPr>
            <p:cNvSpPr/>
            <p:nvPr/>
          </p:nvSpPr>
          <p:spPr bwMode="auto">
            <a:xfrm>
              <a:off x="-834766" y="2904920"/>
              <a:ext cx="514726" cy="514726"/>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1" name="Freeform 65">
              <a:extLst>
                <a:ext uri="{FF2B5EF4-FFF2-40B4-BE49-F238E27FC236}">
                  <a16:creationId xmlns:a16="http://schemas.microsoft.com/office/drawing/2014/main" id="{6FDBE27A-2808-4D40-9AAC-35D1DFAAFF9A}"/>
                </a:ext>
              </a:extLst>
            </p:cNvPr>
            <p:cNvSpPr>
              <a:spLocks/>
            </p:cNvSpPr>
            <p:nvPr/>
          </p:nvSpPr>
          <p:spPr bwMode="auto">
            <a:xfrm>
              <a:off x="-778369" y="2973220"/>
              <a:ext cx="373501" cy="305938"/>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sp>
        <p:nvSpPr>
          <p:cNvPr id="364" name="Freeform: Shape 363">
            <a:extLst>
              <a:ext uri="{FF2B5EF4-FFF2-40B4-BE49-F238E27FC236}">
                <a16:creationId xmlns:a16="http://schemas.microsoft.com/office/drawing/2014/main" id="{FC5AE04D-06F5-462E-98E7-1DDDD517C90A}"/>
              </a:ext>
            </a:extLst>
          </p:cNvPr>
          <p:cNvSpPr/>
          <p:nvPr/>
        </p:nvSpPr>
        <p:spPr bwMode="auto">
          <a:xfrm flipV="1">
            <a:off x="1673966" y="2050412"/>
            <a:ext cx="3316770" cy="1351086"/>
          </a:xfrm>
          <a:custGeom>
            <a:avLst/>
            <a:gdLst>
              <a:gd name="connsiteX0" fmla="*/ 1490133 w 1490133"/>
              <a:gd name="connsiteY0" fmla="*/ 338667 h 338667"/>
              <a:gd name="connsiteX1" fmla="*/ 0 w 1490133"/>
              <a:gd name="connsiteY1" fmla="*/ 0 h 338667"/>
              <a:gd name="connsiteX0" fmla="*/ 1490133 w 1490133"/>
              <a:gd name="connsiteY0" fmla="*/ 338667 h 338667"/>
              <a:gd name="connsiteX1" fmla="*/ 0 w 1490133"/>
              <a:gd name="connsiteY1" fmla="*/ 0 h 338667"/>
              <a:gd name="connsiteX0" fmla="*/ 1490133 w 1490133"/>
              <a:gd name="connsiteY0" fmla="*/ 348136 h 348136"/>
              <a:gd name="connsiteX1" fmla="*/ 0 w 1490133"/>
              <a:gd name="connsiteY1" fmla="*/ 9469 h 348136"/>
              <a:gd name="connsiteX0" fmla="*/ 1490133 w 1490133"/>
              <a:gd name="connsiteY0" fmla="*/ 350313 h 350313"/>
              <a:gd name="connsiteX1" fmla="*/ 0 w 1490133"/>
              <a:gd name="connsiteY1" fmla="*/ 11646 h 350313"/>
              <a:gd name="connsiteX0" fmla="*/ 1490133 w 1490133"/>
              <a:gd name="connsiteY0" fmla="*/ 338667 h 338667"/>
              <a:gd name="connsiteX1" fmla="*/ 0 w 1490133"/>
              <a:gd name="connsiteY1" fmla="*/ 0 h 338667"/>
              <a:gd name="connsiteX0" fmla="*/ 1490133 w 1490133"/>
              <a:gd name="connsiteY0" fmla="*/ 338667 h 338667"/>
              <a:gd name="connsiteX1" fmla="*/ 0 w 1490133"/>
              <a:gd name="connsiteY1" fmla="*/ 0 h 338667"/>
              <a:gd name="connsiteX0" fmla="*/ 1490133 w 1490133"/>
              <a:gd name="connsiteY0" fmla="*/ 338667 h 338667"/>
              <a:gd name="connsiteX1" fmla="*/ 0 w 1490133"/>
              <a:gd name="connsiteY1" fmla="*/ 0 h 338667"/>
              <a:gd name="connsiteX0" fmla="*/ 1890782 w 1890782"/>
              <a:gd name="connsiteY0" fmla="*/ 608618 h 608618"/>
              <a:gd name="connsiteX1" fmla="*/ 0 w 1890782"/>
              <a:gd name="connsiteY1" fmla="*/ 0 h 608618"/>
              <a:gd name="connsiteX0" fmla="*/ 1890782 w 1890782"/>
              <a:gd name="connsiteY0" fmla="*/ 608618 h 608618"/>
              <a:gd name="connsiteX1" fmla="*/ 0 w 1890782"/>
              <a:gd name="connsiteY1" fmla="*/ 0 h 608618"/>
              <a:gd name="connsiteX0" fmla="*/ 1890782 w 1890782"/>
              <a:gd name="connsiteY0" fmla="*/ 608618 h 716313"/>
              <a:gd name="connsiteX1" fmla="*/ 0 w 1890782"/>
              <a:gd name="connsiteY1" fmla="*/ 0 h 716313"/>
            </a:gdLst>
            <a:ahLst/>
            <a:cxnLst>
              <a:cxn ang="0">
                <a:pos x="connsiteX0" y="connsiteY0"/>
              </a:cxn>
              <a:cxn ang="0">
                <a:pos x="connsiteX1" y="connsiteY1"/>
              </a:cxn>
            </a:cxnLst>
            <a:rect l="l" t="t" r="r" b="b"/>
            <a:pathLst>
              <a:path w="1890782" h="716313">
                <a:moveTo>
                  <a:pt x="1890782" y="608618"/>
                </a:moveTo>
                <a:cubicBezTo>
                  <a:pt x="1116007" y="890400"/>
                  <a:pt x="267131" y="595527"/>
                  <a:pt x="0" y="0"/>
                </a:cubicBezTo>
              </a:path>
            </a:pathLst>
          </a:custGeom>
          <a:noFill/>
          <a:ln w="19050" cap="flat" cmpd="sng" algn="ctr">
            <a:solidFill>
              <a:schemeClr val="accent4">
                <a:lumMod val="40000"/>
                <a:lumOff val="60000"/>
              </a:schemeClr>
            </a:solidFill>
            <a:prstDash val="solid"/>
            <a:headEnd type="none" w="med" len="med"/>
            <a:tailEnd type="triangle" w="lg" len="me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365" name="Group 364">
            <a:extLst>
              <a:ext uri="{FF2B5EF4-FFF2-40B4-BE49-F238E27FC236}">
                <a16:creationId xmlns:a16="http://schemas.microsoft.com/office/drawing/2014/main" id="{CAD592D1-4A2D-4DD6-B923-0195B4CA6AC9}"/>
              </a:ext>
            </a:extLst>
          </p:cNvPr>
          <p:cNvGrpSpPr/>
          <p:nvPr/>
        </p:nvGrpSpPr>
        <p:grpSpPr>
          <a:xfrm>
            <a:off x="8706197" y="2942918"/>
            <a:ext cx="601926" cy="601926"/>
            <a:chOff x="-953625" y="2804996"/>
            <a:chExt cx="821802" cy="821802"/>
          </a:xfrm>
        </p:grpSpPr>
        <p:sp>
          <p:nvSpPr>
            <p:cNvPr id="481" name="Oval 480">
              <a:extLst>
                <a:ext uri="{FF2B5EF4-FFF2-40B4-BE49-F238E27FC236}">
                  <a16:creationId xmlns:a16="http://schemas.microsoft.com/office/drawing/2014/main" id="{B2B1548C-0290-4334-84C9-9E5E11B59FA0}"/>
                </a:ext>
              </a:extLst>
            </p:cNvPr>
            <p:cNvSpPr/>
            <p:nvPr/>
          </p:nvSpPr>
          <p:spPr bwMode="auto">
            <a:xfrm>
              <a:off x="-953625" y="2804996"/>
              <a:ext cx="821802" cy="821802"/>
            </a:xfrm>
            <a:prstGeom prst="ellipse">
              <a:avLst/>
            </a:prstGeom>
            <a:solidFill>
              <a:srgbClr val="FFFFFF"/>
            </a:solidFill>
            <a:ln w="19050" cap="flat" cmpd="sng" algn="ctr">
              <a:solidFill>
                <a:srgbClr val="00205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82" name="Group 481">
              <a:extLst>
                <a:ext uri="{FF2B5EF4-FFF2-40B4-BE49-F238E27FC236}">
                  <a16:creationId xmlns:a16="http://schemas.microsoft.com/office/drawing/2014/main" id="{3E0BD40E-48BB-4D29-ADF7-CC1CB8D4C2AC}"/>
                </a:ext>
              </a:extLst>
            </p:cNvPr>
            <p:cNvGrpSpPr/>
            <p:nvPr/>
          </p:nvGrpSpPr>
          <p:grpSpPr>
            <a:xfrm>
              <a:off x="-856847" y="2866509"/>
              <a:ext cx="587608" cy="587016"/>
              <a:chOff x="-2617788" y="1752600"/>
              <a:chExt cx="3159126" cy="3155951"/>
            </a:xfrm>
            <a:solidFill>
              <a:srgbClr val="002050"/>
            </a:solidFill>
          </p:grpSpPr>
          <p:sp>
            <p:nvSpPr>
              <p:cNvPr id="483" name="Freeform: Shape 482">
                <a:extLst>
                  <a:ext uri="{FF2B5EF4-FFF2-40B4-BE49-F238E27FC236}">
                    <a16:creationId xmlns:a16="http://schemas.microsoft.com/office/drawing/2014/main" id="{FB8EB339-9163-4891-A18F-E0DF318A59F5}"/>
                  </a:ext>
                </a:extLst>
              </p:cNvPr>
              <p:cNvSpPr>
                <a:spLocks/>
              </p:cNvSpPr>
              <p:nvPr/>
            </p:nvSpPr>
            <p:spPr bwMode="auto">
              <a:xfrm>
                <a:off x="-2617788" y="2147888"/>
                <a:ext cx="3159126" cy="2760663"/>
              </a:xfrm>
              <a:custGeom>
                <a:avLst/>
                <a:gdLst>
                  <a:gd name="connsiteX0" fmla="*/ 2293938 w 3159126"/>
                  <a:gd name="connsiteY0" fmla="*/ 2449512 h 2760663"/>
                  <a:gd name="connsiteX1" fmla="*/ 2293938 w 3159126"/>
                  <a:gd name="connsiteY1" fmla="*/ 2687637 h 2760663"/>
                  <a:gd name="connsiteX2" fmla="*/ 2597151 w 3159126"/>
                  <a:gd name="connsiteY2" fmla="*/ 2687637 h 2760663"/>
                  <a:gd name="connsiteX3" fmla="*/ 2597151 w 3159126"/>
                  <a:gd name="connsiteY3" fmla="*/ 2449512 h 2760663"/>
                  <a:gd name="connsiteX4" fmla="*/ 533400 w 3159126"/>
                  <a:gd name="connsiteY4" fmla="*/ 2449512 h 2760663"/>
                  <a:gd name="connsiteX5" fmla="*/ 533400 w 3159126"/>
                  <a:gd name="connsiteY5" fmla="*/ 2687637 h 2760663"/>
                  <a:gd name="connsiteX6" fmla="*/ 838200 w 3159126"/>
                  <a:gd name="connsiteY6" fmla="*/ 2687637 h 2760663"/>
                  <a:gd name="connsiteX7" fmla="*/ 838200 w 3159126"/>
                  <a:gd name="connsiteY7" fmla="*/ 2449512 h 2760663"/>
                  <a:gd name="connsiteX8" fmla="*/ 1601788 w 3159126"/>
                  <a:gd name="connsiteY8" fmla="*/ 1954212 h 2760663"/>
                  <a:gd name="connsiteX9" fmla="*/ 1601788 w 3159126"/>
                  <a:gd name="connsiteY9" fmla="*/ 2687637 h 2760663"/>
                  <a:gd name="connsiteX10" fmla="*/ 1998663 w 3159126"/>
                  <a:gd name="connsiteY10" fmla="*/ 2687637 h 2760663"/>
                  <a:gd name="connsiteX11" fmla="*/ 1998663 w 3159126"/>
                  <a:gd name="connsiteY11" fmla="*/ 1954212 h 2760663"/>
                  <a:gd name="connsiteX12" fmla="*/ 1133475 w 3159126"/>
                  <a:gd name="connsiteY12" fmla="*/ 1954212 h 2760663"/>
                  <a:gd name="connsiteX13" fmla="*/ 1133475 w 3159126"/>
                  <a:gd name="connsiteY13" fmla="*/ 2687637 h 2760663"/>
                  <a:gd name="connsiteX14" fmla="*/ 1528763 w 3159126"/>
                  <a:gd name="connsiteY14" fmla="*/ 2687637 h 2760663"/>
                  <a:gd name="connsiteX15" fmla="*/ 1528763 w 3159126"/>
                  <a:gd name="connsiteY15" fmla="*/ 1954212 h 2760663"/>
                  <a:gd name="connsiteX16" fmla="*/ 1409700 w 3159126"/>
                  <a:gd name="connsiteY16" fmla="*/ 73025 h 2760663"/>
                  <a:gd name="connsiteX17" fmla="*/ 1409700 w 3159126"/>
                  <a:gd name="connsiteY17" fmla="*/ 871538 h 2760663"/>
                  <a:gd name="connsiteX18" fmla="*/ 1058863 w 3159126"/>
                  <a:gd name="connsiteY18" fmla="*/ 1238250 h 2760663"/>
                  <a:gd name="connsiteX19" fmla="*/ 1058863 w 3159126"/>
                  <a:gd name="connsiteY19" fmla="*/ 384175 h 2760663"/>
                  <a:gd name="connsiteX20" fmla="*/ 939800 w 3159126"/>
                  <a:gd name="connsiteY20" fmla="*/ 384175 h 2760663"/>
                  <a:gd name="connsiteX21" fmla="*/ 295275 w 3159126"/>
                  <a:gd name="connsiteY21" fmla="*/ 1054100 h 2760663"/>
                  <a:gd name="connsiteX22" fmla="*/ 295275 w 3159126"/>
                  <a:gd name="connsiteY22" fmla="*/ 2687638 h 2760663"/>
                  <a:gd name="connsiteX23" fmla="*/ 460375 w 3159126"/>
                  <a:gd name="connsiteY23" fmla="*/ 2687638 h 2760663"/>
                  <a:gd name="connsiteX24" fmla="*/ 460375 w 3159126"/>
                  <a:gd name="connsiteY24" fmla="*/ 2374901 h 2760663"/>
                  <a:gd name="connsiteX25" fmla="*/ 911225 w 3159126"/>
                  <a:gd name="connsiteY25" fmla="*/ 2374901 h 2760663"/>
                  <a:gd name="connsiteX26" fmla="*/ 911225 w 3159126"/>
                  <a:gd name="connsiteY26" fmla="*/ 2687638 h 2760663"/>
                  <a:gd name="connsiteX27" fmla="*/ 1058863 w 3159126"/>
                  <a:gd name="connsiteY27" fmla="*/ 2687638 h 2760663"/>
                  <a:gd name="connsiteX28" fmla="*/ 1058863 w 3159126"/>
                  <a:gd name="connsiteY28" fmla="*/ 1879601 h 2760663"/>
                  <a:gd name="connsiteX29" fmla="*/ 2071688 w 3159126"/>
                  <a:gd name="connsiteY29" fmla="*/ 1879601 h 2760663"/>
                  <a:gd name="connsiteX30" fmla="*/ 2071688 w 3159126"/>
                  <a:gd name="connsiteY30" fmla="*/ 2687638 h 2760663"/>
                  <a:gd name="connsiteX31" fmla="*/ 2219325 w 3159126"/>
                  <a:gd name="connsiteY31" fmla="*/ 2687638 h 2760663"/>
                  <a:gd name="connsiteX32" fmla="*/ 2219325 w 3159126"/>
                  <a:gd name="connsiteY32" fmla="*/ 2374901 h 2760663"/>
                  <a:gd name="connsiteX33" fmla="*/ 2671763 w 3159126"/>
                  <a:gd name="connsiteY33" fmla="*/ 2374901 h 2760663"/>
                  <a:gd name="connsiteX34" fmla="*/ 2671763 w 3159126"/>
                  <a:gd name="connsiteY34" fmla="*/ 2687638 h 2760663"/>
                  <a:gd name="connsiteX35" fmla="*/ 2855913 w 3159126"/>
                  <a:gd name="connsiteY35" fmla="*/ 2687638 h 2760663"/>
                  <a:gd name="connsiteX36" fmla="*/ 2855913 w 3159126"/>
                  <a:gd name="connsiteY36" fmla="*/ 384175 h 2760663"/>
                  <a:gd name="connsiteX37" fmla="*/ 2781301 w 3159126"/>
                  <a:gd name="connsiteY37" fmla="*/ 384175 h 2760663"/>
                  <a:gd name="connsiteX38" fmla="*/ 1962150 w 3159126"/>
                  <a:gd name="connsiteY38" fmla="*/ 1238250 h 2760663"/>
                  <a:gd name="connsiteX39" fmla="*/ 1962150 w 3159126"/>
                  <a:gd name="connsiteY39" fmla="*/ 384175 h 2760663"/>
                  <a:gd name="connsiteX40" fmla="*/ 1879600 w 3159126"/>
                  <a:gd name="connsiteY40" fmla="*/ 384175 h 2760663"/>
                  <a:gd name="connsiteX41" fmla="*/ 1601788 w 3159126"/>
                  <a:gd name="connsiteY41" fmla="*/ 669925 h 2760663"/>
                  <a:gd name="connsiteX42" fmla="*/ 1601788 w 3159126"/>
                  <a:gd name="connsiteY42" fmla="*/ 73025 h 2760663"/>
                  <a:gd name="connsiteX43" fmla="*/ 1335088 w 3159126"/>
                  <a:gd name="connsiteY43" fmla="*/ 0 h 2760663"/>
                  <a:gd name="connsiteX44" fmla="*/ 1676401 w 3159126"/>
                  <a:gd name="connsiteY44" fmla="*/ 0 h 2760663"/>
                  <a:gd name="connsiteX45" fmla="*/ 1676401 w 3159126"/>
                  <a:gd name="connsiteY45" fmla="*/ 485775 h 2760663"/>
                  <a:gd name="connsiteX46" fmla="*/ 1841501 w 3159126"/>
                  <a:gd name="connsiteY46" fmla="*/ 311150 h 2760663"/>
                  <a:gd name="connsiteX47" fmla="*/ 2035176 w 3159126"/>
                  <a:gd name="connsiteY47" fmla="*/ 311150 h 2760663"/>
                  <a:gd name="connsiteX48" fmla="*/ 2035176 w 3159126"/>
                  <a:gd name="connsiteY48" fmla="*/ 1054100 h 2760663"/>
                  <a:gd name="connsiteX49" fmla="*/ 2744788 w 3159126"/>
                  <a:gd name="connsiteY49" fmla="*/ 311150 h 2760663"/>
                  <a:gd name="connsiteX50" fmla="*/ 2928939 w 3159126"/>
                  <a:gd name="connsiteY50" fmla="*/ 311150 h 2760663"/>
                  <a:gd name="connsiteX51" fmla="*/ 2928939 w 3159126"/>
                  <a:gd name="connsiteY51" fmla="*/ 2687638 h 2760663"/>
                  <a:gd name="connsiteX52" fmla="*/ 3159126 w 3159126"/>
                  <a:gd name="connsiteY52" fmla="*/ 2687638 h 2760663"/>
                  <a:gd name="connsiteX53" fmla="*/ 3159126 w 3159126"/>
                  <a:gd name="connsiteY53" fmla="*/ 2760663 h 2760663"/>
                  <a:gd name="connsiteX54" fmla="*/ 0 w 3159126"/>
                  <a:gd name="connsiteY54" fmla="*/ 2760663 h 2760663"/>
                  <a:gd name="connsiteX55" fmla="*/ 0 w 3159126"/>
                  <a:gd name="connsiteY55" fmla="*/ 2687638 h 2760663"/>
                  <a:gd name="connsiteX56" fmla="*/ 220663 w 3159126"/>
                  <a:gd name="connsiteY56" fmla="*/ 2687638 h 2760663"/>
                  <a:gd name="connsiteX57" fmla="*/ 220663 w 3159126"/>
                  <a:gd name="connsiteY57" fmla="*/ 1027113 h 2760663"/>
                  <a:gd name="connsiteX58" fmla="*/ 903288 w 3159126"/>
                  <a:gd name="connsiteY58" fmla="*/ 311150 h 2760663"/>
                  <a:gd name="connsiteX59" fmla="*/ 1133475 w 3159126"/>
                  <a:gd name="connsiteY59" fmla="*/ 311150 h 2760663"/>
                  <a:gd name="connsiteX60" fmla="*/ 1133475 w 3159126"/>
                  <a:gd name="connsiteY60" fmla="*/ 1054100 h 2760663"/>
                  <a:gd name="connsiteX61" fmla="*/ 1335088 w 3159126"/>
                  <a:gd name="connsiteY61" fmla="*/ 842963 h 276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159126" h="2760663">
                    <a:moveTo>
                      <a:pt x="2293938" y="2449512"/>
                    </a:moveTo>
                    <a:lnTo>
                      <a:pt x="2293938" y="2687637"/>
                    </a:lnTo>
                    <a:lnTo>
                      <a:pt x="2597151" y="2687637"/>
                    </a:lnTo>
                    <a:lnTo>
                      <a:pt x="2597151" y="2449512"/>
                    </a:lnTo>
                    <a:close/>
                    <a:moveTo>
                      <a:pt x="533400" y="2449512"/>
                    </a:moveTo>
                    <a:lnTo>
                      <a:pt x="533400" y="2687637"/>
                    </a:lnTo>
                    <a:lnTo>
                      <a:pt x="838200" y="2687637"/>
                    </a:lnTo>
                    <a:lnTo>
                      <a:pt x="838200" y="2449512"/>
                    </a:lnTo>
                    <a:close/>
                    <a:moveTo>
                      <a:pt x="1601788" y="1954212"/>
                    </a:moveTo>
                    <a:lnTo>
                      <a:pt x="1601788" y="2687637"/>
                    </a:lnTo>
                    <a:lnTo>
                      <a:pt x="1998663" y="2687637"/>
                    </a:lnTo>
                    <a:lnTo>
                      <a:pt x="1998663" y="1954212"/>
                    </a:lnTo>
                    <a:close/>
                    <a:moveTo>
                      <a:pt x="1133475" y="1954212"/>
                    </a:moveTo>
                    <a:lnTo>
                      <a:pt x="1133475" y="2687637"/>
                    </a:lnTo>
                    <a:lnTo>
                      <a:pt x="1528763" y="2687637"/>
                    </a:lnTo>
                    <a:lnTo>
                      <a:pt x="1528763" y="1954212"/>
                    </a:lnTo>
                    <a:close/>
                    <a:moveTo>
                      <a:pt x="1409700" y="73025"/>
                    </a:moveTo>
                    <a:lnTo>
                      <a:pt x="1409700" y="871538"/>
                    </a:lnTo>
                    <a:lnTo>
                      <a:pt x="1058863" y="1238250"/>
                    </a:lnTo>
                    <a:lnTo>
                      <a:pt x="1058863" y="384175"/>
                    </a:lnTo>
                    <a:lnTo>
                      <a:pt x="939800" y="384175"/>
                    </a:lnTo>
                    <a:lnTo>
                      <a:pt x="295275" y="1054100"/>
                    </a:lnTo>
                    <a:lnTo>
                      <a:pt x="295275" y="2687638"/>
                    </a:lnTo>
                    <a:lnTo>
                      <a:pt x="460375" y="2687638"/>
                    </a:lnTo>
                    <a:lnTo>
                      <a:pt x="460375" y="2374901"/>
                    </a:lnTo>
                    <a:lnTo>
                      <a:pt x="911225" y="2374901"/>
                    </a:lnTo>
                    <a:lnTo>
                      <a:pt x="911225" y="2687638"/>
                    </a:lnTo>
                    <a:lnTo>
                      <a:pt x="1058863" y="2687638"/>
                    </a:lnTo>
                    <a:lnTo>
                      <a:pt x="1058863" y="1879601"/>
                    </a:lnTo>
                    <a:lnTo>
                      <a:pt x="2071688" y="1879601"/>
                    </a:lnTo>
                    <a:lnTo>
                      <a:pt x="2071688" y="2687638"/>
                    </a:lnTo>
                    <a:lnTo>
                      <a:pt x="2219325" y="2687638"/>
                    </a:lnTo>
                    <a:lnTo>
                      <a:pt x="2219325" y="2374901"/>
                    </a:lnTo>
                    <a:lnTo>
                      <a:pt x="2671763" y="2374901"/>
                    </a:lnTo>
                    <a:lnTo>
                      <a:pt x="2671763" y="2687638"/>
                    </a:lnTo>
                    <a:lnTo>
                      <a:pt x="2855913" y="2687638"/>
                    </a:lnTo>
                    <a:lnTo>
                      <a:pt x="2855913" y="384175"/>
                    </a:lnTo>
                    <a:lnTo>
                      <a:pt x="2781301" y="384175"/>
                    </a:lnTo>
                    <a:lnTo>
                      <a:pt x="1962150" y="1238250"/>
                    </a:lnTo>
                    <a:lnTo>
                      <a:pt x="1962150" y="384175"/>
                    </a:lnTo>
                    <a:lnTo>
                      <a:pt x="1879600" y="384175"/>
                    </a:lnTo>
                    <a:lnTo>
                      <a:pt x="1601788" y="669925"/>
                    </a:lnTo>
                    <a:lnTo>
                      <a:pt x="1601788" y="73025"/>
                    </a:lnTo>
                    <a:close/>
                    <a:moveTo>
                      <a:pt x="1335088" y="0"/>
                    </a:moveTo>
                    <a:lnTo>
                      <a:pt x="1676401" y="0"/>
                    </a:lnTo>
                    <a:lnTo>
                      <a:pt x="1676401" y="485775"/>
                    </a:lnTo>
                    <a:lnTo>
                      <a:pt x="1841501" y="311150"/>
                    </a:lnTo>
                    <a:lnTo>
                      <a:pt x="2035176" y="311150"/>
                    </a:lnTo>
                    <a:lnTo>
                      <a:pt x="2035176" y="1054100"/>
                    </a:lnTo>
                    <a:lnTo>
                      <a:pt x="2744788" y="311150"/>
                    </a:lnTo>
                    <a:lnTo>
                      <a:pt x="2928939" y="311150"/>
                    </a:lnTo>
                    <a:lnTo>
                      <a:pt x="2928939" y="2687638"/>
                    </a:lnTo>
                    <a:lnTo>
                      <a:pt x="3159126" y="2687638"/>
                    </a:lnTo>
                    <a:lnTo>
                      <a:pt x="3159126" y="2760663"/>
                    </a:lnTo>
                    <a:lnTo>
                      <a:pt x="0" y="2760663"/>
                    </a:lnTo>
                    <a:lnTo>
                      <a:pt x="0" y="2687638"/>
                    </a:lnTo>
                    <a:lnTo>
                      <a:pt x="220663" y="2687638"/>
                    </a:lnTo>
                    <a:lnTo>
                      <a:pt x="220663" y="1027113"/>
                    </a:lnTo>
                    <a:lnTo>
                      <a:pt x="903288" y="311150"/>
                    </a:lnTo>
                    <a:lnTo>
                      <a:pt x="1133475" y="311150"/>
                    </a:lnTo>
                    <a:lnTo>
                      <a:pt x="1133475" y="1054100"/>
                    </a:lnTo>
                    <a:lnTo>
                      <a:pt x="1335088" y="8429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84" name="Freeform: Shape 483">
                <a:extLst>
                  <a:ext uri="{FF2B5EF4-FFF2-40B4-BE49-F238E27FC236}">
                    <a16:creationId xmlns:a16="http://schemas.microsoft.com/office/drawing/2014/main" id="{94BD44A3-A6BA-4F34-9F38-F523445556D6}"/>
                  </a:ext>
                </a:extLst>
              </p:cNvPr>
              <p:cNvSpPr>
                <a:spLocks noChangeArrowheads="1"/>
              </p:cNvSpPr>
              <p:nvPr/>
            </p:nvSpPr>
            <p:spPr bwMode="auto">
              <a:xfrm>
                <a:off x="-2157413" y="3532188"/>
                <a:ext cx="450850" cy="404813"/>
              </a:xfrm>
              <a:custGeom>
                <a:avLst/>
                <a:gdLst>
                  <a:gd name="connsiteX0" fmla="*/ 73025 w 450850"/>
                  <a:gd name="connsiteY0" fmla="*/ 74612 h 404813"/>
                  <a:gd name="connsiteX1" fmla="*/ 73025 w 450850"/>
                  <a:gd name="connsiteY1" fmla="*/ 330200 h 404813"/>
                  <a:gd name="connsiteX2" fmla="*/ 377825 w 450850"/>
                  <a:gd name="connsiteY2" fmla="*/ 330200 h 404813"/>
                  <a:gd name="connsiteX3" fmla="*/ 377825 w 450850"/>
                  <a:gd name="connsiteY3" fmla="*/ 74612 h 404813"/>
                  <a:gd name="connsiteX4" fmla="*/ 0 w 450850"/>
                  <a:gd name="connsiteY4" fmla="*/ 0 h 404813"/>
                  <a:gd name="connsiteX5" fmla="*/ 450850 w 450850"/>
                  <a:gd name="connsiteY5" fmla="*/ 0 h 404813"/>
                  <a:gd name="connsiteX6" fmla="*/ 450850 w 450850"/>
                  <a:gd name="connsiteY6" fmla="*/ 404813 h 404813"/>
                  <a:gd name="connsiteX7" fmla="*/ 0 w 450850"/>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850" h="404813">
                    <a:moveTo>
                      <a:pt x="73025" y="74612"/>
                    </a:moveTo>
                    <a:lnTo>
                      <a:pt x="73025" y="330200"/>
                    </a:lnTo>
                    <a:lnTo>
                      <a:pt x="377825" y="330200"/>
                    </a:lnTo>
                    <a:lnTo>
                      <a:pt x="377825" y="74612"/>
                    </a:lnTo>
                    <a:close/>
                    <a:moveTo>
                      <a:pt x="0" y="0"/>
                    </a:moveTo>
                    <a:lnTo>
                      <a:pt x="450850" y="0"/>
                    </a:lnTo>
                    <a:lnTo>
                      <a:pt x="450850"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85" name="Freeform: Shape 484">
                <a:extLst>
                  <a:ext uri="{FF2B5EF4-FFF2-40B4-BE49-F238E27FC236}">
                    <a16:creationId xmlns:a16="http://schemas.microsoft.com/office/drawing/2014/main" id="{BB71F90E-E333-468A-A34C-88B9EA945B6F}"/>
                  </a:ext>
                </a:extLst>
              </p:cNvPr>
              <p:cNvSpPr>
                <a:spLocks noChangeArrowheads="1"/>
              </p:cNvSpPr>
              <p:nvPr/>
            </p:nvSpPr>
            <p:spPr bwMode="auto">
              <a:xfrm>
                <a:off x="-1558925" y="3532188"/>
                <a:ext cx="442913" cy="404813"/>
              </a:xfrm>
              <a:custGeom>
                <a:avLst/>
                <a:gdLst>
                  <a:gd name="connsiteX0" fmla="*/ 74612 w 442913"/>
                  <a:gd name="connsiteY0" fmla="*/ 74612 h 404813"/>
                  <a:gd name="connsiteX1" fmla="*/ 74612 w 442913"/>
                  <a:gd name="connsiteY1" fmla="*/ 330200 h 404813"/>
                  <a:gd name="connsiteX2" fmla="*/ 368300 w 442913"/>
                  <a:gd name="connsiteY2" fmla="*/ 330200 h 404813"/>
                  <a:gd name="connsiteX3" fmla="*/ 368300 w 442913"/>
                  <a:gd name="connsiteY3" fmla="*/ 74612 h 404813"/>
                  <a:gd name="connsiteX4" fmla="*/ 0 w 442913"/>
                  <a:gd name="connsiteY4" fmla="*/ 0 h 404813"/>
                  <a:gd name="connsiteX5" fmla="*/ 442913 w 442913"/>
                  <a:gd name="connsiteY5" fmla="*/ 0 h 404813"/>
                  <a:gd name="connsiteX6" fmla="*/ 442913 w 442913"/>
                  <a:gd name="connsiteY6" fmla="*/ 404813 h 404813"/>
                  <a:gd name="connsiteX7" fmla="*/ 0 w 442913"/>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2913" h="404813">
                    <a:moveTo>
                      <a:pt x="74612" y="74612"/>
                    </a:moveTo>
                    <a:lnTo>
                      <a:pt x="74612" y="330200"/>
                    </a:lnTo>
                    <a:lnTo>
                      <a:pt x="368300" y="330200"/>
                    </a:lnTo>
                    <a:lnTo>
                      <a:pt x="368300" y="74612"/>
                    </a:lnTo>
                    <a:close/>
                    <a:moveTo>
                      <a:pt x="0" y="0"/>
                    </a:moveTo>
                    <a:lnTo>
                      <a:pt x="442913" y="0"/>
                    </a:lnTo>
                    <a:lnTo>
                      <a:pt x="442913"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86" name="Freeform: Shape 485">
                <a:extLst>
                  <a:ext uri="{FF2B5EF4-FFF2-40B4-BE49-F238E27FC236}">
                    <a16:creationId xmlns:a16="http://schemas.microsoft.com/office/drawing/2014/main" id="{535DDF20-E6CF-45AC-ADA3-E9CF0DF556B5}"/>
                  </a:ext>
                </a:extLst>
              </p:cNvPr>
              <p:cNvSpPr>
                <a:spLocks noChangeArrowheads="1"/>
              </p:cNvSpPr>
              <p:nvPr/>
            </p:nvSpPr>
            <p:spPr bwMode="auto">
              <a:xfrm>
                <a:off x="-977900" y="3532188"/>
                <a:ext cx="431800" cy="404813"/>
              </a:xfrm>
              <a:custGeom>
                <a:avLst/>
                <a:gdLst>
                  <a:gd name="connsiteX0" fmla="*/ 73025 w 431800"/>
                  <a:gd name="connsiteY0" fmla="*/ 74612 h 404813"/>
                  <a:gd name="connsiteX1" fmla="*/ 73025 w 431800"/>
                  <a:gd name="connsiteY1" fmla="*/ 330200 h 404813"/>
                  <a:gd name="connsiteX2" fmla="*/ 358775 w 431800"/>
                  <a:gd name="connsiteY2" fmla="*/ 330200 h 404813"/>
                  <a:gd name="connsiteX3" fmla="*/ 358775 w 431800"/>
                  <a:gd name="connsiteY3" fmla="*/ 74612 h 404813"/>
                  <a:gd name="connsiteX4" fmla="*/ 0 w 431800"/>
                  <a:gd name="connsiteY4" fmla="*/ 0 h 404813"/>
                  <a:gd name="connsiteX5" fmla="*/ 431800 w 431800"/>
                  <a:gd name="connsiteY5" fmla="*/ 0 h 404813"/>
                  <a:gd name="connsiteX6" fmla="*/ 431800 w 431800"/>
                  <a:gd name="connsiteY6" fmla="*/ 404813 h 404813"/>
                  <a:gd name="connsiteX7" fmla="*/ 0 w 431800"/>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1800" h="404813">
                    <a:moveTo>
                      <a:pt x="73025" y="74612"/>
                    </a:moveTo>
                    <a:lnTo>
                      <a:pt x="73025" y="330200"/>
                    </a:lnTo>
                    <a:lnTo>
                      <a:pt x="358775" y="330200"/>
                    </a:lnTo>
                    <a:lnTo>
                      <a:pt x="358775" y="74612"/>
                    </a:lnTo>
                    <a:close/>
                    <a:moveTo>
                      <a:pt x="0" y="0"/>
                    </a:moveTo>
                    <a:lnTo>
                      <a:pt x="431800" y="0"/>
                    </a:lnTo>
                    <a:lnTo>
                      <a:pt x="431800"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87" name="Freeform: Shape 486">
                <a:extLst>
                  <a:ext uri="{FF2B5EF4-FFF2-40B4-BE49-F238E27FC236}">
                    <a16:creationId xmlns:a16="http://schemas.microsoft.com/office/drawing/2014/main" id="{F038A52B-59ED-4732-8C38-B402E47C8FBC}"/>
                  </a:ext>
                </a:extLst>
              </p:cNvPr>
              <p:cNvSpPr>
                <a:spLocks noChangeArrowheads="1"/>
              </p:cNvSpPr>
              <p:nvPr/>
            </p:nvSpPr>
            <p:spPr bwMode="auto">
              <a:xfrm>
                <a:off x="-398462" y="3532188"/>
                <a:ext cx="452438" cy="404813"/>
              </a:xfrm>
              <a:custGeom>
                <a:avLst/>
                <a:gdLst>
                  <a:gd name="connsiteX0" fmla="*/ 74612 w 452438"/>
                  <a:gd name="connsiteY0" fmla="*/ 74612 h 404813"/>
                  <a:gd name="connsiteX1" fmla="*/ 74612 w 452438"/>
                  <a:gd name="connsiteY1" fmla="*/ 330200 h 404813"/>
                  <a:gd name="connsiteX2" fmla="*/ 377825 w 452438"/>
                  <a:gd name="connsiteY2" fmla="*/ 330200 h 404813"/>
                  <a:gd name="connsiteX3" fmla="*/ 377825 w 452438"/>
                  <a:gd name="connsiteY3" fmla="*/ 74612 h 404813"/>
                  <a:gd name="connsiteX4" fmla="*/ 0 w 452438"/>
                  <a:gd name="connsiteY4" fmla="*/ 0 h 404813"/>
                  <a:gd name="connsiteX5" fmla="*/ 452438 w 452438"/>
                  <a:gd name="connsiteY5" fmla="*/ 0 h 404813"/>
                  <a:gd name="connsiteX6" fmla="*/ 452438 w 452438"/>
                  <a:gd name="connsiteY6" fmla="*/ 404813 h 404813"/>
                  <a:gd name="connsiteX7" fmla="*/ 0 w 452438"/>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2438" h="404813">
                    <a:moveTo>
                      <a:pt x="74612" y="74612"/>
                    </a:moveTo>
                    <a:lnTo>
                      <a:pt x="74612" y="330200"/>
                    </a:lnTo>
                    <a:lnTo>
                      <a:pt x="377825" y="330200"/>
                    </a:lnTo>
                    <a:lnTo>
                      <a:pt x="377825" y="74612"/>
                    </a:lnTo>
                    <a:close/>
                    <a:moveTo>
                      <a:pt x="0" y="0"/>
                    </a:moveTo>
                    <a:lnTo>
                      <a:pt x="452438" y="0"/>
                    </a:lnTo>
                    <a:lnTo>
                      <a:pt x="452438"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88" name="Freeform: Shape 487">
                <a:extLst>
                  <a:ext uri="{FF2B5EF4-FFF2-40B4-BE49-F238E27FC236}">
                    <a16:creationId xmlns:a16="http://schemas.microsoft.com/office/drawing/2014/main" id="{5866CC4F-8766-4216-900B-8F234D7AA0A4}"/>
                  </a:ext>
                </a:extLst>
              </p:cNvPr>
              <p:cNvSpPr>
                <a:spLocks noChangeArrowheads="1"/>
              </p:cNvSpPr>
              <p:nvPr/>
            </p:nvSpPr>
            <p:spPr bwMode="auto">
              <a:xfrm>
                <a:off x="-2157413" y="4027488"/>
                <a:ext cx="450850" cy="404813"/>
              </a:xfrm>
              <a:custGeom>
                <a:avLst/>
                <a:gdLst>
                  <a:gd name="connsiteX0" fmla="*/ 73025 w 450850"/>
                  <a:gd name="connsiteY0" fmla="*/ 74612 h 404813"/>
                  <a:gd name="connsiteX1" fmla="*/ 73025 w 450850"/>
                  <a:gd name="connsiteY1" fmla="*/ 330200 h 404813"/>
                  <a:gd name="connsiteX2" fmla="*/ 377825 w 450850"/>
                  <a:gd name="connsiteY2" fmla="*/ 330200 h 404813"/>
                  <a:gd name="connsiteX3" fmla="*/ 377825 w 450850"/>
                  <a:gd name="connsiteY3" fmla="*/ 74612 h 404813"/>
                  <a:gd name="connsiteX4" fmla="*/ 0 w 450850"/>
                  <a:gd name="connsiteY4" fmla="*/ 0 h 404813"/>
                  <a:gd name="connsiteX5" fmla="*/ 450850 w 450850"/>
                  <a:gd name="connsiteY5" fmla="*/ 0 h 404813"/>
                  <a:gd name="connsiteX6" fmla="*/ 450850 w 450850"/>
                  <a:gd name="connsiteY6" fmla="*/ 404813 h 404813"/>
                  <a:gd name="connsiteX7" fmla="*/ 0 w 450850"/>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850" h="404813">
                    <a:moveTo>
                      <a:pt x="73025" y="74612"/>
                    </a:moveTo>
                    <a:lnTo>
                      <a:pt x="73025" y="330200"/>
                    </a:lnTo>
                    <a:lnTo>
                      <a:pt x="377825" y="330200"/>
                    </a:lnTo>
                    <a:lnTo>
                      <a:pt x="377825" y="74612"/>
                    </a:lnTo>
                    <a:close/>
                    <a:moveTo>
                      <a:pt x="0" y="0"/>
                    </a:moveTo>
                    <a:lnTo>
                      <a:pt x="450850" y="0"/>
                    </a:lnTo>
                    <a:lnTo>
                      <a:pt x="450850"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89" name="Freeform: Shape 488">
                <a:extLst>
                  <a:ext uri="{FF2B5EF4-FFF2-40B4-BE49-F238E27FC236}">
                    <a16:creationId xmlns:a16="http://schemas.microsoft.com/office/drawing/2014/main" id="{D18ED1E4-6D49-440A-BD43-AD5A383C8599}"/>
                  </a:ext>
                </a:extLst>
              </p:cNvPr>
              <p:cNvSpPr>
                <a:spLocks noChangeArrowheads="1"/>
              </p:cNvSpPr>
              <p:nvPr/>
            </p:nvSpPr>
            <p:spPr bwMode="auto">
              <a:xfrm>
                <a:off x="-398462" y="4027488"/>
                <a:ext cx="452438" cy="404813"/>
              </a:xfrm>
              <a:custGeom>
                <a:avLst/>
                <a:gdLst>
                  <a:gd name="connsiteX0" fmla="*/ 74612 w 452438"/>
                  <a:gd name="connsiteY0" fmla="*/ 74612 h 404813"/>
                  <a:gd name="connsiteX1" fmla="*/ 74612 w 452438"/>
                  <a:gd name="connsiteY1" fmla="*/ 330200 h 404813"/>
                  <a:gd name="connsiteX2" fmla="*/ 377825 w 452438"/>
                  <a:gd name="connsiteY2" fmla="*/ 330200 h 404813"/>
                  <a:gd name="connsiteX3" fmla="*/ 377825 w 452438"/>
                  <a:gd name="connsiteY3" fmla="*/ 74612 h 404813"/>
                  <a:gd name="connsiteX4" fmla="*/ 0 w 452438"/>
                  <a:gd name="connsiteY4" fmla="*/ 0 h 404813"/>
                  <a:gd name="connsiteX5" fmla="*/ 452438 w 452438"/>
                  <a:gd name="connsiteY5" fmla="*/ 0 h 404813"/>
                  <a:gd name="connsiteX6" fmla="*/ 452438 w 452438"/>
                  <a:gd name="connsiteY6" fmla="*/ 404813 h 404813"/>
                  <a:gd name="connsiteX7" fmla="*/ 0 w 452438"/>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2438" h="404813">
                    <a:moveTo>
                      <a:pt x="74612" y="74612"/>
                    </a:moveTo>
                    <a:lnTo>
                      <a:pt x="74612" y="330200"/>
                    </a:lnTo>
                    <a:lnTo>
                      <a:pt x="377825" y="330200"/>
                    </a:lnTo>
                    <a:lnTo>
                      <a:pt x="377825" y="74612"/>
                    </a:lnTo>
                    <a:close/>
                    <a:moveTo>
                      <a:pt x="0" y="0"/>
                    </a:moveTo>
                    <a:lnTo>
                      <a:pt x="452438" y="0"/>
                    </a:lnTo>
                    <a:lnTo>
                      <a:pt x="452438"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90" name="Rectangle 29">
                <a:extLst>
                  <a:ext uri="{FF2B5EF4-FFF2-40B4-BE49-F238E27FC236}">
                    <a16:creationId xmlns:a16="http://schemas.microsoft.com/office/drawing/2014/main" id="{AAEC447B-7FA5-4A38-925D-DE6EE852EF14}"/>
                  </a:ext>
                </a:extLst>
              </p:cNvPr>
              <p:cNvSpPr>
                <a:spLocks noChangeArrowheads="1"/>
              </p:cNvSpPr>
              <p:nvPr/>
            </p:nvSpPr>
            <p:spPr bwMode="auto">
              <a:xfrm>
                <a:off x="-1217613" y="4395788"/>
                <a:ext cx="73025" cy="109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91" name="Rectangle 30">
                <a:extLst>
                  <a:ext uri="{FF2B5EF4-FFF2-40B4-BE49-F238E27FC236}">
                    <a16:creationId xmlns:a16="http://schemas.microsoft.com/office/drawing/2014/main" id="{DFD34DF9-E5C5-4B53-89AB-C46EB4B97003}"/>
                  </a:ext>
                </a:extLst>
              </p:cNvPr>
              <p:cNvSpPr>
                <a:spLocks noChangeArrowheads="1"/>
              </p:cNvSpPr>
              <p:nvPr/>
            </p:nvSpPr>
            <p:spPr bwMode="auto">
              <a:xfrm>
                <a:off x="-950912" y="4395788"/>
                <a:ext cx="74613" cy="109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92" name="Rectangle 31">
                <a:extLst>
                  <a:ext uri="{FF2B5EF4-FFF2-40B4-BE49-F238E27FC236}">
                    <a16:creationId xmlns:a16="http://schemas.microsoft.com/office/drawing/2014/main" id="{378DAB4E-0F6A-44E2-8E48-D8752FBFAE9D}"/>
                  </a:ext>
                </a:extLst>
              </p:cNvPr>
              <p:cNvSpPr>
                <a:spLocks noChangeArrowheads="1"/>
              </p:cNvSpPr>
              <p:nvPr/>
            </p:nvSpPr>
            <p:spPr bwMode="auto">
              <a:xfrm>
                <a:off x="-1190625" y="1881188"/>
                <a:ext cx="74613" cy="2111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93" name="Rectangle 32">
                <a:extLst>
                  <a:ext uri="{FF2B5EF4-FFF2-40B4-BE49-F238E27FC236}">
                    <a16:creationId xmlns:a16="http://schemas.microsoft.com/office/drawing/2014/main" id="{349A54BA-ADE0-4D10-BB33-2A40BFE89C7B}"/>
                  </a:ext>
                </a:extLst>
              </p:cNvPr>
              <p:cNvSpPr>
                <a:spLocks noChangeArrowheads="1"/>
              </p:cNvSpPr>
              <p:nvPr/>
            </p:nvSpPr>
            <p:spPr bwMode="auto">
              <a:xfrm>
                <a:off x="-1098550" y="1752600"/>
                <a:ext cx="74613" cy="339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94" name="Rectangle 33">
                <a:extLst>
                  <a:ext uri="{FF2B5EF4-FFF2-40B4-BE49-F238E27FC236}">
                    <a16:creationId xmlns:a16="http://schemas.microsoft.com/office/drawing/2014/main" id="{93C2EC81-3CED-4431-A32B-86AFAEDF7ACE}"/>
                  </a:ext>
                </a:extLst>
              </p:cNvPr>
              <p:cNvSpPr>
                <a:spLocks noChangeArrowheads="1"/>
              </p:cNvSpPr>
              <p:nvPr/>
            </p:nvSpPr>
            <p:spPr bwMode="auto">
              <a:xfrm>
                <a:off x="-1706563" y="2679700"/>
                <a:ext cx="74613" cy="385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95" name="Rectangle 34">
                <a:extLst>
                  <a:ext uri="{FF2B5EF4-FFF2-40B4-BE49-F238E27FC236}">
                    <a16:creationId xmlns:a16="http://schemas.microsoft.com/office/drawing/2014/main" id="{D29EA391-6F19-4CAF-8505-3539A3EA1630}"/>
                  </a:ext>
                </a:extLst>
              </p:cNvPr>
              <p:cNvSpPr>
                <a:spLocks noChangeArrowheads="1"/>
              </p:cNvSpPr>
              <p:nvPr/>
            </p:nvSpPr>
            <p:spPr bwMode="auto">
              <a:xfrm>
                <a:off x="-1706563" y="3138488"/>
                <a:ext cx="74613" cy="2016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96" name="Rectangle 35">
                <a:extLst>
                  <a:ext uri="{FF2B5EF4-FFF2-40B4-BE49-F238E27FC236}">
                    <a16:creationId xmlns:a16="http://schemas.microsoft.com/office/drawing/2014/main" id="{65CE9BD7-A0A2-4DAD-B63A-DA1232F91840}"/>
                  </a:ext>
                </a:extLst>
              </p:cNvPr>
              <p:cNvSpPr>
                <a:spLocks noChangeArrowheads="1"/>
              </p:cNvSpPr>
              <p:nvPr/>
            </p:nvSpPr>
            <p:spPr bwMode="auto">
              <a:xfrm>
                <a:off x="-803275" y="2679700"/>
                <a:ext cx="73025" cy="385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97" name="Rectangle 36">
                <a:extLst>
                  <a:ext uri="{FF2B5EF4-FFF2-40B4-BE49-F238E27FC236}">
                    <a16:creationId xmlns:a16="http://schemas.microsoft.com/office/drawing/2014/main" id="{574B50A9-6AC4-4A78-AA3F-8032BCD24ADD}"/>
                  </a:ext>
                </a:extLst>
              </p:cNvPr>
              <p:cNvSpPr>
                <a:spLocks noChangeArrowheads="1"/>
              </p:cNvSpPr>
              <p:nvPr/>
            </p:nvSpPr>
            <p:spPr bwMode="auto">
              <a:xfrm>
                <a:off x="-803275" y="3138488"/>
                <a:ext cx="73025" cy="2016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98" name="Rectangle 37">
                <a:extLst>
                  <a:ext uri="{FF2B5EF4-FFF2-40B4-BE49-F238E27FC236}">
                    <a16:creationId xmlns:a16="http://schemas.microsoft.com/office/drawing/2014/main" id="{07F8C0CB-1784-460D-AF83-A08B53C38789}"/>
                  </a:ext>
                </a:extLst>
              </p:cNvPr>
              <p:cNvSpPr>
                <a:spLocks noChangeArrowheads="1"/>
              </p:cNvSpPr>
              <p:nvPr/>
            </p:nvSpPr>
            <p:spPr bwMode="auto">
              <a:xfrm>
                <a:off x="100013" y="2679700"/>
                <a:ext cx="73025" cy="385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99" name="Rectangle 38">
                <a:extLst>
                  <a:ext uri="{FF2B5EF4-FFF2-40B4-BE49-F238E27FC236}">
                    <a16:creationId xmlns:a16="http://schemas.microsoft.com/office/drawing/2014/main" id="{0FC4F5B3-9E8C-4FCE-B978-FCA834D8C1D5}"/>
                  </a:ext>
                </a:extLst>
              </p:cNvPr>
              <p:cNvSpPr>
                <a:spLocks noChangeArrowheads="1"/>
              </p:cNvSpPr>
              <p:nvPr/>
            </p:nvSpPr>
            <p:spPr bwMode="auto">
              <a:xfrm>
                <a:off x="100013" y="3138488"/>
                <a:ext cx="73025" cy="2016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grpSp>
        <p:nvGrpSpPr>
          <p:cNvPr id="366" name="Group 365">
            <a:extLst>
              <a:ext uri="{FF2B5EF4-FFF2-40B4-BE49-F238E27FC236}">
                <a16:creationId xmlns:a16="http://schemas.microsoft.com/office/drawing/2014/main" id="{6A96EEFA-BBAC-4317-A9BE-7BD4BD72C368}"/>
              </a:ext>
            </a:extLst>
          </p:cNvPr>
          <p:cNvGrpSpPr/>
          <p:nvPr/>
        </p:nvGrpSpPr>
        <p:grpSpPr>
          <a:xfrm>
            <a:off x="5075438" y="3075586"/>
            <a:ext cx="397024" cy="397024"/>
            <a:chOff x="-834766" y="2904920"/>
            <a:chExt cx="514726" cy="514726"/>
          </a:xfrm>
        </p:grpSpPr>
        <p:sp>
          <p:nvSpPr>
            <p:cNvPr id="479" name="Oval 478">
              <a:extLst>
                <a:ext uri="{FF2B5EF4-FFF2-40B4-BE49-F238E27FC236}">
                  <a16:creationId xmlns:a16="http://schemas.microsoft.com/office/drawing/2014/main" id="{2346AFD6-6C5A-444C-B878-E402D4A938C0}"/>
                </a:ext>
              </a:extLst>
            </p:cNvPr>
            <p:cNvSpPr/>
            <p:nvPr/>
          </p:nvSpPr>
          <p:spPr bwMode="auto">
            <a:xfrm>
              <a:off x="-834766" y="2904920"/>
              <a:ext cx="514726" cy="514726"/>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0" name="Freeform 65">
              <a:extLst>
                <a:ext uri="{FF2B5EF4-FFF2-40B4-BE49-F238E27FC236}">
                  <a16:creationId xmlns:a16="http://schemas.microsoft.com/office/drawing/2014/main" id="{02EFB7F8-3068-42BE-AC07-4F1271CAD5AB}"/>
                </a:ext>
              </a:extLst>
            </p:cNvPr>
            <p:cNvSpPr>
              <a:spLocks/>
            </p:cNvSpPr>
            <p:nvPr/>
          </p:nvSpPr>
          <p:spPr bwMode="auto">
            <a:xfrm>
              <a:off x="-778369" y="2973220"/>
              <a:ext cx="373501" cy="305938"/>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367" name="Group 366">
            <a:extLst>
              <a:ext uri="{FF2B5EF4-FFF2-40B4-BE49-F238E27FC236}">
                <a16:creationId xmlns:a16="http://schemas.microsoft.com/office/drawing/2014/main" id="{A2BB0BB8-C803-45DB-A0E8-9FA5AC401374}"/>
              </a:ext>
            </a:extLst>
          </p:cNvPr>
          <p:cNvGrpSpPr/>
          <p:nvPr/>
        </p:nvGrpSpPr>
        <p:grpSpPr>
          <a:xfrm>
            <a:off x="5705268" y="2466072"/>
            <a:ext cx="397024" cy="397024"/>
            <a:chOff x="-834766" y="2904920"/>
            <a:chExt cx="514726" cy="514726"/>
          </a:xfrm>
        </p:grpSpPr>
        <p:sp>
          <p:nvSpPr>
            <p:cNvPr id="477" name="Oval 476">
              <a:extLst>
                <a:ext uri="{FF2B5EF4-FFF2-40B4-BE49-F238E27FC236}">
                  <a16:creationId xmlns:a16="http://schemas.microsoft.com/office/drawing/2014/main" id="{19C6C74F-6BA5-49C3-8A69-9AC662033FC7}"/>
                </a:ext>
              </a:extLst>
            </p:cNvPr>
            <p:cNvSpPr/>
            <p:nvPr/>
          </p:nvSpPr>
          <p:spPr bwMode="auto">
            <a:xfrm>
              <a:off x="-834766" y="2904920"/>
              <a:ext cx="514726" cy="514726"/>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8" name="Freeform 65">
              <a:extLst>
                <a:ext uri="{FF2B5EF4-FFF2-40B4-BE49-F238E27FC236}">
                  <a16:creationId xmlns:a16="http://schemas.microsoft.com/office/drawing/2014/main" id="{91E55596-5624-46D8-9607-F0555C05AB91}"/>
                </a:ext>
              </a:extLst>
            </p:cNvPr>
            <p:cNvSpPr>
              <a:spLocks/>
            </p:cNvSpPr>
            <p:nvPr/>
          </p:nvSpPr>
          <p:spPr bwMode="auto">
            <a:xfrm>
              <a:off x="-778369" y="2973220"/>
              <a:ext cx="373501" cy="305938"/>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368" name="Group 367">
            <a:extLst>
              <a:ext uri="{FF2B5EF4-FFF2-40B4-BE49-F238E27FC236}">
                <a16:creationId xmlns:a16="http://schemas.microsoft.com/office/drawing/2014/main" id="{A03BB208-7A4D-4981-A4E8-4F64E28F9727}"/>
              </a:ext>
            </a:extLst>
          </p:cNvPr>
          <p:cNvGrpSpPr/>
          <p:nvPr/>
        </p:nvGrpSpPr>
        <p:grpSpPr>
          <a:xfrm>
            <a:off x="6375734" y="2882573"/>
            <a:ext cx="397024" cy="397024"/>
            <a:chOff x="-834766" y="2904920"/>
            <a:chExt cx="514726" cy="514726"/>
          </a:xfrm>
        </p:grpSpPr>
        <p:sp>
          <p:nvSpPr>
            <p:cNvPr id="475" name="Oval 474">
              <a:extLst>
                <a:ext uri="{FF2B5EF4-FFF2-40B4-BE49-F238E27FC236}">
                  <a16:creationId xmlns:a16="http://schemas.microsoft.com/office/drawing/2014/main" id="{DC452E6C-C124-42D1-BC52-0FA9FAB3E479}"/>
                </a:ext>
              </a:extLst>
            </p:cNvPr>
            <p:cNvSpPr/>
            <p:nvPr/>
          </p:nvSpPr>
          <p:spPr bwMode="auto">
            <a:xfrm>
              <a:off x="-834766" y="2904920"/>
              <a:ext cx="514726" cy="514726"/>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6" name="Freeform 65">
              <a:extLst>
                <a:ext uri="{FF2B5EF4-FFF2-40B4-BE49-F238E27FC236}">
                  <a16:creationId xmlns:a16="http://schemas.microsoft.com/office/drawing/2014/main" id="{A26BD1CB-A33E-4704-BC41-94D5C5456FB1}"/>
                </a:ext>
              </a:extLst>
            </p:cNvPr>
            <p:cNvSpPr>
              <a:spLocks/>
            </p:cNvSpPr>
            <p:nvPr/>
          </p:nvSpPr>
          <p:spPr bwMode="auto">
            <a:xfrm>
              <a:off x="-778369" y="2973220"/>
              <a:ext cx="373501" cy="305938"/>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369" name="Group 368">
            <a:extLst>
              <a:ext uri="{FF2B5EF4-FFF2-40B4-BE49-F238E27FC236}">
                <a16:creationId xmlns:a16="http://schemas.microsoft.com/office/drawing/2014/main" id="{1DC2DF8D-C82C-4602-AD8D-1199A3DDCADE}"/>
              </a:ext>
            </a:extLst>
          </p:cNvPr>
          <p:cNvGrpSpPr/>
          <p:nvPr/>
        </p:nvGrpSpPr>
        <p:grpSpPr>
          <a:xfrm>
            <a:off x="6507795" y="3847637"/>
            <a:ext cx="397024" cy="397024"/>
            <a:chOff x="-834766" y="2904920"/>
            <a:chExt cx="514726" cy="514726"/>
          </a:xfrm>
        </p:grpSpPr>
        <p:sp>
          <p:nvSpPr>
            <p:cNvPr id="473" name="Oval 472">
              <a:extLst>
                <a:ext uri="{FF2B5EF4-FFF2-40B4-BE49-F238E27FC236}">
                  <a16:creationId xmlns:a16="http://schemas.microsoft.com/office/drawing/2014/main" id="{3CBDC094-BE52-4B5D-9603-A71A133A1FE1}"/>
                </a:ext>
              </a:extLst>
            </p:cNvPr>
            <p:cNvSpPr/>
            <p:nvPr/>
          </p:nvSpPr>
          <p:spPr bwMode="auto">
            <a:xfrm>
              <a:off x="-834766" y="2904920"/>
              <a:ext cx="514726" cy="514726"/>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4" name="Freeform 65">
              <a:extLst>
                <a:ext uri="{FF2B5EF4-FFF2-40B4-BE49-F238E27FC236}">
                  <a16:creationId xmlns:a16="http://schemas.microsoft.com/office/drawing/2014/main" id="{9098A1A4-F9A7-467C-A7C6-919E54AB722B}"/>
                </a:ext>
              </a:extLst>
            </p:cNvPr>
            <p:cNvSpPr>
              <a:spLocks/>
            </p:cNvSpPr>
            <p:nvPr/>
          </p:nvSpPr>
          <p:spPr bwMode="auto">
            <a:xfrm>
              <a:off x="-778369" y="2973220"/>
              <a:ext cx="373501" cy="305938"/>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370" name="Group 369">
            <a:extLst>
              <a:ext uri="{FF2B5EF4-FFF2-40B4-BE49-F238E27FC236}">
                <a16:creationId xmlns:a16="http://schemas.microsoft.com/office/drawing/2014/main" id="{F6C1A10B-1C20-4084-83C0-591712A20B96}"/>
              </a:ext>
            </a:extLst>
          </p:cNvPr>
          <p:cNvGrpSpPr/>
          <p:nvPr/>
        </p:nvGrpSpPr>
        <p:grpSpPr>
          <a:xfrm>
            <a:off x="7676030" y="3410819"/>
            <a:ext cx="397024" cy="397024"/>
            <a:chOff x="-834766" y="2904920"/>
            <a:chExt cx="514726" cy="514726"/>
          </a:xfrm>
        </p:grpSpPr>
        <p:sp>
          <p:nvSpPr>
            <p:cNvPr id="471" name="Oval 470">
              <a:extLst>
                <a:ext uri="{FF2B5EF4-FFF2-40B4-BE49-F238E27FC236}">
                  <a16:creationId xmlns:a16="http://schemas.microsoft.com/office/drawing/2014/main" id="{CBC9B2C0-53A1-422D-9528-FB8D8CD1FE5B}"/>
                </a:ext>
              </a:extLst>
            </p:cNvPr>
            <p:cNvSpPr/>
            <p:nvPr/>
          </p:nvSpPr>
          <p:spPr bwMode="auto">
            <a:xfrm>
              <a:off x="-834766" y="2904920"/>
              <a:ext cx="514726" cy="514726"/>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2" name="Freeform 65">
              <a:extLst>
                <a:ext uri="{FF2B5EF4-FFF2-40B4-BE49-F238E27FC236}">
                  <a16:creationId xmlns:a16="http://schemas.microsoft.com/office/drawing/2014/main" id="{9D542A26-D89F-425D-BE01-7FD126216E11}"/>
                </a:ext>
              </a:extLst>
            </p:cNvPr>
            <p:cNvSpPr>
              <a:spLocks/>
            </p:cNvSpPr>
            <p:nvPr/>
          </p:nvSpPr>
          <p:spPr bwMode="auto">
            <a:xfrm>
              <a:off x="-778369" y="2973220"/>
              <a:ext cx="373501" cy="305938"/>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371" name="Group 370">
            <a:extLst>
              <a:ext uri="{FF2B5EF4-FFF2-40B4-BE49-F238E27FC236}">
                <a16:creationId xmlns:a16="http://schemas.microsoft.com/office/drawing/2014/main" id="{AFE7F903-4AAD-416F-9CFB-6DB73F963B27}"/>
              </a:ext>
            </a:extLst>
          </p:cNvPr>
          <p:cNvGrpSpPr/>
          <p:nvPr/>
        </p:nvGrpSpPr>
        <p:grpSpPr>
          <a:xfrm>
            <a:off x="8549665" y="3766368"/>
            <a:ext cx="397024" cy="397024"/>
            <a:chOff x="-834766" y="2904920"/>
            <a:chExt cx="514726" cy="514726"/>
          </a:xfrm>
        </p:grpSpPr>
        <p:sp>
          <p:nvSpPr>
            <p:cNvPr id="469" name="Oval 468">
              <a:extLst>
                <a:ext uri="{FF2B5EF4-FFF2-40B4-BE49-F238E27FC236}">
                  <a16:creationId xmlns:a16="http://schemas.microsoft.com/office/drawing/2014/main" id="{898318F0-C606-42B2-8C52-D6FEEBE0723A}"/>
                </a:ext>
              </a:extLst>
            </p:cNvPr>
            <p:cNvSpPr/>
            <p:nvPr/>
          </p:nvSpPr>
          <p:spPr bwMode="auto">
            <a:xfrm>
              <a:off x="-834766" y="2904920"/>
              <a:ext cx="514726" cy="514726"/>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0" name="Freeform 65">
              <a:extLst>
                <a:ext uri="{FF2B5EF4-FFF2-40B4-BE49-F238E27FC236}">
                  <a16:creationId xmlns:a16="http://schemas.microsoft.com/office/drawing/2014/main" id="{C3FCBFF4-8D90-45C4-8449-FA4D06F2AB0B}"/>
                </a:ext>
              </a:extLst>
            </p:cNvPr>
            <p:cNvSpPr>
              <a:spLocks/>
            </p:cNvSpPr>
            <p:nvPr/>
          </p:nvSpPr>
          <p:spPr bwMode="auto">
            <a:xfrm>
              <a:off x="-778369" y="2973220"/>
              <a:ext cx="373501" cy="305938"/>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372" name="Group 371">
            <a:extLst>
              <a:ext uri="{FF2B5EF4-FFF2-40B4-BE49-F238E27FC236}">
                <a16:creationId xmlns:a16="http://schemas.microsoft.com/office/drawing/2014/main" id="{234259ED-8D7F-412A-9E4F-2AAD6F381CF2}"/>
              </a:ext>
            </a:extLst>
          </p:cNvPr>
          <p:cNvGrpSpPr/>
          <p:nvPr/>
        </p:nvGrpSpPr>
        <p:grpSpPr>
          <a:xfrm>
            <a:off x="9778851" y="5259677"/>
            <a:ext cx="397024" cy="397024"/>
            <a:chOff x="-834766" y="2904920"/>
            <a:chExt cx="514726" cy="514726"/>
          </a:xfrm>
        </p:grpSpPr>
        <p:sp>
          <p:nvSpPr>
            <p:cNvPr id="467" name="Oval 466">
              <a:extLst>
                <a:ext uri="{FF2B5EF4-FFF2-40B4-BE49-F238E27FC236}">
                  <a16:creationId xmlns:a16="http://schemas.microsoft.com/office/drawing/2014/main" id="{4F69244B-43F5-46DC-9059-AECF26A57D46}"/>
                </a:ext>
              </a:extLst>
            </p:cNvPr>
            <p:cNvSpPr/>
            <p:nvPr/>
          </p:nvSpPr>
          <p:spPr bwMode="auto">
            <a:xfrm>
              <a:off x="-834766" y="2904920"/>
              <a:ext cx="514726" cy="514726"/>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8" name="Freeform 65">
              <a:extLst>
                <a:ext uri="{FF2B5EF4-FFF2-40B4-BE49-F238E27FC236}">
                  <a16:creationId xmlns:a16="http://schemas.microsoft.com/office/drawing/2014/main" id="{E1534C90-0806-454B-BBC7-4F8D64D1169F}"/>
                </a:ext>
              </a:extLst>
            </p:cNvPr>
            <p:cNvSpPr>
              <a:spLocks/>
            </p:cNvSpPr>
            <p:nvPr/>
          </p:nvSpPr>
          <p:spPr bwMode="auto">
            <a:xfrm>
              <a:off x="-778369" y="2973220"/>
              <a:ext cx="373501" cy="305938"/>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373" name="Group 372">
            <a:extLst>
              <a:ext uri="{FF2B5EF4-FFF2-40B4-BE49-F238E27FC236}">
                <a16:creationId xmlns:a16="http://schemas.microsoft.com/office/drawing/2014/main" id="{E559CDCB-AA44-4445-B592-2BCE1D3B6A74}"/>
              </a:ext>
            </a:extLst>
          </p:cNvPr>
          <p:cNvGrpSpPr/>
          <p:nvPr/>
        </p:nvGrpSpPr>
        <p:grpSpPr>
          <a:xfrm>
            <a:off x="10246144" y="4365723"/>
            <a:ext cx="397024" cy="397024"/>
            <a:chOff x="-834766" y="2904920"/>
            <a:chExt cx="514726" cy="514726"/>
          </a:xfrm>
        </p:grpSpPr>
        <p:sp>
          <p:nvSpPr>
            <p:cNvPr id="465" name="Oval 464">
              <a:extLst>
                <a:ext uri="{FF2B5EF4-FFF2-40B4-BE49-F238E27FC236}">
                  <a16:creationId xmlns:a16="http://schemas.microsoft.com/office/drawing/2014/main" id="{51828613-A9AD-4574-8D05-AEFCEA5030BF}"/>
                </a:ext>
              </a:extLst>
            </p:cNvPr>
            <p:cNvSpPr/>
            <p:nvPr/>
          </p:nvSpPr>
          <p:spPr bwMode="auto">
            <a:xfrm>
              <a:off x="-834766" y="2904920"/>
              <a:ext cx="514726" cy="514726"/>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6" name="Freeform 65">
              <a:extLst>
                <a:ext uri="{FF2B5EF4-FFF2-40B4-BE49-F238E27FC236}">
                  <a16:creationId xmlns:a16="http://schemas.microsoft.com/office/drawing/2014/main" id="{57F009B1-63D6-44E5-99EA-75CE36876D39}"/>
                </a:ext>
              </a:extLst>
            </p:cNvPr>
            <p:cNvSpPr>
              <a:spLocks/>
            </p:cNvSpPr>
            <p:nvPr/>
          </p:nvSpPr>
          <p:spPr bwMode="auto">
            <a:xfrm>
              <a:off x="-778369" y="2973220"/>
              <a:ext cx="373501" cy="305938"/>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374" name="Group 373">
            <a:extLst>
              <a:ext uri="{FF2B5EF4-FFF2-40B4-BE49-F238E27FC236}">
                <a16:creationId xmlns:a16="http://schemas.microsoft.com/office/drawing/2014/main" id="{10EADC10-27BB-414F-A005-15D89CB289E3}"/>
              </a:ext>
            </a:extLst>
          </p:cNvPr>
          <p:cNvGrpSpPr/>
          <p:nvPr/>
        </p:nvGrpSpPr>
        <p:grpSpPr>
          <a:xfrm>
            <a:off x="9494411" y="2709878"/>
            <a:ext cx="397024" cy="397024"/>
            <a:chOff x="-834766" y="2904920"/>
            <a:chExt cx="514726" cy="514726"/>
          </a:xfrm>
        </p:grpSpPr>
        <p:sp>
          <p:nvSpPr>
            <p:cNvPr id="463" name="Oval 462">
              <a:extLst>
                <a:ext uri="{FF2B5EF4-FFF2-40B4-BE49-F238E27FC236}">
                  <a16:creationId xmlns:a16="http://schemas.microsoft.com/office/drawing/2014/main" id="{8BB3D992-EC65-4516-A0C9-39EC3DE001AD}"/>
                </a:ext>
              </a:extLst>
            </p:cNvPr>
            <p:cNvSpPr/>
            <p:nvPr/>
          </p:nvSpPr>
          <p:spPr bwMode="auto">
            <a:xfrm>
              <a:off x="-834766" y="2904920"/>
              <a:ext cx="514726" cy="514726"/>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4" name="Freeform 65">
              <a:extLst>
                <a:ext uri="{FF2B5EF4-FFF2-40B4-BE49-F238E27FC236}">
                  <a16:creationId xmlns:a16="http://schemas.microsoft.com/office/drawing/2014/main" id="{0D97A7A4-0AF1-4270-B6E9-A556D9A856DF}"/>
                </a:ext>
              </a:extLst>
            </p:cNvPr>
            <p:cNvSpPr>
              <a:spLocks/>
            </p:cNvSpPr>
            <p:nvPr/>
          </p:nvSpPr>
          <p:spPr bwMode="auto">
            <a:xfrm>
              <a:off x="-778369" y="2973220"/>
              <a:ext cx="373501" cy="305938"/>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sp>
        <p:nvSpPr>
          <p:cNvPr id="375" name="Freeform: Shape 374">
            <a:extLst>
              <a:ext uri="{FF2B5EF4-FFF2-40B4-BE49-F238E27FC236}">
                <a16:creationId xmlns:a16="http://schemas.microsoft.com/office/drawing/2014/main" id="{E25FDD73-C260-4F71-BB48-4CA3E08CFB43}"/>
              </a:ext>
            </a:extLst>
          </p:cNvPr>
          <p:cNvSpPr/>
          <p:nvPr/>
        </p:nvSpPr>
        <p:spPr bwMode="auto">
          <a:xfrm>
            <a:off x="3795158" y="2376615"/>
            <a:ext cx="4788321" cy="2925567"/>
          </a:xfrm>
          <a:custGeom>
            <a:avLst/>
            <a:gdLst>
              <a:gd name="connsiteX0" fmla="*/ 0 w 3556000"/>
              <a:gd name="connsiteY0" fmla="*/ 0 h 1715911"/>
              <a:gd name="connsiteX1" fmla="*/ 3556000 w 3556000"/>
              <a:gd name="connsiteY1" fmla="*/ 1715911 h 1715911"/>
              <a:gd name="connsiteX0" fmla="*/ 637545 w 4193545"/>
              <a:gd name="connsiteY0" fmla="*/ 0 h 1715911"/>
              <a:gd name="connsiteX1" fmla="*/ 4193545 w 4193545"/>
              <a:gd name="connsiteY1" fmla="*/ 1715911 h 1715911"/>
              <a:gd name="connsiteX0" fmla="*/ 1062969 w 4618969"/>
              <a:gd name="connsiteY0" fmla="*/ 0 h 2956628"/>
              <a:gd name="connsiteX1" fmla="*/ 4618969 w 4618969"/>
              <a:gd name="connsiteY1" fmla="*/ 1715911 h 2956628"/>
              <a:gd name="connsiteX0" fmla="*/ 1233000 w 4789000"/>
              <a:gd name="connsiteY0" fmla="*/ 0 h 2925982"/>
              <a:gd name="connsiteX1" fmla="*/ 4789000 w 4789000"/>
              <a:gd name="connsiteY1" fmla="*/ 1715911 h 2925982"/>
            </a:gdLst>
            <a:ahLst/>
            <a:cxnLst>
              <a:cxn ang="0">
                <a:pos x="connsiteX0" y="connsiteY0"/>
              </a:cxn>
              <a:cxn ang="0">
                <a:pos x="connsiteX1" y="connsiteY1"/>
              </a:cxn>
            </a:cxnLst>
            <a:rect l="l" t="t" r="r" b="b"/>
            <a:pathLst>
              <a:path w="4789000" h="2925982">
                <a:moveTo>
                  <a:pt x="1233000" y="0"/>
                </a:moveTo>
                <a:cubicBezTo>
                  <a:pt x="-1476334" y="1260592"/>
                  <a:pt x="533090" y="4756386"/>
                  <a:pt x="4789000" y="1715911"/>
                </a:cubicBezTo>
              </a:path>
            </a:pathLst>
          </a:custGeom>
          <a:noFill/>
          <a:ln w="19050" cap="flat" cmpd="sng" algn="ctr">
            <a:solidFill>
              <a:schemeClr val="accent4">
                <a:lumMod val="40000"/>
                <a:lumOff val="60000"/>
              </a:schemeClr>
            </a:solidFill>
            <a:prstDash val="solid"/>
            <a:headEnd type="none" w="med" len="med"/>
            <a:tailEnd type="triangle" w="lg"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6" name="Freeform: Shape 375">
            <a:extLst>
              <a:ext uri="{FF2B5EF4-FFF2-40B4-BE49-F238E27FC236}">
                <a16:creationId xmlns:a16="http://schemas.microsoft.com/office/drawing/2014/main" id="{C321CD7F-3C01-493B-AD65-939B0AFB424F}"/>
              </a:ext>
            </a:extLst>
          </p:cNvPr>
          <p:cNvSpPr/>
          <p:nvPr/>
        </p:nvSpPr>
        <p:spPr bwMode="auto">
          <a:xfrm>
            <a:off x="4838361" y="2425715"/>
            <a:ext cx="325071" cy="673286"/>
          </a:xfrm>
          <a:custGeom>
            <a:avLst/>
            <a:gdLst>
              <a:gd name="connsiteX0" fmla="*/ 0 w 146756"/>
              <a:gd name="connsiteY0" fmla="*/ 0 h 688622"/>
              <a:gd name="connsiteX1" fmla="*/ 146756 w 146756"/>
              <a:gd name="connsiteY1" fmla="*/ 688622 h 688622"/>
              <a:gd name="connsiteX0" fmla="*/ 59165 w 205921"/>
              <a:gd name="connsiteY0" fmla="*/ 0 h 688622"/>
              <a:gd name="connsiteX1" fmla="*/ 205921 w 205921"/>
              <a:gd name="connsiteY1" fmla="*/ 688622 h 688622"/>
              <a:gd name="connsiteX0" fmla="*/ 75487 w 196843"/>
              <a:gd name="connsiteY0" fmla="*/ 0 h 673382"/>
              <a:gd name="connsiteX1" fmla="*/ 196843 w 196843"/>
              <a:gd name="connsiteY1" fmla="*/ 673382 h 673382"/>
              <a:gd name="connsiteX0" fmla="*/ 203761 w 325117"/>
              <a:gd name="connsiteY0" fmla="*/ 0 h 673382"/>
              <a:gd name="connsiteX1" fmla="*/ 325117 w 325117"/>
              <a:gd name="connsiteY1" fmla="*/ 673382 h 673382"/>
            </a:gdLst>
            <a:ahLst/>
            <a:cxnLst>
              <a:cxn ang="0">
                <a:pos x="connsiteX0" y="connsiteY0"/>
              </a:cxn>
              <a:cxn ang="0">
                <a:pos x="connsiteX1" y="connsiteY1"/>
              </a:cxn>
            </a:cxnLst>
            <a:rect l="l" t="t" r="r" b="b"/>
            <a:pathLst>
              <a:path w="325117" h="673382">
                <a:moveTo>
                  <a:pt x="203761" y="0"/>
                </a:moveTo>
                <a:cubicBezTo>
                  <a:pt x="-102920" y="290501"/>
                  <a:pt x="-64162" y="570841"/>
                  <a:pt x="325117" y="673382"/>
                </a:cubicBezTo>
              </a:path>
            </a:pathLst>
          </a:custGeom>
          <a:noFill/>
          <a:ln w="19050" cap="flat" cmpd="sng" algn="ctr">
            <a:solidFill>
              <a:schemeClr val="accent4">
                <a:lumMod val="40000"/>
                <a:lumOff val="60000"/>
              </a:schemeClr>
            </a:solidFill>
            <a:prstDash val="solid"/>
            <a:headEnd type="none" w="med" len="med"/>
            <a:tailEnd type="triangle" w="lg"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377" name="Group 376">
            <a:extLst>
              <a:ext uri="{FF2B5EF4-FFF2-40B4-BE49-F238E27FC236}">
                <a16:creationId xmlns:a16="http://schemas.microsoft.com/office/drawing/2014/main" id="{2F63417D-1D8A-47AD-AB87-36BD35EFEFDD}"/>
              </a:ext>
            </a:extLst>
          </p:cNvPr>
          <p:cNvGrpSpPr/>
          <p:nvPr/>
        </p:nvGrpSpPr>
        <p:grpSpPr>
          <a:xfrm>
            <a:off x="4988164" y="1957538"/>
            <a:ext cx="601926" cy="601926"/>
            <a:chOff x="-953625" y="2804996"/>
            <a:chExt cx="821802" cy="821802"/>
          </a:xfrm>
        </p:grpSpPr>
        <p:sp>
          <p:nvSpPr>
            <p:cNvPr id="444" name="Oval 443">
              <a:extLst>
                <a:ext uri="{FF2B5EF4-FFF2-40B4-BE49-F238E27FC236}">
                  <a16:creationId xmlns:a16="http://schemas.microsoft.com/office/drawing/2014/main" id="{C2EA23F0-F44E-42A8-B8C0-8D14FBC0CA37}"/>
                </a:ext>
              </a:extLst>
            </p:cNvPr>
            <p:cNvSpPr/>
            <p:nvPr/>
          </p:nvSpPr>
          <p:spPr bwMode="auto">
            <a:xfrm>
              <a:off x="-953625" y="2804996"/>
              <a:ext cx="821802" cy="821802"/>
            </a:xfrm>
            <a:prstGeom prst="ellipse">
              <a:avLst/>
            </a:prstGeom>
            <a:solidFill>
              <a:srgbClr val="FFFFFF"/>
            </a:solidFill>
            <a:ln w="19050" cap="flat" cmpd="sng" algn="ctr">
              <a:solidFill>
                <a:srgbClr val="00205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45" name="Group 444">
              <a:extLst>
                <a:ext uri="{FF2B5EF4-FFF2-40B4-BE49-F238E27FC236}">
                  <a16:creationId xmlns:a16="http://schemas.microsoft.com/office/drawing/2014/main" id="{ACDB564B-E772-482F-8C2E-8FB8D5100E8B}"/>
                </a:ext>
              </a:extLst>
            </p:cNvPr>
            <p:cNvGrpSpPr/>
            <p:nvPr/>
          </p:nvGrpSpPr>
          <p:grpSpPr>
            <a:xfrm>
              <a:off x="-856847" y="2866509"/>
              <a:ext cx="587608" cy="587016"/>
              <a:chOff x="-2617788" y="1752600"/>
              <a:chExt cx="3159126" cy="3155951"/>
            </a:xfrm>
            <a:solidFill>
              <a:srgbClr val="002050"/>
            </a:solidFill>
          </p:grpSpPr>
          <p:sp>
            <p:nvSpPr>
              <p:cNvPr id="446" name="Freeform: Shape 445">
                <a:extLst>
                  <a:ext uri="{FF2B5EF4-FFF2-40B4-BE49-F238E27FC236}">
                    <a16:creationId xmlns:a16="http://schemas.microsoft.com/office/drawing/2014/main" id="{9258A80C-A4F2-43CA-A3EE-93BF96DE2A7B}"/>
                  </a:ext>
                </a:extLst>
              </p:cNvPr>
              <p:cNvSpPr>
                <a:spLocks/>
              </p:cNvSpPr>
              <p:nvPr/>
            </p:nvSpPr>
            <p:spPr bwMode="auto">
              <a:xfrm>
                <a:off x="-2617788" y="2147888"/>
                <a:ext cx="3159126" cy="2760663"/>
              </a:xfrm>
              <a:custGeom>
                <a:avLst/>
                <a:gdLst>
                  <a:gd name="connsiteX0" fmla="*/ 2293938 w 3159126"/>
                  <a:gd name="connsiteY0" fmla="*/ 2449512 h 2760663"/>
                  <a:gd name="connsiteX1" fmla="*/ 2293938 w 3159126"/>
                  <a:gd name="connsiteY1" fmla="*/ 2687637 h 2760663"/>
                  <a:gd name="connsiteX2" fmla="*/ 2597151 w 3159126"/>
                  <a:gd name="connsiteY2" fmla="*/ 2687637 h 2760663"/>
                  <a:gd name="connsiteX3" fmla="*/ 2597151 w 3159126"/>
                  <a:gd name="connsiteY3" fmla="*/ 2449512 h 2760663"/>
                  <a:gd name="connsiteX4" fmla="*/ 533400 w 3159126"/>
                  <a:gd name="connsiteY4" fmla="*/ 2449512 h 2760663"/>
                  <a:gd name="connsiteX5" fmla="*/ 533400 w 3159126"/>
                  <a:gd name="connsiteY5" fmla="*/ 2687637 h 2760663"/>
                  <a:gd name="connsiteX6" fmla="*/ 838200 w 3159126"/>
                  <a:gd name="connsiteY6" fmla="*/ 2687637 h 2760663"/>
                  <a:gd name="connsiteX7" fmla="*/ 838200 w 3159126"/>
                  <a:gd name="connsiteY7" fmla="*/ 2449512 h 2760663"/>
                  <a:gd name="connsiteX8" fmla="*/ 1601788 w 3159126"/>
                  <a:gd name="connsiteY8" fmla="*/ 1954212 h 2760663"/>
                  <a:gd name="connsiteX9" fmla="*/ 1601788 w 3159126"/>
                  <a:gd name="connsiteY9" fmla="*/ 2687637 h 2760663"/>
                  <a:gd name="connsiteX10" fmla="*/ 1998663 w 3159126"/>
                  <a:gd name="connsiteY10" fmla="*/ 2687637 h 2760663"/>
                  <a:gd name="connsiteX11" fmla="*/ 1998663 w 3159126"/>
                  <a:gd name="connsiteY11" fmla="*/ 1954212 h 2760663"/>
                  <a:gd name="connsiteX12" fmla="*/ 1133475 w 3159126"/>
                  <a:gd name="connsiteY12" fmla="*/ 1954212 h 2760663"/>
                  <a:gd name="connsiteX13" fmla="*/ 1133475 w 3159126"/>
                  <a:gd name="connsiteY13" fmla="*/ 2687637 h 2760663"/>
                  <a:gd name="connsiteX14" fmla="*/ 1528763 w 3159126"/>
                  <a:gd name="connsiteY14" fmla="*/ 2687637 h 2760663"/>
                  <a:gd name="connsiteX15" fmla="*/ 1528763 w 3159126"/>
                  <a:gd name="connsiteY15" fmla="*/ 1954212 h 2760663"/>
                  <a:gd name="connsiteX16" fmla="*/ 1409700 w 3159126"/>
                  <a:gd name="connsiteY16" fmla="*/ 73025 h 2760663"/>
                  <a:gd name="connsiteX17" fmla="*/ 1409700 w 3159126"/>
                  <a:gd name="connsiteY17" fmla="*/ 871538 h 2760663"/>
                  <a:gd name="connsiteX18" fmla="*/ 1058863 w 3159126"/>
                  <a:gd name="connsiteY18" fmla="*/ 1238250 h 2760663"/>
                  <a:gd name="connsiteX19" fmla="*/ 1058863 w 3159126"/>
                  <a:gd name="connsiteY19" fmla="*/ 384175 h 2760663"/>
                  <a:gd name="connsiteX20" fmla="*/ 939800 w 3159126"/>
                  <a:gd name="connsiteY20" fmla="*/ 384175 h 2760663"/>
                  <a:gd name="connsiteX21" fmla="*/ 295275 w 3159126"/>
                  <a:gd name="connsiteY21" fmla="*/ 1054100 h 2760663"/>
                  <a:gd name="connsiteX22" fmla="*/ 295275 w 3159126"/>
                  <a:gd name="connsiteY22" fmla="*/ 2687638 h 2760663"/>
                  <a:gd name="connsiteX23" fmla="*/ 460375 w 3159126"/>
                  <a:gd name="connsiteY23" fmla="*/ 2687638 h 2760663"/>
                  <a:gd name="connsiteX24" fmla="*/ 460375 w 3159126"/>
                  <a:gd name="connsiteY24" fmla="*/ 2374901 h 2760663"/>
                  <a:gd name="connsiteX25" fmla="*/ 911225 w 3159126"/>
                  <a:gd name="connsiteY25" fmla="*/ 2374901 h 2760663"/>
                  <a:gd name="connsiteX26" fmla="*/ 911225 w 3159126"/>
                  <a:gd name="connsiteY26" fmla="*/ 2687638 h 2760663"/>
                  <a:gd name="connsiteX27" fmla="*/ 1058863 w 3159126"/>
                  <a:gd name="connsiteY27" fmla="*/ 2687638 h 2760663"/>
                  <a:gd name="connsiteX28" fmla="*/ 1058863 w 3159126"/>
                  <a:gd name="connsiteY28" fmla="*/ 1879601 h 2760663"/>
                  <a:gd name="connsiteX29" fmla="*/ 2071688 w 3159126"/>
                  <a:gd name="connsiteY29" fmla="*/ 1879601 h 2760663"/>
                  <a:gd name="connsiteX30" fmla="*/ 2071688 w 3159126"/>
                  <a:gd name="connsiteY30" fmla="*/ 2687638 h 2760663"/>
                  <a:gd name="connsiteX31" fmla="*/ 2219325 w 3159126"/>
                  <a:gd name="connsiteY31" fmla="*/ 2687638 h 2760663"/>
                  <a:gd name="connsiteX32" fmla="*/ 2219325 w 3159126"/>
                  <a:gd name="connsiteY32" fmla="*/ 2374901 h 2760663"/>
                  <a:gd name="connsiteX33" fmla="*/ 2671763 w 3159126"/>
                  <a:gd name="connsiteY33" fmla="*/ 2374901 h 2760663"/>
                  <a:gd name="connsiteX34" fmla="*/ 2671763 w 3159126"/>
                  <a:gd name="connsiteY34" fmla="*/ 2687638 h 2760663"/>
                  <a:gd name="connsiteX35" fmla="*/ 2855913 w 3159126"/>
                  <a:gd name="connsiteY35" fmla="*/ 2687638 h 2760663"/>
                  <a:gd name="connsiteX36" fmla="*/ 2855913 w 3159126"/>
                  <a:gd name="connsiteY36" fmla="*/ 384175 h 2760663"/>
                  <a:gd name="connsiteX37" fmla="*/ 2781301 w 3159126"/>
                  <a:gd name="connsiteY37" fmla="*/ 384175 h 2760663"/>
                  <a:gd name="connsiteX38" fmla="*/ 1962150 w 3159126"/>
                  <a:gd name="connsiteY38" fmla="*/ 1238250 h 2760663"/>
                  <a:gd name="connsiteX39" fmla="*/ 1962150 w 3159126"/>
                  <a:gd name="connsiteY39" fmla="*/ 384175 h 2760663"/>
                  <a:gd name="connsiteX40" fmla="*/ 1879600 w 3159126"/>
                  <a:gd name="connsiteY40" fmla="*/ 384175 h 2760663"/>
                  <a:gd name="connsiteX41" fmla="*/ 1601788 w 3159126"/>
                  <a:gd name="connsiteY41" fmla="*/ 669925 h 2760663"/>
                  <a:gd name="connsiteX42" fmla="*/ 1601788 w 3159126"/>
                  <a:gd name="connsiteY42" fmla="*/ 73025 h 2760663"/>
                  <a:gd name="connsiteX43" fmla="*/ 1335088 w 3159126"/>
                  <a:gd name="connsiteY43" fmla="*/ 0 h 2760663"/>
                  <a:gd name="connsiteX44" fmla="*/ 1676401 w 3159126"/>
                  <a:gd name="connsiteY44" fmla="*/ 0 h 2760663"/>
                  <a:gd name="connsiteX45" fmla="*/ 1676401 w 3159126"/>
                  <a:gd name="connsiteY45" fmla="*/ 485775 h 2760663"/>
                  <a:gd name="connsiteX46" fmla="*/ 1841501 w 3159126"/>
                  <a:gd name="connsiteY46" fmla="*/ 311150 h 2760663"/>
                  <a:gd name="connsiteX47" fmla="*/ 2035176 w 3159126"/>
                  <a:gd name="connsiteY47" fmla="*/ 311150 h 2760663"/>
                  <a:gd name="connsiteX48" fmla="*/ 2035176 w 3159126"/>
                  <a:gd name="connsiteY48" fmla="*/ 1054100 h 2760663"/>
                  <a:gd name="connsiteX49" fmla="*/ 2744788 w 3159126"/>
                  <a:gd name="connsiteY49" fmla="*/ 311150 h 2760663"/>
                  <a:gd name="connsiteX50" fmla="*/ 2928939 w 3159126"/>
                  <a:gd name="connsiteY50" fmla="*/ 311150 h 2760663"/>
                  <a:gd name="connsiteX51" fmla="*/ 2928939 w 3159126"/>
                  <a:gd name="connsiteY51" fmla="*/ 2687638 h 2760663"/>
                  <a:gd name="connsiteX52" fmla="*/ 3159126 w 3159126"/>
                  <a:gd name="connsiteY52" fmla="*/ 2687638 h 2760663"/>
                  <a:gd name="connsiteX53" fmla="*/ 3159126 w 3159126"/>
                  <a:gd name="connsiteY53" fmla="*/ 2760663 h 2760663"/>
                  <a:gd name="connsiteX54" fmla="*/ 0 w 3159126"/>
                  <a:gd name="connsiteY54" fmla="*/ 2760663 h 2760663"/>
                  <a:gd name="connsiteX55" fmla="*/ 0 w 3159126"/>
                  <a:gd name="connsiteY55" fmla="*/ 2687638 h 2760663"/>
                  <a:gd name="connsiteX56" fmla="*/ 220663 w 3159126"/>
                  <a:gd name="connsiteY56" fmla="*/ 2687638 h 2760663"/>
                  <a:gd name="connsiteX57" fmla="*/ 220663 w 3159126"/>
                  <a:gd name="connsiteY57" fmla="*/ 1027113 h 2760663"/>
                  <a:gd name="connsiteX58" fmla="*/ 903288 w 3159126"/>
                  <a:gd name="connsiteY58" fmla="*/ 311150 h 2760663"/>
                  <a:gd name="connsiteX59" fmla="*/ 1133475 w 3159126"/>
                  <a:gd name="connsiteY59" fmla="*/ 311150 h 2760663"/>
                  <a:gd name="connsiteX60" fmla="*/ 1133475 w 3159126"/>
                  <a:gd name="connsiteY60" fmla="*/ 1054100 h 2760663"/>
                  <a:gd name="connsiteX61" fmla="*/ 1335088 w 3159126"/>
                  <a:gd name="connsiteY61" fmla="*/ 842963 h 276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159126" h="2760663">
                    <a:moveTo>
                      <a:pt x="2293938" y="2449512"/>
                    </a:moveTo>
                    <a:lnTo>
                      <a:pt x="2293938" y="2687637"/>
                    </a:lnTo>
                    <a:lnTo>
                      <a:pt x="2597151" y="2687637"/>
                    </a:lnTo>
                    <a:lnTo>
                      <a:pt x="2597151" y="2449512"/>
                    </a:lnTo>
                    <a:close/>
                    <a:moveTo>
                      <a:pt x="533400" y="2449512"/>
                    </a:moveTo>
                    <a:lnTo>
                      <a:pt x="533400" y="2687637"/>
                    </a:lnTo>
                    <a:lnTo>
                      <a:pt x="838200" y="2687637"/>
                    </a:lnTo>
                    <a:lnTo>
                      <a:pt x="838200" y="2449512"/>
                    </a:lnTo>
                    <a:close/>
                    <a:moveTo>
                      <a:pt x="1601788" y="1954212"/>
                    </a:moveTo>
                    <a:lnTo>
                      <a:pt x="1601788" y="2687637"/>
                    </a:lnTo>
                    <a:lnTo>
                      <a:pt x="1998663" y="2687637"/>
                    </a:lnTo>
                    <a:lnTo>
                      <a:pt x="1998663" y="1954212"/>
                    </a:lnTo>
                    <a:close/>
                    <a:moveTo>
                      <a:pt x="1133475" y="1954212"/>
                    </a:moveTo>
                    <a:lnTo>
                      <a:pt x="1133475" y="2687637"/>
                    </a:lnTo>
                    <a:lnTo>
                      <a:pt x="1528763" y="2687637"/>
                    </a:lnTo>
                    <a:lnTo>
                      <a:pt x="1528763" y="1954212"/>
                    </a:lnTo>
                    <a:close/>
                    <a:moveTo>
                      <a:pt x="1409700" y="73025"/>
                    </a:moveTo>
                    <a:lnTo>
                      <a:pt x="1409700" y="871538"/>
                    </a:lnTo>
                    <a:lnTo>
                      <a:pt x="1058863" y="1238250"/>
                    </a:lnTo>
                    <a:lnTo>
                      <a:pt x="1058863" y="384175"/>
                    </a:lnTo>
                    <a:lnTo>
                      <a:pt x="939800" y="384175"/>
                    </a:lnTo>
                    <a:lnTo>
                      <a:pt x="295275" y="1054100"/>
                    </a:lnTo>
                    <a:lnTo>
                      <a:pt x="295275" y="2687638"/>
                    </a:lnTo>
                    <a:lnTo>
                      <a:pt x="460375" y="2687638"/>
                    </a:lnTo>
                    <a:lnTo>
                      <a:pt x="460375" y="2374901"/>
                    </a:lnTo>
                    <a:lnTo>
                      <a:pt x="911225" y="2374901"/>
                    </a:lnTo>
                    <a:lnTo>
                      <a:pt x="911225" y="2687638"/>
                    </a:lnTo>
                    <a:lnTo>
                      <a:pt x="1058863" y="2687638"/>
                    </a:lnTo>
                    <a:lnTo>
                      <a:pt x="1058863" y="1879601"/>
                    </a:lnTo>
                    <a:lnTo>
                      <a:pt x="2071688" y="1879601"/>
                    </a:lnTo>
                    <a:lnTo>
                      <a:pt x="2071688" y="2687638"/>
                    </a:lnTo>
                    <a:lnTo>
                      <a:pt x="2219325" y="2687638"/>
                    </a:lnTo>
                    <a:lnTo>
                      <a:pt x="2219325" y="2374901"/>
                    </a:lnTo>
                    <a:lnTo>
                      <a:pt x="2671763" y="2374901"/>
                    </a:lnTo>
                    <a:lnTo>
                      <a:pt x="2671763" y="2687638"/>
                    </a:lnTo>
                    <a:lnTo>
                      <a:pt x="2855913" y="2687638"/>
                    </a:lnTo>
                    <a:lnTo>
                      <a:pt x="2855913" y="384175"/>
                    </a:lnTo>
                    <a:lnTo>
                      <a:pt x="2781301" y="384175"/>
                    </a:lnTo>
                    <a:lnTo>
                      <a:pt x="1962150" y="1238250"/>
                    </a:lnTo>
                    <a:lnTo>
                      <a:pt x="1962150" y="384175"/>
                    </a:lnTo>
                    <a:lnTo>
                      <a:pt x="1879600" y="384175"/>
                    </a:lnTo>
                    <a:lnTo>
                      <a:pt x="1601788" y="669925"/>
                    </a:lnTo>
                    <a:lnTo>
                      <a:pt x="1601788" y="73025"/>
                    </a:lnTo>
                    <a:close/>
                    <a:moveTo>
                      <a:pt x="1335088" y="0"/>
                    </a:moveTo>
                    <a:lnTo>
                      <a:pt x="1676401" y="0"/>
                    </a:lnTo>
                    <a:lnTo>
                      <a:pt x="1676401" y="485775"/>
                    </a:lnTo>
                    <a:lnTo>
                      <a:pt x="1841501" y="311150"/>
                    </a:lnTo>
                    <a:lnTo>
                      <a:pt x="2035176" y="311150"/>
                    </a:lnTo>
                    <a:lnTo>
                      <a:pt x="2035176" y="1054100"/>
                    </a:lnTo>
                    <a:lnTo>
                      <a:pt x="2744788" y="311150"/>
                    </a:lnTo>
                    <a:lnTo>
                      <a:pt x="2928939" y="311150"/>
                    </a:lnTo>
                    <a:lnTo>
                      <a:pt x="2928939" y="2687638"/>
                    </a:lnTo>
                    <a:lnTo>
                      <a:pt x="3159126" y="2687638"/>
                    </a:lnTo>
                    <a:lnTo>
                      <a:pt x="3159126" y="2760663"/>
                    </a:lnTo>
                    <a:lnTo>
                      <a:pt x="0" y="2760663"/>
                    </a:lnTo>
                    <a:lnTo>
                      <a:pt x="0" y="2687638"/>
                    </a:lnTo>
                    <a:lnTo>
                      <a:pt x="220663" y="2687638"/>
                    </a:lnTo>
                    <a:lnTo>
                      <a:pt x="220663" y="1027113"/>
                    </a:lnTo>
                    <a:lnTo>
                      <a:pt x="903288" y="311150"/>
                    </a:lnTo>
                    <a:lnTo>
                      <a:pt x="1133475" y="311150"/>
                    </a:lnTo>
                    <a:lnTo>
                      <a:pt x="1133475" y="1054100"/>
                    </a:lnTo>
                    <a:lnTo>
                      <a:pt x="1335088" y="8429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47" name="Freeform: Shape 446">
                <a:extLst>
                  <a:ext uri="{FF2B5EF4-FFF2-40B4-BE49-F238E27FC236}">
                    <a16:creationId xmlns:a16="http://schemas.microsoft.com/office/drawing/2014/main" id="{6E2D922C-7CC5-4AA8-A2AF-6892F96E18AF}"/>
                  </a:ext>
                </a:extLst>
              </p:cNvPr>
              <p:cNvSpPr>
                <a:spLocks noChangeArrowheads="1"/>
              </p:cNvSpPr>
              <p:nvPr/>
            </p:nvSpPr>
            <p:spPr bwMode="auto">
              <a:xfrm>
                <a:off x="-2157413" y="3532188"/>
                <a:ext cx="450850" cy="404813"/>
              </a:xfrm>
              <a:custGeom>
                <a:avLst/>
                <a:gdLst>
                  <a:gd name="connsiteX0" fmla="*/ 73025 w 450850"/>
                  <a:gd name="connsiteY0" fmla="*/ 74612 h 404813"/>
                  <a:gd name="connsiteX1" fmla="*/ 73025 w 450850"/>
                  <a:gd name="connsiteY1" fmla="*/ 330200 h 404813"/>
                  <a:gd name="connsiteX2" fmla="*/ 377825 w 450850"/>
                  <a:gd name="connsiteY2" fmla="*/ 330200 h 404813"/>
                  <a:gd name="connsiteX3" fmla="*/ 377825 w 450850"/>
                  <a:gd name="connsiteY3" fmla="*/ 74612 h 404813"/>
                  <a:gd name="connsiteX4" fmla="*/ 0 w 450850"/>
                  <a:gd name="connsiteY4" fmla="*/ 0 h 404813"/>
                  <a:gd name="connsiteX5" fmla="*/ 450850 w 450850"/>
                  <a:gd name="connsiteY5" fmla="*/ 0 h 404813"/>
                  <a:gd name="connsiteX6" fmla="*/ 450850 w 450850"/>
                  <a:gd name="connsiteY6" fmla="*/ 404813 h 404813"/>
                  <a:gd name="connsiteX7" fmla="*/ 0 w 450850"/>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850" h="404813">
                    <a:moveTo>
                      <a:pt x="73025" y="74612"/>
                    </a:moveTo>
                    <a:lnTo>
                      <a:pt x="73025" y="330200"/>
                    </a:lnTo>
                    <a:lnTo>
                      <a:pt x="377825" y="330200"/>
                    </a:lnTo>
                    <a:lnTo>
                      <a:pt x="377825" y="74612"/>
                    </a:lnTo>
                    <a:close/>
                    <a:moveTo>
                      <a:pt x="0" y="0"/>
                    </a:moveTo>
                    <a:lnTo>
                      <a:pt x="450850" y="0"/>
                    </a:lnTo>
                    <a:lnTo>
                      <a:pt x="450850"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48" name="Freeform: Shape 447">
                <a:extLst>
                  <a:ext uri="{FF2B5EF4-FFF2-40B4-BE49-F238E27FC236}">
                    <a16:creationId xmlns:a16="http://schemas.microsoft.com/office/drawing/2014/main" id="{2FA693BC-97A6-43A4-9B73-1445403A4BC4}"/>
                  </a:ext>
                </a:extLst>
              </p:cNvPr>
              <p:cNvSpPr>
                <a:spLocks noChangeArrowheads="1"/>
              </p:cNvSpPr>
              <p:nvPr/>
            </p:nvSpPr>
            <p:spPr bwMode="auto">
              <a:xfrm>
                <a:off x="-1558925" y="3532188"/>
                <a:ext cx="442913" cy="404813"/>
              </a:xfrm>
              <a:custGeom>
                <a:avLst/>
                <a:gdLst>
                  <a:gd name="connsiteX0" fmla="*/ 74612 w 442913"/>
                  <a:gd name="connsiteY0" fmla="*/ 74612 h 404813"/>
                  <a:gd name="connsiteX1" fmla="*/ 74612 w 442913"/>
                  <a:gd name="connsiteY1" fmla="*/ 330200 h 404813"/>
                  <a:gd name="connsiteX2" fmla="*/ 368300 w 442913"/>
                  <a:gd name="connsiteY2" fmla="*/ 330200 h 404813"/>
                  <a:gd name="connsiteX3" fmla="*/ 368300 w 442913"/>
                  <a:gd name="connsiteY3" fmla="*/ 74612 h 404813"/>
                  <a:gd name="connsiteX4" fmla="*/ 0 w 442913"/>
                  <a:gd name="connsiteY4" fmla="*/ 0 h 404813"/>
                  <a:gd name="connsiteX5" fmla="*/ 442913 w 442913"/>
                  <a:gd name="connsiteY5" fmla="*/ 0 h 404813"/>
                  <a:gd name="connsiteX6" fmla="*/ 442913 w 442913"/>
                  <a:gd name="connsiteY6" fmla="*/ 404813 h 404813"/>
                  <a:gd name="connsiteX7" fmla="*/ 0 w 442913"/>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2913" h="404813">
                    <a:moveTo>
                      <a:pt x="74612" y="74612"/>
                    </a:moveTo>
                    <a:lnTo>
                      <a:pt x="74612" y="330200"/>
                    </a:lnTo>
                    <a:lnTo>
                      <a:pt x="368300" y="330200"/>
                    </a:lnTo>
                    <a:lnTo>
                      <a:pt x="368300" y="74612"/>
                    </a:lnTo>
                    <a:close/>
                    <a:moveTo>
                      <a:pt x="0" y="0"/>
                    </a:moveTo>
                    <a:lnTo>
                      <a:pt x="442913" y="0"/>
                    </a:lnTo>
                    <a:lnTo>
                      <a:pt x="442913"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49" name="Freeform: Shape 448">
                <a:extLst>
                  <a:ext uri="{FF2B5EF4-FFF2-40B4-BE49-F238E27FC236}">
                    <a16:creationId xmlns:a16="http://schemas.microsoft.com/office/drawing/2014/main" id="{02A858B7-87B8-4CF1-B4D9-A80CC4C92BC2}"/>
                  </a:ext>
                </a:extLst>
              </p:cNvPr>
              <p:cNvSpPr>
                <a:spLocks noChangeArrowheads="1"/>
              </p:cNvSpPr>
              <p:nvPr/>
            </p:nvSpPr>
            <p:spPr bwMode="auto">
              <a:xfrm>
                <a:off x="-977900" y="3532188"/>
                <a:ext cx="431800" cy="404813"/>
              </a:xfrm>
              <a:custGeom>
                <a:avLst/>
                <a:gdLst>
                  <a:gd name="connsiteX0" fmla="*/ 73025 w 431800"/>
                  <a:gd name="connsiteY0" fmla="*/ 74612 h 404813"/>
                  <a:gd name="connsiteX1" fmla="*/ 73025 w 431800"/>
                  <a:gd name="connsiteY1" fmla="*/ 330200 h 404813"/>
                  <a:gd name="connsiteX2" fmla="*/ 358775 w 431800"/>
                  <a:gd name="connsiteY2" fmla="*/ 330200 h 404813"/>
                  <a:gd name="connsiteX3" fmla="*/ 358775 w 431800"/>
                  <a:gd name="connsiteY3" fmla="*/ 74612 h 404813"/>
                  <a:gd name="connsiteX4" fmla="*/ 0 w 431800"/>
                  <a:gd name="connsiteY4" fmla="*/ 0 h 404813"/>
                  <a:gd name="connsiteX5" fmla="*/ 431800 w 431800"/>
                  <a:gd name="connsiteY5" fmla="*/ 0 h 404813"/>
                  <a:gd name="connsiteX6" fmla="*/ 431800 w 431800"/>
                  <a:gd name="connsiteY6" fmla="*/ 404813 h 404813"/>
                  <a:gd name="connsiteX7" fmla="*/ 0 w 431800"/>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1800" h="404813">
                    <a:moveTo>
                      <a:pt x="73025" y="74612"/>
                    </a:moveTo>
                    <a:lnTo>
                      <a:pt x="73025" y="330200"/>
                    </a:lnTo>
                    <a:lnTo>
                      <a:pt x="358775" y="330200"/>
                    </a:lnTo>
                    <a:lnTo>
                      <a:pt x="358775" y="74612"/>
                    </a:lnTo>
                    <a:close/>
                    <a:moveTo>
                      <a:pt x="0" y="0"/>
                    </a:moveTo>
                    <a:lnTo>
                      <a:pt x="431800" y="0"/>
                    </a:lnTo>
                    <a:lnTo>
                      <a:pt x="431800"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50" name="Freeform: Shape 449">
                <a:extLst>
                  <a:ext uri="{FF2B5EF4-FFF2-40B4-BE49-F238E27FC236}">
                    <a16:creationId xmlns:a16="http://schemas.microsoft.com/office/drawing/2014/main" id="{8CE24AC8-4588-4F68-A8ED-F05740556E2D}"/>
                  </a:ext>
                </a:extLst>
              </p:cNvPr>
              <p:cNvSpPr>
                <a:spLocks noChangeArrowheads="1"/>
              </p:cNvSpPr>
              <p:nvPr/>
            </p:nvSpPr>
            <p:spPr bwMode="auto">
              <a:xfrm>
                <a:off x="-398462" y="3532188"/>
                <a:ext cx="452438" cy="404813"/>
              </a:xfrm>
              <a:custGeom>
                <a:avLst/>
                <a:gdLst>
                  <a:gd name="connsiteX0" fmla="*/ 74612 w 452438"/>
                  <a:gd name="connsiteY0" fmla="*/ 74612 h 404813"/>
                  <a:gd name="connsiteX1" fmla="*/ 74612 w 452438"/>
                  <a:gd name="connsiteY1" fmla="*/ 330200 h 404813"/>
                  <a:gd name="connsiteX2" fmla="*/ 377825 w 452438"/>
                  <a:gd name="connsiteY2" fmla="*/ 330200 h 404813"/>
                  <a:gd name="connsiteX3" fmla="*/ 377825 w 452438"/>
                  <a:gd name="connsiteY3" fmla="*/ 74612 h 404813"/>
                  <a:gd name="connsiteX4" fmla="*/ 0 w 452438"/>
                  <a:gd name="connsiteY4" fmla="*/ 0 h 404813"/>
                  <a:gd name="connsiteX5" fmla="*/ 452438 w 452438"/>
                  <a:gd name="connsiteY5" fmla="*/ 0 h 404813"/>
                  <a:gd name="connsiteX6" fmla="*/ 452438 w 452438"/>
                  <a:gd name="connsiteY6" fmla="*/ 404813 h 404813"/>
                  <a:gd name="connsiteX7" fmla="*/ 0 w 452438"/>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2438" h="404813">
                    <a:moveTo>
                      <a:pt x="74612" y="74612"/>
                    </a:moveTo>
                    <a:lnTo>
                      <a:pt x="74612" y="330200"/>
                    </a:lnTo>
                    <a:lnTo>
                      <a:pt x="377825" y="330200"/>
                    </a:lnTo>
                    <a:lnTo>
                      <a:pt x="377825" y="74612"/>
                    </a:lnTo>
                    <a:close/>
                    <a:moveTo>
                      <a:pt x="0" y="0"/>
                    </a:moveTo>
                    <a:lnTo>
                      <a:pt x="452438" y="0"/>
                    </a:lnTo>
                    <a:lnTo>
                      <a:pt x="452438"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51" name="Freeform: Shape 450">
                <a:extLst>
                  <a:ext uri="{FF2B5EF4-FFF2-40B4-BE49-F238E27FC236}">
                    <a16:creationId xmlns:a16="http://schemas.microsoft.com/office/drawing/2014/main" id="{1282BFE0-3DDC-49E5-8674-F8E67D60C152}"/>
                  </a:ext>
                </a:extLst>
              </p:cNvPr>
              <p:cNvSpPr>
                <a:spLocks noChangeArrowheads="1"/>
              </p:cNvSpPr>
              <p:nvPr/>
            </p:nvSpPr>
            <p:spPr bwMode="auto">
              <a:xfrm>
                <a:off x="-2157413" y="4027488"/>
                <a:ext cx="450850" cy="404813"/>
              </a:xfrm>
              <a:custGeom>
                <a:avLst/>
                <a:gdLst>
                  <a:gd name="connsiteX0" fmla="*/ 73025 w 450850"/>
                  <a:gd name="connsiteY0" fmla="*/ 74612 h 404813"/>
                  <a:gd name="connsiteX1" fmla="*/ 73025 w 450850"/>
                  <a:gd name="connsiteY1" fmla="*/ 330200 h 404813"/>
                  <a:gd name="connsiteX2" fmla="*/ 377825 w 450850"/>
                  <a:gd name="connsiteY2" fmla="*/ 330200 h 404813"/>
                  <a:gd name="connsiteX3" fmla="*/ 377825 w 450850"/>
                  <a:gd name="connsiteY3" fmla="*/ 74612 h 404813"/>
                  <a:gd name="connsiteX4" fmla="*/ 0 w 450850"/>
                  <a:gd name="connsiteY4" fmla="*/ 0 h 404813"/>
                  <a:gd name="connsiteX5" fmla="*/ 450850 w 450850"/>
                  <a:gd name="connsiteY5" fmla="*/ 0 h 404813"/>
                  <a:gd name="connsiteX6" fmla="*/ 450850 w 450850"/>
                  <a:gd name="connsiteY6" fmla="*/ 404813 h 404813"/>
                  <a:gd name="connsiteX7" fmla="*/ 0 w 450850"/>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850" h="404813">
                    <a:moveTo>
                      <a:pt x="73025" y="74612"/>
                    </a:moveTo>
                    <a:lnTo>
                      <a:pt x="73025" y="330200"/>
                    </a:lnTo>
                    <a:lnTo>
                      <a:pt x="377825" y="330200"/>
                    </a:lnTo>
                    <a:lnTo>
                      <a:pt x="377825" y="74612"/>
                    </a:lnTo>
                    <a:close/>
                    <a:moveTo>
                      <a:pt x="0" y="0"/>
                    </a:moveTo>
                    <a:lnTo>
                      <a:pt x="450850" y="0"/>
                    </a:lnTo>
                    <a:lnTo>
                      <a:pt x="450850"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52" name="Freeform: Shape 451">
                <a:extLst>
                  <a:ext uri="{FF2B5EF4-FFF2-40B4-BE49-F238E27FC236}">
                    <a16:creationId xmlns:a16="http://schemas.microsoft.com/office/drawing/2014/main" id="{177837A1-7EB3-4C3C-881A-EB362C6E0369}"/>
                  </a:ext>
                </a:extLst>
              </p:cNvPr>
              <p:cNvSpPr>
                <a:spLocks noChangeArrowheads="1"/>
              </p:cNvSpPr>
              <p:nvPr/>
            </p:nvSpPr>
            <p:spPr bwMode="auto">
              <a:xfrm>
                <a:off x="-398462" y="4027488"/>
                <a:ext cx="452438" cy="404813"/>
              </a:xfrm>
              <a:custGeom>
                <a:avLst/>
                <a:gdLst>
                  <a:gd name="connsiteX0" fmla="*/ 74612 w 452438"/>
                  <a:gd name="connsiteY0" fmla="*/ 74612 h 404813"/>
                  <a:gd name="connsiteX1" fmla="*/ 74612 w 452438"/>
                  <a:gd name="connsiteY1" fmla="*/ 330200 h 404813"/>
                  <a:gd name="connsiteX2" fmla="*/ 377825 w 452438"/>
                  <a:gd name="connsiteY2" fmla="*/ 330200 h 404813"/>
                  <a:gd name="connsiteX3" fmla="*/ 377825 w 452438"/>
                  <a:gd name="connsiteY3" fmla="*/ 74612 h 404813"/>
                  <a:gd name="connsiteX4" fmla="*/ 0 w 452438"/>
                  <a:gd name="connsiteY4" fmla="*/ 0 h 404813"/>
                  <a:gd name="connsiteX5" fmla="*/ 452438 w 452438"/>
                  <a:gd name="connsiteY5" fmla="*/ 0 h 404813"/>
                  <a:gd name="connsiteX6" fmla="*/ 452438 w 452438"/>
                  <a:gd name="connsiteY6" fmla="*/ 404813 h 404813"/>
                  <a:gd name="connsiteX7" fmla="*/ 0 w 452438"/>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2438" h="404813">
                    <a:moveTo>
                      <a:pt x="74612" y="74612"/>
                    </a:moveTo>
                    <a:lnTo>
                      <a:pt x="74612" y="330200"/>
                    </a:lnTo>
                    <a:lnTo>
                      <a:pt x="377825" y="330200"/>
                    </a:lnTo>
                    <a:lnTo>
                      <a:pt x="377825" y="74612"/>
                    </a:lnTo>
                    <a:close/>
                    <a:moveTo>
                      <a:pt x="0" y="0"/>
                    </a:moveTo>
                    <a:lnTo>
                      <a:pt x="452438" y="0"/>
                    </a:lnTo>
                    <a:lnTo>
                      <a:pt x="452438"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53" name="Rectangle 29">
                <a:extLst>
                  <a:ext uri="{FF2B5EF4-FFF2-40B4-BE49-F238E27FC236}">
                    <a16:creationId xmlns:a16="http://schemas.microsoft.com/office/drawing/2014/main" id="{FA7DAE80-F3AA-4911-8514-2431D25D63B8}"/>
                  </a:ext>
                </a:extLst>
              </p:cNvPr>
              <p:cNvSpPr>
                <a:spLocks noChangeArrowheads="1"/>
              </p:cNvSpPr>
              <p:nvPr/>
            </p:nvSpPr>
            <p:spPr bwMode="auto">
              <a:xfrm>
                <a:off x="-1217613" y="4395788"/>
                <a:ext cx="73025" cy="109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54" name="Rectangle 30">
                <a:extLst>
                  <a:ext uri="{FF2B5EF4-FFF2-40B4-BE49-F238E27FC236}">
                    <a16:creationId xmlns:a16="http://schemas.microsoft.com/office/drawing/2014/main" id="{0D12F538-8237-4334-A8AE-ADDC069A9493}"/>
                  </a:ext>
                </a:extLst>
              </p:cNvPr>
              <p:cNvSpPr>
                <a:spLocks noChangeArrowheads="1"/>
              </p:cNvSpPr>
              <p:nvPr/>
            </p:nvSpPr>
            <p:spPr bwMode="auto">
              <a:xfrm>
                <a:off x="-950912" y="4395788"/>
                <a:ext cx="74613" cy="109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55" name="Rectangle 31">
                <a:extLst>
                  <a:ext uri="{FF2B5EF4-FFF2-40B4-BE49-F238E27FC236}">
                    <a16:creationId xmlns:a16="http://schemas.microsoft.com/office/drawing/2014/main" id="{C5CEE504-6CBB-4201-8687-42F662CCF4F0}"/>
                  </a:ext>
                </a:extLst>
              </p:cNvPr>
              <p:cNvSpPr>
                <a:spLocks noChangeArrowheads="1"/>
              </p:cNvSpPr>
              <p:nvPr/>
            </p:nvSpPr>
            <p:spPr bwMode="auto">
              <a:xfrm>
                <a:off x="-1190625" y="1881188"/>
                <a:ext cx="74613" cy="2111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56" name="Rectangle 32">
                <a:extLst>
                  <a:ext uri="{FF2B5EF4-FFF2-40B4-BE49-F238E27FC236}">
                    <a16:creationId xmlns:a16="http://schemas.microsoft.com/office/drawing/2014/main" id="{BFDECB5C-3C92-473D-9BB6-675AFC68A3B1}"/>
                  </a:ext>
                </a:extLst>
              </p:cNvPr>
              <p:cNvSpPr>
                <a:spLocks noChangeArrowheads="1"/>
              </p:cNvSpPr>
              <p:nvPr/>
            </p:nvSpPr>
            <p:spPr bwMode="auto">
              <a:xfrm>
                <a:off x="-1098550" y="1752600"/>
                <a:ext cx="74613" cy="339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57" name="Rectangle 33">
                <a:extLst>
                  <a:ext uri="{FF2B5EF4-FFF2-40B4-BE49-F238E27FC236}">
                    <a16:creationId xmlns:a16="http://schemas.microsoft.com/office/drawing/2014/main" id="{4A8066BC-A69A-44B4-80BD-D311532EDE7B}"/>
                  </a:ext>
                </a:extLst>
              </p:cNvPr>
              <p:cNvSpPr>
                <a:spLocks noChangeArrowheads="1"/>
              </p:cNvSpPr>
              <p:nvPr/>
            </p:nvSpPr>
            <p:spPr bwMode="auto">
              <a:xfrm>
                <a:off x="-1706563" y="2679700"/>
                <a:ext cx="74613" cy="385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58" name="Rectangle 34">
                <a:extLst>
                  <a:ext uri="{FF2B5EF4-FFF2-40B4-BE49-F238E27FC236}">
                    <a16:creationId xmlns:a16="http://schemas.microsoft.com/office/drawing/2014/main" id="{3811C390-6ECF-484B-BEB6-FA48D014AD63}"/>
                  </a:ext>
                </a:extLst>
              </p:cNvPr>
              <p:cNvSpPr>
                <a:spLocks noChangeArrowheads="1"/>
              </p:cNvSpPr>
              <p:nvPr/>
            </p:nvSpPr>
            <p:spPr bwMode="auto">
              <a:xfrm>
                <a:off x="-1706563" y="3138488"/>
                <a:ext cx="74613" cy="2016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59" name="Rectangle 35">
                <a:extLst>
                  <a:ext uri="{FF2B5EF4-FFF2-40B4-BE49-F238E27FC236}">
                    <a16:creationId xmlns:a16="http://schemas.microsoft.com/office/drawing/2014/main" id="{012BD5B1-AFE5-4C6D-A4CD-9B1D7CEEFD87}"/>
                  </a:ext>
                </a:extLst>
              </p:cNvPr>
              <p:cNvSpPr>
                <a:spLocks noChangeArrowheads="1"/>
              </p:cNvSpPr>
              <p:nvPr/>
            </p:nvSpPr>
            <p:spPr bwMode="auto">
              <a:xfrm>
                <a:off x="-803275" y="2679700"/>
                <a:ext cx="73025" cy="385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60" name="Rectangle 36">
                <a:extLst>
                  <a:ext uri="{FF2B5EF4-FFF2-40B4-BE49-F238E27FC236}">
                    <a16:creationId xmlns:a16="http://schemas.microsoft.com/office/drawing/2014/main" id="{2EE3C529-969C-433B-862A-521DFD363949}"/>
                  </a:ext>
                </a:extLst>
              </p:cNvPr>
              <p:cNvSpPr>
                <a:spLocks noChangeArrowheads="1"/>
              </p:cNvSpPr>
              <p:nvPr/>
            </p:nvSpPr>
            <p:spPr bwMode="auto">
              <a:xfrm>
                <a:off x="-803275" y="3138488"/>
                <a:ext cx="73025" cy="2016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61" name="Rectangle 37">
                <a:extLst>
                  <a:ext uri="{FF2B5EF4-FFF2-40B4-BE49-F238E27FC236}">
                    <a16:creationId xmlns:a16="http://schemas.microsoft.com/office/drawing/2014/main" id="{51BC6C4E-ACF3-42BF-B3D7-57D945EA2D62}"/>
                  </a:ext>
                </a:extLst>
              </p:cNvPr>
              <p:cNvSpPr>
                <a:spLocks noChangeArrowheads="1"/>
              </p:cNvSpPr>
              <p:nvPr/>
            </p:nvSpPr>
            <p:spPr bwMode="auto">
              <a:xfrm>
                <a:off x="100013" y="2679700"/>
                <a:ext cx="73025" cy="385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62" name="Rectangle 38">
                <a:extLst>
                  <a:ext uri="{FF2B5EF4-FFF2-40B4-BE49-F238E27FC236}">
                    <a16:creationId xmlns:a16="http://schemas.microsoft.com/office/drawing/2014/main" id="{406767AE-7FAB-406D-8753-DD35652055BC}"/>
                  </a:ext>
                </a:extLst>
              </p:cNvPr>
              <p:cNvSpPr>
                <a:spLocks noChangeArrowheads="1"/>
              </p:cNvSpPr>
              <p:nvPr/>
            </p:nvSpPr>
            <p:spPr bwMode="auto">
              <a:xfrm>
                <a:off x="100013" y="3138488"/>
                <a:ext cx="73025" cy="2016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cxnSp>
        <p:nvCxnSpPr>
          <p:cNvPr id="378" name="Straight Arrow Connector 377">
            <a:extLst>
              <a:ext uri="{FF2B5EF4-FFF2-40B4-BE49-F238E27FC236}">
                <a16:creationId xmlns:a16="http://schemas.microsoft.com/office/drawing/2014/main" id="{87144878-BE8B-4272-BE2F-9A0097BBF52D}"/>
              </a:ext>
            </a:extLst>
          </p:cNvPr>
          <p:cNvCxnSpPr>
            <a:cxnSpLocks/>
          </p:cNvCxnSpPr>
          <p:nvPr/>
        </p:nvCxnSpPr>
        <p:spPr>
          <a:xfrm flipV="1">
            <a:off x="7715770" y="3813204"/>
            <a:ext cx="130369" cy="837799"/>
          </a:xfrm>
          <a:prstGeom prst="straightConnector1">
            <a:avLst/>
          </a:prstGeom>
          <a:noFill/>
          <a:ln w="19050" cap="flat" cmpd="sng" algn="ctr">
            <a:solidFill>
              <a:schemeClr val="accent4">
                <a:lumMod val="40000"/>
                <a:lumOff val="60000"/>
              </a:schemeClr>
            </a:solidFill>
            <a:prstDash val="solid"/>
            <a:headEnd type="none" w="med" len="med"/>
            <a:tailEnd type="triangle" w="lg" len="med"/>
          </a:ln>
          <a:effectLst/>
        </p:spPr>
      </p:cxnSp>
      <p:cxnSp>
        <p:nvCxnSpPr>
          <p:cNvPr id="379" name="Straight Arrow Connector 378">
            <a:extLst>
              <a:ext uri="{FF2B5EF4-FFF2-40B4-BE49-F238E27FC236}">
                <a16:creationId xmlns:a16="http://schemas.microsoft.com/office/drawing/2014/main" id="{5B4B907A-0129-415C-8B22-C0BB6439B647}"/>
              </a:ext>
            </a:extLst>
          </p:cNvPr>
          <p:cNvCxnSpPr>
            <a:cxnSpLocks/>
          </p:cNvCxnSpPr>
          <p:nvPr/>
        </p:nvCxnSpPr>
        <p:spPr>
          <a:xfrm>
            <a:off x="7713230" y="4635765"/>
            <a:ext cx="2066703" cy="788418"/>
          </a:xfrm>
          <a:prstGeom prst="straightConnector1">
            <a:avLst/>
          </a:prstGeom>
          <a:noFill/>
          <a:ln w="19050" cap="flat" cmpd="sng" algn="ctr">
            <a:solidFill>
              <a:schemeClr val="accent4">
                <a:lumMod val="40000"/>
                <a:lumOff val="60000"/>
              </a:schemeClr>
            </a:solidFill>
            <a:prstDash val="solid"/>
            <a:headEnd type="none" w="med" len="med"/>
            <a:tailEnd type="triangle" w="lg" len="med"/>
          </a:ln>
          <a:effectLst/>
        </p:spPr>
      </p:cxnSp>
      <p:cxnSp>
        <p:nvCxnSpPr>
          <p:cNvPr id="380" name="Straight Arrow Connector 379">
            <a:extLst>
              <a:ext uri="{FF2B5EF4-FFF2-40B4-BE49-F238E27FC236}">
                <a16:creationId xmlns:a16="http://schemas.microsoft.com/office/drawing/2014/main" id="{B7DE00B3-4615-49FD-81B6-505D9E20972B}"/>
              </a:ext>
            </a:extLst>
          </p:cNvPr>
          <p:cNvCxnSpPr>
            <a:cxnSpLocks/>
          </p:cNvCxnSpPr>
          <p:nvPr/>
        </p:nvCxnSpPr>
        <p:spPr>
          <a:xfrm>
            <a:off x="9170984" y="3498006"/>
            <a:ext cx="706020" cy="1772668"/>
          </a:xfrm>
          <a:prstGeom prst="straightConnector1">
            <a:avLst/>
          </a:prstGeom>
          <a:noFill/>
          <a:ln w="19050" cap="flat" cmpd="sng" algn="ctr">
            <a:solidFill>
              <a:schemeClr val="accent4">
                <a:lumMod val="40000"/>
                <a:lumOff val="60000"/>
              </a:schemeClr>
            </a:solidFill>
            <a:prstDash val="solid"/>
            <a:headEnd type="none" w="med" len="med"/>
            <a:tailEnd type="triangle" w="lg" len="med"/>
          </a:ln>
          <a:effectLst/>
        </p:spPr>
      </p:cxnSp>
      <p:cxnSp>
        <p:nvCxnSpPr>
          <p:cNvPr id="381" name="Straight Arrow Connector 380">
            <a:extLst>
              <a:ext uri="{FF2B5EF4-FFF2-40B4-BE49-F238E27FC236}">
                <a16:creationId xmlns:a16="http://schemas.microsoft.com/office/drawing/2014/main" id="{D2ED89CE-BF33-4AFE-91B2-073058E2172C}"/>
              </a:ext>
            </a:extLst>
          </p:cNvPr>
          <p:cNvCxnSpPr>
            <a:cxnSpLocks/>
          </p:cNvCxnSpPr>
          <p:nvPr/>
        </p:nvCxnSpPr>
        <p:spPr>
          <a:xfrm>
            <a:off x="9247173" y="3457371"/>
            <a:ext cx="1031093" cy="1000619"/>
          </a:xfrm>
          <a:prstGeom prst="straightConnector1">
            <a:avLst/>
          </a:prstGeom>
          <a:noFill/>
          <a:ln w="19050" cap="flat" cmpd="sng" algn="ctr">
            <a:solidFill>
              <a:schemeClr val="accent4">
                <a:lumMod val="40000"/>
                <a:lumOff val="60000"/>
              </a:schemeClr>
            </a:solidFill>
            <a:prstDash val="solid"/>
            <a:headEnd type="none" w="med" len="med"/>
            <a:tailEnd type="triangle" w="lg" len="med"/>
          </a:ln>
          <a:effectLst/>
        </p:spPr>
      </p:cxnSp>
      <p:cxnSp>
        <p:nvCxnSpPr>
          <p:cNvPr id="382" name="Straight Arrow Connector 381">
            <a:extLst>
              <a:ext uri="{FF2B5EF4-FFF2-40B4-BE49-F238E27FC236}">
                <a16:creationId xmlns:a16="http://schemas.microsoft.com/office/drawing/2014/main" id="{6930F26B-5771-4C9F-A07B-46C636C9414E}"/>
              </a:ext>
            </a:extLst>
          </p:cNvPr>
          <p:cNvCxnSpPr>
            <a:cxnSpLocks/>
          </p:cNvCxnSpPr>
          <p:nvPr/>
        </p:nvCxnSpPr>
        <p:spPr>
          <a:xfrm flipV="1">
            <a:off x="9287807" y="3010395"/>
            <a:ext cx="228568" cy="116823"/>
          </a:xfrm>
          <a:prstGeom prst="straightConnector1">
            <a:avLst/>
          </a:prstGeom>
          <a:noFill/>
          <a:ln w="19050" cap="flat" cmpd="sng" algn="ctr">
            <a:solidFill>
              <a:schemeClr val="accent4">
                <a:lumMod val="40000"/>
                <a:lumOff val="60000"/>
              </a:schemeClr>
            </a:solidFill>
            <a:prstDash val="solid"/>
            <a:headEnd type="none" w="med" len="med"/>
            <a:tailEnd type="triangle" w="lg" len="med"/>
          </a:ln>
          <a:effectLst/>
        </p:spPr>
      </p:cxnSp>
      <p:cxnSp>
        <p:nvCxnSpPr>
          <p:cNvPr id="383" name="Straight Arrow Connector 382">
            <a:extLst>
              <a:ext uri="{FF2B5EF4-FFF2-40B4-BE49-F238E27FC236}">
                <a16:creationId xmlns:a16="http://schemas.microsoft.com/office/drawing/2014/main" id="{17967F83-287E-4139-B84E-B47C666896C4}"/>
              </a:ext>
            </a:extLst>
          </p:cNvPr>
          <p:cNvCxnSpPr>
            <a:cxnSpLocks/>
          </p:cNvCxnSpPr>
          <p:nvPr/>
        </p:nvCxnSpPr>
        <p:spPr>
          <a:xfrm>
            <a:off x="7154509" y="2050412"/>
            <a:ext cx="1592354" cy="1028554"/>
          </a:xfrm>
          <a:prstGeom prst="straightConnector1">
            <a:avLst/>
          </a:prstGeom>
          <a:noFill/>
          <a:ln w="19050" cap="flat" cmpd="sng" algn="ctr">
            <a:solidFill>
              <a:schemeClr val="accent4">
                <a:lumMod val="40000"/>
                <a:lumOff val="60000"/>
              </a:schemeClr>
            </a:solidFill>
            <a:prstDash val="solid"/>
            <a:headEnd type="none" w="med" len="med"/>
            <a:tailEnd type="triangle" w="lg" len="med"/>
          </a:ln>
          <a:effectLst/>
        </p:spPr>
      </p:cxnSp>
      <p:grpSp>
        <p:nvGrpSpPr>
          <p:cNvPr id="384" name="Group 383">
            <a:extLst>
              <a:ext uri="{FF2B5EF4-FFF2-40B4-BE49-F238E27FC236}">
                <a16:creationId xmlns:a16="http://schemas.microsoft.com/office/drawing/2014/main" id="{02633D00-01EC-46AB-9C57-1C1C5A3476C1}"/>
              </a:ext>
            </a:extLst>
          </p:cNvPr>
          <p:cNvGrpSpPr/>
          <p:nvPr/>
        </p:nvGrpSpPr>
        <p:grpSpPr>
          <a:xfrm>
            <a:off x="6811746" y="1804959"/>
            <a:ext cx="347843" cy="347843"/>
            <a:chOff x="8023948" y="1893194"/>
            <a:chExt cx="347892" cy="347892"/>
          </a:xfrm>
        </p:grpSpPr>
        <p:sp>
          <p:nvSpPr>
            <p:cNvPr id="442" name="Oval 441">
              <a:extLst>
                <a:ext uri="{FF2B5EF4-FFF2-40B4-BE49-F238E27FC236}">
                  <a16:creationId xmlns:a16="http://schemas.microsoft.com/office/drawing/2014/main" id="{C09F46E0-9B47-4176-92F8-2A61956645AB}"/>
                </a:ext>
              </a:extLst>
            </p:cNvPr>
            <p:cNvSpPr/>
            <p:nvPr/>
          </p:nvSpPr>
          <p:spPr bwMode="auto">
            <a:xfrm>
              <a:off x="8023948" y="1893194"/>
              <a:ext cx="347892" cy="347892"/>
            </a:xfrm>
            <a:prstGeom prst="ellipse">
              <a:avLst/>
            </a:prstGeom>
            <a:solidFill>
              <a:srgbClr val="FFFFFF"/>
            </a:solidFill>
            <a:ln w="19050" cap="flat" cmpd="sng" algn="ctr">
              <a:solidFill>
                <a:srgbClr val="00BCF2"/>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3" name="Freeform 99">
              <a:extLst>
                <a:ext uri="{FF2B5EF4-FFF2-40B4-BE49-F238E27FC236}">
                  <a16:creationId xmlns:a16="http://schemas.microsoft.com/office/drawing/2014/main" id="{E5EDAFB2-3335-42F1-948B-009196D7C73D}"/>
                </a:ext>
              </a:extLst>
            </p:cNvPr>
            <p:cNvSpPr>
              <a:spLocks/>
            </p:cNvSpPr>
            <p:nvPr/>
          </p:nvSpPr>
          <p:spPr bwMode="auto">
            <a:xfrm>
              <a:off x="8081737" y="1955286"/>
              <a:ext cx="226603" cy="195043"/>
            </a:xfrm>
            <a:custGeom>
              <a:avLst/>
              <a:gdLst>
                <a:gd name="connsiteX0" fmla="*/ 2667221 w 3829915"/>
                <a:gd name="connsiteY0" fmla="*/ 2253274 h 3296512"/>
                <a:gd name="connsiteX1" fmla="*/ 2710935 w 3829915"/>
                <a:gd name="connsiteY1" fmla="*/ 2271572 h 3296512"/>
                <a:gd name="connsiteX2" fmla="*/ 2710935 w 3829915"/>
                <a:gd name="connsiteY2" fmla="*/ 2356963 h 3296512"/>
                <a:gd name="connsiteX3" fmla="*/ 2376426 w 3829915"/>
                <a:gd name="connsiteY3" fmla="*/ 2692427 h 3296512"/>
                <a:gd name="connsiteX4" fmla="*/ 2333852 w 3829915"/>
                <a:gd name="connsiteY4" fmla="*/ 2710725 h 3296512"/>
                <a:gd name="connsiteX5" fmla="*/ 2291278 w 3829915"/>
                <a:gd name="connsiteY5" fmla="*/ 2692427 h 3296512"/>
                <a:gd name="connsiteX6" fmla="*/ 2291278 w 3829915"/>
                <a:gd name="connsiteY6" fmla="*/ 2603987 h 3296512"/>
                <a:gd name="connsiteX7" fmla="*/ 2625787 w 3829915"/>
                <a:gd name="connsiteY7" fmla="*/ 2271572 h 3296512"/>
                <a:gd name="connsiteX8" fmla="*/ 2667221 w 3829915"/>
                <a:gd name="connsiteY8" fmla="*/ 2253274 h 3296512"/>
                <a:gd name="connsiteX9" fmla="*/ 1096963 w 3829915"/>
                <a:gd name="connsiteY9" fmla="*/ 2210662 h 3296512"/>
                <a:gd name="connsiteX10" fmla="*/ 1157288 w 3829915"/>
                <a:gd name="connsiteY10" fmla="*/ 2271613 h 3296512"/>
                <a:gd name="connsiteX11" fmla="*/ 1157288 w 3829915"/>
                <a:gd name="connsiteY11" fmla="*/ 2567224 h 3296512"/>
                <a:gd name="connsiteX12" fmla="*/ 1096963 w 3829915"/>
                <a:gd name="connsiteY12" fmla="*/ 2628175 h 3296512"/>
                <a:gd name="connsiteX13" fmla="*/ 1036638 w 3829915"/>
                <a:gd name="connsiteY13" fmla="*/ 2567224 h 3296512"/>
                <a:gd name="connsiteX14" fmla="*/ 1036638 w 3829915"/>
                <a:gd name="connsiteY14" fmla="*/ 2271613 h 3296512"/>
                <a:gd name="connsiteX15" fmla="*/ 1096963 w 3829915"/>
                <a:gd name="connsiteY15" fmla="*/ 2210662 h 3296512"/>
                <a:gd name="connsiteX16" fmla="*/ 2669520 w 3829915"/>
                <a:gd name="connsiteY16" fmla="*/ 1934178 h 3296512"/>
                <a:gd name="connsiteX17" fmla="*/ 2710942 w 3829915"/>
                <a:gd name="connsiteY17" fmla="*/ 1952449 h 3296512"/>
                <a:gd name="connsiteX18" fmla="*/ 2710942 w 3829915"/>
                <a:gd name="connsiteY18" fmla="*/ 2037717 h 3296512"/>
                <a:gd name="connsiteX19" fmla="*/ 2057309 w 3829915"/>
                <a:gd name="connsiteY19" fmla="*/ 2692454 h 3296512"/>
                <a:gd name="connsiteX20" fmla="*/ 2014747 w 3829915"/>
                <a:gd name="connsiteY20" fmla="*/ 2710725 h 3296512"/>
                <a:gd name="connsiteX21" fmla="*/ 1972184 w 3829915"/>
                <a:gd name="connsiteY21" fmla="*/ 2692454 h 3296512"/>
                <a:gd name="connsiteX22" fmla="*/ 1972184 w 3829915"/>
                <a:gd name="connsiteY22" fmla="*/ 2607186 h 3296512"/>
                <a:gd name="connsiteX23" fmla="*/ 2625818 w 3829915"/>
                <a:gd name="connsiteY23" fmla="*/ 1952449 h 3296512"/>
                <a:gd name="connsiteX24" fmla="*/ 2669520 w 3829915"/>
                <a:gd name="connsiteY24" fmla="*/ 1934178 h 3296512"/>
                <a:gd name="connsiteX25" fmla="*/ 2340909 w 3829915"/>
                <a:gd name="connsiteY25" fmla="*/ 1927073 h 3296512"/>
                <a:gd name="connsiteX26" fmla="*/ 2382330 w 3829915"/>
                <a:gd name="connsiteY26" fmla="*/ 1943079 h 3296512"/>
                <a:gd name="connsiteX27" fmla="*/ 2382330 w 3829915"/>
                <a:gd name="connsiteY27" fmla="*/ 2031495 h 3296512"/>
                <a:gd name="connsiteX28" fmla="*/ 2050957 w 3829915"/>
                <a:gd name="connsiteY28" fmla="*/ 2363819 h 3296512"/>
                <a:gd name="connsiteX29" fmla="*/ 2008396 w 3829915"/>
                <a:gd name="connsiteY29" fmla="*/ 2382112 h 3296512"/>
                <a:gd name="connsiteX30" fmla="*/ 1965834 w 3829915"/>
                <a:gd name="connsiteY30" fmla="*/ 2363819 h 3296512"/>
                <a:gd name="connsiteX31" fmla="*/ 1965834 w 3829915"/>
                <a:gd name="connsiteY31" fmla="*/ 2278452 h 3296512"/>
                <a:gd name="connsiteX32" fmla="*/ 2297207 w 3829915"/>
                <a:gd name="connsiteY32" fmla="*/ 1943079 h 3296512"/>
                <a:gd name="connsiteX33" fmla="*/ 2340909 w 3829915"/>
                <a:gd name="connsiteY33" fmla="*/ 1927073 h 3296512"/>
                <a:gd name="connsiteX34" fmla="*/ 984116 w 3829915"/>
                <a:gd name="connsiteY34" fmla="*/ 1440148 h 3296512"/>
                <a:gd name="connsiteX35" fmla="*/ 976866 w 3829915"/>
                <a:gd name="connsiteY35" fmla="*/ 1455700 h 3296512"/>
                <a:gd name="connsiteX36" fmla="*/ 628507 w 3829915"/>
                <a:gd name="connsiteY36" fmla="*/ 1707906 h 3296512"/>
                <a:gd name="connsiteX37" fmla="*/ 577851 w 3829915"/>
                <a:gd name="connsiteY37" fmla="*/ 1713014 h 3296512"/>
                <a:gd name="connsiteX38" fmla="*/ 577851 w 3829915"/>
                <a:gd name="connsiteY38" fmla="*/ 1809048 h 3296512"/>
                <a:gd name="connsiteX39" fmla="*/ 577851 w 3829915"/>
                <a:gd name="connsiteY39" fmla="*/ 3159840 h 3296512"/>
                <a:gd name="connsiteX40" fmla="*/ 577851 w 3829915"/>
                <a:gd name="connsiteY40" fmla="*/ 3175862 h 3296512"/>
                <a:gd name="connsiteX41" fmla="*/ 717906 w 3829915"/>
                <a:gd name="connsiteY41" fmla="*/ 3175862 h 3296512"/>
                <a:gd name="connsiteX42" fmla="*/ 1276340 w 3829915"/>
                <a:gd name="connsiteY42" fmla="*/ 3175862 h 3296512"/>
                <a:gd name="connsiteX43" fmla="*/ 1309688 w 3829915"/>
                <a:gd name="connsiteY43" fmla="*/ 3175862 h 3296512"/>
                <a:gd name="connsiteX44" fmla="*/ 1309688 w 3829915"/>
                <a:gd name="connsiteY44" fmla="*/ 3013173 h 3296512"/>
                <a:gd name="connsiteX45" fmla="*/ 1309688 w 3829915"/>
                <a:gd name="connsiteY45" fmla="*/ 1716585 h 3296512"/>
                <a:gd name="connsiteX46" fmla="*/ 1309688 w 3829915"/>
                <a:gd name="connsiteY46" fmla="*/ 1699571 h 3296512"/>
                <a:gd name="connsiteX47" fmla="*/ 1238892 w 3829915"/>
                <a:gd name="connsiteY47" fmla="*/ 1677413 h 3296512"/>
                <a:gd name="connsiteX48" fmla="*/ 1009907 w 3829915"/>
                <a:gd name="connsiteY48" fmla="*/ 1487808 h 3296512"/>
                <a:gd name="connsiteX49" fmla="*/ 2838454 w 3829915"/>
                <a:gd name="connsiteY49" fmla="*/ 1422795 h 3296512"/>
                <a:gd name="connsiteX50" fmla="*/ 2803244 w 3829915"/>
                <a:gd name="connsiteY50" fmla="*/ 1487808 h 3296512"/>
                <a:gd name="connsiteX51" fmla="*/ 2370207 w 3829915"/>
                <a:gd name="connsiteY51" fmla="*/ 1718537 h 3296512"/>
                <a:gd name="connsiteX52" fmla="*/ 1940046 w 3829915"/>
                <a:gd name="connsiteY52" fmla="*/ 1487808 h 3296512"/>
                <a:gd name="connsiteX53" fmla="*/ 1907297 w 3829915"/>
                <a:gd name="connsiteY53" fmla="*/ 1427197 h 3296512"/>
                <a:gd name="connsiteX54" fmla="*/ 1874421 w 3829915"/>
                <a:gd name="connsiteY54" fmla="*/ 1487808 h 3296512"/>
                <a:gd name="connsiteX55" fmla="*/ 1440724 w 3829915"/>
                <a:gd name="connsiteY55" fmla="*/ 1718537 h 3296512"/>
                <a:gd name="connsiteX56" fmla="*/ 1431926 w 3829915"/>
                <a:gd name="connsiteY56" fmla="*/ 1717641 h 3296512"/>
                <a:gd name="connsiteX57" fmla="*/ 1431926 w 3829915"/>
                <a:gd name="connsiteY57" fmla="*/ 1809048 h 3296512"/>
                <a:gd name="connsiteX58" fmla="*/ 1431926 w 3829915"/>
                <a:gd name="connsiteY58" fmla="*/ 3159840 h 3296512"/>
                <a:gd name="connsiteX59" fmla="*/ 1431926 w 3829915"/>
                <a:gd name="connsiteY59" fmla="*/ 3175862 h 3296512"/>
                <a:gd name="connsiteX60" fmla="*/ 1527348 w 3829915"/>
                <a:gd name="connsiteY60" fmla="*/ 3175862 h 3296512"/>
                <a:gd name="connsiteX61" fmla="*/ 3059615 w 3829915"/>
                <a:gd name="connsiteY61" fmla="*/ 3175862 h 3296512"/>
                <a:gd name="connsiteX62" fmla="*/ 3233738 w 3829915"/>
                <a:gd name="connsiteY62" fmla="*/ 3175862 h 3296512"/>
                <a:gd name="connsiteX63" fmla="*/ 3233738 w 3829915"/>
                <a:gd name="connsiteY63" fmla="*/ 3028966 h 3296512"/>
                <a:gd name="connsiteX64" fmla="*/ 3233738 w 3829915"/>
                <a:gd name="connsiteY64" fmla="*/ 1744627 h 3296512"/>
                <a:gd name="connsiteX65" fmla="*/ 3233738 w 3829915"/>
                <a:gd name="connsiteY65" fmla="*/ 1711162 h 3296512"/>
                <a:gd name="connsiteX66" fmla="*/ 3201498 w 3829915"/>
                <a:gd name="connsiteY66" fmla="*/ 1707906 h 3296512"/>
                <a:gd name="connsiteX67" fmla="*/ 2873668 w 3829915"/>
                <a:gd name="connsiteY67" fmla="*/ 1487808 h 3296512"/>
                <a:gd name="connsiteX68" fmla="*/ 2909118 w 3829915"/>
                <a:gd name="connsiteY68" fmla="*/ 1226413 h 3296512"/>
                <a:gd name="connsiteX69" fmla="*/ 2914193 w 3829915"/>
                <a:gd name="connsiteY69" fmla="*/ 1276221 h 3296512"/>
                <a:gd name="connsiteX70" fmla="*/ 3306763 w 3829915"/>
                <a:gd name="connsiteY70" fmla="*/ 1596829 h 3296512"/>
                <a:gd name="connsiteX71" fmla="*/ 3699457 w 3829915"/>
                <a:gd name="connsiteY71" fmla="*/ 1276221 h 3296512"/>
                <a:gd name="connsiteX72" fmla="*/ 3704455 w 3829915"/>
                <a:gd name="connsiteY72" fmla="*/ 1226413 h 3296512"/>
                <a:gd name="connsiteX73" fmla="*/ 3431443 w 3829915"/>
                <a:gd name="connsiteY73" fmla="*/ 1226413 h 3296512"/>
                <a:gd name="connsiteX74" fmla="*/ 3115659 w 3829915"/>
                <a:gd name="connsiteY74" fmla="*/ 1226413 h 3296512"/>
                <a:gd name="connsiteX75" fmla="*/ 1975602 w 3829915"/>
                <a:gd name="connsiteY75" fmla="*/ 1226413 h 3296512"/>
                <a:gd name="connsiteX76" fmla="*/ 1980595 w 3829915"/>
                <a:gd name="connsiteY76" fmla="*/ 1276221 h 3296512"/>
                <a:gd name="connsiteX77" fmla="*/ 2370207 w 3829915"/>
                <a:gd name="connsiteY77" fmla="*/ 1596829 h 3296512"/>
                <a:gd name="connsiteX78" fmla="*/ 2762849 w 3829915"/>
                <a:gd name="connsiteY78" fmla="*/ 1276221 h 3296512"/>
                <a:gd name="connsiteX79" fmla="*/ 2767847 w 3829915"/>
                <a:gd name="connsiteY79" fmla="*/ 1226413 h 3296512"/>
                <a:gd name="connsiteX80" fmla="*/ 2544509 w 3829915"/>
                <a:gd name="connsiteY80" fmla="*/ 1226413 h 3296512"/>
                <a:gd name="connsiteX81" fmla="*/ 2049393 w 3829915"/>
                <a:gd name="connsiteY81" fmla="*/ 1226413 h 3296512"/>
                <a:gd name="connsiteX82" fmla="*/ 1045517 w 3829915"/>
                <a:gd name="connsiteY82" fmla="*/ 1226413 h 3296512"/>
                <a:gd name="connsiteX83" fmla="*/ 1050518 w 3829915"/>
                <a:gd name="connsiteY83" fmla="*/ 1276221 h 3296512"/>
                <a:gd name="connsiteX84" fmla="*/ 1440724 w 3829915"/>
                <a:gd name="connsiteY84" fmla="*/ 1596829 h 3296512"/>
                <a:gd name="connsiteX85" fmla="*/ 1833965 w 3829915"/>
                <a:gd name="connsiteY85" fmla="*/ 1276221 h 3296512"/>
                <a:gd name="connsiteX86" fmla="*/ 1838970 w 3829915"/>
                <a:gd name="connsiteY86" fmla="*/ 1226413 h 3296512"/>
                <a:gd name="connsiteX87" fmla="*/ 1828649 w 3829915"/>
                <a:gd name="connsiteY87" fmla="*/ 1226413 h 3296512"/>
                <a:gd name="connsiteX88" fmla="*/ 1108603 w 3829915"/>
                <a:gd name="connsiteY88" fmla="*/ 1226413 h 3296512"/>
                <a:gd name="connsiteX89" fmla="*/ 124785 w 3829915"/>
                <a:gd name="connsiteY89" fmla="*/ 1226413 h 3296512"/>
                <a:gd name="connsiteX90" fmla="*/ 129790 w 3829915"/>
                <a:gd name="connsiteY90" fmla="*/ 1276221 h 3296512"/>
                <a:gd name="connsiteX91" fmla="*/ 523082 w 3829915"/>
                <a:gd name="connsiteY91" fmla="*/ 1596829 h 3296512"/>
                <a:gd name="connsiteX92" fmla="*/ 916373 w 3829915"/>
                <a:gd name="connsiteY92" fmla="*/ 1276221 h 3296512"/>
                <a:gd name="connsiteX93" fmla="*/ 921378 w 3829915"/>
                <a:gd name="connsiteY93" fmla="*/ 1226413 h 3296512"/>
                <a:gd name="connsiteX94" fmla="*/ 836831 w 3829915"/>
                <a:gd name="connsiteY94" fmla="*/ 1226413 h 3296512"/>
                <a:gd name="connsiteX95" fmla="*/ 173922 w 3829915"/>
                <a:gd name="connsiteY95" fmla="*/ 1226413 h 3296512"/>
                <a:gd name="connsiteX96" fmla="*/ 576712 w 3829915"/>
                <a:gd name="connsiteY96" fmla="*/ 123100 h 3296512"/>
                <a:gd name="connsiteX97" fmla="*/ 509290 w 3829915"/>
                <a:gd name="connsiteY97" fmla="*/ 280020 h 3296512"/>
                <a:gd name="connsiteX98" fmla="*/ 158079 w 3829915"/>
                <a:gd name="connsiteY98" fmla="*/ 1097436 h 3296512"/>
                <a:gd name="connsiteX99" fmla="*/ 155183 w 3829915"/>
                <a:gd name="connsiteY99" fmla="*/ 1104175 h 3296512"/>
                <a:gd name="connsiteX100" fmla="*/ 397607 w 3829915"/>
                <a:gd name="connsiteY100" fmla="*/ 1104175 h 3296512"/>
                <a:gd name="connsiteX101" fmla="*/ 3665407 w 3829915"/>
                <a:gd name="connsiteY101" fmla="*/ 1104175 h 3296512"/>
                <a:gd name="connsiteX102" fmla="*/ 3687076 w 3829915"/>
                <a:gd name="connsiteY102" fmla="*/ 1104175 h 3296512"/>
                <a:gd name="connsiteX103" fmla="*/ 3617503 w 3829915"/>
                <a:gd name="connsiteY103" fmla="*/ 968485 h 3296512"/>
                <a:gd name="connsiteX104" fmla="*/ 3195267 w 3829915"/>
                <a:gd name="connsiteY104" fmla="*/ 144990 h 3296512"/>
                <a:gd name="connsiteX105" fmla="*/ 3184043 w 3829915"/>
                <a:gd name="connsiteY105" fmla="*/ 123100 h 3296512"/>
                <a:gd name="connsiteX106" fmla="*/ 3037870 w 3829915"/>
                <a:gd name="connsiteY106" fmla="*/ 123100 h 3296512"/>
                <a:gd name="connsiteX107" fmla="*/ 580551 w 3829915"/>
                <a:gd name="connsiteY107" fmla="*/ 123100 h 3296512"/>
                <a:gd name="connsiteX108" fmla="*/ 3217294 w 3829915"/>
                <a:gd name="connsiteY108" fmla="*/ 131 h 3296512"/>
                <a:gd name="connsiteX109" fmla="*/ 3240533 w 3829915"/>
                <a:gd name="connsiteY109" fmla="*/ 3125 h 3296512"/>
                <a:gd name="connsiteX110" fmla="*/ 3244647 w 3829915"/>
                <a:gd name="connsiteY110" fmla="*/ 5456 h 3296512"/>
                <a:gd name="connsiteX111" fmla="*/ 3245770 w 3829915"/>
                <a:gd name="connsiteY111" fmla="*/ 5685 h 3296512"/>
                <a:gd name="connsiteX112" fmla="*/ 3249370 w 3829915"/>
                <a:gd name="connsiteY112" fmla="*/ 8131 h 3296512"/>
                <a:gd name="connsiteX113" fmla="*/ 3260921 w 3829915"/>
                <a:gd name="connsiteY113" fmla="*/ 14675 h 3296512"/>
                <a:gd name="connsiteX114" fmla="*/ 3263071 w 3829915"/>
                <a:gd name="connsiteY114" fmla="*/ 17440 h 3296512"/>
                <a:gd name="connsiteX115" fmla="*/ 3265096 w 3829915"/>
                <a:gd name="connsiteY115" fmla="*/ 18816 h 3296512"/>
                <a:gd name="connsiteX116" fmla="*/ 3271169 w 3829915"/>
                <a:gd name="connsiteY116" fmla="*/ 27853 h 3296512"/>
                <a:gd name="connsiteX117" fmla="*/ 3275891 w 3829915"/>
                <a:gd name="connsiteY117" fmla="*/ 33926 h 3296512"/>
                <a:gd name="connsiteX118" fmla="*/ 3277958 w 3829915"/>
                <a:gd name="connsiteY118" fmla="*/ 37956 h 3296512"/>
                <a:gd name="connsiteX119" fmla="*/ 3278155 w 3829915"/>
                <a:gd name="connsiteY119" fmla="*/ 38250 h 3296512"/>
                <a:gd name="connsiteX120" fmla="*/ 3278186 w 3829915"/>
                <a:gd name="connsiteY120" fmla="*/ 38400 h 3296512"/>
                <a:gd name="connsiteX121" fmla="*/ 3372261 w 3829915"/>
                <a:gd name="connsiteY121" fmla="*/ 221878 h 3296512"/>
                <a:gd name="connsiteX122" fmla="*/ 3823369 w 3829915"/>
                <a:gd name="connsiteY122" fmla="*/ 1101681 h 3296512"/>
                <a:gd name="connsiteX123" fmla="*/ 3826790 w 3829915"/>
                <a:gd name="connsiteY123" fmla="*/ 1146171 h 3296512"/>
                <a:gd name="connsiteX124" fmla="*/ 3825504 w 3829915"/>
                <a:gd name="connsiteY124" fmla="*/ 1147744 h 3296512"/>
                <a:gd name="connsiteX125" fmla="*/ 3829050 w 3829915"/>
                <a:gd name="connsiteY125" fmla="*/ 1165294 h 3296512"/>
                <a:gd name="connsiteX126" fmla="*/ 3822856 w 3829915"/>
                <a:gd name="connsiteY126" fmla="*/ 1180269 h 3296512"/>
                <a:gd name="connsiteX127" fmla="*/ 3829050 w 3829915"/>
                <a:gd name="connsiteY127" fmla="*/ 1195191 h 3296512"/>
                <a:gd name="connsiteX128" fmla="*/ 3412028 w 3829915"/>
                <a:gd name="connsiteY128" fmla="*/ 1707906 h 3296512"/>
                <a:gd name="connsiteX129" fmla="*/ 3354388 w 3829915"/>
                <a:gd name="connsiteY129" fmla="*/ 1713727 h 3296512"/>
                <a:gd name="connsiteX130" fmla="*/ 3354388 w 3829915"/>
                <a:gd name="connsiteY130" fmla="*/ 1803283 h 3296512"/>
                <a:gd name="connsiteX131" fmla="*/ 3354388 w 3829915"/>
                <a:gd name="connsiteY131" fmla="*/ 3159654 h 3296512"/>
                <a:gd name="connsiteX132" fmla="*/ 3354388 w 3829915"/>
                <a:gd name="connsiteY132" fmla="*/ 3175862 h 3296512"/>
                <a:gd name="connsiteX133" fmla="*/ 3401225 w 3829915"/>
                <a:gd name="connsiteY133" fmla="*/ 3175862 h 3296512"/>
                <a:gd name="connsiteX134" fmla="*/ 3704780 w 3829915"/>
                <a:gd name="connsiteY134" fmla="*/ 3175862 h 3296512"/>
                <a:gd name="connsiteX135" fmla="*/ 3765550 w 3829915"/>
                <a:gd name="connsiteY135" fmla="*/ 3236187 h 3296512"/>
                <a:gd name="connsiteX136" fmla="*/ 3704780 w 3829915"/>
                <a:gd name="connsiteY136" fmla="*/ 3296512 h 3296512"/>
                <a:gd name="connsiteX137" fmla="*/ 79820 w 3829915"/>
                <a:gd name="connsiteY137" fmla="*/ 3296512 h 3296512"/>
                <a:gd name="connsiteX138" fmla="*/ 19050 w 3829915"/>
                <a:gd name="connsiteY138" fmla="*/ 3236187 h 3296512"/>
                <a:gd name="connsiteX139" fmla="*/ 79820 w 3829915"/>
                <a:gd name="connsiteY139" fmla="*/ 3175862 h 3296512"/>
                <a:gd name="connsiteX140" fmla="*/ 409151 w 3829915"/>
                <a:gd name="connsiteY140" fmla="*/ 3175862 h 3296512"/>
                <a:gd name="connsiteX141" fmla="*/ 455613 w 3829915"/>
                <a:gd name="connsiteY141" fmla="*/ 3175862 h 3296512"/>
                <a:gd name="connsiteX142" fmla="*/ 455613 w 3829915"/>
                <a:gd name="connsiteY142" fmla="*/ 3013173 h 3296512"/>
                <a:gd name="connsiteX143" fmla="*/ 455613 w 3829915"/>
                <a:gd name="connsiteY143" fmla="*/ 1716585 h 3296512"/>
                <a:gd name="connsiteX144" fmla="*/ 455613 w 3829915"/>
                <a:gd name="connsiteY144" fmla="*/ 1711733 h 3296512"/>
                <a:gd name="connsiteX145" fmla="*/ 417656 w 3829915"/>
                <a:gd name="connsiteY145" fmla="*/ 1707906 h 3296512"/>
                <a:gd name="connsiteX146" fmla="*/ 0 w 3829915"/>
                <a:gd name="connsiteY146" fmla="*/ 1195191 h 3296512"/>
                <a:gd name="connsiteX147" fmla="*/ 4461 w 3829915"/>
                <a:gd name="connsiteY147" fmla="*/ 1184461 h 3296512"/>
                <a:gd name="connsiteX148" fmla="*/ 2098 w 3829915"/>
                <a:gd name="connsiteY148" fmla="*/ 1170365 h 3296512"/>
                <a:gd name="connsiteX149" fmla="*/ 0 w 3829915"/>
                <a:gd name="connsiteY149" fmla="*/ 1165294 h 3296512"/>
                <a:gd name="connsiteX150" fmla="*/ 4796 w 3829915"/>
                <a:gd name="connsiteY150" fmla="*/ 1141563 h 3296512"/>
                <a:gd name="connsiteX151" fmla="*/ 7258 w 3829915"/>
                <a:gd name="connsiteY151" fmla="*/ 1137898 h 3296512"/>
                <a:gd name="connsiteX152" fmla="*/ 89867 w 3829915"/>
                <a:gd name="connsiteY152" fmla="*/ 946855 h 3296512"/>
                <a:gd name="connsiteX153" fmla="*/ 482383 w 3829915"/>
                <a:gd name="connsiteY153" fmla="*/ 39125 h 3296512"/>
                <a:gd name="connsiteX154" fmla="*/ 482523 w 3829915"/>
                <a:gd name="connsiteY154" fmla="*/ 38802 h 3296512"/>
                <a:gd name="connsiteX155" fmla="*/ 482634 w 3829915"/>
                <a:gd name="connsiteY155" fmla="*/ 38250 h 3296512"/>
                <a:gd name="connsiteX156" fmla="*/ 482991 w 3829915"/>
                <a:gd name="connsiteY156" fmla="*/ 37719 h 3296512"/>
                <a:gd name="connsiteX157" fmla="*/ 483316 w 3829915"/>
                <a:gd name="connsiteY157" fmla="*/ 36968 h 3296512"/>
                <a:gd name="connsiteX158" fmla="*/ 538916 w 3829915"/>
                <a:gd name="connsiteY158" fmla="*/ 606 h 3296512"/>
                <a:gd name="connsiteX159" fmla="*/ 539929 w 3829915"/>
                <a:gd name="connsiteY159" fmla="*/ 862 h 3296512"/>
                <a:gd name="connsiteX160" fmla="*/ 782423 w 3829915"/>
                <a:gd name="connsiteY160" fmla="*/ 862 h 3296512"/>
                <a:gd name="connsiteX161" fmla="*/ 3206086 w 3829915"/>
                <a:gd name="connsiteY161" fmla="*/ 862 h 3296512"/>
                <a:gd name="connsiteX162" fmla="*/ 3214612 w 3829915"/>
                <a:gd name="connsiteY162" fmla="*/ 862 h 329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3829915" h="3296512">
                  <a:moveTo>
                    <a:pt x="2667221" y="2253274"/>
                  </a:moveTo>
                  <a:cubicBezTo>
                    <a:pt x="2682806" y="2253274"/>
                    <a:pt x="2698771" y="2259374"/>
                    <a:pt x="2710935" y="2271572"/>
                  </a:cubicBezTo>
                  <a:cubicBezTo>
                    <a:pt x="2735263" y="2295970"/>
                    <a:pt x="2735263" y="2332566"/>
                    <a:pt x="2710935" y="2356963"/>
                  </a:cubicBezTo>
                  <a:cubicBezTo>
                    <a:pt x="2376426" y="2692427"/>
                    <a:pt x="2376426" y="2692427"/>
                    <a:pt x="2376426" y="2692427"/>
                  </a:cubicBezTo>
                  <a:cubicBezTo>
                    <a:pt x="2364262" y="2704626"/>
                    <a:pt x="2349057" y="2710725"/>
                    <a:pt x="2333852" y="2710725"/>
                  </a:cubicBezTo>
                  <a:cubicBezTo>
                    <a:pt x="2318647" y="2710725"/>
                    <a:pt x="2303442" y="2704626"/>
                    <a:pt x="2291278" y="2692427"/>
                  </a:cubicBezTo>
                  <a:cubicBezTo>
                    <a:pt x="2266950" y="2668030"/>
                    <a:pt x="2266950" y="2628384"/>
                    <a:pt x="2291278" y="2603987"/>
                  </a:cubicBezTo>
                  <a:cubicBezTo>
                    <a:pt x="2625787" y="2271572"/>
                    <a:pt x="2625787" y="2271572"/>
                    <a:pt x="2625787" y="2271572"/>
                  </a:cubicBezTo>
                  <a:cubicBezTo>
                    <a:pt x="2636431" y="2259374"/>
                    <a:pt x="2651636" y="2253274"/>
                    <a:pt x="2667221" y="2253274"/>
                  </a:cubicBezTo>
                  <a:close/>
                  <a:moveTo>
                    <a:pt x="1096963" y="2210662"/>
                  </a:moveTo>
                  <a:cubicBezTo>
                    <a:pt x="1130142" y="2210662"/>
                    <a:pt x="1157288" y="2238090"/>
                    <a:pt x="1157288" y="2271613"/>
                  </a:cubicBezTo>
                  <a:cubicBezTo>
                    <a:pt x="1157288" y="2567224"/>
                    <a:pt x="1157288" y="2567224"/>
                    <a:pt x="1157288" y="2567224"/>
                  </a:cubicBezTo>
                  <a:cubicBezTo>
                    <a:pt x="1157288" y="2600747"/>
                    <a:pt x="1130142" y="2628175"/>
                    <a:pt x="1096963" y="2628175"/>
                  </a:cubicBezTo>
                  <a:cubicBezTo>
                    <a:pt x="1063784" y="2628175"/>
                    <a:pt x="1036638" y="2600747"/>
                    <a:pt x="1036638" y="2567224"/>
                  </a:cubicBezTo>
                  <a:cubicBezTo>
                    <a:pt x="1036638" y="2271613"/>
                    <a:pt x="1036638" y="2271613"/>
                    <a:pt x="1036638" y="2271613"/>
                  </a:cubicBezTo>
                  <a:cubicBezTo>
                    <a:pt x="1036638" y="2238090"/>
                    <a:pt x="1063784" y="2210662"/>
                    <a:pt x="1096963" y="2210662"/>
                  </a:cubicBezTo>
                  <a:close/>
                  <a:moveTo>
                    <a:pt x="2669520" y="1934178"/>
                  </a:moveTo>
                  <a:cubicBezTo>
                    <a:pt x="2685101" y="1934178"/>
                    <a:pt x="2700302" y="1940268"/>
                    <a:pt x="2710942" y="1952449"/>
                  </a:cubicBezTo>
                  <a:cubicBezTo>
                    <a:pt x="2735263" y="1973766"/>
                    <a:pt x="2735263" y="2013355"/>
                    <a:pt x="2710942" y="2037717"/>
                  </a:cubicBezTo>
                  <a:cubicBezTo>
                    <a:pt x="2057309" y="2692454"/>
                    <a:pt x="2057309" y="2692454"/>
                    <a:pt x="2057309" y="2692454"/>
                  </a:cubicBezTo>
                  <a:cubicBezTo>
                    <a:pt x="2045148" y="2704635"/>
                    <a:pt x="2029947" y="2710725"/>
                    <a:pt x="2014747" y="2710725"/>
                  </a:cubicBezTo>
                  <a:cubicBezTo>
                    <a:pt x="1999546" y="2710725"/>
                    <a:pt x="1984345" y="2704635"/>
                    <a:pt x="1972184" y="2692454"/>
                  </a:cubicBezTo>
                  <a:cubicBezTo>
                    <a:pt x="1947863" y="2668091"/>
                    <a:pt x="1947863" y="2631548"/>
                    <a:pt x="1972184" y="2607186"/>
                  </a:cubicBezTo>
                  <a:cubicBezTo>
                    <a:pt x="2625818" y="1952449"/>
                    <a:pt x="2625818" y="1952449"/>
                    <a:pt x="2625818" y="1952449"/>
                  </a:cubicBezTo>
                  <a:cubicBezTo>
                    <a:pt x="2637978" y="1940268"/>
                    <a:pt x="2653939" y="1934178"/>
                    <a:pt x="2669520" y="1934178"/>
                  </a:cubicBezTo>
                  <a:close/>
                  <a:moveTo>
                    <a:pt x="2340909" y="1927073"/>
                  </a:moveTo>
                  <a:cubicBezTo>
                    <a:pt x="2356489" y="1927073"/>
                    <a:pt x="2371690" y="1932408"/>
                    <a:pt x="2382330" y="1943079"/>
                  </a:cubicBezTo>
                  <a:cubicBezTo>
                    <a:pt x="2406651" y="1967470"/>
                    <a:pt x="2406651" y="2007105"/>
                    <a:pt x="2382330" y="2031495"/>
                  </a:cubicBezTo>
                  <a:cubicBezTo>
                    <a:pt x="2050957" y="2363819"/>
                    <a:pt x="2050957" y="2363819"/>
                    <a:pt x="2050957" y="2363819"/>
                  </a:cubicBezTo>
                  <a:cubicBezTo>
                    <a:pt x="2038797" y="2376014"/>
                    <a:pt x="2023596" y="2382112"/>
                    <a:pt x="2008396" y="2382112"/>
                  </a:cubicBezTo>
                  <a:cubicBezTo>
                    <a:pt x="1993195" y="2382112"/>
                    <a:pt x="1977995" y="2376014"/>
                    <a:pt x="1965834" y="2363819"/>
                  </a:cubicBezTo>
                  <a:cubicBezTo>
                    <a:pt x="1941513" y="2339428"/>
                    <a:pt x="1941513" y="2302842"/>
                    <a:pt x="1965834" y="2278452"/>
                  </a:cubicBezTo>
                  <a:cubicBezTo>
                    <a:pt x="2297207" y="1943079"/>
                    <a:pt x="2297207" y="1943079"/>
                    <a:pt x="2297207" y="1943079"/>
                  </a:cubicBezTo>
                  <a:cubicBezTo>
                    <a:pt x="2309368" y="1932408"/>
                    <a:pt x="2325328" y="1927073"/>
                    <a:pt x="2340909" y="1927073"/>
                  </a:cubicBezTo>
                  <a:close/>
                  <a:moveTo>
                    <a:pt x="984116" y="1440148"/>
                  </a:moveTo>
                  <a:lnTo>
                    <a:pt x="976866" y="1455700"/>
                  </a:lnTo>
                  <a:cubicBezTo>
                    <a:pt x="903390" y="1583552"/>
                    <a:pt x="777488" y="1677408"/>
                    <a:pt x="628507" y="1707906"/>
                  </a:cubicBezTo>
                  <a:lnTo>
                    <a:pt x="577851" y="1713014"/>
                  </a:lnTo>
                  <a:lnTo>
                    <a:pt x="577851" y="1809048"/>
                  </a:lnTo>
                  <a:cubicBezTo>
                    <a:pt x="577851" y="2766950"/>
                    <a:pt x="577851" y="3066295"/>
                    <a:pt x="577851" y="3159840"/>
                  </a:cubicBezTo>
                  <a:lnTo>
                    <a:pt x="577851" y="3175862"/>
                  </a:lnTo>
                  <a:lnTo>
                    <a:pt x="717906" y="3175862"/>
                  </a:lnTo>
                  <a:cubicBezTo>
                    <a:pt x="917031" y="3175862"/>
                    <a:pt x="1102880" y="3175862"/>
                    <a:pt x="1276340" y="3175862"/>
                  </a:cubicBezTo>
                  <a:lnTo>
                    <a:pt x="1309688" y="3175862"/>
                  </a:lnTo>
                  <a:lnTo>
                    <a:pt x="1309688" y="3013173"/>
                  </a:lnTo>
                  <a:cubicBezTo>
                    <a:pt x="1309688" y="2108463"/>
                    <a:pt x="1309688" y="1813047"/>
                    <a:pt x="1309688" y="1716585"/>
                  </a:cubicBezTo>
                  <a:lnTo>
                    <a:pt x="1309688" y="1699571"/>
                  </a:lnTo>
                  <a:lnTo>
                    <a:pt x="1238892" y="1677413"/>
                  </a:lnTo>
                  <a:cubicBezTo>
                    <a:pt x="1145673" y="1637691"/>
                    <a:pt x="1066138" y="1571334"/>
                    <a:pt x="1009907" y="1487808"/>
                  </a:cubicBezTo>
                  <a:close/>
                  <a:moveTo>
                    <a:pt x="2838454" y="1422795"/>
                  </a:moveTo>
                  <a:lnTo>
                    <a:pt x="2803244" y="1487808"/>
                  </a:lnTo>
                  <a:cubicBezTo>
                    <a:pt x="2709402" y="1627018"/>
                    <a:pt x="2550479" y="1718537"/>
                    <a:pt x="2370207" y="1718537"/>
                  </a:cubicBezTo>
                  <a:cubicBezTo>
                    <a:pt x="2191833" y="1718537"/>
                    <a:pt x="2033621" y="1627018"/>
                    <a:pt x="1940046" y="1487808"/>
                  </a:cubicBezTo>
                  <a:lnTo>
                    <a:pt x="1907297" y="1427197"/>
                  </a:lnTo>
                  <a:lnTo>
                    <a:pt x="1874421" y="1487808"/>
                  </a:lnTo>
                  <a:cubicBezTo>
                    <a:pt x="1780436" y="1627018"/>
                    <a:pt x="1621270" y="1718537"/>
                    <a:pt x="1440724" y="1718537"/>
                  </a:cubicBezTo>
                  <a:lnTo>
                    <a:pt x="1431926" y="1717641"/>
                  </a:lnTo>
                  <a:lnTo>
                    <a:pt x="1431926" y="1809048"/>
                  </a:lnTo>
                  <a:cubicBezTo>
                    <a:pt x="1431926" y="2766950"/>
                    <a:pt x="1431926" y="3066295"/>
                    <a:pt x="1431926" y="3159840"/>
                  </a:cubicBezTo>
                  <a:lnTo>
                    <a:pt x="1431926" y="3175862"/>
                  </a:lnTo>
                  <a:lnTo>
                    <a:pt x="1527348" y="3175862"/>
                  </a:lnTo>
                  <a:cubicBezTo>
                    <a:pt x="2253159" y="3175862"/>
                    <a:pt x="2737033" y="3175862"/>
                    <a:pt x="3059615" y="3175862"/>
                  </a:cubicBezTo>
                  <a:lnTo>
                    <a:pt x="3233738" y="3175862"/>
                  </a:lnTo>
                  <a:lnTo>
                    <a:pt x="3233738" y="3028966"/>
                  </a:lnTo>
                  <a:cubicBezTo>
                    <a:pt x="3233738" y="2196350"/>
                    <a:pt x="3233738" y="1871426"/>
                    <a:pt x="3233738" y="1744627"/>
                  </a:cubicBezTo>
                  <a:lnTo>
                    <a:pt x="3233738" y="1711162"/>
                  </a:lnTo>
                  <a:lnTo>
                    <a:pt x="3201498" y="1707906"/>
                  </a:lnTo>
                  <a:cubicBezTo>
                    <a:pt x="3065493" y="1680022"/>
                    <a:pt x="2948752" y="1599176"/>
                    <a:pt x="2873668" y="1487808"/>
                  </a:cubicBezTo>
                  <a:close/>
                  <a:moveTo>
                    <a:pt x="2909118" y="1226413"/>
                  </a:moveTo>
                  <a:lnTo>
                    <a:pt x="2914193" y="1276221"/>
                  </a:lnTo>
                  <a:cubicBezTo>
                    <a:pt x="2952055" y="1459384"/>
                    <a:pt x="3115460" y="1596829"/>
                    <a:pt x="3306763" y="1596829"/>
                  </a:cubicBezTo>
                  <a:cubicBezTo>
                    <a:pt x="3500723" y="1596829"/>
                    <a:pt x="3662135" y="1459384"/>
                    <a:pt x="3699457" y="1276221"/>
                  </a:cubicBezTo>
                  <a:lnTo>
                    <a:pt x="3704455" y="1226413"/>
                  </a:lnTo>
                  <a:lnTo>
                    <a:pt x="3431443" y="1226413"/>
                  </a:lnTo>
                  <a:cubicBezTo>
                    <a:pt x="3322712" y="1226413"/>
                    <a:pt x="3217488" y="1226413"/>
                    <a:pt x="3115659" y="1226413"/>
                  </a:cubicBezTo>
                  <a:close/>
                  <a:moveTo>
                    <a:pt x="1975602" y="1226413"/>
                  </a:moveTo>
                  <a:lnTo>
                    <a:pt x="1980595" y="1276221"/>
                  </a:lnTo>
                  <a:cubicBezTo>
                    <a:pt x="2017871" y="1459384"/>
                    <a:pt x="2178930" y="1596829"/>
                    <a:pt x="2370207" y="1596829"/>
                  </a:cubicBezTo>
                  <a:cubicBezTo>
                    <a:pt x="2564141" y="1596829"/>
                    <a:pt x="2725532" y="1459384"/>
                    <a:pt x="2762849" y="1276221"/>
                  </a:cubicBezTo>
                  <a:lnTo>
                    <a:pt x="2767847" y="1226413"/>
                  </a:lnTo>
                  <a:lnTo>
                    <a:pt x="2544509" y="1226413"/>
                  </a:lnTo>
                  <a:cubicBezTo>
                    <a:pt x="2367100" y="1226413"/>
                    <a:pt x="2202363" y="1226413"/>
                    <a:pt x="2049393" y="1226413"/>
                  </a:cubicBezTo>
                  <a:close/>
                  <a:moveTo>
                    <a:pt x="1045517" y="1226413"/>
                  </a:moveTo>
                  <a:lnTo>
                    <a:pt x="1050518" y="1276221"/>
                  </a:lnTo>
                  <a:cubicBezTo>
                    <a:pt x="1087851" y="1459384"/>
                    <a:pt x="1249155" y="1596829"/>
                    <a:pt x="1440724" y="1596829"/>
                  </a:cubicBezTo>
                  <a:cubicBezTo>
                    <a:pt x="1634954" y="1596829"/>
                    <a:pt x="1796591" y="1459384"/>
                    <a:pt x="1833965" y="1276221"/>
                  </a:cubicBezTo>
                  <a:lnTo>
                    <a:pt x="1838970" y="1226413"/>
                  </a:lnTo>
                  <a:lnTo>
                    <a:pt x="1828649" y="1226413"/>
                  </a:lnTo>
                  <a:cubicBezTo>
                    <a:pt x="1545790" y="1226413"/>
                    <a:pt x="1308188" y="1226413"/>
                    <a:pt x="1108603" y="1226413"/>
                  </a:cubicBezTo>
                  <a:close/>
                  <a:moveTo>
                    <a:pt x="124785" y="1226413"/>
                  </a:moveTo>
                  <a:lnTo>
                    <a:pt x="129790" y="1276221"/>
                  </a:lnTo>
                  <a:cubicBezTo>
                    <a:pt x="167169" y="1459384"/>
                    <a:pt x="328826" y="1596829"/>
                    <a:pt x="523082" y="1596829"/>
                  </a:cubicBezTo>
                  <a:cubicBezTo>
                    <a:pt x="717337" y="1596829"/>
                    <a:pt x="878994" y="1459384"/>
                    <a:pt x="916373" y="1276221"/>
                  </a:cubicBezTo>
                  <a:lnTo>
                    <a:pt x="921378" y="1226413"/>
                  </a:lnTo>
                  <a:lnTo>
                    <a:pt x="836831" y="1226413"/>
                  </a:lnTo>
                  <a:cubicBezTo>
                    <a:pt x="469228" y="1226413"/>
                    <a:pt x="275751" y="1226413"/>
                    <a:pt x="173922" y="1226413"/>
                  </a:cubicBezTo>
                  <a:close/>
                  <a:moveTo>
                    <a:pt x="576712" y="123100"/>
                  </a:moveTo>
                  <a:lnTo>
                    <a:pt x="509290" y="280020"/>
                  </a:lnTo>
                  <a:cubicBezTo>
                    <a:pt x="300787" y="765293"/>
                    <a:pt x="203486" y="991754"/>
                    <a:pt x="158079" y="1097436"/>
                  </a:cubicBezTo>
                  <a:lnTo>
                    <a:pt x="155183" y="1104175"/>
                  </a:lnTo>
                  <a:lnTo>
                    <a:pt x="397607" y="1104175"/>
                  </a:lnTo>
                  <a:cubicBezTo>
                    <a:pt x="2714939" y="1104175"/>
                    <a:pt x="3439105" y="1104175"/>
                    <a:pt x="3665407" y="1104175"/>
                  </a:cubicBezTo>
                  <a:lnTo>
                    <a:pt x="3687076" y="1104175"/>
                  </a:lnTo>
                  <a:lnTo>
                    <a:pt x="3617503" y="968485"/>
                  </a:lnTo>
                  <a:cubicBezTo>
                    <a:pt x="3346839" y="440603"/>
                    <a:pt x="3238573" y="229451"/>
                    <a:pt x="3195267" y="144990"/>
                  </a:cubicBezTo>
                  <a:lnTo>
                    <a:pt x="3184043" y="123100"/>
                  </a:lnTo>
                  <a:lnTo>
                    <a:pt x="3037870" y="123100"/>
                  </a:lnTo>
                  <a:cubicBezTo>
                    <a:pt x="1178429" y="123100"/>
                    <a:pt x="702412" y="123100"/>
                    <a:pt x="580551" y="123100"/>
                  </a:cubicBezTo>
                  <a:close/>
                  <a:moveTo>
                    <a:pt x="3217294" y="131"/>
                  </a:moveTo>
                  <a:cubicBezTo>
                    <a:pt x="3225231" y="-392"/>
                    <a:pt x="3233120" y="653"/>
                    <a:pt x="3240533" y="3125"/>
                  </a:cubicBezTo>
                  <a:lnTo>
                    <a:pt x="3244647" y="5456"/>
                  </a:lnTo>
                  <a:lnTo>
                    <a:pt x="3245770" y="5685"/>
                  </a:lnTo>
                  <a:lnTo>
                    <a:pt x="3249370" y="8131"/>
                  </a:lnTo>
                  <a:lnTo>
                    <a:pt x="3260921" y="14675"/>
                  </a:lnTo>
                  <a:lnTo>
                    <a:pt x="3263071" y="17440"/>
                  </a:lnTo>
                  <a:lnTo>
                    <a:pt x="3265096" y="18816"/>
                  </a:lnTo>
                  <a:lnTo>
                    <a:pt x="3271169" y="27853"/>
                  </a:lnTo>
                  <a:lnTo>
                    <a:pt x="3275891" y="33926"/>
                  </a:lnTo>
                  <a:lnTo>
                    <a:pt x="3277958" y="37956"/>
                  </a:lnTo>
                  <a:lnTo>
                    <a:pt x="3278155" y="38250"/>
                  </a:lnTo>
                  <a:lnTo>
                    <a:pt x="3278186" y="38400"/>
                  </a:lnTo>
                  <a:lnTo>
                    <a:pt x="3372261" y="221878"/>
                  </a:lnTo>
                  <a:cubicBezTo>
                    <a:pt x="3823369" y="1101681"/>
                    <a:pt x="3823369" y="1101681"/>
                    <a:pt x="3823369" y="1101681"/>
                  </a:cubicBezTo>
                  <a:cubicBezTo>
                    <a:pt x="3830972" y="1115370"/>
                    <a:pt x="3831733" y="1131341"/>
                    <a:pt x="3826790" y="1146171"/>
                  </a:cubicBezTo>
                  <a:lnTo>
                    <a:pt x="3825504" y="1147744"/>
                  </a:lnTo>
                  <a:lnTo>
                    <a:pt x="3829050" y="1165294"/>
                  </a:lnTo>
                  <a:lnTo>
                    <a:pt x="3822856" y="1180269"/>
                  </a:lnTo>
                  <a:lnTo>
                    <a:pt x="3829050" y="1195191"/>
                  </a:lnTo>
                  <a:cubicBezTo>
                    <a:pt x="3829050" y="1448116"/>
                    <a:pt x="3650036" y="1659109"/>
                    <a:pt x="3412028" y="1707906"/>
                  </a:cubicBezTo>
                  <a:lnTo>
                    <a:pt x="3354388" y="1713727"/>
                  </a:lnTo>
                  <a:lnTo>
                    <a:pt x="3354388" y="1803283"/>
                  </a:lnTo>
                  <a:cubicBezTo>
                    <a:pt x="3354388" y="2765142"/>
                    <a:pt x="3354388" y="3065723"/>
                    <a:pt x="3354388" y="3159654"/>
                  </a:cubicBezTo>
                  <a:lnTo>
                    <a:pt x="3354388" y="3175862"/>
                  </a:lnTo>
                  <a:lnTo>
                    <a:pt x="3401225" y="3175862"/>
                  </a:lnTo>
                  <a:cubicBezTo>
                    <a:pt x="3704780" y="3175862"/>
                    <a:pt x="3704780" y="3175862"/>
                    <a:pt x="3704780" y="3175862"/>
                  </a:cubicBezTo>
                  <a:cubicBezTo>
                    <a:pt x="3738203" y="3175862"/>
                    <a:pt x="3765550" y="3203008"/>
                    <a:pt x="3765550" y="3236187"/>
                  </a:cubicBezTo>
                  <a:cubicBezTo>
                    <a:pt x="3765550" y="3269366"/>
                    <a:pt x="3738203" y="3296512"/>
                    <a:pt x="3704780" y="3296512"/>
                  </a:cubicBezTo>
                  <a:cubicBezTo>
                    <a:pt x="79820" y="3296512"/>
                    <a:pt x="79820" y="3296512"/>
                    <a:pt x="79820" y="3296512"/>
                  </a:cubicBezTo>
                  <a:cubicBezTo>
                    <a:pt x="46396" y="3296512"/>
                    <a:pt x="19050" y="3269366"/>
                    <a:pt x="19050" y="3236187"/>
                  </a:cubicBezTo>
                  <a:cubicBezTo>
                    <a:pt x="19050" y="3203008"/>
                    <a:pt x="46396" y="3175862"/>
                    <a:pt x="79820" y="3175862"/>
                  </a:cubicBezTo>
                  <a:cubicBezTo>
                    <a:pt x="193100" y="3175862"/>
                    <a:pt x="302840" y="3175862"/>
                    <a:pt x="409151" y="3175862"/>
                  </a:cubicBezTo>
                  <a:lnTo>
                    <a:pt x="455613" y="3175862"/>
                  </a:lnTo>
                  <a:lnTo>
                    <a:pt x="455613" y="3013173"/>
                  </a:lnTo>
                  <a:cubicBezTo>
                    <a:pt x="455613" y="2108463"/>
                    <a:pt x="455613" y="1813047"/>
                    <a:pt x="455613" y="1716585"/>
                  </a:cubicBezTo>
                  <a:lnTo>
                    <a:pt x="455613" y="1711733"/>
                  </a:lnTo>
                  <a:lnTo>
                    <a:pt x="417656" y="1707906"/>
                  </a:lnTo>
                  <a:cubicBezTo>
                    <a:pt x="179286" y="1659109"/>
                    <a:pt x="0" y="1448116"/>
                    <a:pt x="0" y="1195191"/>
                  </a:cubicBezTo>
                  <a:lnTo>
                    <a:pt x="4461" y="1184461"/>
                  </a:lnTo>
                  <a:lnTo>
                    <a:pt x="2098" y="1170365"/>
                  </a:lnTo>
                  <a:lnTo>
                    <a:pt x="0" y="1165294"/>
                  </a:lnTo>
                  <a:cubicBezTo>
                    <a:pt x="0" y="1156890"/>
                    <a:pt x="1709" y="1148868"/>
                    <a:pt x="4796" y="1141563"/>
                  </a:cubicBezTo>
                  <a:lnTo>
                    <a:pt x="7258" y="1137898"/>
                  </a:lnTo>
                  <a:lnTo>
                    <a:pt x="89867" y="946855"/>
                  </a:lnTo>
                  <a:cubicBezTo>
                    <a:pt x="430856" y="158287"/>
                    <a:pt x="476321" y="53144"/>
                    <a:pt x="482383" y="39125"/>
                  </a:cubicBezTo>
                  <a:lnTo>
                    <a:pt x="482523" y="38802"/>
                  </a:lnTo>
                  <a:lnTo>
                    <a:pt x="482634" y="38250"/>
                  </a:lnTo>
                  <a:lnTo>
                    <a:pt x="482991" y="37719"/>
                  </a:lnTo>
                  <a:lnTo>
                    <a:pt x="483316" y="36968"/>
                  </a:lnTo>
                  <a:cubicBezTo>
                    <a:pt x="492440" y="14152"/>
                    <a:pt x="515251" y="-107"/>
                    <a:pt x="538916" y="606"/>
                  </a:cubicBezTo>
                  <a:lnTo>
                    <a:pt x="539929" y="862"/>
                  </a:lnTo>
                  <a:lnTo>
                    <a:pt x="782423" y="862"/>
                  </a:lnTo>
                  <a:cubicBezTo>
                    <a:pt x="2764716" y="862"/>
                    <a:pt x="3136396" y="862"/>
                    <a:pt x="3206086" y="862"/>
                  </a:cubicBezTo>
                  <a:lnTo>
                    <a:pt x="3214612" y="862"/>
                  </a:lnTo>
                  <a:close/>
                </a:path>
              </a:pathLst>
            </a:custGeom>
            <a:solidFill>
              <a:srgbClr val="00BCF2"/>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cxnSp>
        <p:nvCxnSpPr>
          <p:cNvPr id="385" name="Straight Arrow Connector 384">
            <a:extLst>
              <a:ext uri="{FF2B5EF4-FFF2-40B4-BE49-F238E27FC236}">
                <a16:creationId xmlns:a16="http://schemas.microsoft.com/office/drawing/2014/main" id="{0AD358A7-4112-43A9-8AF1-5494E8463742}"/>
              </a:ext>
            </a:extLst>
          </p:cNvPr>
          <p:cNvCxnSpPr>
            <a:cxnSpLocks/>
          </p:cNvCxnSpPr>
          <p:nvPr/>
        </p:nvCxnSpPr>
        <p:spPr>
          <a:xfrm flipH="1">
            <a:off x="5595171" y="2019936"/>
            <a:ext cx="1219027" cy="218409"/>
          </a:xfrm>
          <a:prstGeom prst="straightConnector1">
            <a:avLst/>
          </a:prstGeom>
          <a:noFill/>
          <a:ln w="19050" cap="flat" cmpd="sng" algn="ctr">
            <a:solidFill>
              <a:schemeClr val="accent4">
                <a:lumMod val="40000"/>
                <a:lumOff val="60000"/>
              </a:schemeClr>
            </a:solidFill>
            <a:prstDash val="solid"/>
            <a:headEnd type="none" w="med" len="med"/>
            <a:tailEnd type="triangle" w="lg" len="med"/>
          </a:ln>
          <a:effectLst/>
        </p:spPr>
      </p:cxnSp>
      <p:sp>
        <p:nvSpPr>
          <p:cNvPr id="386" name="Freeform 73">
            <a:extLst>
              <a:ext uri="{FF2B5EF4-FFF2-40B4-BE49-F238E27FC236}">
                <a16:creationId xmlns:a16="http://schemas.microsoft.com/office/drawing/2014/main" id="{3327F18A-A856-42CF-BC7C-17E3B35E883C}"/>
              </a:ext>
            </a:extLst>
          </p:cNvPr>
          <p:cNvSpPr>
            <a:spLocks noChangeArrowheads="1"/>
          </p:cNvSpPr>
          <p:nvPr/>
        </p:nvSpPr>
        <p:spPr bwMode="auto">
          <a:xfrm>
            <a:off x="6127860" y="2685322"/>
            <a:ext cx="234296" cy="149501"/>
          </a:xfrm>
          <a:custGeom>
            <a:avLst/>
            <a:gdLst>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26294 w 3851276"/>
              <a:gd name="connsiteY5" fmla="*/ 2082800 h 2457451"/>
              <a:gd name="connsiteX6" fmla="*/ 801687 w 3851276"/>
              <a:gd name="connsiteY6" fmla="*/ 2107407 h 2457451"/>
              <a:gd name="connsiteX7" fmla="*/ 826294 w 3851276"/>
              <a:gd name="connsiteY7" fmla="*/ 2132014 h 2457451"/>
              <a:gd name="connsiteX8" fmla="*/ 850901 w 3851276"/>
              <a:gd name="connsiteY8" fmla="*/ 2107407 h 2457451"/>
              <a:gd name="connsiteX9" fmla="*/ 826294 w 3851276"/>
              <a:gd name="connsiteY9" fmla="*/ 2082800 h 2457451"/>
              <a:gd name="connsiteX10" fmla="*/ 3137694 w 3851276"/>
              <a:gd name="connsiteY10" fmla="*/ 1962150 h 2457451"/>
              <a:gd name="connsiteX11" fmla="*/ 3282951 w 3851276"/>
              <a:gd name="connsiteY11" fmla="*/ 2108200 h 2457451"/>
              <a:gd name="connsiteX12" fmla="*/ 3137694 w 3851276"/>
              <a:gd name="connsiteY12" fmla="*/ 2254250 h 2457451"/>
              <a:gd name="connsiteX13" fmla="*/ 2992437 w 3851276"/>
              <a:gd name="connsiteY13" fmla="*/ 2108200 h 2457451"/>
              <a:gd name="connsiteX14" fmla="*/ 3137694 w 3851276"/>
              <a:gd name="connsiteY14" fmla="*/ 1962150 h 2457451"/>
              <a:gd name="connsiteX15" fmla="*/ 826294 w 3851276"/>
              <a:gd name="connsiteY15" fmla="*/ 1962150 h 2457451"/>
              <a:gd name="connsiteX16" fmla="*/ 971551 w 3851276"/>
              <a:gd name="connsiteY16" fmla="*/ 2108200 h 2457451"/>
              <a:gd name="connsiteX17" fmla="*/ 826294 w 3851276"/>
              <a:gd name="connsiteY17" fmla="*/ 2254250 h 2457451"/>
              <a:gd name="connsiteX18" fmla="*/ 681037 w 3851276"/>
              <a:gd name="connsiteY18" fmla="*/ 2108200 h 2457451"/>
              <a:gd name="connsiteX19" fmla="*/ 826294 w 3851276"/>
              <a:gd name="connsiteY19" fmla="*/ 1962150 h 2457451"/>
              <a:gd name="connsiteX20" fmla="*/ 3137695 w 3851276"/>
              <a:gd name="connsiteY20" fmla="*/ 1879600 h 2457451"/>
              <a:gd name="connsiteX21" fmla="*/ 2909888 w 3851276"/>
              <a:gd name="connsiteY21" fmla="*/ 2107407 h 2457451"/>
              <a:gd name="connsiteX22" fmla="*/ 3137695 w 3851276"/>
              <a:gd name="connsiteY22" fmla="*/ 2335214 h 2457451"/>
              <a:gd name="connsiteX23" fmla="*/ 3365502 w 3851276"/>
              <a:gd name="connsiteY23" fmla="*/ 2107407 h 2457451"/>
              <a:gd name="connsiteX24" fmla="*/ 3137695 w 3851276"/>
              <a:gd name="connsiteY24" fmla="*/ 1879600 h 2457451"/>
              <a:gd name="connsiteX25" fmla="*/ 826295 w 3851276"/>
              <a:gd name="connsiteY25" fmla="*/ 1879600 h 2457451"/>
              <a:gd name="connsiteX26" fmla="*/ 598488 w 3851276"/>
              <a:gd name="connsiteY26" fmla="*/ 2107407 h 2457451"/>
              <a:gd name="connsiteX27" fmla="*/ 826295 w 3851276"/>
              <a:gd name="connsiteY27" fmla="*/ 2335214 h 2457451"/>
              <a:gd name="connsiteX28" fmla="*/ 1054102 w 3851276"/>
              <a:gd name="connsiteY28" fmla="*/ 2107407 h 2457451"/>
              <a:gd name="connsiteX29" fmla="*/ 826295 w 3851276"/>
              <a:gd name="connsiteY29" fmla="*/ 1879600 h 2457451"/>
              <a:gd name="connsiteX30" fmla="*/ 3136900 w 3851276"/>
              <a:gd name="connsiteY30" fmla="*/ 1757363 h 2457451"/>
              <a:gd name="connsiteX31" fmla="*/ 3486150 w 3851276"/>
              <a:gd name="connsiteY31" fmla="*/ 2107407 h 2457451"/>
              <a:gd name="connsiteX32" fmla="*/ 3136900 w 3851276"/>
              <a:gd name="connsiteY32" fmla="*/ 2457451 h 2457451"/>
              <a:gd name="connsiteX33" fmla="*/ 2787650 w 3851276"/>
              <a:gd name="connsiteY33" fmla="*/ 2107407 h 2457451"/>
              <a:gd name="connsiteX34" fmla="*/ 3136900 w 3851276"/>
              <a:gd name="connsiteY34" fmla="*/ 1757363 h 2457451"/>
              <a:gd name="connsiteX35" fmla="*/ 825500 w 3851276"/>
              <a:gd name="connsiteY35" fmla="*/ 1757363 h 2457451"/>
              <a:gd name="connsiteX36" fmla="*/ 1174750 w 3851276"/>
              <a:gd name="connsiteY36" fmla="*/ 2107407 h 2457451"/>
              <a:gd name="connsiteX37" fmla="*/ 825500 w 3851276"/>
              <a:gd name="connsiteY37" fmla="*/ 2457451 h 2457451"/>
              <a:gd name="connsiteX38" fmla="*/ 476250 w 3851276"/>
              <a:gd name="connsiteY38" fmla="*/ 2107407 h 2457451"/>
              <a:gd name="connsiteX39" fmla="*/ 825500 w 3851276"/>
              <a:gd name="connsiteY39" fmla="*/ 1757363 h 2457451"/>
              <a:gd name="connsiteX40" fmla="*/ 2397125 w 3851276"/>
              <a:gd name="connsiteY40" fmla="*/ 532797 h 2457451"/>
              <a:gd name="connsiteX41" fmla="*/ 2397125 w 3851276"/>
              <a:gd name="connsiteY41" fmla="*/ 613672 h 2457451"/>
              <a:gd name="connsiteX42" fmla="*/ 2397125 w 3851276"/>
              <a:gd name="connsiteY42" fmla="*/ 2001484 h 2457451"/>
              <a:gd name="connsiteX43" fmla="*/ 2394079 w 3851276"/>
              <a:gd name="connsiteY43" fmla="*/ 2016729 h 2457451"/>
              <a:gd name="connsiteX44" fmla="*/ 2399520 w 3851276"/>
              <a:gd name="connsiteY44" fmla="*/ 2016729 h 2457451"/>
              <a:gd name="connsiteX45" fmla="*/ 2639583 w 3851276"/>
              <a:gd name="connsiteY45" fmla="*/ 2016729 h 2457451"/>
              <a:gd name="connsiteX46" fmla="*/ 2651731 w 3851276"/>
              <a:gd name="connsiteY46" fmla="*/ 2004566 h 2457451"/>
              <a:gd name="connsiteX47" fmla="*/ 3137623 w 3851276"/>
              <a:gd name="connsiteY47" fmla="*/ 1587970 h 2457451"/>
              <a:gd name="connsiteX48" fmla="*/ 3623514 w 3851276"/>
              <a:gd name="connsiteY48" fmla="*/ 2004566 h 2457451"/>
              <a:gd name="connsiteX49" fmla="*/ 3635662 w 3851276"/>
              <a:gd name="connsiteY49" fmla="*/ 2016729 h 2457451"/>
              <a:gd name="connsiteX50" fmla="*/ 3714619 w 3851276"/>
              <a:gd name="connsiteY50" fmla="*/ 2016729 h 2457451"/>
              <a:gd name="connsiteX51" fmla="*/ 3729803 w 3851276"/>
              <a:gd name="connsiteY51" fmla="*/ 2001525 h 2457451"/>
              <a:gd name="connsiteX52" fmla="*/ 3729803 w 3851276"/>
              <a:gd name="connsiteY52" fmla="*/ 1274763 h 2457451"/>
              <a:gd name="connsiteX53" fmla="*/ 3726766 w 3851276"/>
              <a:gd name="connsiteY53" fmla="*/ 1265641 h 2457451"/>
              <a:gd name="connsiteX54" fmla="*/ 3626551 w 3851276"/>
              <a:gd name="connsiteY54" fmla="*/ 1147048 h 2457451"/>
              <a:gd name="connsiteX55" fmla="*/ 2915934 w 3851276"/>
              <a:gd name="connsiteY55" fmla="*/ 1147048 h 2457451"/>
              <a:gd name="connsiteX56" fmla="*/ 2779277 w 3851276"/>
              <a:gd name="connsiteY56" fmla="*/ 1013250 h 2457451"/>
              <a:gd name="connsiteX57" fmla="*/ 2779277 w 3851276"/>
              <a:gd name="connsiteY57" fmla="*/ 532797 h 2457451"/>
              <a:gd name="connsiteX58" fmla="*/ 2402829 w 3851276"/>
              <a:gd name="connsiteY58" fmla="*/ 532797 h 2457451"/>
              <a:gd name="connsiteX59" fmla="*/ 2900363 w 3851276"/>
              <a:gd name="connsiteY59" fmla="*/ 531813 h 2457451"/>
              <a:gd name="connsiteX60" fmla="*/ 2900363 w 3851276"/>
              <a:gd name="connsiteY60" fmla="*/ 1013336 h 2457451"/>
              <a:gd name="connsiteX61" fmla="*/ 2915545 w 3851276"/>
              <a:gd name="connsiteY61" fmla="*/ 1025526 h 2457451"/>
              <a:gd name="connsiteX62" fmla="*/ 3525838 w 3851276"/>
              <a:gd name="connsiteY62" fmla="*/ 1025526 h 2457451"/>
              <a:gd name="connsiteX63" fmla="*/ 3115940 w 3851276"/>
              <a:gd name="connsiteY63" fmla="*/ 537908 h 2457451"/>
              <a:gd name="connsiteX64" fmla="*/ 3106831 w 3851276"/>
              <a:gd name="connsiteY64" fmla="*/ 531813 h 2457451"/>
              <a:gd name="connsiteX65" fmla="*/ 135842 w 3851276"/>
              <a:gd name="connsiteY65" fmla="*/ 122238 h 2457451"/>
              <a:gd name="connsiteX66" fmla="*/ 120650 w 3851276"/>
              <a:gd name="connsiteY66" fmla="*/ 137438 h 2457451"/>
              <a:gd name="connsiteX67" fmla="*/ 120650 w 3851276"/>
              <a:gd name="connsiteY67" fmla="*/ 2000926 h 2457451"/>
              <a:gd name="connsiteX68" fmla="*/ 135842 w 3851276"/>
              <a:gd name="connsiteY68" fmla="*/ 2016126 h 2457451"/>
              <a:gd name="connsiteX69" fmla="*/ 327263 w 3851276"/>
              <a:gd name="connsiteY69" fmla="*/ 2016126 h 2457451"/>
              <a:gd name="connsiteX70" fmla="*/ 339416 w 3851276"/>
              <a:gd name="connsiteY70" fmla="*/ 2003966 h 2457451"/>
              <a:gd name="connsiteX71" fmla="*/ 825563 w 3851276"/>
              <a:gd name="connsiteY71" fmla="*/ 1587493 h 2457451"/>
              <a:gd name="connsiteX72" fmla="*/ 1308671 w 3851276"/>
              <a:gd name="connsiteY72" fmla="*/ 2003966 h 2457451"/>
              <a:gd name="connsiteX73" fmla="*/ 1323864 w 3851276"/>
              <a:gd name="connsiteY73" fmla="*/ 2016126 h 2457451"/>
              <a:gd name="connsiteX74" fmla="*/ 2259696 w 3851276"/>
              <a:gd name="connsiteY74" fmla="*/ 2016126 h 2457451"/>
              <a:gd name="connsiteX75" fmla="*/ 2274888 w 3851276"/>
              <a:gd name="connsiteY75" fmla="*/ 2000926 h 2457451"/>
              <a:gd name="connsiteX76" fmla="*/ 2274888 w 3851276"/>
              <a:gd name="connsiteY76" fmla="*/ 137438 h 2457451"/>
              <a:gd name="connsiteX77" fmla="*/ 2259696 w 3851276"/>
              <a:gd name="connsiteY77" fmla="*/ 122238 h 2457451"/>
              <a:gd name="connsiteX78" fmla="*/ 135842 w 3851276"/>
              <a:gd name="connsiteY78" fmla="*/ 122238 h 2457451"/>
              <a:gd name="connsiteX79" fmla="*/ 136718 w 3851276"/>
              <a:gd name="connsiteY79" fmla="*/ 0 h 2457451"/>
              <a:gd name="connsiteX80" fmla="*/ 2260407 w 3851276"/>
              <a:gd name="connsiteY80" fmla="*/ 0 h 2457451"/>
              <a:gd name="connsiteX81" fmla="*/ 2397125 w 3851276"/>
              <a:gd name="connsiteY81" fmla="*/ 136880 h 2457451"/>
              <a:gd name="connsiteX82" fmla="*/ 2397125 w 3851276"/>
              <a:gd name="connsiteY82" fmla="*/ 306281 h 2457451"/>
              <a:gd name="connsiteX83" fmla="*/ 2397125 w 3851276"/>
              <a:gd name="connsiteY83" fmla="*/ 411163 h 2457451"/>
              <a:gd name="connsiteX84" fmla="*/ 2426638 w 3851276"/>
              <a:gd name="connsiteY84" fmla="*/ 411163 h 2457451"/>
              <a:gd name="connsiteX85" fmla="*/ 3107254 w 3851276"/>
              <a:gd name="connsiteY85" fmla="*/ 411163 h 2457451"/>
              <a:gd name="connsiteX86" fmla="*/ 3210506 w 3851276"/>
              <a:gd name="connsiteY86" fmla="*/ 459817 h 2457451"/>
              <a:gd name="connsiteX87" fmla="*/ 3684251 w 3851276"/>
              <a:gd name="connsiteY87" fmla="*/ 1025414 h 2457451"/>
              <a:gd name="connsiteX88" fmla="*/ 3687288 w 3851276"/>
              <a:gd name="connsiteY88" fmla="*/ 1025414 h 2457451"/>
              <a:gd name="connsiteX89" fmla="*/ 3687288 w 3851276"/>
              <a:gd name="connsiteY89" fmla="*/ 1031496 h 2457451"/>
              <a:gd name="connsiteX90" fmla="*/ 3817871 w 3851276"/>
              <a:gd name="connsiteY90" fmla="*/ 1186579 h 2457451"/>
              <a:gd name="connsiteX91" fmla="*/ 3851276 w 3851276"/>
              <a:gd name="connsiteY91" fmla="*/ 1274763 h 2457451"/>
              <a:gd name="connsiteX92" fmla="*/ 3851276 w 3851276"/>
              <a:gd name="connsiteY92" fmla="*/ 2001525 h 2457451"/>
              <a:gd name="connsiteX93" fmla="*/ 3714619 w 3851276"/>
              <a:gd name="connsiteY93" fmla="*/ 2138363 h 2457451"/>
              <a:gd name="connsiteX94" fmla="*/ 3635662 w 3851276"/>
              <a:gd name="connsiteY94" fmla="*/ 2138363 h 2457451"/>
              <a:gd name="connsiteX95" fmla="*/ 3502041 w 3851276"/>
              <a:gd name="connsiteY95" fmla="*/ 2022811 h 2457451"/>
              <a:gd name="connsiteX96" fmla="*/ 3137623 w 3851276"/>
              <a:gd name="connsiteY96" fmla="*/ 1709604 h 2457451"/>
              <a:gd name="connsiteX97" fmla="*/ 2773204 w 3851276"/>
              <a:gd name="connsiteY97" fmla="*/ 2022811 h 2457451"/>
              <a:gd name="connsiteX98" fmla="*/ 2639583 w 3851276"/>
              <a:gd name="connsiteY98" fmla="*/ 2138363 h 2457451"/>
              <a:gd name="connsiteX99" fmla="*/ 2281238 w 3851276"/>
              <a:gd name="connsiteY99" fmla="*/ 2138363 h 2457451"/>
              <a:gd name="connsiteX100" fmla="*/ 2281238 w 3851276"/>
              <a:gd name="connsiteY100" fmla="*/ 2134192 h 2457451"/>
              <a:gd name="connsiteX101" fmla="*/ 2260407 w 3851276"/>
              <a:gd name="connsiteY101" fmla="*/ 2138363 h 2457451"/>
              <a:gd name="connsiteX102" fmla="*/ 1324647 w 3851276"/>
              <a:gd name="connsiteY102" fmla="*/ 2138363 h 2457451"/>
              <a:gd name="connsiteX103" fmla="*/ 1190967 w 3851276"/>
              <a:gd name="connsiteY103" fmla="*/ 2022776 h 2457451"/>
              <a:gd name="connsiteX104" fmla="*/ 826386 w 3851276"/>
              <a:gd name="connsiteY104" fmla="*/ 1709474 h 2457451"/>
              <a:gd name="connsiteX105" fmla="*/ 461804 w 3851276"/>
              <a:gd name="connsiteY105" fmla="*/ 2022776 h 2457451"/>
              <a:gd name="connsiteX106" fmla="*/ 328124 w 3851276"/>
              <a:gd name="connsiteY106" fmla="*/ 2138363 h 2457451"/>
              <a:gd name="connsiteX107" fmla="*/ 136718 w 3851276"/>
              <a:gd name="connsiteY107" fmla="*/ 2138363 h 2457451"/>
              <a:gd name="connsiteX108" fmla="*/ 0 w 3851276"/>
              <a:gd name="connsiteY108" fmla="*/ 2001484 h 2457451"/>
              <a:gd name="connsiteX109" fmla="*/ 0 w 3851276"/>
              <a:gd name="connsiteY109" fmla="*/ 136880 h 2457451"/>
              <a:gd name="connsiteX110" fmla="*/ 136718 w 3851276"/>
              <a:gd name="connsiteY110"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50901 w 3851276"/>
              <a:gd name="connsiteY5" fmla="*/ 2107407 h 2457451"/>
              <a:gd name="connsiteX6" fmla="*/ 801687 w 3851276"/>
              <a:gd name="connsiteY6" fmla="*/ 2107407 h 2457451"/>
              <a:gd name="connsiteX7" fmla="*/ 826294 w 3851276"/>
              <a:gd name="connsiteY7" fmla="*/ 2132014 h 2457451"/>
              <a:gd name="connsiteX8" fmla="*/ 850901 w 3851276"/>
              <a:gd name="connsiteY8" fmla="*/ 2107407 h 2457451"/>
              <a:gd name="connsiteX9" fmla="*/ 3137694 w 3851276"/>
              <a:gd name="connsiteY9" fmla="*/ 1962150 h 2457451"/>
              <a:gd name="connsiteX10" fmla="*/ 3282951 w 3851276"/>
              <a:gd name="connsiteY10" fmla="*/ 2108200 h 2457451"/>
              <a:gd name="connsiteX11" fmla="*/ 3137694 w 3851276"/>
              <a:gd name="connsiteY11" fmla="*/ 2254250 h 2457451"/>
              <a:gd name="connsiteX12" fmla="*/ 2992437 w 3851276"/>
              <a:gd name="connsiteY12" fmla="*/ 2108200 h 2457451"/>
              <a:gd name="connsiteX13" fmla="*/ 3137694 w 3851276"/>
              <a:gd name="connsiteY13" fmla="*/ 1962150 h 2457451"/>
              <a:gd name="connsiteX14" fmla="*/ 826294 w 3851276"/>
              <a:gd name="connsiteY14" fmla="*/ 1962150 h 2457451"/>
              <a:gd name="connsiteX15" fmla="*/ 971551 w 3851276"/>
              <a:gd name="connsiteY15" fmla="*/ 2108200 h 2457451"/>
              <a:gd name="connsiteX16" fmla="*/ 826294 w 3851276"/>
              <a:gd name="connsiteY16" fmla="*/ 2254250 h 2457451"/>
              <a:gd name="connsiteX17" fmla="*/ 681037 w 3851276"/>
              <a:gd name="connsiteY17" fmla="*/ 2108200 h 2457451"/>
              <a:gd name="connsiteX18" fmla="*/ 826294 w 3851276"/>
              <a:gd name="connsiteY18" fmla="*/ 1962150 h 2457451"/>
              <a:gd name="connsiteX19" fmla="*/ 3137695 w 3851276"/>
              <a:gd name="connsiteY19" fmla="*/ 1879600 h 2457451"/>
              <a:gd name="connsiteX20" fmla="*/ 2909888 w 3851276"/>
              <a:gd name="connsiteY20" fmla="*/ 2107407 h 2457451"/>
              <a:gd name="connsiteX21" fmla="*/ 3137695 w 3851276"/>
              <a:gd name="connsiteY21" fmla="*/ 2335214 h 2457451"/>
              <a:gd name="connsiteX22" fmla="*/ 3365502 w 3851276"/>
              <a:gd name="connsiteY22" fmla="*/ 2107407 h 2457451"/>
              <a:gd name="connsiteX23" fmla="*/ 3137695 w 3851276"/>
              <a:gd name="connsiteY23" fmla="*/ 1879600 h 2457451"/>
              <a:gd name="connsiteX24" fmla="*/ 826295 w 3851276"/>
              <a:gd name="connsiteY24" fmla="*/ 1879600 h 2457451"/>
              <a:gd name="connsiteX25" fmla="*/ 598488 w 3851276"/>
              <a:gd name="connsiteY25" fmla="*/ 2107407 h 2457451"/>
              <a:gd name="connsiteX26" fmla="*/ 826295 w 3851276"/>
              <a:gd name="connsiteY26" fmla="*/ 2335214 h 2457451"/>
              <a:gd name="connsiteX27" fmla="*/ 1054102 w 3851276"/>
              <a:gd name="connsiteY27" fmla="*/ 2107407 h 2457451"/>
              <a:gd name="connsiteX28" fmla="*/ 826295 w 3851276"/>
              <a:gd name="connsiteY28" fmla="*/ 1879600 h 2457451"/>
              <a:gd name="connsiteX29" fmla="*/ 3136900 w 3851276"/>
              <a:gd name="connsiteY29" fmla="*/ 1757363 h 2457451"/>
              <a:gd name="connsiteX30" fmla="*/ 3486150 w 3851276"/>
              <a:gd name="connsiteY30" fmla="*/ 2107407 h 2457451"/>
              <a:gd name="connsiteX31" fmla="*/ 3136900 w 3851276"/>
              <a:gd name="connsiteY31" fmla="*/ 2457451 h 2457451"/>
              <a:gd name="connsiteX32" fmla="*/ 2787650 w 3851276"/>
              <a:gd name="connsiteY32" fmla="*/ 2107407 h 2457451"/>
              <a:gd name="connsiteX33" fmla="*/ 3136900 w 3851276"/>
              <a:gd name="connsiteY33" fmla="*/ 1757363 h 2457451"/>
              <a:gd name="connsiteX34" fmla="*/ 825500 w 3851276"/>
              <a:gd name="connsiteY34" fmla="*/ 1757363 h 2457451"/>
              <a:gd name="connsiteX35" fmla="*/ 1174750 w 3851276"/>
              <a:gd name="connsiteY35" fmla="*/ 2107407 h 2457451"/>
              <a:gd name="connsiteX36" fmla="*/ 825500 w 3851276"/>
              <a:gd name="connsiteY36" fmla="*/ 2457451 h 2457451"/>
              <a:gd name="connsiteX37" fmla="*/ 476250 w 3851276"/>
              <a:gd name="connsiteY37" fmla="*/ 2107407 h 2457451"/>
              <a:gd name="connsiteX38" fmla="*/ 825500 w 3851276"/>
              <a:gd name="connsiteY38" fmla="*/ 1757363 h 2457451"/>
              <a:gd name="connsiteX39" fmla="*/ 2397125 w 3851276"/>
              <a:gd name="connsiteY39" fmla="*/ 532797 h 2457451"/>
              <a:gd name="connsiteX40" fmla="*/ 2397125 w 3851276"/>
              <a:gd name="connsiteY40" fmla="*/ 613672 h 2457451"/>
              <a:gd name="connsiteX41" fmla="*/ 2397125 w 3851276"/>
              <a:gd name="connsiteY41" fmla="*/ 2001484 h 2457451"/>
              <a:gd name="connsiteX42" fmla="*/ 2394079 w 3851276"/>
              <a:gd name="connsiteY42" fmla="*/ 2016729 h 2457451"/>
              <a:gd name="connsiteX43" fmla="*/ 2399520 w 3851276"/>
              <a:gd name="connsiteY43" fmla="*/ 2016729 h 2457451"/>
              <a:gd name="connsiteX44" fmla="*/ 2639583 w 3851276"/>
              <a:gd name="connsiteY44" fmla="*/ 2016729 h 2457451"/>
              <a:gd name="connsiteX45" fmla="*/ 2651731 w 3851276"/>
              <a:gd name="connsiteY45" fmla="*/ 2004566 h 2457451"/>
              <a:gd name="connsiteX46" fmla="*/ 3137623 w 3851276"/>
              <a:gd name="connsiteY46" fmla="*/ 1587970 h 2457451"/>
              <a:gd name="connsiteX47" fmla="*/ 3623514 w 3851276"/>
              <a:gd name="connsiteY47" fmla="*/ 2004566 h 2457451"/>
              <a:gd name="connsiteX48" fmla="*/ 3635662 w 3851276"/>
              <a:gd name="connsiteY48" fmla="*/ 2016729 h 2457451"/>
              <a:gd name="connsiteX49" fmla="*/ 3714619 w 3851276"/>
              <a:gd name="connsiteY49" fmla="*/ 2016729 h 2457451"/>
              <a:gd name="connsiteX50" fmla="*/ 3729803 w 3851276"/>
              <a:gd name="connsiteY50" fmla="*/ 2001525 h 2457451"/>
              <a:gd name="connsiteX51" fmla="*/ 3729803 w 3851276"/>
              <a:gd name="connsiteY51" fmla="*/ 1274763 h 2457451"/>
              <a:gd name="connsiteX52" fmla="*/ 3726766 w 3851276"/>
              <a:gd name="connsiteY52" fmla="*/ 1265641 h 2457451"/>
              <a:gd name="connsiteX53" fmla="*/ 3626551 w 3851276"/>
              <a:gd name="connsiteY53" fmla="*/ 1147048 h 2457451"/>
              <a:gd name="connsiteX54" fmla="*/ 2915934 w 3851276"/>
              <a:gd name="connsiteY54" fmla="*/ 1147048 h 2457451"/>
              <a:gd name="connsiteX55" fmla="*/ 2779277 w 3851276"/>
              <a:gd name="connsiteY55" fmla="*/ 1013250 h 2457451"/>
              <a:gd name="connsiteX56" fmla="*/ 2779277 w 3851276"/>
              <a:gd name="connsiteY56" fmla="*/ 532797 h 2457451"/>
              <a:gd name="connsiteX57" fmla="*/ 2402829 w 3851276"/>
              <a:gd name="connsiteY57" fmla="*/ 532797 h 2457451"/>
              <a:gd name="connsiteX58" fmla="*/ 2397125 w 3851276"/>
              <a:gd name="connsiteY58" fmla="*/ 532797 h 2457451"/>
              <a:gd name="connsiteX59" fmla="*/ 2900363 w 3851276"/>
              <a:gd name="connsiteY59" fmla="*/ 531813 h 2457451"/>
              <a:gd name="connsiteX60" fmla="*/ 2900363 w 3851276"/>
              <a:gd name="connsiteY60" fmla="*/ 1013336 h 2457451"/>
              <a:gd name="connsiteX61" fmla="*/ 2915545 w 3851276"/>
              <a:gd name="connsiteY61" fmla="*/ 1025526 h 2457451"/>
              <a:gd name="connsiteX62" fmla="*/ 3525838 w 3851276"/>
              <a:gd name="connsiteY62" fmla="*/ 1025526 h 2457451"/>
              <a:gd name="connsiteX63" fmla="*/ 3115940 w 3851276"/>
              <a:gd name="connsiteY63" fmla="*/ 537908 h 2457451"/>
              <a:gd name="connsiteX64" fmla="*/ 3106831 w 3851276"/>
              <a:gd name="connsiteY64" fmla="*/ 531813 h 2457451"/>
              <a:gd name="connsiteX65" fmla="*/ 2900363 w 3851276"/>
              <a:gd name="connsiteY65" fmla="*/ 531813 h 2457451"/>
              <a:gd name="connsiteX66" fmla="*/ 135842 w 3851276"/>
              <a:gd name="connsiteY66" fmla="*/ 122238 h 2457451"/>
              <a:gd name="connsiteX67" fmla="*/ 120650 w 3851276"/>
              <a:gd name="connsiteY67" fmla="*/ 137438 h 2457451"/>
              <a:gd name="connsiteX68" fmla="*/ 120650 w 3851276"/>
              <a:gd name="connsiteY68" fmla="*/ 2000926 h 2457451"/>
              <a:gd name="connsiteX69" fmla="*/ 135842 w 3851276"/>
              <a:gd name="connsiteY69" fmla="*/ 2016126 h 2457451"/>
              <a:gd name="connsiteX70" fmla="*/ 327263 w 3851276"/>
              <a:gd name="connsiteY70" fmla="*/ 2016126 h 2457451"/>
              <a:gd name="connsiteX71" fmla="*/ 339416 w 3851276"/>
              <a:gd name="connsiteY71" fmla="*/ 2003966 h 2457451"/>
              <a:gd name="connsiteX72" fmla="*/ 825563 w 3851276"/>
              <a:gd name="connsiteY72" fmla="*/ 1587493 h 2457451"/>
              <a:gd name="connsiteX73" fmla="*/ 1308671 w 3851276"/>
              <a:gd name="connsiteY73" fmla="*/ 2003966 h 2457451"/>
              <a:gd name="connsiteX74" fmla="*/ 1323864 w 3851276"/>
              <a:gd name="connsiteY74" fmla="*/ 2016126 h 2457451"/>
              <a:gd name="connsiteX75" fmla="*/ 2259696 w 3851276"/>
              <a:gd name="connsiteY75" fmla="*/ 2016126 h 2457451"/>
              <a:gd name="connsiteX76" fmla="*/ 2274888 w 3851276"/>
              <a:gd name="connsiteY76" fmla="*/ 2000926 h 2457451"/>
              <a:gd name="connsiteX77" fmla="*/ 2274888 w 3851276"/>
              <a:gd name="connsiteY77" fmla="*/ 137438 h 2457451"/>
              <a:gd name="connsiteX78" fmla="*/ 2259696 w 3851276"/>
              <a:gd name="connsiteY78" fmla="*/ 122238 h 2457451"/>
              <a:gd name="connsiteX79" fmla="*/ 135842 w 3851276"/>
              <a:gd name="connsiteY79" fmla="*/ 122238 h 2457451"/>
              <a:gd name="connsiteX80" fmla="*/ 136718 w 3851276"/>
              <a:gd name="connsiteY80" fmla="*/ 0 h 2457451"/>
              <a:gd name="connsiteX81" fmla="*/ 2260407 w 3851276"/>
              <a:gd name="connsiteY81" fmla="*/ 0 h 2457451"/>
              <a:gd name="connsiteX82" fmla="*/ 2397125 w 3851276"/>
              <a:gd name="connsiteY82" fmla="*/ 136880 h 2457451"/>
              <a:gd name="connsiteX83" fmla="*/ 2397125 w 3851276"/>
              <a:gd name="connsiteY83" fmla="*/ 306281 h 2457451"/>
              <a:gd name="connsiteX84" fmla="*/ 2397125 w 3851276"/>
              <a:gd name="connsiteY84" fmla="*/ 411163 h 2457451"/>
              <a:gd name="connsiteX85" fmla="*/ 2426638 w 3851276"/>
              <a:gd name="connsiteY85" fmla="*/ 411163 h 2457451"/>
              <a:gd name="connsiteX86" fmla="*/ 3107254 w 3851276"/>
              <a:gd name="connsiteY86" fmla="*/ 411163 h 2457451"/>
              <a:gd name="connsiteX87" fmla="*/ 3210506 w 3851276"/>
              <a:gd name="connsiteY87" fmla="*/ 459817 h 2457451"/>
              <a:gd name="connsiteX88" fmla="*/ 3684251 w 3851276"/>
              <a:gd name="connsiteY88" fmla="*/ 1025414 h 2457451"/>
              <a:gd name="connsiteX89" fmla="*/ 3687288 w 3851276"/>
              <a:gd name="connsiteY89" fmla="*/ 1025414 h 2457451"/>
              <a:gd name="connsiteX90" fmla="*/ 3687288 w 3851276"/>
              <a:gd name="connsiteY90" fmla="*/ 1031496 h 2457451"/>
              <a:gd name="connsiteX91" fmla="*/ 3817871 w 3851276"/>
              <a:gd name="connsiteY91" fmla="*/ 1186579 h 2457451"/>
              <a:gd name="connsiteX92" fmla="*/ 3851276 w 3851276"/>
              <a:gd name="connsiteY92" fmla="*/ 1274763 h 2457451"/>
              <a:gd name="connsiteX93" fmla="*/ 3851276 w 3851276"/>
              <a:gd name="connsiteY93" fmla="*/ 2001525 h 2457451"/>
              <a:gd name="connsiteX94" fmla="*/ 3714619 w 3851276"/>
              <a:gd name="connsiteY94" fmla="*/ 2138363 h 2457451"/>
              <a:gd name="connsiteX95" fmla="*/ 3635662 w 3851276"/>
              <a:gd name="connsiteY95" fmla="*/ 2138363 h 2457451"/>
              <a:gd name="connsiteX96" fmla="*/ 3502041 w 3851276"/>
              <a:gd name="connsiteY96" fmla="*/ 2022811 h 2457451"/>
              <a:gd name="connsiteX97" fmla="*/ 3137623 w 3851276"/>
              <a:gd name="connsiteY97" fmla="*/ 1709604 h 2457451"/>
              <a:gd name="connsiteX98" fmla="*/ 2773204 w 3851276"/>
              <a:gd name="connsiteY98" fmla="*/ 2022811 h 2457451"/>
              <a:gd name="connsiteX99" fmla="*/ 2639583 w 3851276"/>
              <a:gd name="connsiteY99" fmla="*/ 2138363 h 2457451"/>
              <a:gd name="connsiteX100" fmla="*/ 2281238 w 3851276"/>
              <a:gd name="connsiteY100" fmla="*/ 2138363 h 2457451"/>
              <a:gd name="connsiteX101" fmla="*/ 2281238 w 3851276"/>
              <a:gd name="connsiteY101" fmla="*/ 2134192 h 2457451"/>
              <a:gd name="connsiteX102" fmla="*/ 2260407 w 3851276"/>
              <a:gd name="connsiteY102" fmla="*/ 2138363 h 2457451"/>
              <a:gd name="connsiteX103" fmla="*/ 1324647 w 3851276"/>
              <a:gd name="connsiteY103" fmla="*/ 2138363 h 2457451"/>
              <a:gd name="connsiteX104" fmla="*/ 1190967 w 3851276"/>
              <a:gd name="connsiteY104" fmla="*/ 2022776 h 2457451"/>
              <a:gd name="connsiteX105" fmla="*/ 826386 w 3851276"/>
              <a:gd name="connsiteY105" fmla="*/ 1709474 h 2457451"/>
              <a:gd name="connsiteX106" fmla="*/ 461804 w 3851276"/>
              <a:gd name="connsiteY106" fmla="*/ 2022776 h 2457451"/>
              <a:gd name="connsiteX107" fmla="*/ 328124 w 3851276"/>
              <a:gd name="connsiteY107" fmla="*/ 2138363 h 2457451"/>
              <a:gd name="connsiteX108" fmla="*/ 136718 w 3851276"/>
              <a:gd name="connsiteY108" fmla="*/ 2138363 h 2457451"/>
              <a:gd name="connsiteX109" fmla="*/ 0 w 3851276"/>
              <a:gd name="connsiteY109" fmla="*/ 2001484 h 2457451"/>
              <a:gd name="connsiteX110" fmla="*/ 0 w 3851276"/>
              <a:gd name="connsiteY110" fmla="*/ 136880 h 2457451"/>
              <a:gd name="connsiteX111" fmla="*/ 136718 w 3851276"/>
              <a:gd name="connsiteY111"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26294 w 3851276"/>
              <a:gd name="connsiteY5" fmla="*/ 2132014 h 2457451"/>
              <a:gd name="connsiteX6" fmla="*/ 801687 w 3851276"/>
              <a:gd name="connsiteY6" fmla="*/ 2107407 h 2457451"/>
              <a:gd name="connsiteX7" fmla="*/ 826294 w 3851276"/>
              <a:gd name="connsiteY7" fmla="*/ 2132014 h 2457451"/>
              <a:gd name="connsiteX8" fmla="*/ 3137694 w 3851276"/>
              <a:gd name="connsiteY8" fmla="*/ 1962150 h 2457451"/>
              <a:gd name="connsiteX9" fmla="*/ 3282951 w 3851276"/>
              <a:gd name="connsiteY9" fmla="*/ 2108200 h 2457451"/>
              <a:gd name="connsiteX10" fmla="*/ 3137694 w 3851276"/>
              <a:gd name="connsiteY10" fmla="*/ 2254250 h 2457451"/>
              <a:gd name="connsiteX11" fmla="*/ 2992437 w 3851276"/>
              <a:gd name="connsiteY11" fmla="*/ 2108200 h 2457451"/>
              <a:gd name="connsiteX12" fmla="*/ 3137694 w 3851276"/>
              <a:gd name="connsiteY12" fmla="*/ 1962150 h 2457451"/>
              <a:gd name="connsiteX13" fmla="*/ 826294 w 3851276"/>
              <a:gd name="connsiteY13" fmla="*/ 1962150 h 2457451"/>
              <a:gd name="connsiteX14" fmla="*/ 971551 w 3851276"/>
              <a:gd name="connsiteY14" fmla="*/ 2108200 h 2457451"/>
              <a:gd name="connsiteX15" fmla="*/ 826294 w 3851276"/>
              <a:gd name="connsiteY15" fmla="*/ 2254250 h 2457451"/>
              <a:gd name="connsiteX16" fmla="*/ 681037 w 3851276"/>
              <a:gd name="connsiteY16" fmla="*/ 2108200 h 2457451"/>
              <a:gd name="connsiteX17" fmla="*/ 826294 w 3851276"/>
              <a:gd name="connsiteY17" fmla="*/ 1962150 h 2457451"/>
              <a:gd name="connsiteX18" fmla="*/ 3137695 w 3851276"/>
              <a:gd name="connsiteY18" fmla="*/ 1879600 h 2457451"/>
              <a:gd name="connsiteX19" fmla="*/ 2909888 w 3851276"/>
              <a:gd name="connsiteY19" fmla="*/ 2107407 h 2457451"/>
              <a:gd name="connsiteX20" fmla="*/ 3137695 w 3851276"/>
              <a:gd name="connsiteY20" fmla="*/ 2335214 h 2457451"/>
              <a:gd name="connsiteX21" fmla="*/ 3365502 w 3851276"/>
              <a:gd name="connsiteY21" fmla="*/ 2107407 h 2457451"/>
              <a:gd name="connsiteX22" fmla="*/ 3137695 w 3851276"/>
              <a:gd name="connsiteY22" fmla="*/ 1879600 h 2457451"/>
              <a:gd name="connsiteX23" fmla="*/ 826295 w 3851276"/>
              <a:gd name="connsiteY23" fmla="*/ 1879600 h 2457451"/>
              <a:gd name="connsiteX24" fmla="*/ 598488 w 3851276"/>
              <a:gd name="connsiteY24" fmla="*/ 2107407 h 2457451"/>
              <a:gd name="connsiteX25" fmla="*/ 826295 w 3851276"/>
              <a:gd name="connsiteY25" fmla="*/ 2335214 h 2457451"/>
              <a:gd name="connsiteX26" fmla="*/ 1054102 w 3851276"/>
              <a:gd name="connsiteY26" fmla="*/ 2107407 h 2457451"/>
              <a:gd name="connsiteX27" fmla="*/ 826295 w 3851276"/>
              <a:gd name="connsiteY27" fmla="*/ 1879600 h 2457451"/>
              <a:gd name="connsiteX28" fmla="*/ 3136900 w 3851276"/>
              <a:gd name="connsiteY28" fmla="*/ 1757363 h 2457451"/>
              <a:gd name="connsiteX29" fmla="*/ 3486150 w 3851276"/>
              <a:gd name="connsiteY29" fmla="*/ 2107407 h 2457451"/>
              <a:gd name="connsiteX30" fmla="*/ 3136900 w 3851276"/>
              <a:gd name="connsiteY30" fmla="*/ 2457451 h 2457451"/>
              <a:gd name="connsiteX31" fmla="*/ 2787650 w 3851276"/>
              <a:gd name="connsiteY31" fmla="*/ 2107407 h 2457451"/>
              <a:gd name="connsiteX32" fmla="*/ 3136900 w 3851276"/>
              <a:gd name="connsiteY32" fmla="*/ 1757363 h 2457451"/>
              <a:gd name="connsiteX33" fmla="*/ 825500 w 3851276"/>
              <a:gd name="connsiteY33" fmla="*/ 1757363 h 2457451"/>
              <a:gd name="connsiteX34" fmla="*/ 1174750 w 3851276"/>
              <a:gd name="connsiteY34" fmla="*/ 2107407 h 2457451"/>
              <a:gd name="connsiteX35" fmla="*/ 825500 w 3851276"/>
              <a:gd name="connsiteY35" fmla="*/ 2457451 h 2457451"/>
              <a:gd name="connsiteX36" fmla="*/ 476250 w 3851276"/>
              <a:gd name="connsiteY36" fmla="*/ 2107407 h 2457451"/>
              <a:gd name="connsiteX37" fmla="*/ 825500 w 3851276"/>
              <a:gd name="connsiteY37" fmla="*/ 1757363 h 2457451"/>
              <a:gd name="connsiteX38" fmla="*/ 2397125 w 3851276"/>
              <a:gd name="connsiteY38" fmla="*/ 532797 h 2457451"/>
              <a:gd name="connsiteX39" fmla="*/ 2397125 w 3851276"/>
              <a:gd name="connsiteY39" fmla="*/ 613672 h 2457451"/>
              <a:gd name="connsiteX40" fmla="*/ 2397125 w 3851276"/>
              <a:gd name="connsiteY40" fmla="*/ 2001484 h 2457451"/>
              <a:gd name="connsiteX41" fmla="*/ 2394079 w 3851276"/>
              <a:gd name="connsiteY41" fmla="*/ 2016729 h 2457451"/>
              <a:gd name="connsiteX42" fmla="*/ 2399520 w 3851276"/>
              <a:gd name="connsiteY42" fmla="*/ 2016729 h 2457451"/>
              <a:gd name="connsiteX43" fmla="*/ 2639583 w 3851276"/>
              <a:gd name="connsiteY43" fmla="*/ 2016729 h 2457451"/>
              <a:gd name="connsiteX44" fmla="*/ 2651731 w 3851276"/>
              <a:gd name="connsiteY44" fmla="*/ 2004566 h 2457451"/>
              <a:gd name="connsiteX45" fmla="*/ 3137623 w 3851276"/>
              <a:gd name="connsiteY45" fmla="*/ 1587970 h 2457451"/>
              <a:gd name="connsiteX46" fmla="*/ 3623514 w 3851276"/>
              <a:gd name="connsiteY46" fmla="*/ 2004566 h 2457451"/>
              <a:gd name="connsiteX47" fmla="*/ 3635662 w 3851276"/>
              <a:gd name="connsiteY47" fmla="*/ 2016729 h 2457451"/>
              <a:gd name="connsiteX48" fmla="*/ 3714619 w 3851276"/>
              <a:gd name="connsiteY48" fmla="*/ 2016729 h 2457451"/>
              <a:gd name="connsiteX49" fmla="*/ 3729803 w 3851276"/>
              <a:gd name="connsiteY49" fmla="*/ 2001525 h 2457451"/>
              <a:gd name="connsiteX50" fmla="*/ 3729803 w 3851276"/>
              <a:gd name="connsiteY50" fmla="*/ 1274763 h 2457451"/>
              <a:gd name="connsiteX51" fmla="*/ 3726766 w 3851276"/>
              <a:gd name="connsiteY51" fmla="*/ 1265641 h 2457451"/>
              <a:gd name="connsiteX52" fmla="*/ 3626551 w 3851276"/>
              <a:gd name="connsiteY52" fmla="*/ 1147048 h 2457451"/>
              <a:gd name="connsiteX53" fmla="*/ 2915934 w 3851276"/>
              <a:gd name="connsiteY53" fmla="*/ 1147048 h 2457451"/>
              <a:gd name="connsiteX54" fmla="*/ 2779277 w 3851276"/>
              <a:gd name="connsiteY54" fmla="*/ 1013250 h 2457451"/>
              <a:gd name="connsiteX55" fmla="*/ 2779277 w 3851276"/>
              <a:gd name="connsiteY55" fmla="*/ 532797 h 2457451"/>
              <a:gd name="connsiteX56" fmla="*/ 2402829 w 3851276"/>
              <a:gd name="connsiteY56" fmla="*/ 532797 h 2457451"/>
              <a:gd name="connsiteX57" fmla="*/ 2397125 w 3851276"/>
              <a:gd name="connsiteY57" fmla="*/ 532797 h 2457451"/>
              <a:gd name="connsiteX58" fmla="*/ 2900363 w 3851276"/>
              <a:gd name="connsiteY58" fmla="*/ 531813 h 2457451"/>
              <a:gd name="connsiteX59" fmla="*/ 2900363 w 3851276"/>
              <a:gd name="connsiteY59" fmla="*/ 1013336 h 2457451"/>
              <a:gd name="connsiteX60" fmla="*/ 2915545 w 3851276"/>
              <a:gd name="connsiteY60" fmla="*/ 1025526 h 2457451"/>
              <a:gd name="connsiteX61" fmla="*/ 3525838 w 3851276"/>
              <a:gd name="connsiteY61" fmla="*/ 1025526 h 2457451"/>
              <a:gd name="connsiteX62" fmla="*/ 3115940 w 3851276"/>
              <a:gd name="connsiteY62" fmla="*/ 537908 h 2457451"/>
              <a:gd name="connsiteX63" fmla="*/ 3106831 w 3851276"/>
              <a:gd name="connsiteY63" fmla="*/ 531813 h 2457451"/>
              <a:gd name="connsiteX64" fmla="*/ 2900363 w 3851276"/>
              <a:gd name="connsiteY64" fmla="*/ 531813 h 2457451"/>
              <a:gd name="connsiteX65" fmla="*/ 135842 w 3851276"/>
              <a:gd name="connsiteY65" fmla="*/ 122238 h 2457451"/>
              <a:gd name="connsiteX66" fmla="*/ 120650 w 3851276"/>
              <a:gd name="connsiteY66" fmla="*/ 137438 h 2457451"/>
              <a:gd name="connsiteX67" fmla="*/ 120650 w 3851276"/>
              <a:gd name="connsiteY67" fmla="*/ 2000926 h 2457451"/>
              <a:gd name="connsiteX68" fmla="*/ 135842 w 3851276"/>
              <a:gd name="connsiteY68" fmla="*/ 2016126 h 2457451"/>
              <a:gd name="connsiteX69" fmla="*/ 327263 w 3851276"/>
              <a:gd name="connsiteY69" fmla="*/ 2016126 h 2457451"/>
              <a:gd name="connsiteX70" fmla="*/ 339416 w 3851276"/>
              <a:gd name="connsiteY70" fmla="*/ 2003966 h 2457451"/>
              <a:gd name="connsiteX71" fmla="*/ 825563 w 3851276"/>
              <a:gd name="connsiteY71" fmla="*/ 1587493 h 2457451"/>
              <a:gd name="connsiteX72" fmla="*/ 1308671 w 3851276"/>
              <a:gd name="connsiteY72" fmla="*/ 2003966 h 2457451"/>
              <a:gd name="connsiteX73" fmla="*/ 1323864 w 3851276"/>
              <a:gd name="connsiteY73" fmla="*/ 2016126 h 2457451"/>
              <a:gd name="connsiteX74" fmla="*/ 2259696 w 3851276"/>
              <a:gd name="connsiteY74" fmla="*/ 2016126 h 2457451"/>
              <a:gd name="connsiteX75" fmla="*/ 2274888 w 3851276"/>
              <a:gd name="connsiteY75" fmla="*/ 2000926 h 2457451"/>
              <a:gd name="connsiteX76" fmla="*/ 2274888 w 3851276"/>
              <a:gd name="connsiteY76" fmla="*/ 137438 h 2457451"/>
              <a:gd name="connsiteX77" fmla="*/ 2259696 w 3851276"/>
              <a:gd name="connsiteY77" fmla="*/ 122238 h 2457451"/>
              <a:gd name="connsiteX78" fmla="*/ 135842 w 3851276"/>
              <a:gd name="connsiteY78" fmla="*/ 122238 h 2457451"/>
              <a:gd name="connsiteX79" fmla="*/ 136718 w 3851276"/>
              <a:gd name="connsiteY79" fmla="*/ 0 h 2457451"/>
              <a:gd name="connsiteX80" fmla="*/ 2260407 w 3851276"/>
              <a:gd name="connsiteY80" fmla="*/ 0 h 2457451"/>
              <a:gd name="connsiteX81" fmla="*/ 2397125 w 3851276"/>
              <a:gd name="connsiteY81" fmla="*/ 136880 h 2457451"/>
              <a:gd name="connsiteX82" fmla="*/ 2397125 w 3851276"/>
              <a:gd name="connsiteY82" fmla="*/ 306281 h 2457451"/>
              <a:gd name="connsiteX83" fmla="*/ 2397125 w 3851276"/>
              <a:gd name="connsiteY83" fmla="*/ 411163 h 2457451"/>
              <a:gd name="connsiteX84" fmla="*/ 2426638 w 3851276"/>
              <a:gd name="connsiteY84" fmla="*/ 411163 h 2457451"/>
              <a:gd name="connsiteX85" fmla="*/ 3107254 w 3851276"/>
              <a:gd name="connsiteY85" fmla="*/ 411163 h 2457451"/>
              <a:gd name="connsiteX86" fmla="*/ 3210506 w 3851276"/>
              <a:gd name="connsiteY86" fmla="*/ 459817 h 2457451"/>
              <a:gd name="connsiteX87" fmla="*/ 3684251 w 3851276"/>
              <a:gd name="connsiteY87" fmla="*/ 1025414 h 2457451"/>
              <a:gd name="connsiteX88" fmla="*/ 3687288 w 3851276"/>
              <a:gd name="connsiteY88" fmla="*/ 1025414 h 2457451"/>
              <a:gd name="connsiteX89" fmla="*/ 3687288 w 3851276"/>
              <a:gd name="connsiteY89" fmla="*/ 1031496 h 2457451"/>
              <a:gd name="connsiteX90" fmla="*/ 3817871 w 3851276"/>
              <a:gd name="connsiteY90" fmla="*/ 1186579 h 2457451"/>
              <a:gd name="connsiteX91" fmla="*/ 3851276 w 3851276"/>
              <a:gd name="connsiteY91" fmla="*/ 1274763 h 2457451"/>
              <a:gd name="connsiteX92" fmla="*/ 3851276 w 3851276"/>
              <a:gd name="connsiteY92" fmla="*/ 2001525 h 2457451"/>
              <a:gd name="connsiteX93" fmla="*/ 3714619 w 3851276"/>
              <a:gd name="connsiteY93" fmla="*/ 2138363 h 2457451"/>
              <a:gd name="connsiteX94" fmla="*/ 3635662 w 3851276"/>
              <a:gd name="connsiteY94" fmla="*/ 2138363 h 2457451"/>
              <a:gd name="connsiteX95" fmla="*/ 3502041 w 3851276"/>
              <a:gd name="connsiteY95" fmla="*/ 2022811 h 2457451"/>
              <a:gd name="connsiteX96" fmla="*/ 3137623 w 3851276"/>
              <a:gd name="connsiteY96" fmla="*/ 1709604 h 2457451"/>
              <a:gd name="connsiteX97" fmla="*/ 2773204 w 3851276"/>
              <a:gd name="connsiteY97" fmla="*/ 2022811 h 2457451"/>
              <a:gd name="connsiteX98" fmla="*/ 2639583 w 3851276"/>
              <a:gd name="connsiteY98" fmla="*/ 2138363 h 2457451"/>
              <a:gd name="connsiteX99" fmla="*/ 2281238 w 3851276"/>
              <a:gd name="connsiteY99" fmla="*/ 2138363 h 2457451"/>
              <a:gd name="connsiteX100" fmla="*/ 2281238 w 3851276"/>
              <a:gd name="connsiteY100" fmla="*/ 2134192 h 2457451"/>
              <a:gd name="connsiteX101" fmla="*/ 2260407 w 3851276"/>
              <a:gd name="connsiteY101" fmla="*/ 2138363 h 2457451"/>
              <a:gd name="connsiteX102" fmla="*/ 1324647 w 3851276"/>
              <a:gd name="connsiteY102" fmla="*/ 2138363 h 2457451"/>
              <a:gd name="connsiteX103" fmla="*/ 1190967 w 3851276"/>
              <a:gd name="connsiteY103" fmla="*/ 2022776 h 2457451"/>
              <a:gd name="connsiteX104" fmla="*/ 826386 w 3851276"/>
              <a:gd name="connsiteY104" fmla="*/ 1709474 h 2457451"/>
              <a:gd name="connsiteX105" fmla="*/ 461804 w 3851276"/>
              <a:gd name="connsiteY105" fmla="*/ 2022776 h 2457451"/>
              <a:gd name="connsiteX106" fmla="*/ 328124 w 3851276"/>
              <a:gd name="connsiteY106" fmla="*/ 2138363 h 2457451"/>
              <a:gd name="connsiteX107" fmla="*/ 136718 w 3851276"/>
              <a:gd name="connsiteY107" fmla="*/ 2138363 h 2457451"/>
              <a:gd name="connsiteX108" fmla="*/ 0 w 3851276"/>
              <a:gd name="connsiteY108" fmla="*/ 2001484 h 2457451"/>
              <a:gd name="connsiteX109" fmla="*/ 0 w 3851276"/>
              <a:gd name="connsiteY109" fmla="*/ 136880 h 2457451"/>
              <a:gd name="connsiteX110" fmla="*/ 136718 w 3851276"/>
              <a:gd name="connsiteY110"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826294 w 3851276"/>
              <a:gd name="connsiteY10" fmla="*/ 1962150 h 2457451"/>
              <a:gd name="connsiteX11" fmla="*/ 971551 w 3851276"/>
              <a:gd name="connsiteY11" fmla="*/ 2108200 h 2457451"/>
              <a:gd name="connsiteX12" fmla="*/ 826294 w 3851276"/>
              <a:gd name="connsiteY12" fmla="*/ 2254250 h 2457451"/>
              <a:gd name="connsiteX13" fmla="*/ 681037 w 3851276"/>
              <a:gd name="connsiteY13" fmla="*/ 2108200 h 2457451"/>
              <a:gd name="connsiteX14" fmla="*/ 826294 w 3851276"/>
              <a:gd name="connsiteY14" fmla="*/ 1962150 h 2457451"/>
              <a:gd name="connsiteX15" fmla="*/ 3137695 w 3851276"/>
              <a:gd name="connsiteY15" fmla="*/ 1879600 h 2457451"/>
              <a:gd name="connsiteX16" fmla="*/ 2909888 w 3851276"/>
              <a:gd name="connsiteY16" fmla="*/ 2107407 h 2457451"/>
              <a:gd name="connsiteX17" fmla="*/ 3137695 w 3851276"/>
              <a:gd name="connsiteY17" fmla="*/ 2335214 h 2457451"/>
              <a:gd name="connsiteX18" fmla="*/ 3365502 w 3851276"/>
              <a:gd name="connsiteY18" fmla="*/ 2107407 h 2457451"/>
              <a:gd name="connsiteX19" fmla="*/ 3137695 w 3851276"/>
              <a:gd name="connsiteY19" fmla="*/ 1879600 h 2457451"/>
              <a:gd name="connsiteX20" fmla="*/ 826295 w 3851276"/>
              <a:gd name="connsiteY20" fmla="*/ 1879600 h 2457451"/>
              <a:gd name="connsiteX21" fmla="*/ 598488 w 3851276"/>
              <a:gd name="connsiteY21" fmla="*/ 2107407 h 2457451"/>
              <a:gd name="connsiteX22" fmla="*/ 826295 w 3851276"/>
              <a:gd name="connsiteY22" fmla="*/ 2335214 h 2457451"/>
              <a:gd name="connsiteX23" fmla="*/ 1054102 w 3851276"/>
              <a:gd name="connsiteY23" fmla="*/ 2107407 h 2457451"/>
              <a:gd name="connsiteX24" fmla="*/ 826295 w 3851276"/>
              <a:gd name="connsiteY24" fmla="*/ 1879600 h 2457451"/>
              <a:gd name="connsiteX25" fmla="*/ 3136900 w 3851276"/>
              <a:gd name="connsiteY25" fmla="*/ 1757363 h 2457451"/>
              <a:gd name="connsiteX26" fmla="*/ 3486150 w 3851276"/>
              <a:gd name="connsiteY26" fmla="*/ 2107407 h 2457451"/>
              <a:gd name="connsiteX27" fmla="*/ 3136900 w 3851276"/>
              <a:gd name="connsiteY27" fmla="*/ 2457451 h 2457451"/>
              <a:gd name="connsiteX28" fmla="*/ 2787650 w 3851276"/>
              <a:gd name="connsiteY28" fmla="*/ 2107407 h 2457451"/>
              <a:gd name="connsiteX29" fmla="*/ 3136900 w 3851276"/>
              <a:gd name="connsiteY29" fmla="*/ 1757363 h 2457451"/>
              <a:gd name="connsiteX30" fmla="*/ 825500 w 3851276"/>
              <a:gd name="connsiteY30" fmla="*/ 1757363 h 2457451"/>
              <a:gd name="connsiteX31" fmla="*/ 1174750 w 3851276"/>
              <a:gd name="connsiteY31" fmla="*/ 2107407 h 2457451"/>
              <a:gd name="connsiteX32" fmla="*/ 825500 w 3851276"/>
              <a:gd name="connsiteY32" fmla="*/ 2457451 h 2457451"/>
              <a:gd name="connsiteX33" fmla="*/ 476250 w 3851276"/>
              <a:gd name="connsiteY33" fmla="*/ 2107407 h 2457451"/>
              <a:gd name="connsiteX34" fmla="*/ 825500 w 3851276"/>
              <a:gd name="connsiteY34" fmla="*/ 1757363 h 2457451"/>
              <a:gd name="connsiteX35" fmla="*/ 2397125 w 3851276"/>
              <a:gd name="connsiteY35" fmla="*/ 532797 h 2457451"/>
              <a:gd name="connsiteX36" fmla="*/ 2397125 w 3851276"/>
              <a:gd name="connsiteY36" fmla="*/ 613672 h 2457451"/>
              <a:gd name="connsiteX37" fmla="*/ 2397125 w 3851276"/>
              <a:gd name="connsiteY37" fmla="*/ 2001484 h 2457451"/>
              <a:gd name="connsiteX38" fmla="*/ 2394079 w 3851276"/>
              <a:gd name="connsiteY38" fmla="*/ 2016729 h 2457451"/>
              <a:gd name="connsiteX39" fmla="*/ 2399520 w 3851276"/>
              <a:gd name="connsiteY39" fmla="*/ 2016729 h 2457451"/>
              <a:gd name="connsiteX40" fmla="*/ 2639583 w 3851276"/>
              <a:gd name="connsiteY40" fmla="*/ 2016729 h 2457451"/>
              <a:gd name="connsiteX41" fmla="*/ 2651731 w 3851276"/>
              <a:gd name="connsiteY41" fmla="*/ 2004566 h 2457451"/>
              <a:gd name="connsiteX42" fmla="*/ 3137623 w 3851276"/>
              <a:gd name="connsiteY42" fmla="*/ 1587970 h 2457451"/>
              <a:gd name="connsiteX43" fmla="*/ 3623514 w 3851276"/>
              <a:gd name="connsiteY43" fmla="*/ 2004566 h 2457451"/>
              <a:gd name="connsiteX44" fmla="*/ 3635662 w 3851276"/>
              <a:gd name="connsiteY44" fmla="*/ 2016729 h 2457451"/>
              <a:gd name="connsiteX45" fmla="*/ 3714619 w 3851276"/>
              <a:gd name="connsiteY45" fmla="*/ 2016729 h 2457451"/>
              <a:gd name="connsiteX46" fmla="*/ 3729803 w 3851276"/>
              <a:gd name="connsiteY46" fmla="*/ 2001525 h 2457451"/>
              <a:gd name="connsiteX47" fmla="*/ 3729803 w 3851276"/>
              <a:gd name="connsiteY47" fmla="*/ 1274763 h 2457451"/>
              <a:gd name="connsiteX48" fmla="*/ 3726766 w 3851276"/>
              <a:gd name="connsiteY48" fmla="*/ 1265641 h 2457451"/>
              <a:gd name="connsiteX49" fmla="*/ 3626551 w 3851276"/>
              <a:gd name="connsiteY49" fmla="*/ 1147048 h 2457451"/>
              <a:gd name="connsiteX50" fmla="*/ 2915934 w 3851276"/>
              <a:gd name="connsiteY50" fmla="*/ 1147048 h 2457451"/>
              <a:gd name="connsiteX51" fmla="*/ 2779277 w 3851276"/>
              <a:gd name="connsiteY51" fmla="*/ 1013250 h 2457451"/>
              <a:gd name="connsiteX52" fmla="*/ 2779277 w 3851276"/>
              <a:gd name="connsiteY52" fmla="*/ 532797 h 2457451"/>
              <a:gd name="connsiteX53" fmla="*/ 2402829 w 3851276"/>
              <a:gd name="connsiteY53" fmla="*/ 532797 h 2457451"/>
              <a:gd name="connsiteX54" fmla="*/ 2397125 w 3851276"/>
              <a:gd name="connsiteY54" fmla="*/ 532797 h 2457451"/>
              <a:gd name="connsiteX55" fmla="*/ 2900363 w 3851276"/>
              <a:gd name="connsiteY55" fmla="*/ 531813 h 2457451"/>
              <a:gd name="connsiteX56" fmla="*/ 2900363 w 3851276"/>
              <a:gd name="connsiteY56" fmla="*/ 1013336 h 2457451"/>
              <a:gd name="connsiteX57" fmla="*/ 2915545 w 3851276"/>
              <a:gd name="connsiteY57" fmla="*/ 1025526 h 2457451"/>
              <a:gd name="connsiteX58" fmla="*/ 3525838 w 3851276"/>
              <a:gd name="connsiteY58" fmla="*/ 1025526 h 2457451"/>
              <a:gd name="connsiteX59" fmla="*/ 3115940 w 3851276"/>
              <a:gd name="connsiteY59" fmla="*/ 537908 h 2457451"/>
              <a:gd name="connsiteX60" fmla="*/ 3106831 w 3851276"/>
              <a:gd name="connsiteY60" fmla="*/ 531813 h 2457451"/>
              <a:gd name="connsiteX61" fmla="*/ 2900363 w 3851276"/>
              <a:gd name="connsiteY61" fmla="*/ 531813 h 2457451"/>
              <a:gd name="connsiteX62" fmla="*/ 135842 w 3851276"/>
              <a:gd name="connsiteY62" fmla="*/ 122238 h 2457451"/>
              <a:gd name="connsiteX63" fmla="*/ 120650 w 3851276"/>
              <a:gd name="connsiteY63" fmla="*/ 137438 h 2457451"/>
              <a:gd name="connsiteX64" fmla="*/ 120650 w 3851276"/>
              <a:gd name="connsiteY64" fmla="*/ 2000926 h 2457451"/>
              <a:gd name="connsiteX65" fmla="*/ 135842 w 3851276"/>
              <a:gd name="connsiteY65" fmla="*/ 2016126 h 2457451"/>
              <a:gd name="connsiteX66" fmla="*/ 327263 w 3851276"/>
              <a:gd name="connsiteY66" fmla="*/ 2016126 h 2457451"/>
              <a:gd name="connsiteX67" fmla="*/ 339416 w 3851276"/>
              <a:gd name="connsiteY67" fmla="*/ 2003966 h 2457451"/>
              <a:gd name="connsiteX68" fmla="*/ 825563 w 3851276"/>
              <a:gd name="connsiteY68" fmla="*/ 1587493 h 2457451"/>
              <a:gd name="connsiteX69" fmla="*/ 1308671 w 3851276"/>
              <a:gd name="connsiteY69" fmla="*/ 2003966 h 2457451"/>
              <a:gd name="connsiteX70" fmla="*/ 1323864 w 3851276"/>
              <a:gd name="connsiteY70" fmla="*/ 2016126 h 2457451"/>
              <a:gd name="connsiteX71" fmla="*/ 2259696 w 3851276"/>
              <a:gd name="connsiteY71" fmla="*/ 2016126 h 2457451"/>
              <a:gd name="connsiteX72" fmla="*/ 2274888 w 3851276"/>
              <a:gd name="connsiteY72" fmla="*/ 2000926 h 2457451"/>
              <a:gd name="connsiteX73" fmla="*/ 2274888 w 3851276"/>
              <a:gd name="connsiteY73" fmla="*/ 137438 h 2457451"/>
              <a:gd name="connsiteX74" fmla="*/ 2259696 w 3851276"/>
              <a:gd name="connsiteY74" fmla="*/ 122238 h 2457451"/>
              <a:gd name="connsiteX75" fmla="*/ 135842 w 3851276"/>
              <a:gd name="connsiteY75" fmla="*/ 122238 h 2457451"/>
              <a:gd name="connsiteX76" fmla="*/ 136718 w 3851276"/>
              <a:gd name="connsiteY76" fmla="*/ 0 h 2457451"/>
              <a:gd name="connsiteX77" fmla="*/ 2260407 w 3851276"/>
              <a:gd name="connsiteY77" fmla="*/ 0 h 2457451"/>
              <a:gd name="connsiteX78" fmla="*/ 2397125 w 3851276"/>
              <a:gd name="connsiteY78" fmla="*/ 136880 h 2457451"/>
              <a:gd name="connsiteX79" fmla="*/ 2397125 w 3851276"/>
              <a:gd name="connsiteY79" fmla="*/ 306281 h 2457451"/>
              <a:gd name="connsiteX80" fmla="*/ 2397125 w 3851276"/>
              <a:gd name="connsiteY80" fmla="*/ 411163 h 2457451"/>
              <a:gd name="connsiteX81" fmla="*/ 2426638 w 3851276"/>
              <a:gd name="connsiteY81" fmla="*/ 411163 h 2457451"/>
              <a:gd name="connsiteX82" fmla="*/ 3107254 w 3851276"/>
              <a:gd name="connsiteY82" fmla="*/ 411163 h 2457451"/>
              <a:gd name="connsiteX83" fmla="*/ 3210506 w 3851276"/>
              <a:gd name="connsiteY83" fmla="*/ 459817 h 2457451"/>
              <a:gd name="connsiteX84" fmla="*/ 3684251 w 3851276"/>
              <a:gd name="connsiteY84" fmla="*/ 1025414 h 2457451"/>
              <a:gd name="connsiteX85" fmla="*/ 3687288 w 3851276"/>
              <a:gd name="connsiteY85" fmla="*/ 1025414 h 2457451"/>
              <a:gd name="connsiteX86" fmla="*/ 3687288 w 3851276"/>
              <a:gd name="connsiteY86" fmla="*/ 1031496 h 2457451"/>
              <a:gd name="connsiteX87" fmla="*/ 3817871 w 3851276"/>
              <a:gd name="connsiteY87" fmla="*/ 1186579 h 2457451"/>
              <a:gd name="connsiteX88" fmla="*/ 3851276 w 3851276"/>
              <a:gd name="connsiteY88" fmla="*/ 1274763 h 2457451"/>
              <a:gd name="connsiteX89" fmla="*/ 3851276 w 3851276"/>
              <a:gd name="connsiteY89" fmla="*/ 2001525 h 2457451"/>
              <a:gd name="connsiteX90" fmla="*/ 3714619 w 3851276"/>
              <a:gd name="connsiteY90" fmla="*/ 2138363 h 2457451"/>
              <a:gd name="connsiteX91" fmla="*/ 3635662 w 3851276"/>
              <a:gd name="connsiteY91" fmla="*/ 2138363 h 2457451"/>
              <a:gd name="connsiteX92" fmla="*/ 3502041 w 3851276"/>
              <a:gd name="connsiteY92" fmla="*/ 2022811 h 2457451"/>
              <a:gd name="connsiteX93" fmla="*/ 3137623 w 3851276"/>
              <a:gd name="connsiteY93" fmla="*/ 1709604 h 2457451"/>
              <a:gd name="connsiteX94" fmla="*/ 2773204 w 3851276"/>
              <a:gd name="connsiteY94" fmla="*/ 2022811 h 2457451"/>
              <a:gd name="connsiteX95" fmla="*/ 2639583 w 3851276"/>
              <a:gd name="connsiteY95" fmla="*/ 2138363 h 2457451"/>
              <a:gd name="connsiteX96" fmla="*/ 2281238 w 3851276"/>
              <a:gd name="connsiteY96" fmla="*/ 2138363 h 2457451"/>
              <a:gd name="connsiteX97" fmla="*/ 2281238 w 3851276"/>
              <a:gd name="connsiteY97" fmla="*/ 2134192 h 2457451"/>
              <a:gd name="connsiteX98" fmla="*/ 2260407 w 3851276"/>
              <a:gd name="connsiteY98" fmla="*/ 2138363 h 2457451"/>
              <a:gd name="connsiteX99" fmla="*/ 1324647 w 3851276"/>
              <a:gd name="connsiteY99" fmla="*/ 2138363 h 2457451"/>
              <a:gd name="connsiteX100" fmla="*/ 1190967 w 3851276"/>
              <a:gd name="connsiteY100" fmla="*/ 2022776 h 2457451"/>
              <a:gd name="connsiteX101" fmla="*/ 826386 w 3851276"/>
              <a:gd name="connsiteY101" fmla="*/ 1709474 h 2457451"/>
              <a:gd name="connsiteX102" fmla="*/ 461804 w 3851276"/>
              <a:gd name="connsiteY102" fmla="*/ 2022776 h 2457451"/>
              <a:gd name="connsiteX103" fmla="*/ 328124 w 3851276"/>
              <a:gd name="connsiteY103" fmla="*/ 2138363 h 2457451"/>
              <a:gd name="connsiteX104" fmla="*/ 136718 w 3851276"/>
              <a:gd name="connsiteY104" fmla="*/ 2138363 h 2457451"/>
              <a:gd name="connsiteX105" fmla="*/ 0 w 3851276"/>
              <a:gd name="connsiteY105" fmla="*/ 2001484 h 2457451"/>
              <a:gd name="connsiteX106" fmla="*/ 0 w 3851276"/>
              <a:gd name="connsiteY106" fmla="*/ 136880 h 2457451"/>
              <a:gd name="connsiteX107" fmla="*/ 136718 w 3851276"/>
              <a:gd name="connsiteY107"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681037 w 3851276"/>
              <a:gd name="connsiteY10" fmla="*/ 2108200 h 2457451"/>
              <a:gd name="connsiteX11" fmla="*/ 971551 w 3851276"/>
              <a:gd name="connsiteY11" fmla="*/ 2108200 h 2457451"/>
              <a:gd name="connsiteX12" fmla="*/ 826294 w 3851276"/>
              <a:gd name="connsiteY12" fmla="*/ 2254250 h 2457451"/>
              <a:gd name="connsiteX13" fmla="*/ 681037 w 3851276"/>
              <a:gd name="connsiteY13" fmla="*/ 2108200 h 2457451"/>
              <a:gd name="connsiteX14" fmla="*/ 3137695 w 3851276"/>
              <a:gd name="connsiteY14" fmla="*/ 1879600 h 2457451"/>
              <a:gd name="connsiteX15" fmla="*/ 2909888 w 3851276"/>
              <a:gd name="connsiteY15" fmla="*/ 2107407 h 2457451"/>
              <a:gd name="connsiteX16" fmla="*/ 3137695 w 3851276"/>
              <a:gd name="connsiteY16" fmla="*/ 2335214 h 2457451"/>
              <a:gd name="connsiteX17" fmla="*/ 3365502 w 3851276"/>
              <a:gd name="connsiteY17" fmla="*/ 2107407 h 2457451"/>
              <a:gd name="connsiteX18" fmla="*/ 3137695 w 3851276"/>
              <a:gd name="connsiteY18" fmla="*/ 1879600 h 2457451"/>
              <a:gd name="connsiteX19" fmla="*/ 826295 w 3851276"/>
              <a:gd name="connsiteY19" fmla="*/ 1879600 h 2457451"/>
              <a:gd name="connsiteX20" fmla="*/ 598488 w 3851276"/>
              <a:gd name="connsiteY20" fmla="*/ 2107407 h 2457451"/>
              <a:gd name="connsiteX21" fmla="*/ 826295 w 3851276"/>
              <a:gd name="connsiteY21" fmla="*/ 2335214 h 2457451"/>
              <a:gd name="connsiteX22" fmla="*/ 1054102 w 3851276"/>
              <a:gd name="connsiteY22" fmla="*/ 2107407 h 2457451"/>
              <a:gd name="connsiteX23" fmla="*/ 826295 w 3851276"/>
              <a:gd name="connsiteY23" fmla="*/ 1879600 h 2457451"/>
              <a:gd name="connsiteX24" fmla="*/ 3136900 w 3851276"/>
              <a:gd name="connsiteY24" fmla="*/ 1757363 h 2457451"/>
              <a:gd name="connsiteX25" fmla="*/ 3486150 w 3851276"/>
              <a:gd name="connsiteY25" fmla="*/ 2107407 h 2457451"/>
              <a:gd name="connsiteX26" fmla="*/ 3136900 w 3851276"/>
              <a:gd name="connsiteY26" fmla="*/ 2457451 h 2457451"/>
              <a:gd name="connsiteX27" fmla="*/ 2787650 w 3851276"/>
              <a:gd name="connsiteY27" fmla="*/ 2107407 h 2457451"/>
              <a:gd name="connsiteX28" fmla="*/ 3136900 w 3851276"/>
              <a:gd name="connsiteY28" fmla="*/ 1757363 h 2457451"/>
              <a:gd name="connsiteX29" fmla="*/ 825500 w 3851276"/>
              <a:gd name="connsiteY29" fmla="*/ 1757363 h 2457451"/>
              <a:gd name="connsiteX30" fmla="*/ 1174750 w 3851276"/>
              <a:gd name="connsiteY30" fmla="*/ 2107407 h 2457451"/>
              <a:gd name="connsiteX31" fmla="*/ 825500 w 3851276"/>
              <a:gd name="connsiteY31" fmla="*/ 2457451 h 2457451"/>
              <a:gd name="connsiteX32" fmla="*/ 476250 w 3851276"/>
              <a:gd name="connsiteY32" fmla="*/ 2107407 h 2457451"/>
              <a:gd name="connsiteX33" fmla="*/ 825500 w 3851276"/>
              <a:gd name="connsiteY33" fmla="*/ 1757363 h 2457451"/>
              <a:gd name="connsiteX34" fmla="*/ 2397125 w 3851276"/>
              <a:gd name="connsiteY34" fmla="*/ 532797 h 2457451"/>
              <a:gd name="connsiteX35" fmla="*/ 2397125 w 3851276"/>
              <a:gd name="connsiteY35" fmla="*/ 613672 h 2457451"/>
              <a:gd name="connsiteX36" fmla="*/ 2397125 w 3851276"/>
              <a:gd name="connsiteY36" fmla="*/ 2001484 h 2457451"/>
              <a:gd name="connsiteX37" fmla="*/ 2394079 w 3851276"/>
              <a:gd name="connsiteY37" fmla="*/ 2016729 h 2457451"/>
              <a:gd name="connsiteX38" fmla="*/ 2399520 w 3851276"/>
              <a:gd name="connsiteY38" fmla="*/ 2016729 h 2457451"/>
              <a:gd name="connsiteX39" fmla="*/ 2639583 w 3851276"/>
              <a:gd name="connsiteY39" fmla="*/ 2016729 h 2457451"/>
              <a:gd name="connsiteX40" fmla="*/ 2651731 w 3851276"/>
              <a:gd name="connsiteY40" fmla="*/ 2004566 h 2457451"/>
              <a:gd name="connsiteX41" fmla="*/ 3137623 w 3851276"/>
              <a:gd name="connsiteY41" fmla="*/ 1587970 h 2457451"/>
              <a:gd name="connsiteX42" fmla="*/ 3623514 w 3851276"/>
              <a:gd name="connsiteY42" fmla="*/ 2004566 h 2457451"/>
              <a:gd name="connsiteX43" fmla="*/ 3635662 w 3851276"/>
              <a:gd name="connsiteY43" fmla="*/ 2016729 h 2457451"/>
              <a:gd name="connsiteX44" fmla="*/ 3714619 w 3851276"/>
              <a:gd name="connsiteY44" fmla="*/ 2016729 h 2457451"/>
              <a:gd name="connsiteX45" fmla="*/ 3729803 w 3851276"/>
              <a:gd name="connsiteY45" fmla="*/ 2001525 h 2457451"/>
              <a:gd name="connsiteX46" fmla="*/ 3729803 w 3851276"/>
              <a:gd name="connsiteY46" fmla="*/ 1274763 h 2457451"/>
              <a:gd name="connsiteX47" fmla="*/ 3726766 w 3851276"/>
              <a:gd name="connsiteY47" fmla="*/ 1265641 h 2457451"/>
              <a:gd name="connsiteX48" fmla="*/ 3626551 w 3851276"/>
              <a:gd name="connsiteY48" fmla="*/ 1147048 h 2457451"/>
              <a:gd name="connsiteX49" fmla="*/ 2915934 w 3851276"/>
              <a:gd name="connsiteY49" fmla="*/ 1147048 h 2457451"/>
              <a:gd name="connsiteX50" fmla="*/ 2779277 w 3851276"/>
              <a:gd name="connsiteY50" fmla="*/ 1013250 h 2457451"/>
              <a:gd name="connsiteX51" fmla="*/ 2779277 w 3851276"/>
              <a:gd name="connsiteY51" fmla="*/ 532797 h 2457451"/>
              <a:gd name="connsiteX52" fmla="*/ 2402829 w 3851276"/>
              <a:gd name="connsiteY52" fmla="*/ 532797 h 2457451"/>
              <a:gd name="connsiteX53" fmla="*/ 2397125 w 3851276"/>
              <a:gd name="connsiteY53" fmla="*/ 532797 h 2457451"/>
              <a:gd name="connsiteX54" fmla="*/ 2900363 w 3851276"/>
              <a:gd name="connsiteY54" fmla="*/ 531813 h 2457451"/>
              <a:gd name="connsiteX55" fmla="*/ 2900363 w 3851276"/>
              <a:gd name="connsiteY55" fmla="*/ 1013336 h 2457451"/>
              <a:gd name="connsiteX56" fmla="*/ 2915545 w 3851276"/>
              <a:gd name="connsiteY56" fmla="*/ 1025526 h 2457451"/>
              <a:gd name="connsiteX57" fmla="*/ 3525838 w 3851276"/>
              <a:gd name="connsiteY57" fmla="*/ 1025526 h 2457451"/>
              <a:gd name="connsiteX58" fmla="*/ 3115940 w 3851276"/>
              <a:gd name="connsiteY58" fmla="*/ 537908 h 2457451"/>
              <a:gd name="connsiteX59" fmla="*/ 3106831 w 3851276"/>
              <a:gd name="connsiteY59" fmla="*/ 531813 h 2457451"/>
              <a:gd name="connsiteX60" fmla="*/ 2900363 w 3851276"/>
              <a:gd name="connsiteY60" fmla="*/ 531813 h 2457451"/>
              <a:gd name="connsiteX61" fmla="*/ 135842 w 3851276"/>
              <a:gd name="connsiteY61" fmla="*/ 122238 h 2457451"/>
              <a:gd name="connsiteX62" fmla="*/ 120650 w 3851276"/>
              <a:gd name="connsiteY62" fmla="*/ 137438 h 2457451"/>
              <a:gd name="connsiteX63" fmla="*/ 120650 w 3851276"/>
              <a:gd name="connsiteY63" fmla="*/ 2000926 h 2457451"/>
              <a:gd name="connsiteX64" fmla="*/ 135842 w 3851276"/>
              <a:gd name="connsiteY64" fmla="*/ 2016126 h 2457451"/>
              <a:gd name="connsiteX65" fmla="*/ 327263 w 3851276"/>
              <a:gd name="connsiteY65" fmla="*/ 2016126 h 2457451"/>
              <a:gd name="connsiteX66" fmla="*/ 339416 w 3851276"/>
              <a:gd name="connsiteY66" fmla="*/ 2003966 h 2457451"/>
              <a:gd name="connsiteX67" fmla="*/ 825563 w 3851276"/>
              <a:gd name="connsiteY67" fmla="*/ 1587493 h 2457451"/>
              <a:gd name="connsiteX68" fmla="*/ 1308671 w 3851276"/>
              <a:gd name="connsiteY68" fmla="*/ 2003966 h 2457451"/>
              <a:gd name="connsiteX69" fmla="*/ 1323864 w 3851276"/>
              <a:gd name="connsiteY69" fmla="*/ 2016126 h 2457451"/>
              <a:gd name="connsiteX70" fmla="*/ 2259696 w 3851276"/>
              <a:gd name="connsiteY70" fmla="*/ 2016126 h 2457451"/>
              <a:gd name="connsiteX71" fmla="*/ 2274888 w 3851276"/>
              <a:gd name="connsiteY71" fmla="*/ 2000926 h 2457451"/>
              <a:gd name="connsiteX72" fmla="*/ 2274888 w 3851276"/>
              <a:gd name="connsiteY72" fmla="*/ 137438 h 2457451"/>
              <a:gd name="connsiteX73" fmla="*/ 2259696 w 3851276"/>
              <a:gd name="connsiteY73" fmla="*/ 122238 h 2457451"/>
              <a:gd name="connsiteX74" fmla="*/ 135842 w 3851276"/>
              <a:gd name="connsiteY74" fmla="*/ 122238 h 2457451"/>
              <a:gd name="connsiteX75" fmla="*/ 136718 w 3851276"/>
              <a:gd name="connsiteY75" fmla="*/ 0 h 2457451"/>
              <a:gd name="connsiteX76" fmla="*/ 2260407 w 3851276"/>
              <a:gd name="connsiteY76" fmla="*/ 0 h 2457451"/>
              <a:gd name="connsiteX77" fmla="*/ 2397125 w 3851276"/>
              <a:gd name="connsiteY77" fmla="*/ 136880 h 2457451"/>
              <a:gd name="connsiteX78" fmla="*/ 2397125 w 3851276"/>
              <a:gd name="connsiteY78" fmla="*/ 306281 h 2457451"/>
              <a:gd name="connsiteX79" fmla="*/ 2397125 w 3851276"/>
              <a:gd name="connsiteY79" fmla="*/ 411163 h 2457451"/>
              <a:gd name="connsiteX80" fmla="*/ 2426638 w 3851276"/>
              <a:gd name="connsiteY80" fmla="*/ 411163 h 2457451"/>
              <a:gd name="connsiteX81" fmla="*/ 3107254 w 3851276"/>
              <a:gd name="connsiteY81" fmla="*/ 411163 h 2457451"/>
              <a:gd name="connsiteX82" fmla="*/ 3210506 w 3851276"/>
              <a:gd name="connsiteY82" fmla="*/ 459817 h 2457451"/>
              <a:gd name="connsiteX83" fmla="*/ 3684251 w 3851276"/>
              <a:gd name="connsiteY83" fmla="*/ 1025414 h 2457451"/>
              <a:gd name="connsiteX84" fmla="*/ 3687288 w 3851276"/>
              <a:gd name="connsiteY84" fmla="*/ 1025414 h 2457451"/>
              <a:gd name="connsiteX85" fmla="*/ 3687288 w 3851276"/>
              <a:gd name="connsiteY85" fmla="*/ 1031496 h 2457451"/>
              <a:gd name="connsiteX86" fmla="*/ 3817871 w 3851276"/>
              <a:gd name="connsiteY86" fmla="*/ 1186579 h 2457451"/>
              <a:gd name="connsiteX87" fmla="*/ 3851276 w 3851276"/>
              <a:gd name="connsiteY87" fmla="*/ 1274763 h 2457451"/>
              <a:gd name="connsiteX88" fmla="*/ 3851276 w 3851276"/>
              <a:gd name="connsiteY88" fmla="*/ 2001525 h 2457451"/>
              <a:gd name="connsiteX89" fmla="*/ 3714619 w 3851276"/>
              <a:gd name="connsiteY89" fmla="*/ 2138363 h 2457451"/>
              <a:gd name="connsiteX90" fmla="*/ 3635662 w 3851276"/>
              <a:gd name="connsiteY90" fmla="*/ 2138363 h 2457451"/>
              <a:gd name="connsiteX91" fmla="*/ 3502041 w 3851276"/>
              <a:gd name="connsiteY91" fmla="*/ 2022811 h 2457451"/>
              <a:gd name="connsiteX92" fmla="*/ 3137623 w 3851276"/>
              <a:gd name="connsiteY92" fmla="*/ 1709604 h 2457451"/>
              <a:gd name="connsiteX93" fmla="*/ 2773204 w 3851276"/>
              <a:gd name="connsiteY93" fmla="*/ 2022811 h 2457451"/>
              <a:gd name="connsiteX94" fmla="*/ 2639583 w 3851276"/>
              <a:gd name="connsiteY94" fmla="*/ 2138363 h 2457451"/>
              <a:gd name="connsiteX95" fmla="*/ 2281238 w 3851276"/>
              <a:gd name="connsiteY95" fmla="*/ 2138363 h 2457451"/>
              <a:gd name="connsiteX96" fmla="*/ 2281238 w 3851276"/>
              <a:gd name="connsiteY96" fmla="*/ 2134192 h 2457451"/>
              <a:gd name="connsiteX97" fmla="*/ 2260407 w 3851276"/>
              <a:gd name="connsiteY97" fmla="*/ 2138363 h 2457451"/>
              <a:gd name="connsiteX98" fmla="*/ 1324647 w 3851276"/>
              <a:gd name="connsiteY98" fmla="*/ 2138363 h 2457451"/>
              <a:gd name="connsiteX99" fmla="*/ 1190967 w 3851276"/>
              <a:gd name="connsiteY99" fmla="*/ 2022776 h 2457451"/>
              <a:gd name="connsiteX100" fmla="*/ 826386 w 3851276"/>
              <a:gd name="connsiteY100" fmla="*/ 1709474 h 2457451"/>
              <a:gd name="connsiteX101" fmla="*/ 461804 w 3851276"/>
              <a:gd name="connsiteY101" fmla="*/ 2022776 h 2457451"/>
              <a:gd name="connsiteX102" fmla="*/ 328124 w 3851276"/>
              <a:gd name="connsiteY102" fmla="*/ 2138363 h 2457451"/>
              <a:gd name="connsiteX103" fmla="*/ 136718 w 3851276"/>
              <a:gd name="connsiteY103" fmla="*/ 2138363 h 2457451"/>
              <a:gd name="connsiteX104" fmla="*/ 0 w 3851276"/>
              <a:gd name="connsiteY104" fmla="*/ 2001484 h 2457451"/>
              <a:gd name="connsiteX105" fmla="*/ 0 w 3851276"/>
              <a:gd name="connsiteY105" fmla="*/ 136880 h 2457451"/>
              <a:gd name="connsiteX106" fmla="*/ 136718 w 3851276"/>
              <a:gd name="connsiteY106"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826294 w 3851276"/>
              <a:gd name="connsiteY10" fmla="*/ 2254250 h 2457451"/>
              <a:gd name="connsiteX11" fmla="*/ 971551 w 3851276"/>
              <a:gd name="connsiteY11" fmla="*/ 2108200 h 2457451"/>
              <a:gd name="connsiteX12" fmla="*/ 826294 w 3851276"/>
              <a:gd name="connsiteY12" fmla="*/ 2254250 h 2457451"/>
              <a:gd name="connsiteX13" fmla="*/ 3137695 w 3851276"/>
              <a:gd name="connsiteY13" fmla="*/ 1879600 h 2457451"/>
              <a:gd name="connsiteX14" fmla="*/ 2909888 w 3851276"/>
              <a:gd name="connsiteY14" fmla="*/ 2107407 h 2457451"/>
              <a:gd name="connsiteX15" fmla="*/ 3137695 w 3851276"/>
              <a:gd name="connsiteY15" fmla="*/ 2335214 h 2457451"/>
              <a:gd name="connsiteX16" fmla="*/ 3365502 w 3851276"/>
              <a:gd name="connsiteY16" fmla="*/ 2107407 h 2457451"/>
              <a:gd name="connsiteX17" fmla="*/ 3137695 w 3851276"/>
              <a:gd name="connsiteY17" fmla="*/ 1879600 h 2457451"/>
              <a:gd name="connsiteX18" fmla="*/ 826295 w 3851276"/>
              <a:gd name="connsiteY18" fmla="*/ 1879600 h 2457451"/>
              <a:gd name="connsiteX19" fmla="*/ 598488 w 3851276"/>
              <a:gd name="connsiteY19" fmla="*/ 2107407 h 2457451"/>
              <a:gd name="connsiteX20" fmla="*/ 826295 w 3851276"/>
              <a:gd name="connsiteY20" fmla="*/ 2335214 h 2457451"/>
              <a:gd name="connsiteX21" fmla="*/ 1054102 w 3851276"/>
              <a:gd name="connsiteY21" fmla="*/ 2107407 h 2457451"/>
              <a:gd name="connsiteX22" fmla="*/ 826295 w 3851276"/>
              <a:gd name="connsiteY22" fmla="*/ 1879600 h 2457451"/>
              <a:gd name="connsiteX23" fmla="*/ 3136900 w 3851276"/>
              <a:gd name="connsiteY23" fmla="*/ 1757363 h 2457451"/>
              <a:gd name="connsiteX24" fmla="*/ 3486150 w 3851276"/>
              <a:gd name="connsiteY24" fmla="*/ 2107407 h 2457451"/>
              <a:gd name="connsiteX25" fmla="*/ 3136900 w 3851276"/>
              <a:gd name="connsiteY25" fmla="*/ 2457451 h 2457451"/>
              <a:gd name="connsiteX26" fmla="*/ 2787650 w 3851276"/>
              <a:gd name="connsiteY26" fmla="*/ 2107407 h 2457451"/>
              <a:gd name="connsiteX27" fmla="*/ 3136900 w 3851276"/>
              <a:gd name="connsiteY27" fmla="*/ 1757363 h 2457451"/>
              <a:gd name="connsiteX28" fmla="*/ 825500 w 3851276"/>
              <a:gd name="connsiteY28" fmla="*/ 1757363 h 2457451"/>
              <a:gd name="connsiteX29" fmla="*/ 1174750 w 3851276"/>
              <a:gd name="connsiteY29" fmla="*/ 2107407 h 2457451"/>
              <a:gd name="connsiteX30" fmla="*/ 825500 w 3851276"/>
              <a:gd name="connsiteY30" fmla="*/ 2457451 h 2457451"/>
              <a:gd name="connsiteX31" fmla="*/ 476250 w 3851276"/>
              <a:gd name="connsiteY31" fmla="*/ 2107407 h 2457451"/>
              <a:gd name="connsiteX32" fmla="*/ 825500 w 3851276"/>
              <a:gd name="connsiteY32" fmla="*/ 1757363 h 2457451"/>
              <a:gd name="connsiteX33" fmla="*/ 2397125 w 3851276"/>
              <a:gd name="connsiteY33" fmla="*/ 532797 h 2457451"/>
              <a:gd name="connsiteX34" fmla="*/ 2397125 w 3851276"/>
              <a:gd name="connsiteY34" fmla="*/ 613672 h 2457451"/>
              <a:gd name="connsiteX35" fmla="*/ 2397125 w 3851276"/>
              <a:gd name="connsiteY35" fmla="*/ 2001484 h 2457451"/>
              <a:gd name="connsiteX36" fmla="*/ 2394079 w 3851276"/>
              <a:gd name="connsiteY36" fmla="*/ 2016729 h 2457451"/>
              <a:gd name="connsiteX37" fmla="*/ 2399520 w 3851276"/>
              <a:gd name="connsiteY37" fmla="*/ 2016729 h 2457451"/>
              <a:gd name="connsiteX38" fmla="*/ 2639583 w 3851276"/>
              <a:gd name="connsiteY38" fmla="*/ 2016729 h 2457451"/>
              <a:gd name="connsiteX39" fmla="*/ 2651731 w 3851276"/>
              <a:gd name="connsiteY39" fmla="*/ 2004566 h 2457451"/>
              <a:gd name="connsiteX40" fmla="*/ 3137623 w 3851276"/>
              <a:gd name="connsiteY40" fmla="*/ 1587970 h 2457451"/>
              <a:gd name="connsiteX41" fmla="*/ 3623514 w 3851276"/>
              <a:gd name="connsiteY41" fmla="*/ 2004566 h 2457451"/>
              <a:gd name="connsiteX42" fmla="*/ 3635662 w 3851276"/>
              <a:gd name="connsiteY42" fmla="*/ 2016729 h 2457451"/>
              <a:gd name="connsiteX43" fmla="*/ 3714619 w 3851276"/>
              <a:gd name="connsiteY43" fmla="*/ 2016729 h 2457451"/>
              <a:gd name="connsiteX44" fmla="*/ 3729803 w 3851276"/>
              <a:gd name="connsiteY44" fmla="*/ 2001525 h 2457451"/>
              <a:gd name="connsiteX45" fmla="*/ 3729803 w 3851276"/>
              <a:gd name="connsiteY45" fmla="*/ 1274763 h 2457451"/>
              <a:gd name="connsiteX46" fmla="*/ 3726766 w 3851276"/>
              <a:gd name="connsiteY46" fmla="*/ 1265641 h 2457451"/>
              <a:gd name="connsiteX47" fmla="*/ 3626551 w 3851276"/>
              <a:gd name="connsiteY47" fmla="*/ 1147048 h 2457451"/>
              <a:gd name="connsiteX48" fmla="*/ 2915934 w 3851276"/>
              <a:gd name="connsiteY48" fmla="*/ 1147048 h 2457451"/>
              <a:gd name="connsiteX49" fmla="*/ 2779277 w 3851276"/>
              <a:gd name="connsiteY49" fmla="*/ 1013250 h 2457451"/>
              <a:gd name="connsiteX50" fmla="*/ 2779277 w 3851276"/>
              <a:gd name="connsiteY50" fmla="*/ 532797 h 2457451"/>
              <a:gd name="connsiteX51" fmla="*/ 2402829 w 3851276"/>
              <a:gd name="connsiteY51" fmla="*/ 532797 h 2457451"/>
              <a:gd name="connsiteX52" fmla="*/ 2397125 w 3851276"/>
              <a:gd name="connsiteY52" fmla="*/ 532797 h 2457451"/>
              <a:gd name="connsiteX53" fmla="*/ 2900363 w 3851276"/>
              <a:gd name="connsiteY53" fmla="*/ 531813 h 2457451"/>
              <a:gd name="connsiteX54" fmla="*/ 2900363 w 3851276"/>
              <a:gd name="connsiteY54" fmla="*/ 1013336 h 2457451"/>
              <a:gd name="connsiteX55" fmla="*/ 2915545 w 3851276"/>
              <a:gd name="connsiteY55" fmla="*/ 1025526 h 2457451"/>
              <a:gd name="connsiteX56" fmla="*/ 3525838 w 3851276"/>
              <a:gd name="connsiteY56" fmla="*/ 1025526 h 2457451"/>
              <a:gd name="connsiteX57" fmla="*/ 3115940 w 3851276"/>
              <a:gd name="connsiteY57" fmla="*/ 537908 h 2457451"/>
              <a:gd name="connsiteX58" fmla="*/ 3106831 w 3851276"/>
              <a:gd name="connsiteY58" fmla="*/ 531813 h 2457451"/>
              <a:gd name="connsiteX59" fmla="*/ 2900363 w 3851276"/>
              <a:gd name="connsiteY59" fmla="*/ 531813 h 2457451"/>
              <a:gd name="connsiteX60" fmla="*/ 135842 w 3851276"/>
              <a:gd name="connsiteY60" fmla="*/ 122238 h 2457451"/>
              <a:gd name="connsiteX61" fmla="*/ 120650 w 3851276"/>
              <a:gd name="connsiteY61" fmla="*/ 137438 h 2457451"/>
              <a:gd name="connsiteX62" fmla="*/ 120650 w 3851276"/>
              <a:gd name="connsiteY62" fmla="*/ 2000926 h 2457451"/>
              <a:gd name="connsiteX63" fmla="*/ 135842 w 3851276"/>
              <a:gd name="connsiteY63" fmla="*/ 2016126 h 2457451"/>
              <a:gd name="connsiteX64" fmla="*/ 327263 w 3851276"/>
              <a:gd name="connsiteY64" fmla="*/ 2016126 h 2457451"/>
              <a:gd name="connsiteX65" fmla="*/ 339416 w 3851276"/>
              <a:gd name="connsiteY65" fmla="*/ 2003966 h 2457451"/>
              <a:gd name="connsiteX66" fmla="*/ 825563 w 3851276"/>
              <a:gd name="connsiteY66" fmla="*/ 1587493 h 2457451"/>
              <a:gd name="connsiteX67" fmla="*/ 1308671 w 3851276"/>
              <a:gd name="connsiteY67" fmla="*/ 2003966 h 2457451"/>
              <a:gd name="connsiteX68" fmla="*/ 1323864 w 3851276"/>
              <a:gd name="connsiteY68" fmla="*/ 2016126 h 2457451"/>
              <a:gd name="connsiteX69" fmla="*/ 2259696 w 3851276"/>
              <a:gd name="connsiteY69" fmla="*/ 2016126 h 2457451"/>
              <a:gd name="connsiteX70" fmla="*/ 2274888 w 3851276"/>
              <a:gd name="connsiteY70" fmla="*/ 2000926 h 2457451"/>
              <a:gd name="connsiteX71" fmla="*/ 2274888 w 3851276"/>
              <a:gd name="connsiteY71" fmla="*/ 137438 h 2457451"/>
              <a:gd name="connsiteX72" fmla="*/ 2259696 w 3851276"/>
              <a:gd name="connsiteY72" fmla="*/ 122238 h 2457451"/>
              <a:gd name="connsiteX73" fmla="*/ 135842 w 3851276"/>
              <a:gd name="connsiteY73" fmla="*/ 122238 h 2457451"/>
              <a:gd name="connsiteX74" fmla="*/ 136718 w 3851276"/>
              <a:gd name="connsiteY74" fmla="*/ 0 h 2457451"/>
              <a:gd name="connsiteX75" fmla="*/ 2260407 w 3851276"/>
              <a:gd name="connsiteY75" fmla="*/ 0 h 2457451"/>
              <a:gd name="connsiteX76" fmla="*/ 2397125 w 3851276"/>
              <a:gd name="connsiteY76" fmla="*/ 136880 h 2457451"/>
              <a:gd name="connsiteX77" fmla="*/ 2397125 w 3851276"/>
              <a:gd name="connsiteY77" fmla="*/ 306281 h 2457451"/>
              <a:gd name="connsiteX78" fmla="*/ 2397125 w 3851276"/>
              <a:gd name="connsiteY78" fmla="*/ 411163 h 2457451"/>
              <a:gd name="connsiteX79" fmla="*/ 2426638 w 3851276"/>
              <a:gd name="connsiteY79" fmla="*/ 411163 h 2457451"/>
              <a:gd name="connsiteX80" fmla="*/ 3107254 w 3851276"/>
              <a:gd name="connsiteY80" fmla="*/ 411163 h 2457451"/>
              <a:gd name="connsiteX81" fmla="*/ 3210506 w 3851276"/>
              <a:gd name="connsiteY81" fmla="*/ 459817 h 2457451"/>
              <a:gd name="connsiteX82" fmla="*/ 3684251 w 3851276"/>
              <a:gd name="connsiteY82" fmla="*/ 1025414 h 2457451"/>
              <a:gd name="connsiteX83" fmla="*/ 3687288 w 3851276"/>
              <a:gd name="connsiteY83" fmla="*/ 1025414 h 2457451"/>
              <a:gd name="connsiteX84" fmla="*/ 3687288 w 3851276"/>
              <a:gd name="connsiteY84" fmla="*/ 1031496 h 2457451"/>
              <a:gd name="connsiteX85" fmla="*/ 3817871 w 3851276"/>
              <a:gd name="connsiteY85" fmla="*/ 1186579 h 2457451"/>
              <a:gd name="connsiteX86" fmla="*/ 3851276 w 3851276"/>
              <a:gd name="connsiteY86" fmla="*/ 1274763 h 2457451"/>
              <a:gd name="connsiteX87" fmla="*/ 3851276 w 3851276"/>
              <a:gd name="connsiteY87" fmla="*/ 2001525 h 2457451"/>
              <a:gd name="connsiteX88" fmla="*/ 3714619 w 3851276"/>
              <a:gd name="connsiteY88" fmla="*/ 2138363 h 2457451"/>
              <a:gd name="connsiteX89" fmla="*/ 3635662 w 3851276"/>
              <a:gd name="connsiteY89" fmla="*/ 2138363 h 2457451"/>
              <a:gd name="connsiteX90" fmla="*/ 3502041 w 3851276"/>
              <a:gd name="connsiteY90" fmla="*/ 2022811 h 2457451"/>
              <a:gd name="connsiteX91" fmla="*/ 3137623 w 3851276"/>
              <a:gd name="connsiteY91" fmla="*/ 1709604 h 2457451"/>
              <a:gd name="connsiteX92" fmla="*/ 2773204 w 3851276"/>
              <a:gd name="connsiteY92" fmla="*/ 2022811 h 2457451"/>
              <a:gd name="connsiteX93" fmla="*/ 2639583 w 3851276"/>
              <a:gd name="connsiteY93" fmla="*/ 2138363 h 2457451"/>
              <a:gd name="connsiteX94" fmla="*/ 2281238 w 3851276"/>
              <a:gd name="connsiteY94" fmla="*/ 2138363 h 2457451"/>
              <a:gd name="connsiteX95" fmla="*/ 2281238 w 3851276"/>
              <a:gd name="connsiteY95" fmla="*/ 2134192 h 2457451"/>
              <a:gd name="connsiteX96" fmla="*/ 2260407 w 3851276"/>
              <a:gd name="connsiteY96" fmla="*/ 2138363 h 2457451"/>
              <a:gd name="connsiteX97" fmla="*/ 1324647 w 3851276"/>
              <a:gd name="connsiteY97" fmla="*/ 2138363 h 2457451"/>
              <a:gd name="connsiteX98" fmla="*/ 1190967 w 3851276"/>
              <a:gd name="connsiteY98" fmla="*/ 2022776 h 2457451"/>
              <a:gd name="connsiteX99" fmla="*/ 826386 w 3851276"/>
              <a:gd name="connsiteY99" fmla="*/ 1709474 h 2457451"/>
              <a:gd name="connsiteX100" fmla="*/ 461804 w 3851276"/>
              <a:gd name="connsiteY100" fmla="*/ 2022776 h 2457451"/>
              <a:gd name="connsiteX101" fmla="*/ 328124 w 3851276"/>
              <a:gd name="connsiteY101" fmla="*/ 2138363 h 2457451"/>
              <a:gd name="connsiteX102" fmla="*/ 136718 w 3851276"/>
              <a:gd name="connsiteY102" fmla="*/ 2138363 h 2457451"/>
              <a:gd name="connsiteX103" fmla="*/ 0 w 3851276"/>
              <a:gd name="connsiteY103" fmla="*/ 2001484 h 2457451"/>
              <a:gd name="connsiteX104" fmla="*/ 0 w 3851276"/>
              <a:gd name="connsiteY104" fmla="*/ 136880 h 2457451"/>
              <a:gd name="connsiteX105" fmla="*/ 136718 w 3851276"/>
              <a:gd name="connsiteY105"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3137695 w 3851276"/>
              <a:gd name="connsiteY10" fmla="*/ 1879600 h 2457451"/>
              <a:gd name="connsiteX11" fmla="*/ 2909888 w 3851276"/>
              <a:gd name="connsiteY11" fmla="*/ 2107407 h 2457451"/>
              <a:gd name="connsiteX12" fmla="*/ 3137695 w 3851276"/>
              <a:gd name="connsiteY12" fmla="*/ 2335214 h 2457451"/>
              <a:gd name="connsiteX13" fmla="*/ 3365502 w 3851276"/>
              <a:gd name="connsiteY13" fmla="*/ 2107407 h 2457451"/>
              <a:gd name="connsiteX14" fmla="*/ 3137695 w 3851276"/>
              <a:gd name="connsiteY14" fmla="*/ 1879600 h 2457451"/>
              <a:gd name="connsiteX15" fmla="*/ 826295 w 3851276"/>
              <a:gd name="connsiteY15" fmla="*/ 1879600 h 2457451"/>
              <a:gd name="connsiteX16" fmla="*/ 598488 w 3851276"/>
              <a:gd name="connsiteY16" fmla="*/ 2107407 h 2457451"/>
              <a:gd name="connsiteX17" fmla="*/ 826295 w 3851276"/>
              <a:gd name="connsiteY17" fmla="*/ 2335214 h 2457451"/>
              <a:gd name="connsiteX18" fmla="*/ 1054102 w 3851276"/>
              <a:gd name="connsiteY18" fmla="*/ 2107407 h 2457451"/>
              <a:gd name="connsiteX19" fmla="*/ 826295 w 3851276"/>
              <a:gd name="connsiteY19" fmla="*/ 1879600 h 2457451"/>
              <a:gd name="connsiteX20" fmla="*/ 3136900 w 3851276"/>
              <a:gd name="connsiteY20" fmla="*/ 1757363 h 2457451"/>
              <a:gd name="connsiteX21" fmla="*/ 3486150 w 3851276"/>
              <a:gd name="connsiteY21" fmla="*/ 2107407 h 2457451"/>
              <a:gd name="connsiteX22" fmla="*/ 3136900 w 3851276"/>
              <a:gd name="connsiteY22" fmla="*/ 2457451 h 2457451"/>
              <a:gd name="connsiteX23" fmla="*/ 2787650 w 3851276"/>
              <a:gd name="connsiteY23" fmla="*/ 2107407 h 2457451"/>
              <a:gd name="connsiteX24" fmla="*/ 3136900 w 3851276"/>
              <a:gd name="connsiteY24" fmla="*/ 1757363 h 2457451"/>
              <a:gd name="connsiteX25" fmla="*/ 825500 w 3851276"/>
              <a:gd name="connsiteY25" fmla="*/ 1757363 h 2457451"/>
              <a:gd name="connsiteX26" fmla="*/ 1174750 w 3851276"/>
              <a:gd name="connsiteY26" fmla="*/ 2107407 h 2457451"/>
              <a:gd name="connsiteX27" fmla="*/ 825500 w 3851276"/>
              <a:gd name="connsiteY27" fmla="*/ 2457451 h 2457451"/>
              <a:gd name="connsiteX28" fmla="*/ 476250 w 3851276"/>
              <a:gd name="connsiteY28" fmla="*/ 2107407 h 2457451"/>
              <a:gd name="connsiteX29" fmla="*/ 825500 w 3851276"/>
              <a:gd name="connsiteY29" fmla="*/ 1757363 h 2457451"/>
              <a:gd name="connsiteX30" fmla="*/ 2397125 w 3851276"/>
              <a:gd name="connsiteY30" fmla="*/ 532797 h 2457451"/>
              <a:gd name="connsiteX31" fmla="*/ 2397125 w 3851276"/>
              <a:gd name="connsiteY31" fmla="*/ 613672 h 2457451"/>
              <a:gd name="connsiteX32" fmla="*/ 2397125 w 3851276"/>
              <a:gd name="connsiteY32" fmla="*/ 2001484 h 2457451"/>
              <a:gd name="connsiteX33" fmla="*/ 2394079 w 3851276"/>
              <a:gd name="connsiteY33" fmla="*/ 2016729 h 2457451"/>
              <a:gd name="connsiteX34" fmla="*/ 2399520 w 3851276"/>
              <a:gd name="connsiteY34" fmla="*/ 2016729 h 2457451"/>
              <a:gd name="connsiteX35" fmla="*/ 2639583 w 3851276"/>
              <a:gd name="connsiteY35" fmla="*/ 2016729 h 2457451"/>
              <a:gd name="connsiteX36" fmla="*/ 2651731 w 3851276"/>
              <a:gd name="connsiteY36" fmla="*/ 2004566 h 2457451"/>
              <a:gd name="connsiteX37" fmla="*/ 3137623 w 3851276"/>
              <a:gd name="connsiteY37" fmla="*/ 1587970 h 2457451"/>
              <a:gd name="connsiteX38" fmla="*/ 3623514 w 3851276"/>
              <a:gd name="connsiteY38" fmla="*/ 2004566 h 2457451"/>
              <a:gd name="connsiteX39" fmla="*/ 3635662 w 3851276"/>
              <a:gd name="connsiteY39" fmla="*/ 2016729 h 2457451"/>
              <a:gd name="connsiteX40" fmla="*/ 3714619 w 3851276"/>
              <a:gd name="connsiteY40" fmla="*/ 2016729 h 2457451"/>
              <a:gd name="connsiteX41" fmla="*/ 3729803 w 3851276"/>
              <a:gd name="connsiteY41" fmla="*/ 2001525 h 2457451"/>
              <a:gd name="connsiteX42" fmla="*/ 3729803 w 3851276"/>
              <a:gd name="connsiteY42" fmla="*/ 1274763 h 2457451"/>
              <a:gd name="connsiteX43" fmla="*/ 3726766 w 3851276"/>
              <a:gd name="connsiteY43" fmla="*/ 1265641 h 2457451"/>
              <a:gd name="connsiteX44" fmla="*/ 3626551 w 3851276"/>
              <a:gd name="connsiteY44" fmla="*/ 1147048 h 2457451"/>
              <a:gd name="connsiteX45" fmla="*/ 2915934 w 3851276"/>
              <a:gd name="connsiteY45" fmla="*/ 1147048 h 2457451"/>
              <a:gd name="connsiteX46" fmla="*/ 2779277 w 3851276"/>
              <a:gd name="connsiteY46" fmla="*/ 1013250 h 2457451"/>
              <a:gd name="connsiteX47" fmla="*/ 2779277 w 3851276"/>
              <a:gd name="connsiteY47" fmla="*/ 532797 h 2457451"/>
              <a:gd name="connsiteX48" fmla="*/ 2402829 w 3851276"/>
              <a:gd name="connsiteY48" fmla="*/ 532797 h 2457451"/>
              <a:gd name="connsiteX49" fmla="*/ 2397125 w 3851276"/>
              <a:gd name="connsiteY49" fmla="*/ 532797 h 2457451"/>
              <a:gd name="connsiteX50" fmla="*/ 2900363 w 3851276"/>
              <a:gd name="connsiteY50" fmla="*/ 531813 h 2457451"/>
              <a:gd name="connsiteX51" fmla="*/ 2900363 w 3851276"/>
              <a:gd name="connsiteY51" fmla="*/ 1013336 h 2457451"/>
              <a:gd name="connsiteX52" fmla="*/ 2915545 w 3851276"/>
              <a:gd name="connsiteY52" fmla="*/ 1025526 h 2457451"/>
              <a:gd name="connsiteX53" fmla="*/ 3525838 w 3851276"/>
              <a:gd name="connsiteY53" fmla="*/ 1025526 h 2457451"/>
              <a:gd name="connsiteX54" fmla="*/ 3115940 w 3851276"/>
              <a:gd name="connsiteY54" fmla="*/ 537908 h 2457451"/>
              <a:gd name="connsiteX55" fmla="*/ 3106831 w 3851276"/>
              <a:gd name="connsiteY55" fmla="*/ 531813 h 2457451"/>
              <a:gd name="connsiteX56" fmla="*/ 2900363 w 3851276"/>
              <a:gd name="connsiteY56" fmla="*/ 531813 h 2457451"/>
              <a:gd name="connsiteX57" fmla="*/ 135842 w 3851276"/>
              <a:gd name="connsiteY57" fmla="*/ 122238 h 2457451"/>
              <a:gd name="connsiteX58" fmla="*/ 120650 w 3851276"/>
              <a:gd name="connsiteY58" fmla="*/ 137438 h 2457451"/>
              <a:gd name="connsiteX59" fmla="*/ 120650 w 3851276"/>
              <a:gd name="connsiteY59" fmla="*/ 2000926 h 2457451"/>
              <a:gd name="connsiteX60" fmla="*/ 135842 w 3851276"/>
              <a:gd name="connsiteY60" fmla="*/ 2016126 h 2457451"/>
              <a:gd name="connsiteX61" fmla="*/ 327263 w 3851276"/>
              <a:gd name="connsiteY61" fmla="*/ 2016126 h 2457451"/>
              <a:gd name="connsiteX62" fmla="*/ 339416 w 3851276"/>
              <a:gd name="connsiteY62" fmla="*/ 2003966 h 2457451"/>
              <a:gd name="connsiteX63" fmla="*/ 825563 w 3851276"/>
              <a:gd name="connsiteY63" fmla="*/ 1587493 h 2457451"/>
              <a:gd name="connsiteX64" fmla="*/ 1308671 w 3851276"/>
              <a:gd name="connsiteY64" fmla="*/ 2003966 h 2457451"/>
              <a:gd name="connsiteX65" fmla="*/ 1323864 w 3851276"/>
              <a:gd name="connsiteY65" fmla="*/ 2016126 h 2457451"/>
              <a:gd name="connsiteX66" fmla="*/ 2259696 w 3851276"/>
              <a:gd name="connsiteY66" fmla="*/ 2016126 h 2457451"/>
              <a:gd name="connsiteX67" fmla="*/ 2274888 w 3851276"/>
              <a:gd name="connsiteY67" fmla="*/ 2000926 h 2457451"/>
              <a:gd name="connsiteX68" fmla="*/ 2274888 w 3851276"/>
              <a:gd name="connsiteY68" fmla="*/ 137438 h 2457451"/>
              <a:gd name="connsiteX69" fmla="*/ 2259696 w 3851276"/>
              <a:gd name="connsiteY69" fmla="*/ 122238 h 2457451"/>
              <a:gd name="connsiteX70" fmla="*/ 135842 w 3851276"/>
              <a:gd name="connsiteY70" fmla="*/ 122238 h 2457451"/>
              <a:gd name="connsiteX71" fmla="*/ 136718 w 3851276"/>
              <a:gd name="connsiteY71" fmla="*/ 0 h 2457451"/>
              <a:gd name="connsiteX72" fmla="*/ 2260407 w 3851276"/>
              <a:gd name="connsiteY72" fmla="*/ 0 h 2457451"/>
              <a:gd name="connsiteX73" fmla="*/ 2397125 w 3851276"/>
              <a:gd name="connsiteY73" fmla="*/ 136880 h 2457451"/>
              <a:gd name="connsiteX74" fmla="*/ 2397125 w 3851276"/>
              <a:gd name="connsiteY74" fmla="*/ 306281 h 2457451"/>
              <a:gd name="connsiteX75" fmla="*/ 2397125 w 3851276"/>
              <a:gd name="connsiteY75" fmla="*/ 411163 h 2457451"/>
              <a:gd name="connsiteX76" fmla="*/ 2426638 w 3851276"/>
              <a:gd name="connsiteY76" fmla="*/ 411163 h 2457451"/>
              <a:gd name="connsiteX77" fmla="*/ 3107254 w 3851276"/>
              <a:gd name="connsiteY77" fmla="*/ 411163 h 2457451"/>
              <a:gd name="connsiteX78" fmla="*/ 3210506 w 3851276"/>
              <a:gd name="connsiteY78" fmla="*/ 459817 h 2457451"/>
              <a:gd name="connsiteX79" fmla="*/ 3684251 w 3851276"/>
              <a:gd name="connsiteY79" fmla="*/ 1025414 h 2457451"/>
              <a:gd name="connsiteX80" fmla="*/ 3687288 w 3851276"/>
              <a:gd name="connsiteY80" fmla="*/ 1025414 h 2457451"/>
              <a:gd name="connsiteX81" fmla="*/ 3687288 w 3851276"/>
              <a:gd name="connsiteY81" fmla="*/ 1031496 h 2457451"/>
              <a:gd name="connsiteX82" fmla="*/ 3817871 w 3851276"/>
              <a:gd name="connsiteY82" fmla="*/ 1186579 h 2457451"/>
              <a:gd name="connsiteX83" fmla="*/ 3851276 w 3851276"/>
              <a:gd name="connsiteY83" fmla="*/ 1274763 h 2457451"/>
              <a:gd name="connsiteX84" fmla="*/ 3851276 w 3851276"/>
              <a:gd name="connsiteY84" fmla="*/ 2001525 h 2457451"/>
              <a:gd name="connsiteX85" fmla="*/ 3714619 w 3851276"/>
              <a:gd name="connsiteY85" fmla="*/ 2138363 h 2457451"/>
              <a:gd name="connsiteX86" fmla="*/ 3635662 w 3851276"/>
              <a:gd name="connsiteY86" fmla="*/ 2138363 h 2457451"/>
              <a:gd name="connsiteX87" fmla="*/ 3502041 w 3851276"/>
              <a:gd name="connsiteY87" fmla="*/ 2022811 h 2457451"/>
              <a:gd name="connsiteX88" fmla="*/ 3137623 w 3851276"/>
              <a:gd name="connsiteY88" fmla="*/ 1709604 h 2457451"/>
              <a:gd name="connsiteX89" fmla="*/ 2773204 w 3851276"/>
              <a:gd name="connsiteY89" fmla="*/ 2022811 h 2457451"/>
              <a:gd name="connsiteX90" fmla="*/ 2639583 w 3851276"/>
              <a:gd name="connsiteY90" fmla="*/ 2138363 h 2457451"/>
              <a:gd name="connsiteX91" fmla="*/ 2281238 w 3851276"/>
              <a:gd name="connsiteY91" fmla="*/ 2138363 h 2457451"/>
              <a:gd name="connsiteX92" fmla="*/ 2281238 w 3851276"/>
              <a:gd name="connsiteY92" fmla="*/ 2134192 h 2457451"/>
              <a:gd name="connsiteX93" fmla="*/ 2260407 w 3851276"/>
              <a:gd name="connsiteY93" fmla="*/ 2138363 h 2457451"/>
              <a:gd name="connsiteX94" fmla="*/ 1324647 w 3851276"/>
              <a:gd name="connsiteY94" fmla="*/ 2138363 h 2457451"/>
              <a:gd name="connsiteX95" fmla="*/ 1190967 w 3851276"/>
              <a:gd name="connsiteY95" fmla="*/ 2022776 h 2457451"/>
              <a:gd name="connsiteX96" fmla="*/ 826386 w 3851276"/>
              <a:gd name="connsiteY96" fmla="*/ 1709474 h 2457451"/>
              <a:gd name="connsiteX97" fmla="*/ 461804 w 3851276"/>
              <a:gd name="connsiteY97" fmla="*/ 2022776 h 2457451"/>
              <a:gd name="connsiteX98" fmla="*/ 328124 w 3851276"/>
              <a:gd name="connsiteY98" fmla="*/ 2138363 h 2457451"/>
              <a:gd name="connsiteX99" fmla="*/ 136718 w 3851276"/>
              <a:gd name="connsiteY99" fmla="*/ 2138363 h 2457451"/>
              <a:gd name="connsiteX100" fmla="*/ 0 w 3851276"/>
              <a:gd name="connsiteY100" fmla="*/ 2001484 h 2457451"/>
              <a:gd name="connsiteX101" fmla="*/ 0 w 3851276"/>
              <a:gd name="connsiteY101" fmla="*/ 136880 h 2457451"/>
              <a:gd name="connsiteX102" fmla="*/ 136718 w 3851276"/>
              <a:gd name="connsiteY102"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2992437 w 3851276"/>
              <a:gd name="connsiteY5" fmla="*/ 210820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5 w 3851276"/>
              <a:gd name="connsiteY9" fmla="*/ 1879600 h 2457451"/>
              <a:gd name="connsiteX10" fmla="*/ 2909888 w 3851276"/>
              <a:gd name="connsiteY10" fmla="*/ 2107407 h 2457451"/>
              <a:gd name="connsiteX11" fmla="*/ 3137695 w 3851276"/>
              <a:gd name="connsiteY11" fmla="*/ 2335214 h 2457451"/>
              <a:gd name="connsiteX12" fmla="*/ 3365502 w 3851276"/>
              <a:gd name="connsiteY12" fmla="*/ 2107407 h 2457451"/>
              <a:gd name="connsiteX13" fmla="*/ 3137695 w 3851276"/>
              <a:gd name="connsiteY13" fmla="*/ 1879600 h 2457451"/>
              <a:gd name="connsiteX14" fmla="*/ 826295 w 3851276"/>
              <a:gd name="connsiteY14" fmla="*/ 1879600 h 2457451"/>
              <a:gd name="connsiteX15" fmla="*/ 598488 w 3851276"/>
              <a:gd name="connsiteY15" fmla="*/ 2107407 h 2457451"/>
              <a:gd name="connsiteX16" fmla="*/ 826295 w 3851276"/>
              <a:gd name="connsiteY16" fmla="*/ 2335214 h 2457451"/>
              <a:gd name="connsiteX17" fmla="*/ 1054102 w 3851276"/>
              <a:gd name="connsiteY17" fmla="*/ 2107407 h 2457451"/>
              <a:gd name="connsiteX18" fmla="*/ 826295 w 3851276"/>
              <a:gd name="connsiteY18" fmla="*/ 1879600 h 2457451"/>
              <a:gd name="connsiteX19" fmla="*/ 3136900 w 3851276"/>
              <a:gd name="connsiteY19" fmla="*/ 1757363 h 2457451"/>
              <a:gd name="connsiteX20" fmla="*/ 3486150 w 3851276"/>
              <a:gd name="connsiteY20" fmla="*/ 2107407 h 2457451"/>
              <a:gd name="connsiteX21" fmla="*/ 3136900 w 3851276"/>
              <a:gd name="connsiteY21" fmla="*/ 2457451 h 2457451"/>
              <a:gd name="connsiteX22" fmla="*/ 2787650 w 3851276"/>
              <a:gd name="connsiteY22" fmla="*/ 2107407 h 2457451"/>
              <a:gd name="connsiteX23" fmla="*/ 3136900 w 3851276"/>
              <a:gd name="connsiteY23" fmla="*/ 1757363 h 2457451"/>
              <a:gd name="connsiteX24" fmla="*/ 825500 w 3851276"/>
              <a:gd name="connsiteY24" fmla="*/ 1757363 h 2457451"/>
              <a:gd name="connsiteX25" fmla="*/ 1174750 w 3851276"/>
              <a:gd name="connsiteY25" fmla="*/ 2107407 h 2457451"/>
              <a:gd name="connsiteX26" fmla="*/ 825500 w 3851276"/>
              <a:gd name="connsiteY26" fmla="*/ 2457451 h 2457451"/>
              <a:gd name="connsiteX27" fmla="*/ 476250 w 3851276"/>
              <a:gd name="connsiteY27" fmla="*/ 2107407 h 2457451"/>
              <a:gd name="connsiteX28" fmla="*/ 825500 w 3851276"/>
              <a:gd name="connsiteY28" fmla="*/ 1757363 h 2457451"/>
              <a:gd name="connsiteX29" fmla="*/ 2397125 w 3851276"/>
              <a:gd name="connsiteY29" fmla="*/ 532797 h 2457451"/>
              <a:gd name="connsiteX30" fmla="*/ 2397125 w 3851276"/>
              <a:gd name="connsiteY30" fmla="*/ 613672 h 2457451"/>
              <a:gd name="connsiteX31" fmla="*/ 2397125 w 3851276"/>
              <a:gd name="connsiteY31" fmla="*/ 2001484 h 2457451"/>
              <a:gd name="connsiteX32" fmla="*/ 2394079 w 3851276"/>
              <a:gd name="connsiteY32" fmla="*/ 2016729 h 2457451"/>
              <a:gd name="connsiteX33" fmla="*/ 2399520 w 3851276"/>
              <a:gd name="connsiteY33" fmla="*/ 2016729 h 2457451"/>
              <a:gd name="connsiteX34" fmla="*/ 2639583 w 3851276"/>
              <a:gd name="connsiteY34" fmla="*/ 2016729 h 2457451"/>
              <a:gd name="connsiteX35" fmla="*/ 2651731 w 3851276"/>
              <a:gd name="connsiteY35" fmla="*/ 2004566 h 2457451"/>
              <a:gd name="connsiteX36" fmla="*/ 3137623 w 3851276"/>
              <a:gd name="connsiteY36" fmla="*/ 1587970 h 2457451"/>
              <a:gd name="connsiteX37" fmla="*/ 3623514 w 3851276"/>
              <a:gd name="connsiteY37" fmla="*/ 2004566 h 2457451"/>
              <a:gd name="connsiteX38" fmla="*/ 3635662 w 3851276"/>
              <a:gd name="connsiteY38" fmla="*/ 2016729 h 2457451"/>
              <a:gd name="connsiteX39" fmla="*/ 3714619 w 3851276"/>
              <a:gd name="connsiteY39" fmla="*/ 2016729 h 2457451"/>
              <a:gd name="connsiteX40" fmla="*/ 3729803 w 3851276"/>
              <a:gd name="connsiteY40" fmla="*/ 2001525 h 2457451"/>
              <a:gd name="connsiteX41" fmla="*/ 3729803 w 3851276"/>
              <a:gd name="connsiteY41" fmla="*/ 1274763 h 2457451"/>
              <a:gd name="connsiteX42" fmla="*/ 3726766 w 3851276"/>
              <a:gd name="connsiteY42" fmla="*/ 1265641 h 2457451"/>
              <a:gd name="connsiteX43" fmla="*/ 3626551 w 3851276"/>
              <a:gd name="connsiteY43" fmla="*/ 1147048 h 2457451"/>
              <a:gd name="connsiteX44" fmla="*/ 2915934 w 3851276"/>
              <a:gd name="connsiteY44" fmla="*/ 1147048 h 2457451"/>
              <a:gd name="connsiteX45" fmla="*/ 2779277 w 3851276"/>
              <a:gd name="connsiteY45" fmla="*/ 1013250 h 2457451"/>
              <a:gd name="connsiteX46" fmla="*/ 2779277 w 3851276"/>
              <a:gd name="connsiteY46" fmla="*/ 532797 h 2457451"/>
              <a:gd name="connsiteX47" fmla="*/ 2402829 w 3851276"/>
              <a:gd name="connsiteY47" fmla="*/ 532797 h 2457451"/>
              <a:gd name="connsiteX48" fmla="*/ 2397125 w 3851276"/>
              <a:gd name="connsiteY48" fmla="*/ 532797 h 2457451"/>
              <a:gd name="connsiteX49" fmla="*/ 2900363 w 3851276"/>
              <a:gd name="connsiteY49" fmla="*/ 531813 h 2457451"/>
              <a:gd name="connsiteX50" fmla="*/ 2900363 w 3851276"/>
              <a:gd name="connsiteY50" fmla="*/ 1013336 h 2457451"/>
              <a:gd name="connsiteX51" fmla="*/ 2915545 w 3851276"/>
              <a:gd name="connsiteY51" fmla="*/ 1025526 h 2457451"/>
              <a:gd name="connsiteX52" fmla="*/ 3525838 w 3851276"/>
              <a:gd name="connsiteY52" fmla="*/ 1025526 h 2457451"/>
              <a:gd name="connsiteX53" fmla="*/ 3115940 w 3851276"/>
              <a:gd name="connsiteY53" fmla="*/ 537908 h 2457451"/>
              <a:gd name="connsiteX54" fmla="*/ 3106831 w 3851276"/>
              <a:gd name="connsiteY54" fmla="*/ 531813 h 2457451"/>
              <a:gd name="connsiteX55" fmla="*/ 2900363 w 3851276"/>
              <a:gd name="connsiteY55" fmla="*/ 531813 h 2457451"/>
              <a:gd name="connsiteX56" fmla="*/ 135842 w 3851276"/>
              <a:gd name="connsiteY56" fmla="*/ 122238 h 2457451"/>
              <a:gd name="connsiteX57" fmla="*/ 120650 w 3851276"/>
              <a:gd name="connsiteY57" fmla="*/ 137438 h 2457451"/>
              <a:gd name="connsiteX58" fmla="*/ 120650 w 3851276"/>
              <a:gd name="connsiteY58" fmla="*/ 2000926 h 2457451"/>
              <a:gd name="connsiteX59" fmla="*/ 135842 w 3851276"/>
              <a:gd name="connsiteY59" fmla="*/ 2016126 h 2457451"/>
              <a:gd name="connsiteX60" fmla="*/ 327263 w 3851276"/>
              <a:gd name="connsiteY60" fmla="*/ 2016126 h 2457451"/>
              <a:gd name="connsiteX61" fmla="*/ 339416 w 3851276"/>
              <a:gd name="connsiteY61" fmla="*/ 2003966 h 2457451"/>
              <a:gd name="connsiteX62" fmla="*/ 825563 w 3851276"/>
              <a:gd name="connsiteY62" fmla="*/ 1587493 h 2457451"/>
              <a:gd name="connsiteX63" fmla="*/ 1308671 w 3851276"/>
              <a:gd name="connsiteY63" fmla="*/ 2003966 h 2457451"/>
              <a:gd name="connsiteX64" fmla="*/ 1323864 w 3851276"/>
              <a:gd name="connsiteY64" fmla="*/ 2016126 h 2457451"/>
              <a:gd name="connsiteX65" fmla="*/ 2259696 w 3851276"/>
              <a:gd name="connsiteY65" fmla="*/ 2016126 h 2457451"/>
              <a:gd name="connsiteX66" fmla="*/ 2274888 w 3851276"/>
              <a:gd name="connsiteY66" fmla="*/ 2000926 h 2457451"/>
              <a:gd name="connsiteX67" fmla="*/ 2274888 w 3851276"/>
              <a:gd name="connsiteY67" fmla="*/ 137438 h 2457451"/>
              <a:gd name="connsiteX68" fmla="*/ 2259696 w 3851276"/>
              <a:gd name="connsiteY68" fmla="*/ 122238 h 2457451"/>
              <a:gd name="connsiteX69" fmla="*/ 135842 w 3851276"/>
              <a:gd name="connsiteY69" fmla="*/ 122238 h 2457451"/>
              <a:gd name="connsiteX70" fmla="*/ 136718 w 3851276"/>
              <a:gd name="connsiteY70" fmla="*/ 0 h 2457451"/>
              <a:gd name="connsiteX71" fmla="*/ 2260407 w 3851276"/>
              <a:gd name="connsiteY71" fmla="*/ 0 h 2457451"/>
              <a:gd name="connsiteX72" fmla="*/ 2397125 w 3851276"/>
              <a:gd name="connsiteY72" fmla="*/ 136880 h 2457451"/>
              <a:gd name="connsiteX73" fmla="*/ 2397125 w 3851276"/>
              <a:gd name="connsiteY73" fmla="*/ 306281 h 2457451"/>
              <a:gd name="connsiteX74" fmla="*/ 2397125 w 3851276"/>
              <a:gd name="connsiteY74" fmla="*/ 411163 h 2457451"/>
              <a:gd name="connsiteX75" fmla="*/ 2426638 w 3851276"/>
              <a:gd name="connsiteY75" fmla="*/ 411163 h 2457451"/>
              <a:gd name="connsiteX76" fmla="*/ 3107254 w 3851276"/>
              <a:gd name="connsiteY76" fmla="*/ 411163 h 2457451"/>
              <a:gd name="connsiteX77" fmla="*/ 3210506 w 3851276"/>
              <a:gd name="connsiteY77" fmla="*/ 459817 h 2457451"/>
              <a:gd name="connsiteX78" fmla="*/ 3684251 w 3851276"/>
              <a:gd name="connsiteY78" fmla="*/ 1025414 h 2457451"/>
              <a:gd name="connsiteX79" fmla="*/ 3687288 w 3851276"/>
              <a:gd name="connsiteY79" fmla="*/ 1025414 h 2457451"/>
              <a:gd name="connsiteX80" fmla="*/ 3687288 w 3851276"/>
              <a:gd name="connsiteY80" fmla="*/ 1031496 h 2457451"/>
              <a:gd name="connsiteX81" fmla="*/ 3817871 w 3851276"/>
              <a:gd name="connsiteY81" fmla="*/ 1186579 h 2457451"/>
              <a:gd name="connsiteX82" fmla="*/ 3851276 w 3851276"/>
              <a:gd name="connsiteY82" fmla="*/ 1274763 h 2457451"/>
              <a:gd name="connsiteX83" fmla="*/ 3851276 w 3851276"/>
              <a:gd name="connsiteY83" fmla="*/ 2001525 h 2457451"/>
              <a:gd name="connsiteX84" fmla="*/ 3714619 w 3851276"/>
              <a:gd name="connsiteY84" fmla="*/ 2138363 h 2457451"/>
              <a:gd name="connsiteX85" fmla="*/ 3635662 w 3851276"/>
              <a:gd name="connsiteY85" fmla="*/ 2138363 h 2457451"/>
              <a:gd name="connsiteX86" fmla="*/ 3502041 w 3851276"/>
              <a:gd name="connsiteY86" fmla="*/ 2022811 h 2457451"/>
              <a:gd name="connsiteX87" fmla="*/ 3137623 w 3851276"/>
              <a:gd name="connsiteY87" fmla="*/ 1709604 h 2457451"/>
              <a:gd name="connsiteX88" fmla="*/ 2773204 w 3851276"/>
              <a:gd name="connsiteY88" fmla="*/ 2022811 h 2457451"/>
              <a:gd name="connsiteX89" fmla="*/ 2639583 w 3851276"/>
              <a:gd name="connsiteY89" fmla="*/ 2138363 h 2457451"/>
              <a:gd name="connsiteX90" fmla="*/ 2281238 w 3851276"/>
              <a:gd name="connsiteY90" fmla="*/ 2138363 h 2457451"/>
              <a:gd name="connsiteX91" fmla="*/ 2281238 w 3851276"/>
              <a:gd name="connsiteY91" fmla="*/ 2134192 h 2457451"/>
              <a:gd name="connsiteX92" fmla="*/ 2260407 w 3851276"/>
              <a:gd name="connsiteY92" fmla="*/ 2138363 h 2457451"/>
              <a:gd name="connsiteX93" fmla="*/ 1324647 w 3851276"/>
              <a:gd name="connsiteY93" fmla="*/ 2138363 h 2457451"/>
              <a:gd name="connsiteX94" fmla="*/ 1190967 w 3851276"/>
              <a:gd name="connsiteY94" fmla="*/ 2022776 h 2457451"/>
              <a:gd name="connsiteX95" fmla="*/ 826386 w 3851276"/>
              <a:gd name="connsiteY95" fmla="*/ 1709474 h 2457451"/>
              <a:gd name="connsiteX96" fmla="*/ 461804 w 3851276"/>
              <a:gd name="connsiteY96" fmla="*/ 2022776 h 2457451"/>
              <a:gd name="connsiteX97" fmla="*/ 328124 w 3851276"/>
              <a:gd name="connsiteY97" fmla="*/ 2138363 h 2457451"/>
              <a:gd name="connsiteX98" fmla="*/ 136718 w 3851276"/>
              <a:gd name="connsiteY98" fmla="*/ 2138363 h 2457451"/>
              <a:gd name="connsiteX99" fmla="*/ 0 w 3851276"/>
              <a:gd name="connsiteY99" fmla="*/ 2001484 h 2457451"/>
              <a:gd name="connsiteX100" fmla="*/ 0 w 3851276"/>
              <a:gd name="connsiteY100" fmla="*/ 136880 h 2457451"/>
              <a:gd name="connsiteX101" fmla="*/ 136718 w 3851276"/>
              <a:gd name="connsiteY101" fmla="*/ 0 h 2457451"/>
              <a:gd name="connsiteX0" fmla="*/ 3162301 w 3851276"/>
              <a:gd name="connsiteY0" fmla="*/ 2107407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2992437 w 3851276"/>
              <a:gd name="connsiteY4" fmla="*/ 2108200 h 2457451"/>
              <a:gd name="connsiteX5" fmla="*/ 3282951 w 3851276"/>
              <a:gd name="connsiteY5" fmla="*/ 2108200 h 2457451"/>
              <a:gd name="connsiteX6" fmla="*/ 3137694 w 3851276"/>
              <a:gd name="connsiteY6" fmla="*/ 2254250 h 2457451"/>
              <a:gd name="connsiteX7" fmla="*/ 2992437 w 3851276"/>
              <a:gd name="connsiteY7" fmla="*/ 2108200 h 2457451"/>
              <a:gd name="connsiteX8" fmla="*/ 3137695 w 3851276"/>
              <a:gd name="connsiteY8" fmla="*/ 1879600 h 2457451"/>
              <a:gd name="connsiteX9" fmla="*/ 2909888 w 3851276"/>
              <a:gd name="connsiteY9" fmla="*/ 2107407 h 2457451"/>
              <a:gd name="connsiteX10" fmla="*/ 3137695 w 3851276"/>
              <a:gd name="connsiteY10" fmla="*/ 2335214 h 2457451"/>
              <a:gd name="connsiteX11" fmla="*/ 3365502 w 3851276"/>
              <a:gd name="connsiteY11" fmla="*/ 2107407 h 2457451"/>
              <a:gd name="connsiteX12" fmla="*/ 3137695 w 3851276"/>
              <a:gd name="connsiteY12" fmla="*/ 1879600 h 2457451"/>
              <a:gd name="connsiteX13" fmla="*/ 826295 w 3851276"/>
              <a:gd name="connsiteY13" fmla="*/ 1879600 h 2457451"/>
              <a:gd name="connsiteX14" fmla="*/ 598488 w 3851276"/>
              <a:gd name="connsiteY14" fmla="*/ 2107407 h 2457451"/>
              <a:gd name="connsiteX15" fmla="*/ 826295 w 3851276"/>
              <a:gd name="connsiteY15" fmla="*/ 2335214 h 2457451"/>
              <a:gd name="connsiteX16" fmla="*/ 1054102 w 3851276"/>
              <a:gd name="connsiteY16" fmla="*/ 2107407 h 2457451"/>
              <a:gd name="connsiteX17" fmla="*/ 826295 w 3851276"/>
              <a:gd name="connsiteY17" fmla="*/ 1879600 h 2457451"/>
              <a:gd name="connsiteX18" fmla="*/ 3136900 w 3851276"/>
              <a:gd name="connsiteY18" fmla="*/ 1757363 h 2457451"/>
              <a:gd name="connsiteX19" fmla="*/ 3486150 w 3851276"/>
              <a:gd name="connsiteY19" fmla="*/ 2107407 h 2457451"/>
              <a:gd name="connsiteX20" fmla="*/ 3136900 w 3851276"/>
              <a:gd name="connsiteY20" fmla="*/ 2457451 h 2457451"/>
              <a:gd name="connsiteX21" fmla="*/ 2787650 w 3851276"/>
              <a:gd name="connsiteY21" fmla="*/ 2107407 h 2457451"/>
              <a:gd name="connsiteX22" fmla="*/ 3136900 w 3851276"/>
              <a:gd name="connsiteY22" fmla="*/ 1757363 h 2457451"/>
              <a:gd name="connsiteX23" fmla="*/ 825500 w 3851276"/>
              <a:gd name="connsiteY23" fmla="*/ 1757363 h 2457451"/>
              <a:gd name="connsiteX24" fmla="*/ 1174750 w 3851276"/>
              <a:gd name="connsiteY24" fmla="*/ 2107407 h 2457451"/>
              <a:gd name="connsiteX25" fmla="*/ 825500 w 3851276"/>
              <a:gd name="connsiteY25" fmla="*/ 2457451 h 2457451"/>
              <a:gd name="connsiteX26" fmla="*/ 476250 w 3851276"/>
              <a:gd name="connsiteY26" fmla="*/ 2107407 h 2457451"/>
              <a:gd name="connsiteX27" fmla="*/ 825500 w 3851276"/>
              <a:gd name="connsiteY27" fmla="*/ 1757363 h 2457451"/>
              <a:gd name="connsiteX28" fmla="*/ 2397125 w 3851276"/>
              <a:gd name="connsiteY28" fmla="*/ 532797 h 2457451"/>
              <a:gd name="connsiteX29" fmla="*/ 2397125 w 3851276"/>
              <a:gd name="connsiteY29" fmla="*/ 613672 h 2457451"/>
              <a:gd name="connsiteX30" fmla="*/ 2397125 w 3851276"/>
              <a:gd name="connsiteY30" fmla="*/ 2001484 h 2457451"/>
              <a:gd name="connsiteX31" fmla="*/ 2394079 w 3851276"/>
              <a:gd name="connsiteY31" fmla="*/ 2016729 h 2457451"/>
              <a:gd name="connsiteX32" fmla="*/ 2399520 w 3851276"/>
              <a:gd name="connsiteY32" fmla="*/ 2016729 h 2457451"/>
              <a:gd name="connsiteX33" fmla="*/ 2639583 w 3851276"/>
              <a:gd name="connsiteY33" fmla="*/ 2016729 h 2457451"/>
              <a:gd name="connsiteX34" fmla="*/ 2651731 w 3851276"/>
              <a:gd name="connsiteY34" fmla="*/ 2004566 h 2457451"/>
              <a:gd name="connsiteX35" fmla="*/ 3137623 w 3851276"/>
              <a:gd name="connsiteY35" fmla="*/ 1587970 h 2457451"/>
              <a:gd name="connsiteX36" fmla="*/ 3623514 w 3851276"/>
              <a:gd name="connsiteY36" fmla="*/ 2004566 h 2457451"/>
              <a:gd name="connsiteX37" fmla="*/ 3635662 w 3851276"/>
              <a:gd name="connsiteY37" fmla="*/ 2016729 h 2457451"/>
              <a:gd name="connsiteX38" fmla="*/ 3714619 w 3851276"/>
              <a:gd name="connsiteY38" fmla="*/ 2016729 h 2457451"/>
              <a:gd name="connsiteX39" fmla="*/ 3729803 w 3851276"/>
              <a:gd name="connsiteY39" fmla="*/ 2001525 h 2457451"/>
              <a:gd name="connsiteX40" fmla="*/ 3729803 w 3851276"/>
              <a:gd name="connsiteY40" fmla="*/ 1274763 h 2457451"/>
              <a:gd name="connsiteX41" fmla="*/ 3726766 w 3851276"/>
              <a:gd name="connsiteY41" fmla="*/ 1265641 h 2457451"/>
              <a:gd name="connsiteX42" fmla="*/ 3626551 w 3851276"/>
              <a:gd name="connsiteY42" fmla="*/ 1147048 h 2457451"/>
              <a:gd name="connsiteX43" fmla="*/ 2915934 w 3851276"/>
              <a:gd name="connsiteY43" fmla="*/ 1147048 h 2457451"/>
              <a:gd name="connsiteX44" fmla="*/ 2779277 w 3851276"/>
              <a:gd name="connsiteY44" fmla="*/ 1013250 h 2457451"/>
              <a:gd name="connsiteX45" fmla="*/ 2779277 w 3851276"/>
              <a:gd name="connsiteY45" fmla="*/ 532797 h 2457451"/>
              <a:gd name="connsiteX46" fmla="*/ 2402829 w 3851276"/>
              <a:gd name="connsiteY46" fmla="*/ 532797 h 2457451"/>
              <a:gd name="connsiteX47" fmla="*/ 2397125 w 3851276"/>
              <a:gd name="connsiteY47" fmla="*/ 532797 h 2457451"/>
              <a:gd name="connsiteX48" fmla="*/ 2900363 w 3851276"/>
              <a:gd name="connsiteY48" fmla="*/ 531813 h 2457451"/>
              <a:gd name="connsiteX49" fmla="*/ 2900363 w 3851276"/>
              <a:gd name="connsiteY49" fmla="*/ 1013336 h 2457451"/>
              <a:gd name="connsiteX50" fmla="*/ 2915545 w 3851276"/>
              <a:gd name="connsiteY50" fmla="*/ 1025526 h 2457451"/>
              <a:gd name="connsiteX51" fmla="*/ 3525838 w 3851276"/>
              <a:gd name="connsiteY51" fmla="*/ 1025526 h 2457451"/>
              <a:gd name="connsiteX52" fmla="*/ 3115940 w 3851276"/>
              <a:gd name="connsiteY52" fmla="*/ 537908 h 2457451"/>
              <a:gd name="connsiteX53" fmla="*/ 3106831 w 3851276"/>
              <a:gd name="connsiteY53" fmla="*/ 531813 h 2457451"/>
              <a:gd name="connsiteX54" fmla="*/ 2900363 w 3851276"/>
              <a:gd name="connsiteY54" fmla="*/ 531813 h 2457451"/>
              <a:gd name="connsiteX55" fmla="*/ 135842 w 3851276"/>
              <a:gd name="connsiteY55" fmla="*/ 122238 h 2457451"/>
              <a:gd name="connsiteX56" fmla="*/ 120650 w 3851276"/>
              <a:gd name="connsiteY56" fmla="*/ 137438 h 2457451"/>
              <a:gd name="connsiteX57" fmla="*/ 120650 w 3851276"/>
              <a:gd name="connsiteY57" fmla="*/ 2000926 h 2457451"/>
              <a:gd name="connsiteX58" fmla="*/ 135842 w 3851276"/>
              <a:gd name="connsiteY58" fmla="*/ 2016126 h 2457451"/>
              <a:gd name="connsiteX59" fmla="*/ 327263 w 3851276"/>
              <a:gd name="connsiteY59" fmla="*/ 2016126 h 2457451"/>
              <a:gd name="connsiteX60" fmla="*/ 339416 w 3851276"/>
              <a:gd name="connsiteY60" fmla="*/ 2003966 h 2457451"/>
              <a:gd name="connsiteX61" fmla="*/ 825563 w 3851276"/>
              <a:gd name="connsiteY61" fmla="*/ 1587493 h 2457451"/>
              <a:gd name="connsiteX62" fmla="*/ 1308671 w 3851276"/>
              <a:gd name="connsiteY62" fmla="*/ 2003966 h 2457451"/>
              <a:gd name="connsiteX63" fmla="*/ 1323864 w 3851276"/>
              <a:gd name="connsiteY63" fmla="*/ 2016126 h 2457451"/>
              <a:gd name="connsiteX64" fmla="*/ 2259696 w 3851276"/>
              <a:gd name="connsiteY64" fmla="*/ 2016126 h 2457451"/>
              <a:gd name="connsiteX65" fmla="*/ 2274888 w 3851276"/>
              <a:gd name="connsiteY65" fmla="*/ 2000926 h 2457451"/>
              <a:gd name="connsiteX66" fmla="*/ 2274888 w 3851276"/>
              <a:gd name="connsiteY66" fmla="*/ 137438 h 2457451"/>
              <a:gd name="connsiteX67" fmla="*/ 2259696 w 3851276"/>
              <a:gd name="connsiteY67" fmla="*/ 122238 h 2457451"/>
              <a:gd name="connsiteX68" fmla="*/ 135842 w 3851276"/>
              <a:gd name="connsiteY68" fmla="*/ 122238 h 2457451"/>
              <a:gd name="connsiteX69" fmla="*/ 136718 w 3851276"/>
              <a:gd name="connsiteY69" fmla="*/ 0 h 2457451"/>
              <a:gd name="connsiteX70" fmla="*/ 2260407 w 3851276"/>
              <a:gd name="connsiteY70" fmla="*/ 0 h 2457451"/>
              <a:gd name="connsiteX71" fmla="*/ 2397125 w 3851276"/>
              <a:gd name="connsiteY71" fmla="*/ 136880 h 2457451"/>
              <a:gd name="connsiteX72" fmla="*/ 2397125 w 3851276"/>
              <a:gd name="connsiteY72" fmla="*/ 306281 h 2457451"/>
              <a:gd name="connsiteX73" fmla="*/ 2397125 w 3851276"/>
              <a:gd name="connsiteY73" fmla="*/ 411163 h 2457451"/>
              <a:gd name="connsiteX74" fmla="*/ 2426638 w 3851276"/>
              <a:gd name="connsiteY74" fmla="*/ 411163 h 2457451"/>
              <a:gd name="connsiteX75" fmla="*/ 3107254 w 3851276"/>
              <a:gd name="connsiteY75" fmla="*/ 411163 h 2457451"/>
              <a:gd name="connsiteX76" fmla="*/ 3210506 w 3851276"/>
              <a:gd name="connsiteY76" fmla="*/ 459817 h 2457451"/>
              <a:gd name="connsiteX77" fmla="*/ 3684251 w 3851276"/>
              <a:gd name="connsiteY77" fmla="*/ 1025414 h 2457451"/>
              <a:gd name="connsiteX78" fmla="*/ 3687288 w 3851276"/>
              <a:gd name="connsiteY78" fmla="*/ 1025414 h 2457451"/>
              <a:gd name="connsiteX79" fmla="*/ 3687288 w 3851276"/>
              <a:gd name="connsiteY79" fmla="*/ 1031496 h 2457451"/>
              <a:gd name="connsiteX80" fmla="*/ 3817871 w 3851276"/>
              <a:gd name="connsiteY80" fmla="*/ 1186579 h 2457451"/>
              <a:gd name="connsiteX81" fmla="*/ 3851276 w 3851276"/>
              <a:gd name="connsiteY81" fmla="*/ 1274763 h 2457451"/>
              <a:gd name="connsiteX82" fmla="*/ 3851276 w 3851276"/>
              <a:gd name="connsiteY82" fmla="*/ 2001525 h 2457451"/>
              <a:gd name="connsiteX83" fmla="*/ 3714619 w 3851276"/>
              <a:gd name="connsiteY83" fmla="*/ 2138363 h 2457451"/>
              <a:gd name="connsiteX84" fmla="*/ 3635662 w 3851276"/>
              <a:gd name="connsiteY84" fmla="*/ 2138363 h 2457451"/>
              <a:gd name="connsiteX85" fmla="*/ 3502041 w 3851276"/>
              <a:gd name="connsiteY85" fmla="*/ 2022811 h 2457451"/>
              <a:gd name="connsiteX86" fmla="*/ 3137623 w 3851276"/>
              <a:gd name="connsiteY86" fmla="*/ 1709604 h 2457451"/>
              <a:gd name="connsiteX87" fmla="*/ 2773204 w 3851276"/>
              <a:gd name="connsiteY87" fmla="*/ 2022811 h 2457451"/>
              <a:gd name="connsiteX88" fmla="*/ 2639583 w 3851276"/>
              <a:gd name="connsiteY88" fmla="*/ 2138363 h 2457451"/>
              <a:gd name="connsiteX89" fmla="*/ 2281238 w 3851276"/>
              <a:gd name="connsiteY89" fmla="*/ 2138363 h 2457451"/>
              <a:gd name="connsiteX90" fmla="*/ 2281238 w 3851276"/>
              <a:gd name="connsiteY90" fmla="*/ 2134192 h 2457451"/>
              <a:gd name="connsiteX91" fmla="*/ 2260407 w 3851276"/>
              <a:gd name="connsiteY91" fmla="*/ 2138363 h 2457451"/>
              <a:gd name="connsiteX92" fmla="*/ 1324647 w 3851276"/>
              <a:gd name="connsiteY92" fmla="*/ 2138363 h 2457451"/>
              <a:gd name="connsiteX93" fmla="*/ 1190967 w 3851276"/>
              <a:gd name="connsiteY93" fmla="*/ 2022776 h 2457451"/>
              <a:gd name="connsiteX94" fmla="*/ 826386 w 3851276"/>
              <a:gd name="connsiteY94" fmla="*/ 1709474 h 2457451"/>
              <a:gd name="connsiteX95" fmla="*/ 461804 w 3851276"/>
              <a:gd name="connsiteY95" fmla="*/ 2022776 h 2457451"/>
              <a:gd name="connsiteX96" fmla="*/ 328124 w 3851276"/>
              <a:gd name="connsiteY96" fmla="*/ 2138363 h 2457451"/>
              <a:gd name="connsiteX97" fmla="*/ 136718 w 3851276"/>
              <a:gd name="connsiteY97" fmla="*/ 2138363 h 2457451"/>
              <a:gd name="connsiteX98" fmla="*/ 0 w 3851276"/>
              <a:gd name="connsiteY98" fmla="*/ 2001484 h 2457451"/>
              <a:gd name="connsiteX99" fmla="*/ 0 w 3851276"/>
              <a:gd name="connsiteY99" fmla="*/ 136880 h 2457451"/>
              <a:gd name="connsiteX100" fmla="*/ 136718 w 3851276"/>
              <a:gd name="connsiteY100" fmla="*/ 0 h 2457451"/>
              <a:gd name="connsiteX0" fmla="*/ 3137694 w 3851276"/>
              <a:gd name="connsiteY0" fmla="*/ 2132014 h 2457451"/>
              <a:gd name="connsiteX1" fmla="*/ 3113087 w 3851276"/>
              <a:gd name="connsiteY1" fmla="*/ 2107407 h 2457451"/>
              <a:gd name="connsiteX2" fmla="*/ 3137694 w 3851276"/>
              <a:gd name="connsiteY2" fmla="*/ 2132014 h 2457451"/>
              <a:gd name="connsiteX3" fmla="*/ 2992437 w 3851276"/>
              <a:gd name="connsiteY3" fmla="*/ 2108200 h 2457451"/>
              <a:gd name="connsiteX4" fmla="*/ 3282951 w 3851276"/>
              <a:gd name="connsiteY4" fmla="*/ 2108200 h 2457451"/>
              <a:gd name="connsiteX5" fmla="*/ 3137694 w 3851276"/>
              <a:gd name="connsiteY5" fmla="*/ 2254250 h 2457451"/>
              <a:gd name="connsiteX6" fmla="*/ 2992437 w 3851276"/>
              <a:gd name="connsiteY6" fmla="*/ 2108200 h 2457451"/>
              <a:gd name="connsiteX7" fmla="*/ 3137695 w 3851276"/>
              <a:gd name="connsiteY7" fmla="*/ 1879600 h 2457451"/>
              <a:gd name="connsiteX8" fmla="*/ 2909888 w 3851276"/>
              <a:gd name="connsiteY8" fmla="*/ 2107407 h 2457451"/>
              <a:gd name="connsiteX9" fmla="*/ 3137695 w 3851276"/>
              <a:gd name="connsiteY9" fmla="*/ 2335214 h 2457451"/>
              <a:gd name="connsiteX10" fmla="*/ 3365502 w 3851276"/>
              <a:gd name="connsiteY10" fmla="*/ 2107407 h 2457451"/>
              <a:gd name="connsiteX11" fmla="*/ 3137695 w 3851276"/>
              <a:gd name="connsiteY11" fmla="*/ 1879600 h 2457451"/>
              <a:gd name="connsiteX12" fmla="*/ 826295 w 3851276"/>
              <a:gd name="connsiteY12" fmla="*/ 1879600 h 2457451"/>
              <a:gd name="connsiteX13" fmla="*/ 598488 w 3851276"/>
              <a:gd name="connsiteY13" fmla="*/ 2107407 h 2457451"/>
              <a:gd name="connsiteX14" fmla="*/ 826295 w 3851276"/>
              <a:gd name="connsiteY14" fmla="*/ 2335214 h 2457451"/>
              <a:gd name="connsiteX15" fmla="*/ 1054102 w 3851276"/>
              <a:gd name="connsiteY15" fmla="*/ 2107407 h 2457451"/>
              <a:gd name="connsiteX16" fmla="*/ 826295 w 3851276"/>
              <a:gd name="connsiteY16" fmla="*/ 1879600 h 2457451"/>
              <a:gd name="connsiteX17" fmla="*/ 3136900 w 3851276"/>
              <a:gd name="connsiteY17" fmla="*/ 1757363 h 2457451"/>
              <a:gd name="connsiteX18" fmla="*/ 3486150 w 3851276"/>
              <a:gd name="connsiteY18" fmla="*/ 2107407 h 2457451"/>
              <a:gd name="connsiteX19" fmla="*/ 3136900 w 3851276"/>
              <a:gd name="connsiteY19" fmla="*/ 2457451 h 2457451"/>
              <a:gd name="connsiteX20" fmla="*/ 2787650 w 3851276"/>
              <a:gd name="connsiteY20" fmla="*/ 2107407 h 2457451"/>
              <a:gd name="connsiteX21" fmla="*/ 3136900 w 3851276"/>
              <a:gd name="connsiteY21" fmla="*/ 1757363 h 2457451"/>
              <a:gd name="connsiteX22" fmla="*/ 825500 w 3851276"/>
              <a:gd name="connsiteY22" fmla="*/ 1757363 h 2457451"/>
              <a:gd name="connsiteX23" fmla="*/ 1174750 w 3851276"/>
              <a:gd name="connsiteY23" fmla="*/ 2107407 h 2457451"/>
              <a:gd name="connsiteX24" fmla="*/ 825500 w 3851276"/>
              <a:gd name="connsiteY24" fmla="*/ 2457451 h 2457451"/>
              <a:gd name="connsiteX25" fmla="*/ 476250 w 3851276"/>
              <a:gd name="connsiteY25" fmla="*/ 2107407 h 2457451"/>
              <a:gd name="connsiteX26" fmla="*/ 825500 w 3851276"/>
              <a:gd name="connsiteY26" fmla="*/ 1757363 h 2457451"/>
              <a:gd name="connsiteX27" fmla="*/ 2397125 w 3851276"/>
              <a:gd name="connsiteY27" fmla="*/ 532797 h 2457451"/>
              <a:gd name="connsiteX28" fmla="*/ 2397125 w 3851276"/>
              <a:gd name="connsiteY28" fmla="*/ 613672 h 2457451"/>
              <a:gd name="connsiteX29" fmla="*/ 2397125 w 3851276"/>
              <a:gd name="connsiteY29" fmla="*/ 2001484 h 2457451"/>
              <a:gd name="connsiteX30" fmla="*/ 2394079 w 3851276"/>
              <a:gd name="connsiteY30" fmla="*/ 2016729 h 2457451"/>
              <a:gd name="connsiteX31" fmla="*/ 2399520 w 3851276"/>
              <a:gd name="connsiteY31" fmla="*/ 2016729 h 2457451"/>
              <a:gd name="connsiteX32" fmla="*/ 2639583 w 3851276"/>
              <a:gd name="connsiteY32" fmla="*/ 2016729 h 2457451"/>
              <a:gd name="connsiteX33" fmla="*/ 2651731 w 3851276"/>
              <a:gd name="connsiteY33" fmla="*/ 2004566 h 2457451"/>
              <a:gd name="connsiteX34" fmla="*/ 3137623 w 3851276"/>
              <a:gd name="connsiteY34" fmla="*/ 1587970 h 2457451"/>
              <a:gd name="connsiteX35" fmla="*/ 3623514 w 3851276"/>
              <a:gd name="connsiteY35" fmla="*/ 2004566 h 2457451"/>
              <a:gd name="connsiteX36" fmla="*/ 3635662 w 3851276"/>
              <a:gd name="connsiteY36" fmla="*/ 2016729 h 2457451"/>
              <a:gd name="connsiteX37" fmla="*/ 3714619 w 3851276"/>
              <a:gd name="connsiteY37" fmla="*/ 2016729 h 2457451"/>
              <a:gd name="connsiteX38" fmla="*/ 3729803 w 3851276"/>
              <a:gd name="connsiteY38" fmla="*/ 2001525 h 2457451"/>
              <a:gd name="connsiteX39" fmla="*/ 3729803 w 3851276"/>
              <a:gd name="connsiteY39" fmla="*/ 1274763 h 2457451"/>
              <a:gd name="connsiteX40" fmla="*/ 3726766 w 3851276"/>
              <a:gd name="connsiteY40" fmla="*/ 1265641 h 2457451"/>
              <a:gd name="connsiteX41" fmla="*/ 3626551 w 3851276"/>
              <a:gd name="connsiteY41" fmla="*/ 1147048 h 2457451"/>
              <a:gd name="connsiteX42" fmla="*/ 2915934 w 3851276"/>
              <a:gd name="connsiteY42" fmla="*/ 1147048 h 2457451"/>
              <a:gd name="connsiteX43" fmla="*/ 2779277 w 3851276"/>
              <a:gd name="connsiteY43" fmla="*/ 1013250 h 2457451"/>
              <a:gd name="connsiteX44" fmla="*/ 2779277 w 3851276"/>
              <a:gd name="connsiteY44" fmla="*/ 532797 h 2457451"/>
              <a:gd name="connsiteX45" fmla="*/ 2402829 w 3851276"/>
              <a:gd name="connsiteY45" fmla="*/ 532797 h 2457451"/>
              <a:gd name="connsiteX46" fmla="*/ 2397125 w 3851276"/>
              <a:gd name="connsiteY46" fmla="*/ 532797 h 2457451"/>
              <a:gd name="connsiteX47" fmla="*/ 2900363 w 3851276"/>
              <a:gd name="connsiteY47" fmla="*/ 531813 h 2457451"/>
              <a:gd name="connsiteX48" fmla="*/ 2900363 w 3851276"/>
              <a:gd name="connsiteY48" fmla="*/ 1013336 h 2457451"/>
              <a:gd name="connsiteX49" fmla="*/ 2915545 w 3851276"/>
              <a:gd name="connsiteY49" fmla="*/ 1025526 h 2457451"/>
              <a:gd name="connsiteX50" fmla="*/ 3525838 w 3851276"/>
              <a:gd name="connsiteY50" fmla="*/ 1025526 h 2457451"/>
              <a:gd name="connsiteX51" fmla="*/ 3115940 w 3851276"/>
              <a:gd name="connsiteY51" fmla="*/ 537908 h 2457451"/>
              <a:gd name="connsiteX52" fmla="*/ 3106831 w 3851276"/>
              <a:gd name="connsiteY52" fmla="*/ 531813 h 2457451"/>
              <a:gd name="connsiteX53" fmla="*/ 2900363 w 3851276"/>
              <a:gd name="connsiteY53" fmla="*/ 531813 h 2457451"/>
              <a:gd name="connsiteX54" fmla="*/ 135842 w 3851276"/>
              <a:gd name="connsiteY54" fmla="*/ 122238 h 2457451"/>
              <a:gd name="connsiteX55" fmla="*/ 120650 w 3851276"/>
              <a:gd name="connsiteY55" fmla="*/ 137438 h 2457451"/>
              <a:gd name="connsiteX56" fmla="*/ 120650 w 3851276"/>
              <a:gd name="connsiteY56" fmla="*/ 2000926 h 2457451"/>
              <a:gd name="connsiteX57" fmla="*/ 135842 w 3851276"/>
              <a:gd name="connsiteY57" fmla="*/ 2016126 h 2457451"/>
              <a:gd name="connsiteX58" fmla="*/ 327263 w 3851276"/>
              <a:gd name="connsiteY58" fmla="*/ 2016126 h 2457451"/>
              <a:gd name="connsiteX59" fmla="*/ 339416 w 3851276"/>
              <a:gd name="connsiteY59" fmla="*/ 2003966 h 2457451"/>
              <a:gd name="connsiteX60" fmla="*/ 825563 w 3851276"/>
              <a:gd name="connsiteY60" fmla="*/ 1587493 h 2457451"/>
              <a:gd name="connsiteX61" fmla="*/ 1308671 w 3851276"/>
              <a:gd name="connsiteY61" fmla="*/ 2003966 h 2457451"/>
              <a:gd name="connsiteX62" fmla="*/ 1323864 w 3851276"/>
              <a:gd name="connsiteY62" fmla="*/ 2016126 h 2457451"/>
              <a:gd name="connsiteX63" fmla="*/ 2259696 w 3851276"/>
              <a:gd name="connsiteY63" fmla="*/ 2016126 h 2457451"/>
              <a:gd name="connsiteX64" fmla="*/ 2274888 w 3851276"/>
              <a:gd name="connsiteY64" fmla="*/ 2000926 h 2457451"/>
              <a:gd name="connsiteX65" fmla="*/ 2274888 w 3851276"/>
              <a:gd name="connsiteY65" fmla="*/ 137438 h 2457451"/>
              <a:gd name="connsiteX66" fmla="*/ 2259696 w 3851276"/>
              <a:gd name="connsiteY66" fmla="*/ 122238 h 2457451"/>
              <a:gd name="connsiteX67" fmla="*/ 135842 w 3851276"/>
              <a:gd name="connsiteY67" fmla="*/ 122238 h 2457451"/>
              <a:gd name="connsiteX68" fmla="*/ 136718 w 3851276"/>
              <a:gd name="connsiteY68" fmla="*/ 0 h 2457451"/>
              <a:gd name="connsiteX69" fmla="*/ 2260407 w 3851276"/>
              <a:gd name="connsiteY69" fmla="*/ 0 h 2457451"/>
              <a:gd name="connsiteX70" fmla="*/ 2397125 w 3851276"/>
              <a:gd name="connsiteY70" fmla="*/ 136880 h 2457451"/>
              <a:gd name="connsiteX71" fmla="*/ 2397125 w 3851276"/>
              <a:gd name="connsiteY71" fmla="*/ 306281 h 2457451"/>
              <a:gd name="connsiteX72" fmla="*/ 2397125 w 3851276"/>
              <a:gd name="connsiteY72" fmla="*/ 411163 h 2457451"/>
              <a:gd name="connsiteX73" fmla="*/ 2426638 w 3851276"/>
              <a:gd name="connsiteY73" fmla="*/ 411163 h 2457451"/>
              <a:gd name="connsiteX74" fmla="*/ 3107254 w 3851276"/>
              <a:gd name="connsiteY74" fmla="*/ 411163 h 2457451"/>
              <a:gd name="connsiteX75" fmla="*/ 3210506 w 3851276"/>
              <a:gd name="connsiteY75" fmla="*/ 459817 h 2457451"/>
              <a:gd name="connsiteX76" fmla="*/ 3684251 w 3851276"/>
              <a:gd name="connsiteY76" fmla="*/ 1025414 h 2457451"/>
              <a:gd name="connsiteX77" fmla="*/ 3687288 w 3851276"/>
              <a:gd name="connsiteY77" fmla="*/ 1025414 h 2457451"/>
              <a:gd name="connsiteX78" fmla="*/ 3687288 w 3851276"/>
              <a:gd name="connsiteY78" fmla="*/ 1031496 h 2457451"/>
              <a:gd name="connsiteX79" fmla="*/ 3817871 w 3851276"/>
              <a:gd name="connsiteY79" fmla="*/ 1186579 h 2457451"/>
              <a:gd name="connsiteX80" fmla="*/ 3851276 w 3851276"/>
              <a:gd name="connsiteY80" fmla="*/ 1274763 h 2457451"/>
              <a:gd name="connsiteX81" fmla="*/ 3851276 w 3851276"/>
              <a:gd name="connsiteY81" fmla="*/ 2001525 h 2457451"/>
              <a:gd name="connsiteX82" fmla="*/ 3714619 w 3851276"/>
              <a:gd name="connsiteY82" fmla="*/ 2138363 h 2457451"/>
              <a:gd name="connsiteX83" fmla="*/ 3635662 w 3851276"/>
              <a:gd name="connsiteY83" fmla="*/ 2138363 h 2457451"/>
              <a:gd name="connsiteX84" fmla="*/ 3502041 w 3851276"/>
              <a:gd name="connsiteY84" fmla="*/ 2022811 h 2457451"/>
              <a:gd name="connsiteX85" fmla="*/ 3137623 w 3851276"/>
              <a:gd name="connsiteY85" fmla="*/ 1709604 h 2457451"/>
              <a:gd name="connsiteX86" fmla="*/ 2773204 w 3851276"/>
              <a:gd name="connsiteY86" fmla="*/ 2022811 h 2457451"/>
              <a:gd name="connsiteX87" fmla="*/ 2639583 w 3851276"/>
              <a:gd name="connsiteY87" fmla="*/ 2138363 h 2457451"/>
              <a:gd name="connsiteX88" fmla="*/ 2281238 w 3851276"/>
              <a:gd name="connsiteY88" fmla="*/ 2138363 h 2457451"/>
              <a:gd name="connsiteX89" fmla="*/ 2281238 w 3851276"/>
              <a:gd name="connsiteY89" fmla="*/ 2134192 h 2457451"/>
              <a:gd name="connsiteX90" fmla="*/ 2260407 w 3851276"/>
              <a:gd name="connsiteY90" fmla="*/ 2138363 h 2457451"/>
              <a:gd name="connsiteX91" fmla="*/ 1324647 w 3851276"/>
              <a:gd name="connsiteY91" fmla="*/ 2138363 h 2457451"/>
              <a:gd name="connsiteX92" fmla="*/ 1190967 w 3851276"/>
              <a:gd name="connsiteY92" fmla="*/ 2022776 h 2457451"/>
              <a:gd name="connsiteX93" fmla="*/ 826386 w 3851276"/>
              <a:gd name="connsiteY93" fmla="*/ 1709474 h 2457451"/>
              <a:gd name="connsiteX94" fmla="*/ 461804 w 3851276"/>
              <a:gd name="connsiteY94" fmla="*/ 2022776 h 2457451"/>
              <a:gd name="connsiteX95" fmla="*/ 328124 w 3851276"/>
              <a:gd name="connsiteY95" fmla="*/ 2138363 h 2457451"/>
              <a:gd name="connsiteX96" fmla="*/ 136718 w 3851276"/>
              <a:gd name="connsiteY96" fmla="*/ 2138363 h 2457451"/>
              <a:gd name="connsiteX97" fmla="*/ 0 w 3851276"/>
              <a:gd name="connsiteY97" fmla="*/ 2001484 h 2457451"/>
              <a:gd name="connsiteX98" fmla="*/ 0 w 3851276"/>
              <a:gd name="connsiteY98" fmla="*/ 136880 h 2457451"/>
              <a:gd name="connsiteX99" fmla="*/ 136718 w 3851276"/>
              <a:gd name="connsiteY99" fmla="*/ 0 h 2457451"/>
              <a:gd name="connsiteX0" fmla="*/ 2992437 w 3851276"/>
              <a:gd name="connsiteY0" fmla="*/ 2108200 h 2457451"/>
              <a:gd name="connsiteX1" fmla="*/ 3282951 w 3851276"/>
              <a:gd name="connsiteY1" fmla="*/ 2108200 h 2457451"/>
              <a:gd name="connsiteX2" fmla="*/ 3137694 w 3851276"/>
              <a:gd name="connsiteY2" fmla="*/ 2254250 h 2457451"/>
              <a:gd name="connsiteX3" fmla="*/ 2992437 w 3851276"/>
              <a:gd name="connsiteY3" fmla="*/ 2108200 h 2457451"/>
              <a:gd name="connsiteX4" fmla="*/ 3137695 w 3851276"/>
              <a:gd name="connsiteY4" fmla="*/ 1879600 h 2457451"/>
              <a:gd name="connsiteX5" fmla="*/ 2909888 w 3851276"/>
              <a:gd name="connsiteY5" fmla="*/ 2107407 h 2457451"/>
              <a:gd name="connsiteX6" fmla="*/ 3137695 w 3851276"/>
              <a:gd name="connsiteY6" fmla="*/ 2335214 h 2457451"/>
              <a:gd name="connsiteX7" fmla="*/ 3365502 w 3851276"/>
              <a:gd name="connsiteY7" fmla="*/ 2107407 h 2457451"/>
              <a:gd name="connsiteX8" fmla="*/ 3137695 w 3851276"/>
              <a:gd name="connsiteY8" fmla="*/ 1879600 h 2457451"/>
              <a:gd name="connsiteX9" fmla="*/ 826295 w 3851276"/>
              <a:gd name="connsiteY9" fmla="*/ 1879600 h 2457451"/>
              <a:gd name="connsiteX10" fmla="*/ 598488 w 3851276"/>
              <a:gd name="connsiteY10" fmla="*/ 2107407 h 2457451"/>
              <a:gd name="connsiteX11" fmla="*/ 826295 w 3851276"/>
              <a:gd name="connsiteY11" fmla="*/ 2335214 h 2457451"/>
              <a:gd name="connsiteX12" fmla="*/ 1054102 w 3851276"/>
              <a:gd name="connsiteY12" fmla="*/ 2107407 h 2457451"/>
              <a:gd name="connsiteX13" fmla="*/ 826295 w 3851276"/>
              <a:gd name="connsiteY13" fmla="*/ 1879600 h 2457451"/>
              <a:gd name="connsiteX14" fmla="*/ 3136900 w 3851276"/>
              <a:gd name="connsiteY14" fmla="*/ 1757363 h 2457451"/>
              <a:gd name="connsiteX15" fmla="*/ 3486150 w 3851276"/>
              <a:gd name="connsiteY15" fmla="*/ 2107407 h 2457451"/>
              <a:gd name="connsiteX16" fmla="*/ 3136900 w 3851276"/>
              <a:gd name="connsiteY16" fmla="*/ 2457451 h 2457451"/>
              <a:gd name="connsiteX17" fmla="*/ 2787650 w 3851276"/>
              <a:gd name="connsiteY17" fmla="*/ 2107407 h 2457451"/>
              <a:gd name="connsiteX18" fmla="*/ 3136900 w 3851276"/>
              <a:gd name="connsiteY18" fmla="*/ 1757363 h 2457451"/>
              <a:gd name="connsiteX19" fmla="*/ 825500 w 3851276"/>
              <a:gd name="connsiteY19" fmla="*/ 1757363 h 2457451"/>
              <a:gd name="connsiteX20" fmla="*/ 1174750 w 3851276"/>
              <a:gd name="connsiteY20" fmla="*/ 2107407 h 2457451"/>
              <a:gd name="connsiteX21" fmla="*/ 825500 w 3851276"/>
              <a:gd name="connsiteY21" fmla="*/ 2457451 h 2457451"/>
              <a:gd name="connsiteX22" fmla="*/ 476250 w 3851276"/>
              <a:gd name="connsiteY22" fmla="*/ 2107407 h 2457451"/>
              <a:gd name="connsiteX23" fmla="*/ 825500 w 3851276"/>
              <a:gd name="connsiteY23" fmla="*/ 1757363 h 2457451"/>
              <a:gd name="connsiteX24" fmla="*/ 2397125 w 3851276"/>
              <a:gd name="connsiteY24" fmla="*/ 532797 h 2457451"/>
              <a:gd name="connsiteX25" fmla="*/ 2397125 w 3851276"/>
              <a:gd name="connsiteY25" fmla="*/ 613672 h 2457451"/>
              <a:gd name="connsiteX26" fmla="*/ 2397125 w 3851276"/>
              <a:gd name="connsiteY26" fmla="*/ 2001484 h 2457451"/>
              <a:gd name="connsiteX27" fmla="*/ 2394079 w 3851276"/>
              <a:gd name="connsiteY27" fmla="*/ 2016729 h 2457451"/>
              <a:gd name="connsiteX28" fmla="*/ 2399520 w 3851276"/>
              <a:gd name="connsiteY28" fmla="*/ 2016729 h 2457451"/>
              <a:gd name="connsiteX29" fmla="*/ 2639583 w 3851276"/>
              <a:gd name="connsiteY29" fmla="*/ 2016729 h 2457451"/>
              <a:gd name="connsiteX30" fmla="*/ 2651731 w 3851276"/>
              <a:gd name="connsiteY30" fmla="*/ 2004566 h 2457451"/>
              <a:gd name="connsiteX31" fmla="*/ 3137623 w 3851276"/>
              <a:gd name="connsiteY31" fmla="*/ 1587970 h 2457451"/>
              <a:gd name="connsiteX32" fmla="*/ 3623514 w 3851276"/>
              <a:gd name="connsiteY32" fmla="*/ 2004566 h 2457451"/>
              <a:gd name="connsiteX33" fmla="*/ 3635662 w 3851276"/>
              <a:gd name="connsiteY33" fmla="*/ 2016729 h 2457451"/>
              <a:gd name="connsiteX34" fmla="*/ 3714619 w 3851276"/>
              <a:gd name="connsiteY34" fmla="*/ 2016729 h 2457451"/>
              <a:gd name="connsiteX35" fmla="*/ 3729803 w 3851276"/>
              <a:gd name="connsiteY35" fmla="*/ 2001525 h 2457451"/>
              <a:gd name="connsiteX36" fmla="*/ 3729803 w 3851276"/>
              <a:gd name="connsiteY36" fmla="*/ 1274763 h 2457451"/>
              <a:gd name="connsiteX37" fmla="*/ 3726766 w 3851276"/>
              <a:gd name="connsiteY37" fmla="*/ 1265641 h 2457451"/>
              <a:gd name="connsiteX38" fmla="*/ 3626551 w 3851276"/>
              <a:gd name="connsiteY38" fmla="*/ 1147048 h 2457451"/>
              <a:gd name="connsiteX39" fmla="*/ 2915934 w 3851276"/>
              <a:gd name="connsiteY39" fmla="*/ 1147048 h 2457451"/>
              <a:gd name="connsiteX40" fmla="*/ 2779277 w 3851276"/>
              <a:gd name="connsiteY40" fmla="*/ 1013250 h 2457451"/>
              <a:gd name="connsiteX41" fmla="*/ 2779277 w 3851276"/>
              <a:gd name="connsiteY41" fmla="*/ 532797 h 2457451"/>
              <a:gd name="connsiteX42" fmla="*/ 2402829 w 3851276"/>
              <a:gd name="connsiteY42" fmla="*/ 532797 h 2457451"/>
              <a:gd name="connsiteX43" fmla="*/ 2397125 w 3851276"/>
              <a:gd name="connsiteY43" fmla="*/ 532797 h 2457451"/>
              <a:gd name="connsiteX44" fmla="*/ 2900363 w 3851276"/>
              <a:gd name="connsiteY44" fmla="*/ 531813 h 2457451"/>
              <a:gd name="connsiteX45" fmla="*/ 2900363 w 3851276"/>
              <a:gd name="connsiteY45" fmla="*/ 1013336 h 2457451"/>
              <a:gd name="connsiteX46" fmla="*/ 2915545 w 3851276"/>
              <a:gd name="connsiteY46" fmla="*/ 1025526 h 2457451"/>
              <a:gd name="connsiteX47" fmla="*/ 3525838 w 3851276"/>
              <a:gd name="connsiteY47" fmla="*/ 1025526 h 2457451"/>
              <a:gd name="connsiteX48" fmla="*/ 3115940 w 3851276"/>
              <a:gd name="connsiteY48" fmla="*/ 537908 h 2457451"/>
              <a:gd name="connsiteX49" fmla="*/ 3106831 w 3851276"/>
              <a:gd name="connsiteY49" fmla="*/ 531813 h 2457451"/>
              <a:gd name="connsiteX50" fmla="*/ 2900363 w 3851276"/>
              <a:gd name="connsiteY50" fmla="*/ 531813 h 2457451"/>
              <a:gd name="connsiteX51" fmla="*/ 135842 w 3851276"/>
              <a:gd name="connsiteY51" fmla="*/ 122238 h 2457451"/>
              <a:gd name="connsiteX52" fmla="*/ 120650 w 3851276"/>
              <a:gd name="connsiteY52" fmla="*/ 137438 h 2457451"/>
              <a:gd name="connsiteX53" fmla="*/ 120650 w 3851276"/>
              <a:gd name="connsiteY53" fmla="*/ 2000926 h 2457451"/>
              <a:gd name="connsiteX54" fmla="*/ 135842 w 3851276"/>
              <a:gd name="connsiteY54" fmla="*/ 2016126 h 2457451"/>
              <a:gd name="connsiteX55" fmla="*/ 327263 w 3851276"/>
              <a:gd name="connsiteY55" fmla="*/ 2016126 h 2457451"/>
              <a:gd name="connsiteX56" fmla="*/ 339416 w 3851276"/>
              <a:gd name="connsiteY56" fmla="*/ 2003966 h 2457451"/>
              <a:gd name="connsiteX57" fmla="*/ 825563 w 3851276"/>
              <a:gd name="connsiteY57" fmla="*/ 1587493 h 2457451"/>
              <a:gd name="connsiteX58" fmla="*/ 1308671 w 3851276"/>
              <a:gd name="connsiteY58" fmla="*/ 2003966 h 2457451"/>
              <a:gd name="connsiteX59" fmla="*/ 1323864 w 3851276"/>
              <a:gd name="connsiteY59" fmla="*/ 2016126 h 2457451"/>
              <a:gd name="connsiteX60" fmla="*/ 2259696 w 3851276"/>
              <a:gd name="connsiteY60" fmla="*/ 2016126 h 2457451"/>
              <a:gd name="connsiteX61" fmla="*/ 2274888 w 3851276"/>
              <a:gd name="connsiteY61" fmla="*/ 2000926 h 2457451"/>
              <a:gd name="connsiteX62" fmla="*/ 2274888 w 3851276"/>
              <a:gd name="connsiteY62" fmla="*/ 137438 h 2457451"/>
              <a:gd name="connsiteX63" fmla="*/ 2259696 w 3851276"/>
              <a:gd name="connsiteY63" fmla="*/ 122238 h 2457451"/>
              <a:gd name="connsiteX64" fmla="*/ 135842 w 3851276"/>
              <a:gd name="connsiteY64" fmla="*/ 122238 h 2457451"/>
              <a:gd name="connsiteX65" fmla="*/ 136718 w 3851276"/>
              <a:gd name="connsiteY65" fmla="*/ 0 h 2457451"/>
              <a:gd name="connsiteX66" fmla="*/ 2260407 w 3851276"/>
              <a:gd name="connsiteY66" fmla="*/ 0 h 2457451"/>
              <a:gd name="connsiteX67" fmla="*/ 2397125 w 3851276"/>
              <a:gd name="connsiteY67" fmla="*/ 136880 h 2457451"/>
              <a:gd name="connsiteX68" fmla="*/ 2397125 w 3851276"/>
              <a:gd name="connsiteY68" fmla="*/ 306281 h 2457451"/>
              <a:gd name="connsiteX69" fmla="*/ 2397125 w 3851276"/>
              <a:gd name="connsiteY69" fmla="*/ 411163 h 2457451"/>
              <a:gd name="connsiteX70" fmla="*/ 2426638 w 3851276"/>
              <a:gd name="connsiteY70" fmla="*/ 411163 h 2457451"/>
              <a:gd name="connsiteX71" fmla="*/ 3107254 w 3851276"/>
              <a:gd name="connsiteY71" fmla="*/ 411163 h 2457451"/>
              <a:gd name="connsiteX72" fmla="*/ 3210506 w 3851276"/>
              <a:gd name="connsiteY72" fmla="*/ 459817 h 2457451"/>
              <a:gd name="connsiteX73" fmla="*/ 3684251 w 3851276"/>
              <a:gd name="connsiteY73" fmla="*/ 1025414 h 2457451"/>
              <a:gd name="connsiteX74" fmla="*/ 3687288 w 3851276"/>
              <a:gd name="connsiteY74" fmla="*/ 1025414 h 2457451"/>
              <a:gd name="connsiteX75" fmla="*/ 3687288 w 3851276"/>
              <a:gd name="connsiteY75" fmla="*/ 1031496 h 2457451"/>
              <a:gd name="connsiteX76" fmla="*/ 3817871 w 3851276"/>
              <a:gd name="connsiteY76" fmla="*/ 1186579 h 2457451"/>
              <a:gd name="connsiteX77" fmla="*/ 3851276 w 3851276"/>
              <a:gd name="connsiteY77" fmla="*/ 1274763 h 2457451"/>
              <a:gd name="connsiteX78" fmla="*/ 3851276 w 3851276"/>
              <a:gd name="connsiteY78" fmla="*/ 2001525 h 2457451"/>
              <a:gd name="connsiteX79" fmla="*/ 3714619 w 3851276"/>
              <a:gd name="connsiteY79" fmla="*/ 2138363 h 2457451"/>
              <a:gd name="connsiteX80" fmla="*/ 3635662 w 3851276"/>
              <a:gd name="connsiteY80" fmla="*/ 2138363 h 2457451"/>
              <a:gd name="connsiteX81" fmla="*/ 3502041 w 3851276"/>
              <a:gd name="connsiteY81" fmla="*/ 2022811 h 2457451"/>
              <a:gd name="connsiteX82" fmla="*/ 3137623 w 3851276"/>
              <a:gd name="connsiteY82" fmla="*/ 1709604 h 2457451"/>
              <a:gd name="connsiteX83" fmla="*/ 2773204 w 3851276"/>
              <a:gd name="connsiteY83" fmla="*/ 2022811 h 2457451"/>
              <a:gd name="connsiteX84" fmla="*/ 2639583 w 3851276"/>
              <a:gd name="connsiteY84" fmla="*/ 2138363 h 2457451"/>
              <a:gd name="connsiteX85" fmla="*/ 2281238 w 3851276"/>
              <a:gd name="connsiteY85" fmla="*/ 2138363 h 2457451"/>
              <a:gd name="connsiteX86" fmla="*/ 2281238 w 3851276"/>
              <a:gd name="connsiteY86" fmla="*/ 2134192 h 2457451"/>
              <a:gd name="connsiteX87" fmla="*/ 2260407 w 3851276"/>
              <a:gd name="connsiteY87" fmla="*/ 2138363 h 2457451"/>
              <a:gd name="connsiteX88" fmla="*/ 1324647 w 3851276"/>
              <a:gd name="connsiteY88" fmla="*/ 2138363 h 2457451"/>
              <a:gd name="connsiteX89" fmla="*/ 1190967 w 3851276"/>
              <a:gd name="connsiteY89" fmla="*/ 2022776 h 2457451"/>
              <a:gd name="connsiteX90" fmla="*/ 826386 w 3851276"/>
              <a:gd name="connsiteY90" fmla="*/ 1709474 h 2457451"/>
              <a:gd name="connsiteX91" fmla="*/ 461804 w 3851276"/>
              <a:gd name="connsiteY91" fmla="*/ 2022776 h 2457451"/>
              <a:gd name="connsiteX92" fmla="*/ 328124 w 3851276"/>
              <a:gd name="connsiteY92" fmla="*/ 2138363 h 2457451"/>
              <a:gd name="connsiteX93" fmla="*/ 136718 w 3851276"/>
              <a:gd name="connsiteY93" fmla="*/ 2138363 h 2457451"/>
              <a:gd name="connsiteX94" fmla="*/ 0 w 3851276"/>
              <a:gd name="connsiteY94" fmla="*/ 2001484 h 2457451"/>
              <a:gd name="connsiteX95" fmla="*/ 0 w 3851276"/>
              <a:gd name="connsiteY95" fmla="*/ 136880 h 2457451"/>
              <a:gd name="connsiteX96" fmla="*/ 136718 w 3851276"/>
              <a:gd name="connsiteY96" fmla="*/ 0 h 2457451"/>
              <a:gd name="connsiteX0" fmla="*/ 3137694 w 3851276"/>
              <a:gd name="connsiteY0" fmla="*/ 2254250 h 2457451"/>
              <a:gd name="connsiteX1" fmla="*/ 3282951 w 3851276"/>
              <a:gd name="connsiteY1" fmla="*/ 2108200 h 2457451"/>
              <a:gd name="connsiteX2" fmla="*/ 3137694 w 3851276"/>
              <a:gd name="connsiteY2" fmla="*/ 2254250 h 2457451"/>
              <a:gd name="connsiteX3" fmla="*/ 3137695 w 3851276"/>
              <a:gd name="connsiteY3" fmla="*/ 1879600 h 2457451"/>
              <a:gd name="connsiteX4" fmla="*/ 2909888 w 3851276"/>
              <a:gd name="connsiteY4" fmla="*/ 2107407 h 2457451"/>
              <a:gd name="connsiteX5" fmla="*/ 3137695 w 3851276"/>
              <a:gd name="connsiteY5" fmla="*/ 2335214 h 2457451"/>
              <a:gd name="connsiteX6" fmla="*/ 3365502 w 3851276"/>
              <a:gd name="connsiteY6" fmla="*/ 2107407 h 2457451"/>
              <a:gd name="connsiteX7" fmla="*/ 3137695 w 3851276"/>
              <a:gd name="connsiteY7" fmla="*/ 1879600 h 2457451"/>
              <a:gd name="connsiteX8" fmla="*/ 826295 w 3851276"/>
              <a:gd name="connsiteY8" fmla="*/ 1879600 h 2457451"/>
              <a:gd name="connsiteX9" fmla="*/ 598488 w 3851276"/>
              <a:gd name="connsiteY9" fmla="*/ 2107407 h 2457451"/>
              <a:gd name="connsiteX10" fmla="*/ 826295 w 3851276"/>
              <a:gd name="connsiteY10" fmla="*/ 2335214 h 2457451"/>
              <a:gd name="connsiteX11" fmla="*/ 1054102 w 3851276"/>
              <a:gd name="connsiteY11" fmla="*/ 2107407 h 2457451"/>
              <a:gd name="connsiteX12" fmla="*/ 826295 w 3851276"/>
              <a:gd name="connsiteY12" fmla="*/ 1879600 h 2457451"/>
              <a:gd name="connsiteX13" fmla="*/ 3136900 w 3851276"/>
              <a:gd name="connsiteY13" fmla="*/ 1757363 h 2457451"/>
              <a:gd name="connsiteX14" fmla="*/ 3486150 w 3851276"/>
              <a:gd name="connsiteY14" fmla="*/ 2107407 h 2457451"/>
              <a:gd name="connsiteX15" fmla="*/ 3136900 w 3851276"/>
              <a:gd name="connsiteY15" fmla="*/ 2457451 h 2457451"/>
              <a:gd name="connsiteX16" fmla="*/ 2787650 w 3851276"/>
              <a:gd name="connsiteY16" fmla="*/ 2107407 h 2457451"/>
              <a:gd name="connsiteX17" fmla="*/ 3136900 w 3851276"/>
              <a:gd name="connsiteY17" fmla="*/ 1757363 h 2457451"/>
              <a:gd name="connsiteX18" fmla="*/ 825500 w 3851276"/>
              <a:gd name="connsiteY18" fmla="*/ 1757363 h 2457451"/>
              <a:gd name="connsiteX19" fmla="*/ 1174750 w 3851276"/>
              <a:gd name="connsiteY19" fmla="*/ 2107407 h 2457451"/>
              <a:gd name="connsiteX20" fmla="*/ 825500 w 3851276"/>
              <a:gd name="connsiteY20" fmla="*/ 2457451 h 2457451"/>
              <a:gd name="connsiteX21" fmla="*/ 476250 w 3851276"/>
              <a:gd name="connsiteY21" fmla="*/ 2107407 h 2457451"/>
              <a:gd name="connsiteX22" fmla="*/ 825500 w 3851276"/>
              <a:gd name="connsiteY22" fmla="*/ 1757363 h 2457451"/>
              <a:gd name="connsiteX23" fmla="*/ 2397125 w 3851276"/>
              <a:gd name="connsiteY23" fmla="*/ 532797 h 2457451"/>
              <a:gd name="connsiteX24" fmla="*/ 2397125 w 3851276"/>
              <a:gd name="connsiteY24" fmla="*/ 613672 h 2457451"/>
              <a:gd name="connsiteX25" fmla="*/ 2397125 w 3851276"/>
              <a:gd name="connsiteY25" fmla="*/ 2001484 h 2457451"/>
              <a:gd name="connsiteX26" fmla="*/ 2394079 w 3851276"/>
              <a:gd name="connsiteY26" fmla="*/ 2016729 h 2457451"/>
              <a:gd name="connsiteX27" fmla="*/ 2399520 w 3851276"/>
              <a:gd name="connsiteY27" fmla="*/ 2016729 h 2457451"/>
              <a:gd name="connsiteX28" fmla="*/ 2639583 w 3851276"/>
              <a:gd name="connsiteY28" fmla="*/ 2016729 h 2457451"/>
              <a:gd name="connsiteX29" fmla="*/ 2651731 w 3851276"/>
              <a:gd name="connsiteY29" fmla="*/ 2004566 h 2457451"/>
              <a:gd name="connsiteX30" fmla="*/ 3137623 w 3851276"/>
              <a:gd name="connsiteY30" fmla="*/ 1587970 h 2457451"/>
              <a:gd name="connsiteX31" fmla="*/ 3623514 w 3851276"/>
              <a:gd name="connsiteY31" fmla="*/ 2004566 h 2457451"/>
              <a:gd name="connsiteX32" fmla="*/ 3635662 w 3851276"/>
              <a:gd name="connsiteY32" fmla="*/ 2016729 h 2457451"/>
              <a:gd name="connsiteX33" fmla="*/ 3714619 w 3851276"/>
              <a:gd name="connsiteY33" fmla="*/ 2016729 h 2457451"/>
              <a:gd name="connsiteX34" fmla="*/ 3729803 w 3851276"/>
              <a:gd name="connsiteY34" fmla="*/ 2001525 h 2457451"/>
              <a:gd name="connsiteX35" fmla="*/ 3729803 w 3851276"/>
              <a:gd name="connsiteY35" fmla="*/ 1274763 h 2457451"/>
              <a:gd name="connsiteX36" fmla="*/ 3726766 w 3851276"/>
              <a:gd name="connsiteY36" fmla="*/ 1265641 h 2457451"/>
              <a:gd name="connsiteX37" fmla="*/ 3626551 w 3851276"/>
              <a:gd name="connsiteY37" fmla="*/ 1147048 h 2457451"/>
              <a:gd name="connsiteX38" fmla="*/ 2915934 w 3851276"/>
              <a:gd name="connsiteY38" fmla="*/ 1147048 h 2457451"/>
              <a:gd name="connsiteX39" fmla="*/ 2779277 w 3851276"/>
              <a:gd name="connsiteY39" fmla="*/ 1013250 h 2457451"/>
              <a:gd name="connsiteX40" fmla="*/ 2779277 w 3851276"/>
              <a:gd name="connsiteY40" fmla="*/ 532797 h 2457451"/>
              <a:gd name="connsiteX41" fmla="*/ 2402829 w 3851276"/>
              <a:gd name="connsiteY41" fmla="*/ 532797 h 2457451"/>
              <a:gd name="connsiteX42" fmla="*/ 2397125 w 3851276"/>
              <a:gd name="connsiteY42" fmla="*/ 532797 h 2457451"/>
              <a:gd name="connsiteX43" fmla="*/ 2900363 w 3851276"/>
              <a:gd name="connsiteY43" fmla="*/ 531813 h 2457451"/>
              <a:gd name="connsiteX44" fmla="*/ 2900363 w 3851276"/>
              <a:gd name="connsiteY44" fmla="*/ 1013336 h 2457451"/>
              <a:gd name="connsiteX45" fmla="*/ 2915545 w 3851276"/>
              <a:gd name="connsiteY45" fmla="*/ 1025526 h 2457451"/>
              <a:gd name="connsiteX46" fmla="*/ 3525838 w 3851276"/>
              <a:gd name="connsiteY46" fmla="*/ 1025526 h 2457451"/>
              <a:gd name="connsiteX47" fmla="*/ 3115940 w 3851276"/>
              <a:gd name="connsiteY47" fmla="*/ 537908 h 2457451"/>
              <a:gd name="connsiteX48" fmla="*/ 3106831 w 3851276"/>
              <a:gd name="connsiteY48" fmla="*/ 531813 h 2457451"/>
              <a:gd name="connsiteX49" fmla="*/ 2900363 w 3851276"/>
              <a:gd name="connsiteY49" fmla="*/ 531813 h 2457451"/>
              <a:gd name="connsiteX50" fmla="*/ 135842 w 3851276"/>
              <a:gd name="connsiteY50" fmla="*/ 122238 h 2457451"/>
              <a:gd name="connsiteX51" fmla="*/ 120650 w 3851276"/>
              <a:gd name="connsiteY51" fmla="*/ 137438 h 2457451"/>
              <a:gd name="connsiteX52" fmla="*/ 120650 w 3851276"/>
              <a:gd name="connsiteY52" fmla="*/ 2000926 h 2457451"/>
              <a:gd name="connsiteX53" fmla="*/ 135842 w 3851276"/>
              <a:gd name="connsiteY53" fmla="*/ 2016126 h 2457451"/>
              <a:gd name="connsiteX54" fmla="*/ 327263 w 3851276"/>
              <a:gd name="connsiteY54" fmla="*/ 2016126 h 2457451"/>
              <a:gd name="connsiteX55" fmla="*/ 339416 w 3851276"/>
              <a:gd name="connsiteY55" fmla="*/ 2003966 h 2457451"/>
              <a:gd name="connsiteX56" fmla="*/ 825563 w 3851276"/>
              <a:gd name="connsiteY56" fmla="*/ 1587493 h 2457451"/>
              <a:gd name="connsiteX57" fmla="*/ 1308671 w 3851276"/>
              <a:gd name="connsiteY57" fmla="*/ 2003966 h 2457451"/>
              <a:gd name="connsiteX58" fmla="*/ 1323864 w 3851276"/>
              <a:gd name="connsiteY58" fmla="*/ 2016126 h 2457451"/>
              <a:gd name="connsiteX59" fmla="*/ 2259696 w 3851276"/>
              <a:gd name="connsiteY59" fmla="*/ 2016126 h 2457451"/>
              <a:gd name="connsiteX60" fmla="*/ 2274888 w 3851276"/>
              <a:gd name="connsiteY60" fmla="*/ 2000926 h 2457451"/>
              <a:gd name="connsiteX61" fmla="*/ 2274888 w 3851276"/>
              <a:gd name="connsiteY61" fmla="*/ 137438 h 2457451"/>
              <a:gd name="connsiteX62" fmla="*/ 2259696 w 3851276"/>
              <a:gd name="connsiteY62" fmla="*/ 122238 h 2457451"/>
              <a:gd name="connsiteX63" fmla="*/ 135842 w 3851276"/>
              <a:gd name="connsiteY63" fmla="*/ 122238 h 2457451"/>
              <a:gd name="connsiteX64" fmla="*/ 136718 w 3851276"/>
              <a:gd name="connsiteY64" fmla="*/ 0 h 2457451"/>
              <a:gd name="connsiteX65" fmla="*/ 2260407 w 3851276"/>
              <a:gd name="connsiteY65" fmla="*/ 0 h 2457451"/>
              <a:gd name="connsiteX66" fmla="*/ 2397125 w 3851276"/>
              <a:gd name="connsiteY66" fmla="*/ 136880 h 2457451"/>
              <a:gd name="connsiteX67" fmla="*/ 2397125 w 3851276"/>
              <a:gd name="connsiteY67" fmla="*/ 306281 h 2457451"/>
              <a:gd name="connsiteX68" fmla="*/ 2397125 w 3851276"/>
              <a:gd name="connsiteY68" fmla="*/ 411163 h 2457451"/>
              <a:gd name="connsiteX69" fmla="*/ 2426638 w 3851276"/>
              <a:gd name="connsiteY69" fmla="*/ 411163 h 2457451"/>
              <a:gd name="connsiteX70" fmla="*/ 3107254 w 3851276"/>
              <a:gd name="connsiteY70" fmla="*/ 411163 h 2457451"/>
              <a:gd name="connsiteX71" fmla="*/ 3210506 w 3851276"/>
              <a:gd name="connsiteY71" fmla="*/ 459817 h 2457451"/>
              <a:gd name="connsiteX72" fmla="*/ 3684251 w 3851276"/>
              <a:gd name="connsiteY72" fmla="*/ 1025414 h 2457451"/>
              <a:gd name="connsiteX73" fmla="*/ 3687288 w 3851276"/>
              <a:gd name="connsiteY73" fmla="*/ 1025414 h 2457451"/>
              <a:gd name="connsiteX74" fmla="*/ 3687288 w 3851276"/>
              <a:gd name="connsiteY74" fmla="*/ 1031496 h 2457451"/>
              <a:gd name="connsiteX75" fmla="*/ 3817871 w 3851276"/>
              <a:gd name="connsiteY75" fmla="*/ 1186579 h 2457451"/>
              <a:gd name="connsiteX76" fmla="*/ 3851276 w 3851276"/>
              <a:gd name="connsiteY76" fmla="*/ 1274763 h 2457451"/>
              <a:gd name="connsiteX77" fmla="*/ 3851276 w 3851276"/>
              <a:gd name="connsiteY77" fmla="*/ 2001525 h 2457451"/>
              <a:gd name="connsiteX78" fmla="*/ 3714619 w 3851276"/>
              <a:gd name="connsiteY78" fmla="*/ 2138363 h 2457451"/>
              <a:gd name="connsiteX79" fmla="*/ 3635662 w 3851276"/>
              <a:gd name="connsiteY79" fmla="*/ 2138363 h 2457451"/>
              <a:gd name="connsiteX80" fmla="*/ 3502041 w 3851276"/>
              <a:gd name="connsiteY80" fmla="*/ 2022811 h 2457451"/>
              <a:gd name="connsiteX81" fmla="*/ 3137623 w 3851276"/>
              <a:gd name="connsiteY81" fmla="*/ 1709604 h 2457451"/>
              <a:gd name="connsiteX82" fmla="*/ 2773204 w 3851276"/>
              <a:gd name="connsiteY82" fmla="*/ 2022811 h 2457451"/>
              <a:gd name="connsiteX83" fmla="*/ 2639583 w 3851276"/>
              <a:gd name="connsiteY83" fmla="*/ 2138363 h 2457451"/>
              <a:gd name="connsiteX84" fmla="*/ 2281238 w 3851276"/>
              <a:gd name="connsiteY84" fmla="*/ 2138363 h 2457451"/>
              <a:gd name="connsiteX85" fmla="*/ 2281238 w 3851276"/>
              <a:gd name="connsiteY85" fmla="*/ 2134192 h 2457451"/>
              <a:gd name="connsiteX86" fmla="*/ 2260407 w 3851276"/>
              <a:gd name="connsiteY86" fmla="*/ 2138363 h 2457451"/>
              <a:gd name="connsiteX87" fmla="*/ 1324647 w 3851276"/>
              <a:gd name="connsiteY87" fmla="*/ 2138363 h 2457451"/>
              <a:gd name="connsiteX88" fmla="*/ 1190967 w 3851276"/>
              <a:gd name="connsiteY88" fmla="*/ 2022776 h 2457451"/>
              <a:gd name="connsiteX89" fmla="*/ 826386 w 3851276"/>
              <a:gd name="connsiteY89" fmla="*/ 1709474 h 2457451"/>
              <a:gd name="connsiteX90" fmla="*/ 461804 w 3851276"/>
              <a:gd name="connsiteY90" fmla="*/ 2022776 h 2457451"/>
              <a:gd name="connsiteX91" fmla="*/ 328124 w 3851276"/>
              <a:gd name="connsiteY91" fmla="*/ 2138363 h 2457451"/>
              <a:gd name="connsiteX92" fmla="*/ 136718 w 3851276"/>
              <a:gd name="connsiteY92" fmla="*/ 2138363 h 2457451"/>
              <a:gd name="connsiteX93" fmla="*/ 0 w 3851276"/>
              <a:gd name="connsiteY93" fmla="*/ 2001484 h 2457451"/>
              <a:gd name="connsiteX94" fmla="*/ 0 w 3851276"/>
              <a:gd name="connsiteY94" fmla="*/ 136880 h 2457451"/>
              <a:gd name="connsiteX95" fmla="*/ 136718 w 3851276"/>
              <a:gd name="connsiteY95" fmla="*/ 0 h 2457451"/>
              <a:gd name="connsiteX0" fmla="*/ 3137695 w 3851276"/>
              <a:gd name="connsiteY0" fmla="*/ 1879600 h 2457451"/>
              <a:gd name="connsiteX1" fmla="*/ 2909888 w 3851276"/>
              <a:gd name="connsiteY1" fmla="*/ 2107407 h 2457451"/>
              <a:gd name="connsiteX2" fmla="*/ 3137695 w 3851276"/>
              <a:gd name="connsiteY2" fmla="*/ 2335214 h 2457451"/>
              <a:gd name="connsiteX3" fmla="*/ 3365502 w 3851276"/>
              <a:gd name="connsiteY3" fmla="*/ 2107407 h 2457451"/>
              <a:gd name="connsiteX4" fmla="*/ 3137695 w 3851276"/>
              <a:gd name="connsiteY4" fmla="*/ 1879600 h 2457451"/>
              <a:gd name="connsiteX5" fmla="*/ 826295 w 3851276"/>
              <a:gd name="connsiteY5" fmla="*/ 1879600 h 2457451"/>
              <a:gd name="connsiteX6" fmla="*/ 598488 w 3851276"/>
              <a:gd name="connsiteY6" fmla="*/ 2107407 h 2457451"/>
              <a:gd name="connsiteX7" fmla="*/ 826295 w 3851276"/>
              <a:gd name="connsiteY7" fmla="*/ 2335214 h 2457451"/>
              <a:gd name="connsiteX8" fmla="*/ 1054102 w 3851276"/>
              <a:gd name="connsiteY8" fmla="*/ 2107407 h 2457451"/>
              <a:gd name="connsiteX9" fmla="*/ 826295 w 3851276"/>
              <a:gd name="connsiteY9" fmla="*/ 1879600 h 2457451"/>
              <a:gd name="connsiteX10" fmla="*/ 3136900 w 3851276"/>
              <a:gd name="connsiteY10" fmla="*/ 1757363 h 2457451"/>
              <a:gd name="connsiteX11" fmla="*/ 3486150 w 3851276"/>
              <a:gd name="connsiteY11" fmla="*/ 2107407 h 2457451"/>
              <a:gd name="connsiteX12" fmla="*/ 3136900 w 3851276"/>
              <a:gd name="connsiteY12" fmla="*/ 2457451 h 2457451"/>
              <a:gd name="connsiteX13" fmla="*/ 2787650 w 3851276"/>
              <a:gd name="connsiteY13" fmla="*/ 2107407 h 2457451"/>
              <a:gd name="connsiteX14" fmla="*/ 3136900 w 3851276"/>
              <a:gd name="connsiteY14" fmla="*/ 1757363 h 2457451"/>
              <a:gd name="connsiteX15" fmla="*/ 825500 w 3851276"/>
              <a:gd name="connsiteY15" fmla="*/ 1757363 h 2457451"/>
              <a:gd name="connsiteX16" fmla="*/ 1174750 w 3851276"/>
              <a:gd name="connsiteY16" fmla="*/ 2107407 h 2457451"/>
              <a:gd name="connsiteX17" fmla="*/ 825500 w 3851276"/>
              <a:gd name="connsiteY17" fmla="*/ 2457451 h 2457451"/>
              <a:gd name="connsiteX18" fmla="*/ 476250 w 3851276"/>
              <a:gd name="connsiteY18" fmla="*/ 2107407 h 2457451"/>
              <a:gd name="connsiteX19" fmla="*/ 825500 w 3851276"/>
              <a:gd name="connsiteY19" fmla="*/ 1757363 h 2457451"/>
              <a:gd name="connsiteX20" fmla="*/ 2397125 w 3851276"/>
              <a:gd name="connsiteY20" fmla="*/ 532797 h 2457451"/>
              <a:gd name="connsiteX21" fmla="*/ 2397125 w 3851276"/>
              <a:gd name="connsiteY21" fmla="*/ 613672 h 2457451"/>
              <a:gd name="connsiteX22" fmla="*/ 2397125 w 3851276"/>
              <a:gd name="connsiteY22" fmla="*/ 2001484 h 2457451"/>
              <a:gd name="connsiteX23" fmla="*/ 2394079 w 3851276"/>
              <a:gd name="connsiteY23" fmla="*/ 2016729 h 2457451"/>
              <a:gd name="connsiteX24" fmla="*/ 2399520 w 3851276"/>
              <a:gd name="connsiteY24" fmla="*/ 2016729 h 2457451"/>
              <a:gd name="connsiteX25" fmla="*/ 2639583 w 3851276"/>
              <a:gd name="connsiteY25" fmla="*/ 2016729 h 2457451"/>
              <a:gd name="connsiteX26" fmla="*/ 2651731 w 3851276"/>
              <a:gd name="connsiteY26" fmla="*/ 2004566 h 2457451"/>
              <a:gd name="connsiteX27" fmla="*/ 3137623 w 3851276"/>
              <a:gd name="connsiteY27" fmla="*/ 1587970 h 2457451"/>
              <a:gd name="connsiteX28" fmla="*/ 3623514 w 3851276"/>
              <a:gd name="connsiteY28" fmla="*/ 2004566 h 2457451"/>
              <a:gd name="connsiteX29" fmla="*/ 3635662 w 3851276"/>
              <a:gd name="connsiteY29" fmla="*/ 2016729 h 2457451"/>
              <a:gd name="connsiteX30" fmla="*/ 3714619 w 3851276"/>
              <a:gd name="connsiteY30" fmla="*/ 2016729 h 2457451"/>
              <a:gd name="connsiteX31" fmla="*/ 3729803 w 3851276"/>
              <a:gd name="connsiteY31" fmla="*/ 2001525 h 2457451"/>
              <a:gd name="connsiteX32" fmla="*/ 3729803 w 3851276"/>
              <a:gd name="connsiteY32" fmla="*/ 1274763 h 2457451"/>
              <a:gd name="connsiteX33" fmla="*/ 3726766 w 3851276"/>
              <a:gd name="connsiteY33" fmla="*/ 1265641 h 2457451"/>
              <a:gd name="connsiteX34" fmla="*/ 3626551 w 3851276"/>
              <a:gd name="connsiteY34" fmla="*/ 1147048 h 2457451"/>
              <a:gd name="connsiteX35" fmla="*/ 2915934 w 3851276"/>
              <a:gd name="connsiteY35" fmla="*/ 1147048 h 2457451"/>
              <a:gd name="connsiteX36" fmla="*/ 2779277 w 3851276"/>
              <a:gd name="connsiteY36" fmla="*/ 1013250 h 2457451"/>
              <a:gd name="connsiteX37" fmla="*/ 2779277 w 3851276"/>
              <a:gd name="connsiteY37" fmla="*/ 532797 h 2457451"/>
              <a:gd name="connsiteX38" fmla="*/ 2402829 w 3851276"/>
              <a:gd name="connsiteY38" fmla="*/ 532797 h 2457451"/>
              <a:gd name="connsiteX39" fmla="*/ 2397125 w 3851276"/>
              <a:gd name="connsiteY39" fmla="*/ 532797 h 2457451"/>
              <a:gd name="connsiteX40" fmla="*/ 2900363 w 3851276"/>
              <a:gd name="connsiteY40" fmla="*/ 531813 h 2457451"/>
              <a:gd name="connsiteX41" fmla="*/ 2900363 w 3851276"/>
              <a:gd name="connsiteY41" fmla="*/ 1013336 h 2457451"/>
              <a:gd name="connsiteX42" fmla="*/ 2915545 w 3851276"/>
              <a:gd name="connsiteY42" fmla="*/ 1025526 h 2457451"/>
              <a:gd name="connsiteX43" fmla="*/ 3525838 w 3851276"/>
              <a:gd name="connsiteY43" fmla="*/ 1025526 h 2457451"/>
              <a:gd name="connsiteX44" fmla="*/ 3115940 w 3851276"/>
              <a:gd name="connsiteY44" fmla="*/ 537908 h 2457451"/>
              <a:gd name="connsiteX45" fmla="*/ 3106831 w 3851276"/>
              <a:gd name="connsiteY45" fmla="*/ 531813 h 2457451"/>
              <a:gd name="connsiteX46" fmla="*/ 2900363 w 3851276"/>
              <a:gd name="connsiteY46" fmla="*/ 531813 h 2457451"/>
              <a:gd name="connsiteX47" fmla="*/ 135842 w 3851276"/>
              <a:gd name="connsiteY47" fmla="*/ 122238 h 2457451"/>
              <a:gd name="connsiteX48" fmla="*/ 120650 w 3851276"/>
              <a:gd name="connsiteY48" fmla="*/ 137438 h 2457451"/>
              <a:gd name="connsiteX49" fmla="*/ 120650 w 3851276"/>
              <a:gd name="connsiteY49" fmla="*/ 2000926 h 2457451"/>
              <a:gd name="connsiteX50" fmla="*/ 135842 w 3851276"/>
              <a:gd name="connsiteY50" fmla="*/ 2016126 h 2457451"/>
              <a:gd name="connsiteX51" fmla="*/ 327263 w 3851276"/>
              <a:gd name="connsiteY51" fmla="*/ 2016126 h 2457451"/>
              <a:gd name="connsiteX52" fmla="*/ 339416 w 3851276"/>
              <a:gd name="connsiteY52" fmla="*/ 2003966 h 2457451"/>
              <a:gd name="connsiteX53" fmla="*/ 825563 w 3851276"/>
              <a:gd name="connsiteY53" fmla="*/ 1587493 h 2457451"/>
              <a:gd name="connsiteX54" fmla="*/ 1308671 w 3851276"/>
              <a:gd name="connsiteY54" fmla="*/ 2003966 h 2457451"/>
              <a:gd name="connsiteX55" fmla="*/ 1323864 w 3851276"/>
              <a:gd name="connsiteY55" fmla="*/ 2016126 h 2457451"/>
              <a:gd name="connsiteX56" fmla="*/ 2259696 w 3851276"/>
              <a:gd name="connsiteY56" fmla="*/ 2016126 h 2457451"/>
              <a:gd name="connsiteX57" fmla="*/ 2274888 w 3851276"/>
              <a:gd name="connsiteY57" fmla="*/ 2000926 h 2457451"/>
              <a:gd name="connsiteX58" fmla="*/ 2274888 w 3851276"/>
              <a:gd name="connsiteY58" fmla="*/ 137438 h 2457451"/>
              <a:gd name="connsiteX59" fmla="*/ 2259696 w 3851276"/>
              <a:gd name="connsiteY59" fmla="*/ 122238 h 2457451"/>
              <a:gd name="connsiteX60" fmla="*/ 135842 w 3851276"/>
              <a:gd name="connsiteY60" fmla="*/ 122238 h 2457451"/>
              <a:gd name="connsiteX61" fmla="*/ 136718 w 3851276"/>
              <a:gd name="connsiteY61" fmla="*/ 0 h 2457451"/>
              <a:gd name="connsiteX62" fmla="*/ 2260407 w 3851276"/>
              <a:gd name="connsiteY62" fmla="*/ 0 h 2457451"/>
              <a:gd name="connsiteX63" fmla="*/ 2397125 w 3851276"/>
              <a:gd name="connsiteY63" fmla="*/ 136880 h 2457451"/>
              <a:gd name="connsiteX64" fmla="*/ 2397125 w 3851276"/>
              <a:gd name="connsiteY64" fmla="*/ 306281 h 2457451"/>
              <a:gd name="connsiteX65" fmla="*/ 2397125 w 3851276"/>
              <a:gd name="connsiteY65" fmla="*/ 411163 h 2457451"/>
              <a:gd name="connsiteX66" fmla="*/ 2426638 w 3851276"/>
              <a:gd name="connsiteY66" fmla="*/ 411163 h 2457451"/>
              <a:gd name="connsiteX67" fmla="*/ 3107254 w 3851276"/>
              <a:gd name="connsiteY67" fmla="*/ 411163 h 2457451"/>
              <a:gd name="connsiteX68" fmla="*/ 3210506 w 3851276"/>
              <a:gd name="connsiteY68" fmla="*/ 459817 h 2457451"/>
              <a:gd name="connsiteX69" fmla="*/ 3684251 w 3851276"/>
              <a:gd name="connsiteY69" fmla="*/ 1025414 h 2457451"/>
              <a:gd name="connsiteX70" fmla="*/ 3687288 w 3851276"/>
              <a:gd name="connsiteY70" fmla="*/ 1025414 h 2457451"/>
              <a:gd name="connsiteX71" fmla="*/ 3687288 w 3851276"/>
              <a:gd name="connsiteY71" fmla="*/ 1031496 h 2457451"/>
              <a:gd name="connsiteX72" fmla="*/ 3817871 w 3851276"/>
              <a:gd name="connsiteY72" fmla="*/ 1186579 h 2457451"/>
              <a:gd name="connsiteX73" fmla="*/ 3851276 w 3851276"/>
              <a:gd name="connsiteY73" fmla="*/ 1274763 h 2457451"/>
              <a:gd name="connsiteX74" fmla="*/ 3851276 w 3851276"/>
              <a:gd name="connsiteY74" fmla="*/ 2001525 h 2457451"/>
              <a:gd name="connsiteX75" fmla="*/ 3714619 w 3851276"/>
              <a:gd name="connsiteY75" fmla="*/ 2138363 h 2457451"/>
              <a:gd name="connsiteX76" fmla="*/ 3635662 w 3851276"/>
              <a:gd name="connsiteY76" fmla="*/ 2138363 h 2457451"/>
              <a:gd name="connsiteX77" fmla="*/ 3502041 w 3851276"/>
              <a:gd name="connsiteY77" fmla="*/ 2022811 h 2457451"/>
              <a:gd name="connsiteX78" fmla="*/ 3137623 w 3851276"/>
              <a:gd name="connsiteY78" fmla="*/ 1709604 h 2457451"/>
              <a:gd name="connsiteX79" fmla="*/ 2773204 w 3851276"/>
              <a:gd name="connsiteY79" fmla="*/ 2022811 h 2457451"/>
              <a:gd name="connsiteX80" fmla="*/ 2639583 w 3851276"/>
              <a:gd name="connsiteY80" fmla="*/ 2138363 h 2457451"/>
              <a:gd name="connsiteX81" fmla="*/ 2281238 w 3851276"/>
              <a:gd name="connsiteY81" fmla="*/ 2138363 h 2457451"/>
              <a:gd name="connsiteX82" fmla="*/ 2281238 w 3851276"/>
              <a:gd name="connsiteY82" fmla="*/ 2134192 h 2457451"/>
              <a:gd name="connsiteX83" fmla="*/ 2260407 w 3851276"/>
              <a:gd name="connsiteY83" fmla="*/ 2138363 h 2457451"/>
              <a:gd name="connsiteX84" fmla="*/ 1324647 w 3851276"/>
              <a:gd name="connsiteY84" fmla="*/ 2138363 h 2457451"/>
              <a:gd name="connsiteX85" fmla="*/ 1190967 w 3851276"/>
              <a:gd name="connsiteY85" fmla="*/ 2022776 h 2457451"/>
              <a:gd name="connsiteX86" fmla="*/ 826386 w 3851276"/>
              <a:gd name="connsiteY86" fmla="*/ 1709474 h 2457451"/>
              <a:gd name="connsiteX87" fmla="*/ 461804 w 3851276"/>
              <a:gd name="connsiteY87" fmla="*/ 2022776 h 2457451"/>
              <a:gd name="connsiteX88" fmla="*/ 328124 w 3851276"/>
              <a:gd name="connsiteY88" fmla="*/ 2138363 h 2457451"/>
              <a:gd name="connsiteX89" fmla="*/ 136718 w 3851276"/>
              <a:gd name="connsiteY89" fmla="*/ 2138363 h 2457451"/>
              <a:gd name="connsiteX90" fmla="*/ 0 w 3851276"/>
              <a:gd name="connsiteY90" fmla="*/ 2001484 h 2457451"/>
              <a:gd name="connsiteX91" fmla="*/ 0 w 3851276"/>
              <a:gd name="connsiteY91" fmla="*/ 136880 h 2457451"/>
              <a:gd name="connsiteX92" fmla="*/ 136718 w 3851276"/>
              <a:gd name="connsiteY92" fmla="*/ 0 h 245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3851276" h="2457451">
                <a:moveTo>
                  <a:pt x="3137695" y="1879600"/>
                </a:moveTo>
                <a:cubicBezTo>
                  <a:pt x="3011881" y="1879600"/>
                  <a:pt x="2909888" y="1981593"/>
                  <a:pt x="2909888" y="2107407"/>
                </a:cubicBezTo>
                <a:cubicBezTo>
                  <a:pt x="2909888" y="2233221"/>
                  <a:pt x="3011881" y="2335214"/>
                  <a:pt x="3137695" y="2335214"/>
                </a:cubicBezTo>
                <a:cubicBezTo>
                  <a:pt x="3263509" y="2335214"/>
                  <a:pt x="3365502" y="2233221"/>
                  <a:pt x="3365502" y="2107407"/>
                </a:cubicBezTo>
                <a:cubicBezTo>
                  <a:pt x="3365502" y="1981593"/>
                  <a:pt x="3263509" y="1879600"/>
                  <a:pt x="3137695" y="1879600"/>
                </a:cubicBezTo>
                <a:close/>
                <a:moveTo>
                  <a:pt x="826295" y="1879600"/>
                </a:moveTo>
                <a:cubicBezTo>
                  <a:pt x="700481" y="1879600"/>
                  <a:pt x="598488" y="1981593"/>
                  <a:pt x="598488" y="2107407"/>
                </a:cubicBezTo>
                <a:cubicBezTo>
                  <a:pt x="598488" y="2233221"/>
                  <a:pt x="700481" y="2335214"/>
                  <a:pt x="826295" y="2335214"/>
                </a:cubicBezTo>
                <a:cubicBezTo>
                  <a:pt x="952109" y="2335214"/>
                  <a:pt x="1054102" y="2233221"/>
                  <a:pt x="1054102" y="2107407"/>
                </a:cubicBezTo>
                <a:cubicBezTo>
                  <a:pt x="1054102" y="1981593"/>
                  <a:pt x="952109" y="1879600"/>
                  <a:pt x="826295" y="1879600"/>
                </a:cubicBezTo>
                <a:close/>
                <a:moveTo>
                  <a:pt x="3136900" y="1757363"/>
                </a:moveTo>
                <a:cubicBezTo>
                  <a:pt x="3329785" y="1757363"/>
                  <a:pt x="3486150" y="1914083"/>
                  <a:pt x="3486150" y="2107407"/>
                </a:cubicBezTo>
                <a:cubicBezTo>
                  <a:pt x="3486150" y="2300731"/>
                  <a:pt x="3329785" y="2457451"/>
                  <a:pt x="3136900" y="2457451"/>
                </a:cubicBezTo>
                <a:cubicBezTo>
                  <a:pt x="2944015" y="2457451"/>
                  <a:pt x="2787650" y="2300731"/>
                  <a:pt x="2787650" y="2107407"/>
                </a:cubicBezTo>
                <a:cubicBezTo>
                  <a:pt x="2787650" y="1914083"/>
                  <a:pt x="2944015" y="1757363"/>
                  <a:pt x="3136900" y="1757363"/>
                </a:cubicBezTo>
                <a:close/>
                <a:moveTo>
                  <a:pt x="825500" y="1757363"/>
                </a:moveTo>
                <a:cubicBezTo>
                  <a:pt x="1018385" y="1757363"/>
                  <a:pt x="1174750" y="1914083"/>
                  <a:pt x="1174750" y="2107407"/>
                </a:cubicBezTo>
                <a:cubicBezTo>
                  <a:pt x="1174750" y="2300731"/>
                  <a:pt x="1018385" y="2457451"/>
                  <a:pt x="825500" y="2457451"/>
                </a:cubicBezTo>
                <a:cubicBezTo>
                  <a:pt x="632615" y="2457451"/>
                  <a:pt x="476250" y="2300731"/>
                  <a:pt x="476250" y="2107407"/>
                </a:cubicBezTo>
                <a:cubicBezTo>
                  <a:pt x="476250" y="1914083"/>
                  <a:pt x="632615" y="1757363"/>
                  <a:pt x="825500" y="1757363"/>
                </a:cubicBezTo>
                <a:close/>
                <a:moveTo>
                  <a:pt x="2397125" y="532797"/>
                </a:moveTo>
                <a:lnTo>
                  <a:pt x="2397125" y="613672"/>
                </a:lnTo>
                <a:lnTo>
                  <a:pt x="2397125" y="2001484"/>
                </a:lnTo>
                <a:lnTo>
                  <a:pt x="2394079" y="2016729"/>
                </a:lnTo>
                <a:lnTo>
                  <a:pt x="2399520" y="2016729"/>
                </a:lnTo>
                <a:lnTo>
                  <a:pt x="2639583" y="2016729"/>
                </a:lnTo>
                <a:cubicBezTo>
                  <a:pt x="2645657" y="2016729"/>
                  <a:pt x="2651731" y="2010648"/>
                  <a:pt x="2651731" y="2004566"/>
                </a:cubicBezTo>
                <a:cubicBezTo>
                  <a:pt x="2685136" y="1761298"/>
                  <a:pt x="2885566" y="1587970"/>
                  <a:pt x="3137623" y="1587970"/>
                </a:cubicBezTo>
                <a:cubicBezTo>
                  <a:pt x="3389679" y="1587970"/>
                  <a:pt x="3590109" y="1761298"/>
                  <a:pt x="3623514" y="2004566"/>
                </a:cubicBezTo>
                <a:cubicBezTo>
                  <a:pt x="3623514" y="2010648"/>
                  <a:pt x="3629588" y="2016729"/>
                  <a:pt x="3635662" y="2016729"/>
                </a:cubicBezTo>
                <a:lnTo>
                  <a:pt x="3714619" y="2016729"/>
                </a:lnTo>
                <a:cubicBezTo>
                  <a:pt x="3723730" y="2016729"/>
                  <a:pt x="3729803" y="2010648"/>
                  <a:pt x="3729803" y="2001525"/>
                </a:cubicBezTo>
                <a:lnTo>
                  <a:pt x="3729803" y="1274763"/>
                </a:lnTo>
                <a:cubicBezTo>
                  <a:pt x="3729803" y="1271722"/>
                  <a:pt x="3726766" y="1268681"/>
                  <a:pt x="3726766" y="1265641"/>
                </a:cubicBezTo>
                <a:lnTo>
                  <a:pt x="3626551" y="1147048"/>
                </a:lnTo>
                <a:lnTo>
                  <a:pt x="2915934" y="1147048"/>
                </a:lnTo>
                <a:cubicBezTo>
                  <a:pt x="2840014" y="1147048"/>
                  <a:pt x="2779277" y="1086231"/>
                  <a:pt x="2779277" y="1013250"/>
                </a:cubicBezTo>
                <a:lnTo>
                  <a:pt x="2779277" y="532797"/>
                </a:lnTo>
                <a:lnTo>
                  <a:pt x="2402829" y="532797"/>
                </a:lnTo>
                <a:lnTo>
                  <a:pt x="2397125" y="532797"/>
                </a:lnTo>
                <a:close/>
                <a:moveTo>
                  <a:pt x="2900363" y="531813"/>
                </a:moveTo>
                <a:lnTo>
                  <a:pt x="2900363" y="1013336"/>
                </a:lnTo>
                <a:cubicBezTo>
                  <a:pt x="2900363" y="1019431"/>
                  <a:pt x="2906436" y="1025526"/>
                  <a:pt x="2915545" y="1025526"/>
                </a:cubicBezTo>
                <a:lnTo>
                  <a:pt x="3525838" y="1025526"/>
                </a:lnTo>
                <a:lnTo>
                  <a:pt x="3115940" y="537908"/>
                </a:lnTo>
                <a:cubicBezTo>
                  <a:pt x="3115940" y="534861"/>
                  <a:pt x="3109867" y="531813"/>
                  <a:pt x="3106831" y="531813"/>
                </a:cubicBezTo>
                <a:lnTo>
                  <a:pt x="2900363" y="531813"/>
                </a:lnTo>
                <a:close/>
                <a:moveTo>
                  <a:pt x="135842" y="122238"/>
                </a:moveTo>
                <a:cubicBezTo>
                  <a:pt x="126727" y="122238"/>
                  <a:pt x="120650" y="128318"/>
                  <a:pt x="120650" y="137438"/>
                </a:cubicBezTo>
                <a:lnTo>
                  <a:pt x="120650" y="2000926"/>
                </a:lnTo>
                <a:cubicBezTo>
                  <a:pt x="120650" y="2010046"/>
                  <a:pt x="126727" y="2016126"/>
                  <a:pt x="135842" y="2016126"/>
                </a:cubicBezTo>
                <a:lnTo>
                  <a:pt x="327263" y="2016126"/>
                </a:lnTo>
                <a:cubicBezTo>
                  <a:pt x="333339" y="2016126"/>
                  <a:pt x="339416" y="2010046"/>
                  <a:pt x="339416" y="2003966"/>
                </a:cubicBezTo>
                <a:cubicBezTo>
                  <a:pt x="372839" y="1760771"/>
                  <a:pt x="570336" y="1587493"/>
                  <a:pt x="825563" y="1587493"/>
                </a:cubicBezTo>
                <a:cubicBezTo>
                  <a:pt x="1077752" y="1587493"/>
                  <a:pt x="1278287" y="1760771"/>
                  <a:pt x="1308671" y="2003966"/>
                </a:cubicBezTo>
                <a:cubicBezTo>
                  <a:pt x="1311710" y="2010046"/>
                  <a:pt x="1317787" y="2016126"/>
                  <a:pt x="1323864" y="2016126"/>
                </a:cubicBezTo>
                <a:lnTo>
                  <a:pt x="2259696" y="2016126"/>
                </a:lnTo>
                <a:cubicBezTo>
                  <a:pt x="2268811" y="2016126"/>
                  <a:pt x="2274888" y="2010046"/>
                  <a:pt x="2274888" y="2000926"/>
                </a:cubicBezTo>
                <a:lnTo>
                  <a:pt x="2274888" y="137438"/>
                </a:lnTo>
                <a:cubicBezTo>
                  <a:pt x="2274888" y="128318"/>
                  <a:pt x="2268811" y="122238"/>
                  <a:pt x="2259696" y="122238"/>
                </a:cubicBezTo>
                <a:lnTo>
                  <a:pt x="135842" y="122238"/>
                </a:lnTo>
                <a:close/>
                <a:moveTo>
                  <a:pt x="136718" y="0"/>
                </a:moveTo>
                <a:lnTo>
                  <a:pt x="2260407" y="0"/>
                </a:lnTo>
                <a:cubicBezTo>
                  <a:pt x="2336362" y="0"/>
                  <a:pt x="2397125" y="60835"/>
                  <a:pt x="2397125" y="136880"/>
                </a:cubicBezTo>
                <a:lnTo>
                  <a:pt x="2397125" y="306281"/>
                </a:lnTo>
                <a:lnTo>
                  <a:pt x="2397125" y="411163"/>
                </a:lnTo>
                <a:lnTo>
                  <a:pt x="2426638" y="411163"/>
                </a:lnTo>
                <a:lnTo>
                  <a:pt x="3107254" y="411163"/>
                </a:lnTo>
                <a:cubicBezTo>
                  <a:pt x="3146733" y="411163"/>
                  <a:pt x="3186212" y="429408"/>
                  <a:pt x="3210506" y="459817"/>
                </a:cubicBezTo>
                <a:lnTo>
                  <a:pt x="3684251" y="1025414"/>
                </a:lnTo>
                <a:lnTo>
                  <a:pt x="3687288" y="1025414"/>
                </a:lnTo>
                <a:lnTo>
                  <a:pt x="3687288" y="1031496"/>
                </a:lnTo>
                <a:lnTo>
                  <a:pt x="3817871" y="1186579"/>
                </a:lnTo>
                <a:cubicBezTo>
                  <a:pt x="3839129" y="1210905"/>
                  <a:pt x="3851276" y="1241314"/>
                  <a:pt x="3851276" y="1274763"/>
                </a:cubicBezTo>
                <a:lnTo>
                  <a:pt x="3851276" y="2001525"/>
                </a:lnTo>
                <a:cubicBezTo>
                  <a:pt x="3851276" y="2077546"/>
                  <a:pt x="3790540" y="2138363"/>
                  <a:pt x="3714619" y="2138363"/>
                </a:cubicBezTo>
                <a:lnTo>
                  <a:pt x="3635662" y="2138363"/>
                </a:lnTo>
                <a:cubicBezTo>
                  <a:pt x="3568852" y="2138363"/>
                  <a:pt x="3511152" y="2086669"/>
                  <a:pt x="3502041" y="2022811"/>
                </a:cubicBezTo>
                <a:cubicBezTo>
                  <a:pt x="3477747" y="1834279"/>
                  <a:pt x="3331979" y="1709604"/>
                  <a:pt x="3137623" y="1709604"/>
                </a:cubicBezTo>
                <a:cubicBezTo>
                  <a:pt x="2943266" y="1709604"/>
                  <a:pt x="2797498" y="1834279"/>
                  <a:pt x="2773204" y="2022811"/>
                </a:cubicBezTo>
                <a:cubicBezTo>
                  <a:pt x="2764093" y="2086669"/>
                  <a:pt x="2706394" y="2138363"/>
                  <a:pt x="2639583" y="2138363"/>
                </a:cubicBezTo>
                <a:lnTo>
                  <a:pt x="2281238" y="2138363"/>
                </a:lnTo>
                <a:lnTo>
                  <a:pt x="2281238" y="2134192"/>
                </a:lnTo>
                <a:lnTo>
                  <a:pt x="2260407" y="2138363"/>
                </a:lnTo>
                <a:lnTo>
                  <a:pt x="1324647" y="2138363"/>
                </a:lnTo>
                <a:cubicBezTo>
                  <a:pt x="1257807" y="2138363"/>
                  <a:pt x="1200082" y="2086653"/>
                  <a:pt x="1190967" y="2022776"/>
                </a:cubicBezTo>
                <a:cubicBezTo>
                  <a:pt x="1166662" y="1834186"/>
                  <a:pt x="1020829" y="1709474"/>
                  <a:pt x="826386" y="1709474"/>
                </a:cubicBezTo>
                <a:cubicBezTo>
                  <a:pt x="631942" y="1709474"/>
                  <a:pt x="486109" y="1834186"/>
                  <a:pt x="461804" y="2022776"/>
                </a:cubicBezTo>
                <a:cubicBezTo>
                  <a:pt x="452689" y="2086653"/>
                  <a:pt x="394964" y="2138363"/>
                  <a:pt x="328124" y="2138363"/>
                </a:cubicBezTo>
                <a:lnTo>
                  <a:pt x="136718" y="2138363"/>
                </a:lnTo>
                <a:cubicBezTo>
                  <a:pt x="60764" y="2138363"/>
                  <a:pt x="0" y="2077528"/>
                  <a:pt x="0" y="2001484"/>
                </a:cubicBezTo>
                <a:lnTo>
                  <a:pt x="0" y="136880"/>
                </a:lnTo>
                <a:cubicBezTo>
                  <a:pt x="0" y="60835"/>
                  <a:pt x="60764" y="0"/>
                  <a:pt x="136718" y="0"/>
                </a:cubicBezTo>
                <a:close/>
              </a:path>
            </a:pathLst>
          </a:custGeom>
          <a:solidFill>
            <a:schemeClr val="bg1"/>
          </a:solidFill>
          <a:ln>
            <a:solidFill>
              <a:schemeClr val="accent4">
                <a:lumMod val="40000"/>
                <a:lumOff val="60000"/>
              </a:schemeClr>
            </a:solid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387" name="Freeform 73">
            <a:extLst>
              <a:ext uri="{FF2B5EF4-FFF2-40B4-BE49-F238E27FC236}">
                <a16:creationId xmlns:a16="http://schemas.microsoft.com/office/drawing/2014/main" id="{D0FA175D-5E92-4FCC-81F9-32E281BF6826}"/>
              </a:ext>
            </a:extLst>
          </p:cNvPr>
          <p:cNvSpPr>
            <a:spLocks noChangeArrowheads="1"/>
          </p:cNvSpPr>
          <p:nvPr/>
        </p:nvSpPr>
        <p:spPr bwMode="auto">
          <a:xfrm>
            <a:off x="7964019" y="3287216"/>
            <a:ext cx="234296" cy="149501"/>
          </a:xfrm>
          <a:custGeom>
            <a:avLst/>
            <a:gdLst>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26294 w 3851276"/>
              <a:gd name="connsiteY5" fmla="*/ 2082800 h 2457451"/>
              <a:gd name="connsiteX6" fmla="*/ 801687 w 3851276"/>
              <a:gd name="connsiteY6" fmla="*/ 2107407 h 2457451"/>
              <a:gd name="connsiteX7" fmla="*/ 826294 w 3851276"/>
              <a:gd name="connsiteY7" fmla="*/ 2132014 h 2457451"/>
              <a:gd name="connsiteX8" fmla="*/ 850901 w 3851276"/>
              <a:gd name="connsiteY8" fmla="*/ 2107407 h 2457451"/>
              <a:gd name="connsiteX9" fmla="*/ 826294 w 3851276"/>
              <a:gd name="connsiteY9" fmla="*/ 2082800 h 2457451"/>
              <a:gd name="connsiteX10" fmla="*/ 3137694 w 3851276"/>
              <a:gd name="connsiteY10" fmla="*/ 1962150 h 2457451"/>
              <a:gd name="connsiteX11" fmla="*/ 3282951 w 3851276"/>
              <a:gd name="connsiteY11" fmla="*/ 2108200 h 2457451"/>
              <a:gd name="connsiteX12" fmla="*/ 3137694 w 3851276"/>
              <a:gd name="connsiteY12" fmla="*/ 2254250 h 2457451"/>
              <a:gd name="connsiteX13" fmla="*/ 2992437 w 3851276"/>
              <a:gd name="connsiteY13" fmla="*/ 2108200 h 2457451"/>
              <a:gd name="connsiteX14" fmla="*/ 3137694 w 3851276"/>
              <a:gd name="connsiteY14" fmla="*/ 1962150 h 2457451"/>
              <a:gd name="connsiteX15" fmla="*/ 826294 w 3851276"/>
              <a:gd name="connsiteY15" fmla="*/ 1962150 h 2457451"/>
              <a:gd name="connsiteX16" fmla="*/ 971551 w 3851276"/>
              <a:gd name="connsiteY16" fmla="*/ 2108200 h 2457451"/>
              <a:gd name="connsiteX17" fmla="*/ 826294 w 3851276"/>
              <a:gd name="connsiteY17" fmla="*/ 2254250 h 2457451"/>
              <a:gd name="connsiteX18" fmla="*/ 681037 w 3851276"/>
              <a:gd name="connsiteY18" fmla="*/ 2108200 h 2457451"/>
              <a:gd name="connsiteX19" fmla="*/ 826294 w 3851276"/>
              <a:gd name="connsiteY19" fmla="*/ 1962150 h 2457451"/>
              <a:gd name="connsiteX20" fmla="*/ 3137695 w 3851276"/>
              <a:gd name="connsiteY20" fmla="*/ 1879600 h 2457451"/>
              <a:gd name="connsiteX21" fmla="*/ 2909888 w 3851276"/>
              <a:gd name="connsiteY21" fmla="*/ 2107407 h 2457451"/>
              <a:gd name="connsiteX22" fmla="*/ 3137695 w 3851276"/>
              <a:gd name="connsiteY22" fmla="*/ 2335214 h 2457451"/>
              <a:gd name="connsiteX23" fmla="*/ 3365502 w 3851276"/>
              <a:gd name="connsiteY23" fmla="*/ 2107407 h 2457451"/>
              <a:gd name="connsiteX24" fmla="*/ 3137695 w 3851276"/>
              <a:gd name="connsiteY24" fmla="*/ 1879600 h 2457451"/>
              <a:gd name="connsiteX25" fmla="*/ 826295 w 3851276"/>
              <a:gd name="connsiteY25" fmla="*/ 1879600 h 2457451"/>
              <a:gd name="connsiteX26" fmla="*/ 598488 w 3851276"/>
              <a:gd name="connsiteY26" fmla="*/ 2107407 h 2457451"/>
              <a:gd name="connsiteX27" fmla="*/ 826295 w 3851276"/>
              <a:gd name="connsiteY27" fmla="*/ 2335214 h 2457451"/>
              <a:gd name="connsiteX28" fmla="*/ 1054102 w 3851276"/>
              <a:gd name="connsiteY28" fmla="*/ 2107407 h 2457451"/>
              <a:gd name="connsiteX29" fmla="*/ 826295 w 3851276"/>
              <a:gd name="connsiteY29" fmla="*/ 1879600 h 2457451"/>
              <a:gd name="connsiteX30" fmla="*/ 3136900 w 3851276"/>
              <a:gd name="connsiteY30" fmla="*/ 1757363 h 2457451"/>
              <a:gd name="connsiteX31" fmla="*/ 3486150 w 3851276"/>
              <a:gd name="connsiteY31" fmla="*/ 2107407 h 2457451"/>
              <a:gd name="connsiteX32" fmla="*/ 3136900 w 3851276"/>
              <a:gd name="connsiteY32" fmla="*/ 2457451 h 2457451"/>
              <a:gd name="connsiteX33" fmla="*/ 2787650 w 3851276"/>
              <a:gd name="connsiteY33" fmla="*/ 2107407 h 2457451"/>
              <a:gd name="connsiteX34" fmla="*/ 3136900 w 3851276"/>
              <a:gd name="connsiteY34" fmla="*/ 1757363 h 2457451"/>
              <a:gd name="connsiteX35" fmla="*/ 825500 w 3851276"/>
              <a:gd name="connsiteY35" fmla="*/ 1757363 h 2457451"/>
              <a:gd name="connsiteX36" fmla="*/ 1174750 w 3851276"/>
              <a:gd name="connsiteY36" fmla="*/ 2107407 h 2457451"/>
              <a:gd name="connsiteX37" fmla="*/ 825500 w 3851276"/>
              <a:gd name="connsiteY37" fmla="*/ 2457451 h 2457451"/>
              <a:gd name="connsiteX38" fmla="*/ 476250 w 3851276"/>
              <a:gd name="connsiteY38" fmla="*/ 2107407 h 2457451"/>
              <a:gd name="connsiteX39" fmla="*/ 825500 w 3851276"/>
              <a:gd name="connsiteY39" fmla="*/ 1757363 h 2457451"/>
              <a:gd name="connsiteX40" fmla="*/ 2397125 w 3851276"/>
              <a:gd name="connsiteY40" fmla="*/ 532797 h 2457451"/>
              <a:gd name="connsiteX41" fmla="*/ 2397125 w 3851276"/>
              <a:gd name="connsiteY41" fmla="*/ 613672 h 2457451"/>
              <a:gd name="connsiteX42" fmla="*/ 2397125 w 3851276"/>
              <a:gd name="connsiteY42" fmla="*/ 2001484 h 2457451"/>
              <a:gd name="connsiteX43" fmla="*/ 2394079 w 3851276"/>
              <a:gd name="connsiteY43" fmla="*/ 2016729 h 2457451"/>
              <a:gd name="connsiteX44" fmla="*/ 2399520 w 3851276"/>
              <a:gd name="connsiteY44" fmla="*/ 2016729 h 2457451"/>
              <a:gd name="connsiteX45" fmla="*/ 2639583 w 3851276"/>
              <a:gd name="connsiteY45" fmla="*/ 2016729 h 2457451"/>
              <a:gd name="connsiteX46" fmla="*/ 2651731 w 3851276"/>
              <a:gd name="connsiteY46" fmla="*/ 2004566 h 2457451"/>
              <a:gd name="connsiteX47" fmla="*/ 3137623 w 3851276"/>
              <a:gd name="connsiteY47" fmla="*/ 1587970 h 2457451"/>
              <a:gd name="connsiteX48" fmla="*/ 3623514 w 3851276"/>
              <a:gd name="connsiteY48" fmla="*/ 2004566 h 2457451"/>
              <a:gd name="connsiteX49" fmla="*/ 3635662 w 3851276"/>
              <a:gd name="connsiteY49" fmla="*/ 2016729 h 2457451"/>
              <a:gd name="connsiteX50" fmla="*/ 3714619 w 3851276"/>
              <a:gd name="connsiteY50" fmla="*/ 2016729 h 2457451"/>
              <a:gd name="connsiteX51" fmla="*/ 3729803 w 3851276"/>
              <a:gd name="connsiteY51" fmla="*/ 2001525 h 2457451"/>
              <a:gd name="connsiteX52" fmla="*/ 3729803 w 3851276"/>
              <a:gd name="connsiteY52" fmla="*/ 1274763 h 2457451"/>
              <a:gd name="connsiteX53" fmla="*/ 3726766 w 3851276"/>
              <a:gd name="connsiteY53" fmla="*/ 1265641 h 2457451"/>
              <a:gd name="connsiteX54" fmla="*/ 3626551 w 3851276"/>
              <a:gd name="connsiteY54" fmla="*/ 1147048 h 2457451"/>
              <a:gd name="connsiteX55" fmla="*/ 2915934 w 3851276"/>
              <a:gd name="connsiteY55" fmla="*/ 1147048 h 2457451"/>
              <a:gd name="connsiteX56" fmla="*/ 2779277 w 3851276"/>
              <a:gd name="connsiteY56" fmla="*/ 1013250 h 2457451"/>
              <a:gd name="connsiteX57" fmla="*/ 2779277 w 3851276"/>
              <a:gd name="connsiteY57" fmla="*/ 532797 h 2457451"/>
              <a:gd name="connsiteX58" fmla="*/ 2402829 w 3851276"/>
              <a:gd name="connsiteY58" fmla="*/ 532797 h 2457451"/>
              <a:gd name="connsiteX59" fmla="*/ 2900363 w 3851276"/>
              <a:gd name="connsiteY59" fmla="*/ 531813 h 2457451"/>
              <a:gd name="connsiteX60" fmla="*/ 2900363 w 3851276"/>
              <a:gd name="connsiteY60" fmla="*/ 1013336 h 2457451"/>
              <a:gd name="connsiteX61" fmla="*/ 2915545 w 3851276"/>
              <a:gd name="connsiteY61" fmla="*/ 1025526 h 2457451"/>
              <a:gd name="connsiteX62" fmla="*/ 3525838 w 3851276"/>
              <a:gd name="connsiteY62" fmla="*/ 1025526 h 2457451"/>
              <a:gd name="connsiteX63" fmla="*/ 3115940 w 3851276"/>
              <a:gd name="connsiteY63" fmla="*/ 537908 h 2457451"/>
              <a:gd name="connsiteX64" fmla="*/ 3106831 w 3851276"/>
              <a:gd name="connsiteY64" fmla="*/ 531813 h 2457451"/>
              <a:gd name="connsiteX65" fmla="*/ 135842 w 3851276"/>
              <a:gd name="connsiteY65" fmla="*/ 122238 h 2457451"/>
              <a:gd name="connsiteX66" fmla="*/ 120650 w 3851276"/>
              <a:gd name="connsiteY66" fmla="*/ 137438 h 2457451"/>
              <a:gd name="connsiteX67" fmla="*/ 120650 w 3851276"/>
              <a:gd name="connsiteY67" fmla="*/ 2000926 h 2457451"/>
              <a:gd name="connsiteX68" fmla="*/ 135842 w 3851276"/>
              <a:gd name="connsiteY68" fmla="*/ 2016126 h 2457451"/>
              <a:gd name="connsiteX69" fmla="*/ 327263 w 3851276"/>
              <a:gd name="connsiteY69" fmla="*/ 2016126 h 2457451"/>
              <a:gd name="connsiteX70" fmla="*/ 339416 w 3851276"/>
              <a:gd name="connsiteY70" fmla="*/ 2003966 h 2457451"/>
              <a:gd name="connsiteX71" fmla="*/ 825563 w 3851276"/>
              <a:gd name="connsiteY71" fmla="*/ 1587493 h 2457451"/>
              <a:gd name="connsiteX72" fmla="*/ 1308671 w 3851276"/>
              <a:gd name="connsiteY72" fmla="*/ 2003966 h 2457451"/>
              <a:gd name="connsiteX73" fmla="*/ 1323864 w 3851276"/>
              <a:gd name="connsiteY73" fmla="*/ 2016126 h 2457451"/>
              <a:gd name="connsiteX74" fmla="*/ 2259696 w 3851276"/>
              <a:gd name="connsiteY74" fmla="*/ 2016126 h 2457451"/>
              <a:gd name="connsiteX75" fmla="*/ 2274888 w 3851276"/>
              <a:gd name="connsiteY75" fmla="*/ 2000926 h 2457451"/>
              <a:gd name="connsiteX76" fmla="*/ 2274888 w 3851276"/>
              <a:gd name="connsiteY76" fmla="*/ 137438 h 2457451"/>
              <a:gd name="connsiteX77" fmla="*/ 2259696 w 3851276"/>
              <a:gd name="connsiteY77" fmla="*/ 122238 h 2457451"/>
              <a:gd name="connsiteX78" fmla="*/ 135842 w 3851276"/>
              <a:gd name="connsiteY78" fmla="*/ 122238 h 2457451"/>
              <a:gd name="connsiteX79" fmla="*/ 136718 w 3851276"/>
              <a:gd name="connsiteY79" fmla="*/ 0 h 2457451"/>
              <a:gd name="connsiteX80" fmla="*/ 2260407 w 3851276"/>
              <a:gd name="connsiteY80" fmla="*/ 0 h 2457451"/>
              <a:gd name="connsiteX81" fmla="*/ 2397125 w 3851276"/>
              <a:gd name="connsiteY81" fmla="*/ 136880 h 2457451"/>
              <a:gd name="connsiteX82" fmla="*/ 2397125 w 3851276"/>
              <a:gd name="connsiteY82" fmla="*/ 306281 h 2457451"/>
              <a:gd name="connsiteX83" fmla="*/ 2397125 w 3851276"/>
              <a:gd name="connsiteY83" fmla="*/ 411163 h 2457451"/>
              <a:gd name="connsiteX84" fmla="*/ 2426638 w 3851276"/>
              <a:gd name="connsiteY84" fmla="*/ 411163 h 2457451"/>
              <a:gd name="connsiteX85" fmla="*/ 3107254 w 3851276"/>
              <a:gd name="connsiteY85" fmla="*/ 411163 h 2457451"/>
              <a:gd name="connsiteX86" fmla="*/ 3210506 w 3851276"/>
              <a:gd name="connsiteY86" fmla="*/ 459817 h 2457451"/>
              <a:gd name="connsiteX87" fmla="*/ 3684251 w 3851276"/>
              <a:gd name="connsiteY87" fmla="*/ 1025414 h 2457451"/>
              <a:gd name="connsiteX88" fmla="*/ 3687288 w 3851276"/>
              <a:gd name="connsiteY88" fmla="*/ 1025414 h 2457451"/>
              <a:gd name="connsiteX89" fmla="*/ 3687288 w 3851276"/>
              <a:gd name="connsiteY89" fmla="*/ 1031496 h 2457451"/>
              <a:gd name="connsiteX90" fmla="*/ 3817871 w 3851276"/>
              <a:gd name="connsiteY90" fmla="*/ 1186579 h 2457451"/>
              <a:gd name="connsiteX91" fmla="*/ 3851276 w 3851276"/>
              <a:gd name="connsiteY91" fmla="*/ 1274763 h 2457451"/>
              <a:gd name="connsiteX92" fmla="*/ 3851276 w 3851276"/>
              <a:gd name="connsiteY92" fmla="*/ 2001525 h 2457451"/>
              <a:gd name="connsiteX93" fmla="*/ 3714619 w 3851276"/>
              <a:gd name="connsiteY93" fmla="*/ 2138363 h 2457451"/>
              <a:gd name="connsiteX94" fmla="*/ 3635662 w 3851276"/>
              <a:gd name="connsiteY94" fmla="*/ 2138363 h 2457451"/>
              <a:gd name="connsiteX95" fmla="*/ 3502041 w 3851276"/>
              <a:gd name="connsiteY95" fmla="*/ 2022811 h 2457451"/>
              <a:gd name="connsiteX96" fmla="*/ 3137623 w 3851276"/>
              <a:gd name="connsiteY96" fmla="*/ 1709604 h 2457451"/>
              <a:gd name="connsiteX97" fmla="*/ 2773204 w 3851276"/>
              <a:gd name="connsiteY97" fmla="*/ 2022811 h 2457451"/>
              <a:gd name="connsiteX98" fmla="*/ 2639583 w 3851276"/>
              <a:gd name="connsiteY98" fmla="*/ 2138363 h 2457451"/>
              <a:gd name="connsiteX99" fmla="*/ 2281238 w 3851276"/>
              <a:gd name="connsiteY99" fmla="*/ 2138363 h 2457451"/>
              <a:gd name="connsiteX100" fmla="*/ 2281238 w 3851276"/>
              <a:gd name="connsiteY100" fmla="*/ 2134192 h 2457451"/>
              <a:gd name="connsiteX101" fmla="*/ 2260407 w 3851276"/>
              <a:gd name="connsiteY101" fmla="*/ 2138363 h 2457451"/>
              <a:gd name="connsiteX102" fmla="*/ 1324647 w 3851276"/>
              <a:gd name="connsiteY102" fmla="*/ 2138363 h 2457451"/>
              <a:gd name="connsiteX103" fmla="*/ 1190967 w 3851276"/>
              <a:gd name="connsiteY103" fmla="*/ 2022776 h 2457451"/>
              <a:gd name="connsiteX104" fmla="*/ 826386 w 3851276"/>
              <a:gd name="connsiteY104" fmla="*/ 1709474 h 2457451"/>
              <a:gd name="connsiteX105" fmla="*/ 461804 w 3851276"/>
              <a:gd name="connsiteY105" fmla="*/ 2022776 h 2457451"/>
              <a:gd name="connsiteX106" fmla="*/ 328124 w 3851276"/>
              <a:gd name="connsiteY106" fmla="*/ 2138363 h 2457451"/>
              <a:gd name="connsiteX107" fmla="*/ 136718 w 3851276"/>
              <a:gd name="connsiteY107" fmla="*/ 2138363 h 2457451"/>
              <a:gd name="connsiteX108" fmla="*/ 0 w 3851276"/>
              <a:gd name="connsiteY108" fmla="*/ 2001484 h 2457451"/>
              <a:gd name="connsiteX109" fmla="*/ 0 w 3851276"/>
              <a:gd name="connsiteY109" fmla="*/ 136880 h 2457451"/>
              <a:gd name="connsiteX110" fmla="*/ 136718 w 3851276"/>
              <a:gd name="connsiteY110"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50901 w 3851276"/>
              <a:gd name="connsiteY5" fmla="*/ 2107407 h 2457451"/>
              <a:gd name="connsiteX6" fmla="*/ 801687 w 3851276"/>
              <a:gd name="connsiteY6" fmla="*/ 2107407 h 2457451"/>
              <a:gd name="connsiteX7" fmla="*/ 826294 w 3851276"/>
              <a:gd name="connsiteY7" fmla="*/ 2132014 h 2457451"/>
              <a:gd name="connsiteX8" fmla="*/ 850901 w 3851276"/>
              <a:gd name="connsiteY8" fmla="*/ 2107407 h 2457451"/>
              <a:gd name="connsiteX9" fmla="*/ 3137694 w 3851276"/>
              <a:gd name="connsiteY9" fmla="*/ 1962150 h 2457451"/>
              <a:gd name="connsiteX10" fmla="*/ 3282951 w 3851276"/>
              <a:gd name="connsiteY10" fmla="*/ 2108200 h 2457451"/>
              <a:gd name="connsiteX11" fmla="*/ 3137694 w 3851276"/>
              <a:gd name="connsiteY11" fmla="*/ 2254250 h 2457451"/>
              <a:gd name="connsiteX12" fmla="*/ 2992437 w 3851276"/>
              <a:gd name="connsiteY12" fmla="*/ 2108200 h 2457451"/>
              <a:gd name="connsiteX13" fmla="*/ 3137694 w 3851276"/>
              <a:gd name="connsiteY13" fmla="*/ 1962150 h 2457451"/>
              <a:gd name="connsiteX14" fmla="*/ 826294 w 3851276"/>
              <a:gd name="connsiteY14" fmla="*/ 1962150 h 2457451"/>
              <a:gd name="connsiteX15" fmla="*/ 971551 w 3851276"/>
              <a:gd name="connsiteY15" fmla="*/ 2108200 h 2457451"/>
              <a:gd name="connsiteX16" fmla="*/ 826294 w 3851276"/>
              <a:gd name="connsiteY16" fmla="*/ 2254250 h 2457451"/>
              <a:gd name="connsiteX17" fmla="*/ 681037 w 3851276"/>
              <a:gd name="connsiteY17" fmla="*/ 2108200 h 2457451"/>
              <a:gd name="connsiteX18" fmla="*/ 826294 w 3851276"/>
              <a:gd name="connsiteY18" fmla="*/ 1962150 h 2457451"/>
              <a:gd name="connsiteX19" fmla="*/ 3137695 w 3851276"/>
              <a:gd name="connsiteY19" fmla="*/ 1879600 h 2457451"/>
              <a:gd name="connsiteX20" fmla="*/ 2909888 w 3851276"/>
              <a:gd name="connsiteY20" fmla="*/ 2107407 h 2457451"/>
              <a:gd name="connsiteX21" fmla="*/ 3137695 w 3851276"/>
              <a:gd name="connsiteY21" fmla="*/ 2335214 h 2457451"/>
              <a:gd name="connsiteX22" fmla="*/ 3365502 w 3851276"/>
              <a:gd name="connsiteY22" fmla="*/ 2107407 h 2457451"/>
              <a:gd name="connsiteX23" fmla="*/ 3137695 w 3851276"/>
              <a:gd name="connsiteY23" fmla="*/ 1879600 h 2457451"/>
              <a:gd name="connsiteX24" fmla="*/ 826295 w 3851276"/>
              <a:gd name="connsiteY24" fmla="*/ 1879600 h 2457451"/>
              <a:gd name="connsiteX25" fmla="*/ 598488 w 3851276"/>
              <a:gd name="connsiteY25" fmla="*/ 2107407 h 2457451"/>
              <a:gd name="connsiteX26" fmla="*/ 826295 w 3851276"/>
              <a:gd name="connsiteY26" fmla="*/ 2335214 h 2457451"/>
              <a:gd name="connsiteX27" fmla="*/ 1054102 w 3851276"/>
              <a:gd name="connsiteY27" fmla="*/ 2107407 h 2457451"/>
              <a:gd name="connsiteX28" fmla="*/ 826295 w 3851276"/>
              <a:gd name="connsiteY28" fmla="*/ 1879600 h 2457451"/>
              <a:gd name="connsiteX29" fmla="*/ 3136900 w 3851276"/>
              <a:gd name="connsiteY29" fmla="*/ 1757363 h 2457451"/>
              <a:gd name="connsiteX30" fmla="*/ 3486150 w 3851276"/>
              <a:gd name="connsiteY30" fmla="*/ 2107407 h 2457451"/>
              <a:gd name="connsiteX31" fmla="*/ 3136900 w 3851276"/>
              <a:gd name="connsiteY31" fmla="*/ 2457451 h 2457451"/>
              <a:gd name="connsiteX32" fmla="*/ 2787650 w 3851276"/>
              <a:gd name="connsiteY32" fmla="*/ 2107407 h 2457451"/>
              <a:gd name="connsiteX33" fmla="*/ 3136900 w 3851276"/>
              <a:gd name="connsiteY33" fmla="*/ 1757363 h 2457451"/>
              <a:gd name="connsiteX34" fmla="*/ 825500 w 3851276"/>
              <a:gd name="connsiteY34" fmla="*/ 1757363 h 2457451"/>
              <a:gd name="connsiteX35" fmla="*/ 1174750 w 3851276"/>
              <a:gd name="connsiteY35" fmla="*/ 2107407 h 2457451"/>
              <a:gd name="connsiteX36" fmla="*/ 825500 w 3851276"/>
              <a:gd name="connsiteY36" fmla="*/ 2457451 h 2457451"/>
              <a:gd name="connsiteX37" fmla="*/ 476250 w 3851276"/>
              <a:gd name="connsiteY37" fmla="*/ 2107407 h 2457451"/>
              <a:gd name="connsiteX38" fmla="*/ 825500 w 3851276"/>
              <a:gd name="connsiteY38" fmla="*/ 1757363 h 2457451"/>
              <a:gd name="connsiteX39" fmla="*/ 2397125 w 3851276"/>
              <a:gd name="connsiteY39" fmla="*/ 532797 h 2457451"/>
              <a:gd name="connsiteX40" fmla="*/ 2397125 w 3851276"/>
              <a:gd name="connsiteY40" fmla="*/ 613672 h 2457451"/>
              <a:gd name="connsiteX41" fmla="*/ 2397125 w 3851276"/>
              <a:gd name="connsiteY41" fmla="*/ 2001484 h 2457451"/>
              <a:gd name="connsiteX42" fmla="*/ 2394079 w 3851276"/>
              <a:gd name="connsiteY42" fmla="*/ 2016729 h 2457451"/>
              <a:gd name="connsiteX43" fmla="*/ 2399520 w 3851276"/>
              <a:gd name="connsiteY43" fmla="*/ 2016729 h 2457451"/>
              <a:gd name="connsiteX44" fmla="*/ 2639583 w 3851276"/>
              <a:gd name="connsiteY44" fmla="*/ 2016729 h 2457451"/>
              <a:gd name="connsiteX45" fmla="*/ 2651731 w 3851276"/>
              <a:gd name="connsiteY45" fmla="*/ 2004566 h 2457451"/>
              <a:gd name="connsiteX46" fmla="*/ 3137623 w 3851276"/>
              <a:gd name="connsiteY46" fmla="*/ 1587970 h 2457451"/>
              <a:gd name="connsiteX47" fmla="*/ 3623514 w 3851276"/>
              <a:gd name="connsiteY47" fmla="*/ 2004566 h 2457451"/>
              <a:gd name="connsiteX48" fmla="*/ 3635662 w 3851276"/>
              <a:gd name="connsiteY48" fmla="*/ 2016729 h 2457451"/>
              <a:gd name="connsiteX49" fmla="*/ 3714619 w 3851276"/>
              <a:gd name="connsiteY49" fmla="*/ 2016729 h 2457451"/>
              <a:gd name="connsiteX50" fmla="*/ 3729803 w 3851276"/>
              <a:gd name="connsiteY50" fmla="*/ 2001525 h 2457451"/>
              <a:gd name="connsiteX51" fmla="*/ 3729803 w 3851276"/>
              <a:gd name="connsiteY51" fmla="*/ 1274763 h 2457451"/>
              <a:gd name="connsiteX52" fmla="*/ 3726766 w 3851276"/>
              <a:gd name="connsiteY52" fmla="*/ 1265641 h 2457451"/>
              <a:gd name="connsiteX53" fmla="*/ 3626551 w 3851276"/>
              <a:gd name="connsiteY53" fmla="*/ 1147048 h 2457451"/>
              <a:gd name="connsiteX54" fmla="*/ 2915934 w 3851276"/>
              <a:gd name="connsiteY54" fmla="*/ 1147048 h 2457451"/>
              <a:gd name="connsiteX55" fmla="*/ 2779277 w 3851276"/>
              <a:gd name="connsiteY55" fmla="*/ 1013250 h 2457451"/>
              <a:gd name="connsiteX56" fmla="*/ 2779277 w 3851276"/>
              <a:gd name="connsiteY56" fmla="*/ 532797 h 2457451"/>
              <a:gd name="connsiteX57" fmla="*/ 2402829 w 3851276"/>
              <a:gd name="connsiteY57" fmla="*/ 532797 h 2457451"/>
              <a:gd name="connsiteX58" fmla="*/ 2397125 w 3851276"/>
              <a:gd name="connsiteY58" fmla="*/ 532797 h 2457451"/>
              <a:gd name="connsiteX59" fmla="*/ 2900363 w 3851276"/>
              <a:gd name="connsiteY59" fmla="*/ 531813 h 2457451"/>
              <a:gd name="connsiteX60" fmla="*/ 2900363 w 3851276"/>
              <a:gd name="connsiteY60" fmla="*/ 1013336 h 2457451"/>
              <a:gd name="connsiteX61" fmla="*/ 2915545 w 3851276"/>
              <a:gd name="connsiteY61" fmla="*/ 1025526 h 2457451"/>
              <a:gd name="connsiteX62" fmla="*/ 3525838 w 3851276"/>
              <a:gd name="connsiteY62" fmla="*/ 1025526 h 2457451"/>
              <a:gd name="connsiteX63" fmla="*/ 3115940 w 3851276"/>
              <a:gd name="connsiteY63" fmla="*/ 537908 h 2457451"/>
              <a:gd name="connsiteX64" fmla="*/ 3106831 w 3851276"/>
              <a:gd name="connsiteY64" fmla="*/ 531813 h 2457451"/>
              <a:gd name="connsiteX65" fmla="*/ 2900363 w 3851276"/>
              <a:gd name="connsiteY65" fmla="*/ 531813 h 2457451"/>
              <a:gd name="connsiteX66" fmla="*/ 135842 w 3851276"/>
              <a:gd name="connsiteY66" fmla="*/ 122238 h 2457451"/>
              <a:gd name="connsiteX67" fmla="*/ 120650 w 3851276"/>
              <a:gd name="connsiteY67" fmla="*/ 137438 h 2457451"/>
              <a:gd name="connsiteX68" fmla="*/ 120650 w 3851276"/>
              <a:gd name="connsiteY68" fmla="*/ 2000926 h 2457451"/>
              <a:gd name="connsiteX69" fmla="*/ 135842 w 3851276"/>
              <a:gd name="connsiteY69" fmla="*/ 2016126 h 2457451"/>
              <a:gd name="connsiteX70" fmla="*/ 327263 w 3851276"/>
              <a:gd name="connsiteY70" fmla="*/ 2016126 h 2457451"/>
              <a:gd name="connsiteX71" fmla="*/ 339416 w 3851276"/>
              <a:gd name="connsiteY71" fmla="*/ 2003966 h 2457451"/>
              <a:gd name="connsiteX72" fmla="*/ 825563 w 3851276"/>
              <a:gd name="connsiteY72" fmla="*/ 1587493 h 2457451"/>
              <a:gd name="connsiteX73" fmla="*/ 1308671 w 3851276"/>
              <a:gd name="connsiteY73" fmla="*/ 2003966 h 2457451"/>
              <a:gd name="connsiteX74" fmla="*/ 1323864 w 3851276"/>
              <a:gd name="connsiteY74" fmla="*/ 2016126 h 2457451"/>
              <a:gd name="connsiteX75" fmla="*/ 2259696 w 3851276"/>
              <a:gd name="connsiteY75" fmla="*/ 2016126 h 2457451"/>
              <a:gd name="connsiteX76" fmla="*/ 2274888 w 3851276"/>
              <a:gd name="connsiteY76" fmla="*/ 2000926 h 2457451"/>
              <a:gd name="connsiteX77" fmla="*/ 2274888 w 3851276"/>
              <a:gd name="connsiteY77" fmla="*/ 137438 h 2457451"/>
              <a:gd name="connsiteX78" fmla="*/ 2259696 w 3851276"/>
              <a:gd name="connsiteY78" fmla="*/ 122238 h 2457451"/>
              <a:gd name="connsiteX79" fmla="*/ 135842 w 3851276"/>
              <a:gd name="connsiteY79" fmla="*/ 122238 h 2457451"/>
              <a:gd name="connsiteX80" fmla="*/ 136718 w 3851276"/>
              <a:gd name="connsiteY80" fmla="*/ 0 h 2457451"/>
              <a:gd name="connsiteX81" fmla="*/ 2260407 w 3851276"/>
              <a:gd name="connsiteY81" fmla="*/ 0 h 2457451"/>
              <a:gd name="connsiteX82" fmla="*/ 2397125 w 3851276"/>
              <a:gd name="connsiteY82" fmla="*/ 136880 h 2457451"/>
              <a:gd name="connsiteX83" fmla="*/ 2397125 w 3851276"/>
              <a:gd name="connsiteY83" fmla="*/ 306281 h 2457451"/>
              <a:gd name="connsiteX84" fmla="*/ 2397125 w 3851276"/>
              <a:gd name="connsiteY84" fmla="*/ 411163 h 2457451"/>
              <a:gd name="connsiteX85" fmla="*/ 2426638 w 3851276"/>
              <a:gd name="connsiteY85" fmla="*/ 411163 h 2457451"/>
              <a:gd name="connsiteX86" fmla="*/ 3107254 w 3851276"/>
              <a:gd name="connsiteY86" fmla="*/ 411163 h 2457451"/>
              <a:gd name="connsiteX87" fmla="*/ 3210506 w 3851276"/>
              <a:gd name="connsiteY87" fmla="*/ 459817 h 2457451"/>
              <a:gd name="connsiteX88" fmla="*/ 3684251 w 3851276"/>
              <a:gd name="connsiteY88" fmla="*/ 1025414 h 2457451"/>
              <a:gd name="connsiteX89" fmla="*/ 3687288 w 3851276"/>
              <a:gd name="connsiteY89" fmla="*/ 1025414 h 2457451"/>
              <a:gd name="connsiteX90" fmla="*/ 3687288 w 3851276"/>
              <a:gd name="connsiteY90" fmla="*/ 1031496 h 2457451"/>
              <a:gd name="connsiteX91" fmla="*/ 3817871 w 3851276"/>
              <a:gd name="connsiteY91" fmla="*/ 1186579 h 2457451"/>
              <a:gd name="connsiteX92" fmla="*/ 3851276 w 3851276"/>
              <a:gd name="connsiteY92" fmla="*/ 1274763 h 2457451"/>
              <a:gd name="connsiteX93" fmla="*/ 3851276 w 3851276"/>
              <a:gd name="connsiteY93" fmla="*/ 2001525 h 2457451"/>
              <a:gd name="connsiteX94" fmla="*/ 3714619 w 3851276"/>
              <a:gd name="connsiteY94" fmla="*/ 2138363 h 2457451"/>
              <a:gd name="connsiteX95" fmla="*/ 3635662 w 3851276"/>
              <a:gd name="connsiteY95" fmla="*/ 2138363 h 2457451"/>
              <a:gd name="connsiteX96" fmla="*/ 3502041 w 3851276"/>
              <a:gd name="connsiteY96" fmla="*/ 2022811 h 2457451"/>
              <a:gd name="connsiteX97" fmla="*/ 3137623 w 3851276"/>
              <a:gd name="connsiteY97" fmla="*/ 1709604 h 2457451"/>
              <a:gd name="connsiteX98" fmla="*/ 2773204 w 3851276"/>
              <a:gd name="connsiteY98" fmla="*/ 2022811 h 2457451"/>
              <a:gd name="connsiteX99" fmla="*/ 2639583 w 3851276"/>
              <a:gd name="connsiteY99" fmla="*/ 2138363 h 2457451"/>
              <a:gd name="connsiteX100" fmla="*/ 2281238 w 3851276"/>
              <a:gd name="connsiteY100" fmla="*/ 2138363 h 2457451"/>
              <a:gd name="connsiteX101" fmla="*/ 2281238 w 3851276"/>
              <a:gd name="connsiteY101" fmla="*/ 2134192 h 2457451"/>
              <a:gd name="connsiteX102" fmla="*/ 2260407 w 3851276"/>
              <a:gd name="connsiteY102" fmla="*/ 2138363 h 2457451"/>
              <a:gd name="connsiteX103" fmla="*/ 1324647 w 3851276"/>
              <a:gd name="connsiteY103" fmla="*/ 2138363 h 2457451"/>
              <a:gd name="connsiteX104" fmla="*/ 1190967 w 3851276"/>
              <a:gd name="connsiteY104" fmla="*/ 2022776 h 2457451"/>
              <a:gd name="connsiteX105" fmla="*/ 826386 w 3851276"/>
              <a:gd name="connsiteY105" fmla="*/ 1709474 h 2457451"/>
              <a:gd name="connsiteX106" fmla="*/ 461804 w 3851276"/>
              <a:gd name="connsiteY106" fmla="*/ 2022776 h 2457451"/>
              <a:gd name="connsiteX107" fmla="*/ 328124 w 3851276"/>
              <a:gd name="connsiteY107" fmla="*/ 2138363 h 2457451"/>
              <a:gd name="connsiteX108" fmla="*/ 136718 w 3851276"/>
              <a:gd name="connsiteY108" fmla="*/ 2138363 h 2457451"/>
              <a:gd name="connsiteX109" fmla="*/ 0 w 3851276"/>
              <a:gd name="connsiteY109" fmla="*/ 2001484 h 2457451"/>
              <a:gd name="connsiteX110" fmla="*/ 0 w 3851276"/>
              <a:gd name="connsiteY110" fmla="*/ 136880 h 2457451"/>
              <a:gd name="connsiteX111" fmla="*/ 136718 w 3851276"/>
              <a:gd name="connsiteY111"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26294 w 3851276"/>
              <a:gd name="connsiteY5" fmla="*/ 2132014 h 2457451"/>
              <a:gd name="connsiteX6" fmla="*/ 801687 w 3851276"/>
              <a:gd name="connsiteY6" fmla="*/ 2107407 h 2457451"/>
              <a:gd name="connsiteX7" fmla="*/ 826294 w 3851276"/>
              <a:gd name="connsiteY7" fmla="*/ 2132014 h 2457451"/>
              <a:gd name="connsiteX8" fmla="*/ 3137694 w 3851276"/>
              <a:gd name="connsiteY8" fmla="*/ 1962150 h 2457451"/>
              <a:gd name="connsiteX9" fmla="*/ 3282951 w 3851276"/>
              <a:gd name="connsiteY9" fmla="*/ 2108200 h 2457451"/>
              <a:gd name="connsiteX10" fmla="*/ 3137694 w 3851276"/>
              <a:gd name="connsiteY10" fmla="*/ 2254250 h 2457451"/>
              <a:gd name="connsiteX11" fmla="*/ 2992437 w 3851276"/>
              <a:gd name="connsiteY11" fmla="*/ 2108200 h 2457451"/>
              <a:gd name="connsiteX12" fmla="*/ 3137694 w 3851276"/>
              <a:gd name="connsiteY12" fmla="*/ 1962150 h 2457451"/>
              <a:gd name="connsiteX13" fmla="*/ 826294 w 3851276"/>
              <a:gd name="connsiteY13" fmla="*/ 1962150 h 2457451"/>
              <a:gd name="connsiteX14" fmla="*/ 971551 w 3851276"/>
              <a:gd name="connsiteY14" fmla="*/ 2108200 h 2457451"/>
              <a:gd name="connsiteX15" fmla="*/ 826294 w 3851276"/>
              <a:gd name="connsiteY15" fmla="*/ 2254250 h 2457451"/>
              <a:gd name="connsiteX16" fmla="*/ 681037 w 3851276"/>
              <a:gd name="connsiteY16" fmla="*/ 2108200 h 2457451"/>
              <a:gd name="connsiteX17" fmla="*/ 826294 w 3851276"/>
              <a:gd name="connsiteY17" fmla="*/ 1962150 h 2457451"/>
              <a:gd name="connsiteX18" fmla="*/ 3137695 w 3851276"/>
              <a:gd name="connsiteY18" fmla="*/ 1879600 h 2457451"/>
              <a:gd name="connsiteX19" fmla="*/ 2909888 w 3851276"/>
              <a:gd name="connsiteY19" fmla="*/ 2107407 h 2457451"/>
              <a:gd name="connsiteX20" fmla="*/ 3137695 w 3851276"/>
              <a:gd name="connsiteY20" fmla="*/ 2335214 h 2457451"/>
              <a:gd name="connsiteX21" fmla="*/ 3365502 w 3851276"/>
              <a:gd name="connsiteY21" fmla="*/ 2107407 h 2457451"/>
              <a:gd name="connsiteX22" fmla="*/ 3137695 w 3851276"/>
              <a:gd name="connsiteY22" fmla="*/ 1879600 h 2457451"/>
              <a:gd name="connsiteX23" fmla="*/ 826295 w 3851276"/>
              <a:gd name="connsiteY23" fmla="*/ 1879600 h 2457451"/>
              <a:gd name="connsiteX24" fmla="*/ 598488 w 3851276"/>
              <a:gd name="connsiteY24" fmla="*/ 2107407 h 2457451"/>
              <a:gd name="connsiteX25" fmla="*/ 826295 w 3851276"/>
              <a:gd name="connsiteY25" fmla="*/ 2335214 h 2457451"/>
              <a:gd name="connsiteX26" fmla="*/ 1054102 w 3851276"/>
              <a:gd name="connsiteY26" fmla="*/ 2107407 h 2457451"/>
              <a:gd name="connsiteX27" fmla="*/ 826295 w 3851276"/>
              <a:gd name="connsiteY27" fmla="*/ 1879600 h 2457451"/>
              <a:gd name="connsiteX28" fmla="*/ 3136900 w 3851276"/>
              <a:gd name="connsiteY28" fmla="*/ 1757363 h 2457451"/>
              <a:gd name="connsiteX29" fmla="*/ 3486150 w 3851276"/>
              <a:gd name="connsiteY29" fmla="*/ 2107407 h 2457451"/>
              <a:gd name="connsiteX30" fmla="*/ 3136900 w 3851276"/>
              <a:gd name="connsiteY30" fmla="*/ 2457451 h 2457451"/>
              <a:gd name="connsiteX31" fmla="*/ 2787650 w 3851276"/>
              <a:gd name="connsiteY31" fmla="*/ 2107407 h 2457451"/>
              <a:gd name="connsiteX32" fmla="*/ 3136900 w 3851276"/>
              <a:gd name="connsiteY32" fmla="*/ 1757363 h 2457451"/>
              <a:gd name="connsiteX33" fmla="*/ 825500 w 3851276"/>
              <a:gd name="connsiteY33" fmla="*/ 1757363 h 2457451"/>
              <a:gd name="connsiteX34" fmla="*/ 1174750 w 3851276"/>
              <a:gd name="connsiteY34" fmla="*/ 2107407 h 2457451"/>
              <a:gd name="connsiteX35" fmla="*/ 825500 w 3851276"/>
              <a:gd name="connsiteY35" fmla="*/ 2457451 h 2457451"/>
              <a:gd name="connsiteX36" fmla="*/ 476250 w 3851276"/>
              <a:gd name="connsiteY36" fmla="*/ 2107407 h 2457451"/>
              <a:gd name="connsiteX37" fmla="*/ 825500 w 3851276"/>
              <a:gd name="connsiteY37" fmla="*/ 1757363 h 2457451"/>
              <a:gd name="connsiteX38" fmla="*/ 2397125 w 3851276"/>
              <a:gd name="connsiteY38" fmla="*/ 532797 h 2457451"/>
              <a:gd name="connsiteX39" fmla="*/ 2397125 w 3851276"/>
              <a:gd name="connsiteY39" fmla="*/ 613672 h 2457451"/>
              <a:gd name="connsiteX40" fmla="*/ 2397125 w 3851276"/>
              <a:gd name="connsiteY40" fmla="*/ 2001484 h 2457451"/>
              <a:gd name="connsiteX41" fmla="*/ 2394079 w 3851276"/>
              <a:gd name="connsiteY41" fmla="*/ 2016729 h 2457451"/>
              <a:gd name="connsiteX42" fmla="*/ 2399520 w 3851276"/>
              <a:gd name="connsiteY42" fmla="*/ 2016729 h 2457451"/>
              <a:gd name="connsiteX43" fmla="*/ 2639583 w 3851276"/>
              <a:gd name="connsiteY43" fmla="*/ 2016729 h 2457451"/>
              <a:gd name="connsiteX44" fmla="*/ 2651731 w 3851276"/>
              <a:gd name="connsiteY44" fmla="*/ 2004566 h 2457451"/>
              <a:gd name="connsiteX45" fmla="*/ 3137623 w 3851276"/>
              <a:gd name="connsiteY45" fmla="*/ 1587970 h 2457451"/>
              <a:gd name="connsiteX46" fmla="*/ 3623514 w 3851276"/>
              <a:gd name="connsiteY46" fmla="*/ 2004566 h 2457451"/>
              <a:gd name="connsiteX47" fmla="*/ 3635662 w 3851276"/>
              <a:gd name="connsiteY47" fmla="*/ 2016729 h 2457451"/>
              <a:gd name="connsiteX48" fmla="*/ 3714619 w 3851276"/>
              <a:gd name="connsiteY48" fmla="*/ 2016729 h 2457451"/>
              <a:gd name="connsiteX49" fmla="*/ 3729803 w 3851276"/>
              <a:gd name="connsiteY49" fmla="*/ 2001525 h 2457451"/>
              <a:gd name="connsiteX50" fmla="*/ 3729803 w 3851276"/>
              <a:gd name="connsiteY50" fmla="*/ 1274763 h 2457451"/>
              <a:gd name="connsiteX51" fmla="*/ 3726766 w 3851276"/>
              <a:gd name="connsiteY51" fmla="*/ 1265641 h 2457451"/>
              <a:gd name="connsiteX52" fmla="*/ 3626551 w 3851276"/>
              <a:gd name="connsiteY52" fmla="*/ 1147048 h 2457451"/>
              <a:gd name="connsiteX53" fmla="*/ 2915934 w 3851276"/>
              <a:gd name="connsiteY53" fmla="*/ 1147048 h 2457451"/>
              <a:gd name="connsiteX54" fmla="*/ 2779277 w 3851276"/>
              <a:gd name="connsiteY54" fmla="*/ 1013250 h 2457451"/>
              <a:gd name="connsiteX55" fmla="*/ 2779277 w 3851276"/>
              <a:gd name="connsiteY55" fmla="*/ 532797 h 2457451"/>
              <a:gd name="connsiteX56" fmla="*/ 2402829 w 3851276"/>
              <a:gd name="connsiteY56" fmla="*/ 532797 h 2457451"/>
              <a:gd name="connsiteX57" fmla="*/ 2397125 w 3851276"/>
              <a:gd name="connsiteY57" fmla="*/ 532797 h 2457451"/>
              <a:gd name="connsiteX58" fmla="*/ 2900363 w 3851276"/>
              <a:gd name="connsiteY58" fmla="*/ 531813 h 2457451"/>
              <a:gd name="connsiteX59" fmla="*/ 2900363 w 3851276"/>
              <a:gd name="connsiteY59" fmla="*/ 1013336 h 2457451"/>
              <a:gd name="connsiteX60" fmla="*/ 2915545 w 3851276"/>
              <a:gd name="connsiteY60" fmla="*/ 1025526 h 2457451"/>
              <a:gd name="connsiteX61" fmla="*/ 3525838 w 3851276"/>
              <a:gd name="connsiteY61" fmla="*/ 1025526 h 2457451"/>
              <a:gd name="connsiteX62" fmla="*/ 3115940 w 3851276"/>
              <a:gd name="connsiteY62" fmla="*/ 537908 h 2457451"/>
              <a:gd name="connsiteX63" fmla="*/ 3106831 w 3851276"/>
              <a:gd name="connsiteY63" fmla="*/ 531813 h 2457451"/>
              <a:gd name="connsiteX64" fmla="*/ 2900363 w 3851276"/>
              <a:gd name="connsiteY64" fmla="*/ 531813 h 2457451"/>
              <a:gd name="connsiteX65" fmla="*/ 135842 w 3851276"/>
              <a:gd name="connsiteY65" fmla="*/ 122238 h 2457451"/>
              <a:gd name="connsiteX66" fmla="*/ 120650 w 3851276"/>
              <a:gd name="connsiteY66" fmla="*/ 137438 h 2457451"/>
              <a:gd name="connsiteX67" fmla="*/ 120650 w 3851276"/>
              <a:gd name="connsiteY67" fmla="*/ 2000926 h 2457451"/>
              <a:gd name="connsiteX68" fmla="*/ 135842 w 3851276"/>
              <a:gd name="connsiteY68" fmla="*/ 2016126 h 2457451"/>
              <a:gd name="connsiteX69" fmla="*/ 327263 w 3851276"/>
              <a:gd name="connsiteY69" fmla="*/ 2016126 h 2457451"/>
              <a:gd name="connsiteX70" fmla="*/ 339416 w 3851276"/>
              <a:gd name="connsiteY70" fmla="*/ 2003966 h 2457451"/>
              <a:gd name="connsiteX71" fmla="*/ 825563 w 3851276"/>
              <a:gd name="connsiteY71" fmla="*/ 1587493 h 2457451"/>
              <a:gd name="connsiteX72" fmla="*/ 1308671 w 3851276"/>
              <a:gd name="connsiteY72" fmla="*/ 2003966 h 2457451"/>
              <a:gd name="connsiteX73" fmla="*/ 1323864 w 3851276"/>
              <a:gd name="connsiteY73" fmla="*/ 2016126 h 2457451"/>
              <a:gd name="connsiteX74" fmla="*/ 2259696 w 3851276"/>
              <a:gd name="connsiteY74" fmla="*/ 2016126 h 2457451"/>
              <a:gd name="connsiteX75" fmla="*/ 2274888 w 3851276"/>
              <a:gd name="connsiteY75" fmla="*/ 2000926 h 2457451"/>
              <a:gd name="connsiteX76" fmla="*/ 2274888 w 3851276"/>
              <a:gd name="connsiteY76" fmla="*/ 137438 h 2457451"/>
              <a:gd name="connsiteX77" fmla="*/ 2259696 w 3851276"/>
              <a:gd name="connsiteY77" fmla="*/ 122238 h 2457451"/>
              <a:gd name="connsiteX78" fmla="*/ 135842 w 3851276"/>
              <a:gd name="connsiteY78" fmla="*/ 122238 h 2457451"/>
              <a:gd name="connsiteX79" fmla="*/ 136718 w 3851276"/>
              <a:gd name="connsiteY79" fmla="*/ 0 h 2457451"/>
              <a:gd name="connsiteX80" fmla="*/ 2260407 w 3851276"/>
              <a:gd name="connsiteY80" fmla="*/ 0 h 2457451"/>
              <a:gd name="connsiteX81" fmla="*/ 2397125 w 3851276"/>
              <a:gd name="connsiteY81" fmla="*/ 136880 h 2457451"/>
              <a:gd name="connsiteX82" fmla="*/ 2397125 w 3851276"/>
              <a:gd name="connsiteY82" fmla="*/ 306281 h 2457451"/>
              <a:gd name="connsiteX83" fmla="*/ 2397125 w 3851276"/>
              <a:gd name="connsiteY83" fmla="*/ 411163 h 2457451"/>
              <a:gd name="connsiteX84" fmla="*/ 2426638 w 3851276"/>
              <a:gd name="connsiteY84" fmla="*/ 411163 h 2457451"/>
              <a:gd name="connsiteX85" fmla="*/ 3107254 w 3851276"/>
              <a:gd name="connsiteY85" fmla="*/ 411163 h 2457451"/>
              <a:gd name="connsiteX86" fmla="*/ 3210506 w 3851276"/>
              <a:gd name="connsiteY86" fmla="*/ 459817 h 2457451"/>
              <a:gd name="connsiteX87" fmla="*/ 3684251 w 3851276"/>
              <a:gd name="connsiteY87" fmla="*/ 1025414 h 2457451"/>
              <a:gd name="connsiteX88" fmla="*/ 3687288 w 3851276"/>
              <a:gd name="connsiteY88" fmla="*/ 1025414 h 2457451"/>
              <a:gd name="connsiteX89" fmla="*/ 3687288 w 3851276"/>
              <a:gd name="connsiteY89" fmla="*/ 1031496 h 2457451"/>
              <a:gd name="connsiteX90" fmla="*/ 3817871 w 3851276"/>
              <a:gd name="connsiteY90" fmla="*/ 1186579 h 2457451"/>
              <a:gd name="connsiteX91" fmla="*/ 3851276 w 3851276"/>
              <a:gd name="connsiteY91" fmla="*/ 1274763 h 2457451"/>
              <a:gd name="connsiteX92" fmla="*/ 3851276 w 3851276"/>
              <a:gd name="connsiteY92" fmla="*/ 2001525 h 2457451"/>
              <a:gd name="connsiteX93" fmla="*/ 3714619 w 3851276"/>
              <a:gd name="connsiteY93" fmla="*/ 2138363 h 2457451"/>
              <a:gd name="connsiteX94" fmla="*/ 3635662 w 3851276"/>
              <a:gd name="connsiteY94" fmla="*/ 2138363 h 2457451"/>
              <a:gd name="connsiteX95" fmla="*/ 3502041 w 3851276"/>
              <a:gd name="connsiteY95" fmla="*/ 2022811 h 2457451"/>
              <a:gd name="connsiteX96" fmla="*/ 3137623 w 3851276"/>
              <a:gd name="connsiteY96" fmla="*/ 1709604 h 2457451"/>
              <a:gd name="connsiteX97" fmla="*/ 2773204 w 3851276"/>
              <a:gd name="connsiteY97" fmla="*/ 2022811 h 2457451"/>
              <a:gd name="connsiteX98" fmla="*/ 2639583 w 3851276"/>
              <a:gd name="connsiteY98" fmla="*/ 2138363 h 2457451"/>
              <a:gd name="connsiteX99" fmla="*/ 2281238 w 3851276"/>
              <a:gd name="connsiteY99" fmla="*/ 2138363 h 2457451"/>
              <a:gd name="connsiteX100" fmla="*/ 2281238 w 3851276"/>
              <a:gd name="connsiteY100" fmla="*/ 2134192 h 2457451"/>
              <a:gd name="connsiteX101" fmla="*/ 2260407 w 3851276"/>
              <a:gd name="connsiteY101" fmla="*/ 2138363 h 2457451"/>
              <a:gd name="connsiteX102" fmla="*/ 1324647 w 3851276"/>
              <a:gd name="connsiteY102" fmla="*/ 2138363 h 2457451"/>
              <a:gd name="connsiteX103" fmla="*/ 1190967 w 3851276"/>
              <a:gd name="connsiteY103" fmla="*/ 2022776 h 2457451"/>
              <a:gd name="connsiteX104" fmla="*/ 826386 w 3851276"/>
              <a:gd name="connsiteY104" fmla="*/ 1709474 h 2457451"/>
              <a:gd name="connsiteX105" fmla="*/ 461804 w 3851276"/>
              <a:gd name="connsiteY105" fmla="*/ 2022776 h 2457451"/>
              <a:gd name="connsiteX106" fmla="*/ 328124 w 3851276"/>
              <a:gd name="connsiteY106" fmla="*/ 2138363 h 2457451"/>
              <a:gd name="connsiteX107" fmla="*/ 136718 w 3851276"/>
              <a:gd name="connsiteY107" fmla="*/ 2138363 h 2457451"/>
              <a:gd name="connsiteX108" fmla="*/ 0 w 3851276"/>
              <a:gd name="connsiteY108" fmla="*/ 2001484 h 2457451"/>
              <a:gd name="connsiteX109" fmla="*/ 0 w 3851276"/>
              <a:gd name="connsiteY109" fmla="*/ 136880 h 2457451"/>
              <a:gd name="connsiteX110" fmla="*/ 136718 w 3851276"/>
              <a:gd name="connsiteY110"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826294 w 3851276"/>
              <a:gd name="connsiteY10" fmla="*/ 1962150 h 2457451"/>
              <a:gd name="connsiteX11" fmla="*/ 971551 w 3851276"/>
              <a:gd name="connsiteY11" fmla="*/ 2108200 h 2457451"/>
              <a:gd name="connsiteX12" fmla="*/ 826294 w 3851276"/>
              <a:gd name="connsiteY12" fmla="*/ 2254250 h 2457451"/>
              <a:gd name="connsiteX13" fmla="*/ 681037 w 3851276"/>
              <a:gd name="connsiteY13" fmla="*/ 2108200 h 2457451"/>
              <a:gd name="connsiteX14" fmla="*/ 826294 w 3851276"/>
              <a:gd name="connsiteY14" fmla="*/ 1962150 h 2457451"/>
              <a:gd name="connsiteX15" fmla="*/ 3137695 w 3851276"/>
              <a:gd name="connsiteY15" fmla="*/ 1879600 h 2457451"/>
              <a:gd name="connsiteX16" fmla="*/ 2909888 w 3851276"/>
              <a:gd name="connsiteY16" fmla="*/ 2107407 h 2457451"/>
              <a:gd name="connsiteX17" fmla="*/ 3137695 w 3851276"/>
              <a:gd name="connsiteY17" fmla="*/ 2335214 h 2457451"/>
              <a:gd name="connsiteX18" fmla="*/ 3365502 w 3851276"/>
              <a:gd name="connsiteY18" fmla="*/ 2107407 h 2457451"/>
              <a:gd name="connsiteX19" fmla="*/ 3137695 w 3851276"/>
              <a:gd name="connsiteY19" fmla="*/ 1879600 h 2457451"/>
              <a:gd name="connsiteX20" fmla="*/ 826295 w 3851276"/>
              <a:gd name="connsiteY20" fmla="*/ 1879600 h 2457451"/>
              <a:gd name="connsiteX21" fmla="*/ 598488 w 3851276"/>
              <a:gd name="connsiteY21" fmla="*/ 2107407 h 2457451"/>
              <a:gd name="connsiteX22" fmla="*/ 826295 w 3851276"/>
              <a:gd name="connsiteY22" fmla="*/ 2335214 h 2457451"/>
              <a:gd name="connsiteX23" fmla="*/ 1054102 w 3851276"/>
              <a:gd name="connsiteY23" fmla="*/ 2107407 h 2457451"/>
              <a:gd name="connsiteX24" fmla="*/ 826295 w 3851276"/>
              <a:gd name="connsiteY24" fmla="*/ 1879600 h 2457451"/>
              <a:gd name="connsiteX25" fmla="*/ 3136900 w 3851276"/>
              <a:gd name="connsiteY25" fmla="*/ 1757363 h 2457451"/>
              <a:gd name="connsiteX26" fmla="*/ 3486150 w 3851276"/>
              <a:gd name="connsiteY26" fmla="*/ 2107407 h 2457451"/>
              <a:gd name="connsiteX27" fmla="*/ 3136900 w 3851276"/>
              <a:gd name="connsiteY27" fmla="*/ 2457451 h 2457451"/>
              <a:gd name="connsiteX28" fmla="*/ 2787650 w 3851276"/>
              <a:gd name="connsiteY28" fmla="*/ 2107407 h 2457451"/>
              <a:gd name="connsiteX29" fmla="*/ 3136900 w 3851276"/>
              <a:gd name="connsiteY29" fmla="*/ 1757363 h 2457451"/>
              <a:gd name="connsiteX30" fmla="*/ 825500 w 3851276"/>
              <a:gd name="connsiteY30" fmla="*/ 1757363 h 2457451"/>
              <a:gd name="connsiteX31" fmla="*/ 1174750 w 3851276"/>
              <a:gd name="connsiteY31" fmla="*/ 2107407 h 2457451"/>
              <a:gd name="connsiteX32" fmla="*/ 825500 w 3851276"/>
              <a:gd name="connsiteY32" fmla="*/ 2457451 h 2457451"/>
              <a:gd name="connsiteX33" fmla="*/ 476250 w 3851276"/>
              <a:gd name="connsiteY33" fmla="*/ 2107407 h 2457451"/>
              <a:gd name="connsiteX34" fmla="*/ 825500 w 3851276"/>
              <a:gd name="connsiteY34" fmla="*/ 1757363 h 2457451"/>
              <a:gd name="connsiteX35" fmla="*/ 2397125 w 3851276"/>
              <a:gd name="connsiteY35" fmla="*/ 532797 h 2457451"/>
              <a:gd name="connsiteX36" fmla="*/ 2397125 w 3851276"/>
              <a:gd name="connsiteY36" fmla="*/ 613672 h 2457451"/>
              <a:gd name="connsiteX37" fmla="*/ 2397125 w 3851276"/>
              <a:gd name="connsiteY37" fmla="*/ 2001484 h 2457451"/>
              <a:gd name="connsiteX38" fmla="*/ 2394079 w 3851276"/>
              <a:gd name="connsiteY38" fmla="*/ 2016729 h 2457451"/>
              <a:gd name="connsiteX39" fmla="*/ 2399520 w 3851276"/>
              <a:gd name="connsiteY39" fmla="*/ 2016729 h 2457451"/>
              <a:gd name="connsiteX40" fmla="*/ 2639583 w 3851276"/>
              <a:gd name="connsiteY40" fmla="*/ 2016729 h 2457451"/>
              <a:gd name="connsiteX41" fmla="*/ 2651731 w 3851276"/>
              <a:gd name="connsiteY41" fmla="*/ 2004566 h 2457451"/>
              <a:gd name="connsiteX42" fmla="*/ 3137623 w 3851276"/>
              <a:gd name="connsiteY42" fmla="*/ 1587970 h 2457451"/>
              <a:gd name="connsiteX43" fmla="*/ 3623514 w 3851276"/>
              <a:gd name="connsiteY43" fmla="*/ 2004566 h 2457451"/>
              <a:gd name="connsiteX44" fmla="*/ 3635662 w 3851276"/>
              <a:gd name="connsiteY44" fmla="*/ 2016729 h 2457451"/>
              <a:gd name="connsiteX45" fmla="*/ 3714619 w 3851276"/>
              <a:gd name="connsiteY45" fmla="*/ 2016729 h 2457451"/>
              <a:gd name="connsiteX46" fmla="*/ 3729803 w 3851276"/>
              <a:gd name="connsiteY46" fmla="*/ 2001525 h 2457451"/>
              <a:gd name="connsiteX47" fmla="*/ 3729803 w 3851276"/>
              <a:gd name="connsiteY47" fmla="*/ 1274763 h 2457451"/>
              <a:gd name="connsiteX48" fmla="*/ 3726766 w 3851276"/>
              <a:gd name="connsiteY48" fmla="*/ 1265641 h 2457451"/>
              <a:gd name="connsiteX49" fmla="*/ 3626551 w 3851276"/>
              <a:gd name="connsiteY49" fmla="*/ 1147048 h 2457451"/>
              <a:gd name="connsiteX50" fmla="*/ 2915934 w 3851276"/>
              <a:gd name="connsiteY50" fmla="*/ 1147048 h 2457451"/>
              <a:gd name="connsiteX51" fmla="*/ 2779277 w 3851276"/>
              <a:gd name="connsiteY51" fmla="*/ 1013250 h 2457451"/>
              <a:gd name="connsiteX52" fmla="*/ 2779277 w 3851276"/>
              <a:gd name="connsiteY52" fmla="*/ 532797 h 2457451"/>
              <a:gd name="connsiteX53" fmla="*/ 2402829 w 3851276"/>
              <a:gd name="connsiteY53" fmla="*/ 532797 h 2457451"/>
              <a:gd name="connsiteX54" fmla="*/ 2397125 w 3851276"/>
              <a:gd name="connsiteY54" fmla="*/ 532797 h 2457451"/>
              <a:gd name="connsiteX55" fmla="*/ 2900363 w 3851276"/>
              <a:gd name="connsiteY55" fmla="*/ 531813 h 2457451"/>
              <a:gd name="connsiteX56" fmla="*/ 2900363 w 3851276"/>
              <a:gd name="connsiteY56" fmla="*/ 1013336 h 2457451"/>
              <a:gd name="connsiteX57" fmla="*/ 2915545 w 3851276"/>
              <a:gd name="connsiteY57" fmla="*/ 1025526 h 2457451"/>
              <a:gd name="connsiteX58" fmla="*/ 3525838 w 3851276"/>
              <a:gd name="connsiteY58" fmla="*/ 1025526 h 2457451"/>
              <a:gd name="connsiteX59" fmla="*/ 3115940 w 3851276"/>
              <a:gd name="connsiteY59" fmla="*/ 537908 h 2457451"/>
              <a:gd name="connsiteX60" fmla="*/ 3106831 w 3851276"/>
              <a:gd name="connsiteY60" fmla="*/ 531813 h 2457451"/>
              <a:gd name="connsiteX61" fmla="*/ 2900363 w 3851276"/>
              <a:gd name="connsiteY61" fmla="*/ 531813 h 2457451"/>
              <a:gd name="connsiteX62" fmla="*/ 135842 w 3851276"/>
              <a:gd name="connsiteY62" fmla="*/ 122238 h 2457451"/>
              <a:gd name="connsiteX63" fmla="*/ 120650 w 3851276"/>
              <a:gd name="connsiteY63" fmla="*/ 137438 h 2457451"/>
              <a:gd name="connsiteX64" fmla="*/ 120650 w 3851276"/>
              <a:gd name="connsiteY64" fmla="*/ 2000926 h 2457451"/>
              <a:gd name="connsiteX65" fmla="*/ 135842 w 3851276"/>
              <a:gd name="connsiteY65" fmla="*/ 2016126 h 2457451"/>
              <a:gd name="connsiteX66" fmla="*/ 327263 w 3851276"/>
              <a:gd name="connsiteY66" fmla="*/ 2016126 h 2457451"/>
              <a:gd name="connsiteX67" fmla="*/ 339416 w 3851276"/>
              <a:gd name="connsiteY67" fmla="*/ 2003966 h 2457451"/>
              <a:gd name="connsiteX68" fmla="*/ 825563 w 3851276"/>
              <a:gd name="connsiteY68" fmla="*/ 1587493 h 2457451"/>
              <a:gd name="connsiteX69" fmla="*/ 1308671 w 3851276"/>
              <a:gd name="connsiteY69" fmla="*/ 2003966 h 2457451"/>
              <a:gd name="connsiteX70" fmla="*/ 1323864 w 3851276"/>
              <a:gd name="connsiteY70" fmla="*/ 2016126 h 2457451"/>
              <a:gd name="connsiteX71" fmla="*/ 2259696 w 3851276"/>
              <a:gd name="connsiteY71" fmla="*/ 2016126 h 2457451"/>
              <a:gd name="connsiteX72" fmla="*/ 2274888 w 3851276"/>
              <a:gd name="connsiteY72" fmla="*/ 2000926 h 2457451"/>
              <a:gd name="connsiteX73" fmla="*/ 2274888 w 3851276"/>
              <a:gd name="connsiteY73" fmla="*/ 137438 h 2457451"/>
              <a:gd name="connsiteX74" fmla="*/ 2259696 w 3851276"/>
              <a:gd name="connsiteY74" fmla="*/ 122238 h 2457451"/>
              <a:gd name="connsiteX75" fmla="*/ 135842 w 3851276"/>
              <a:gd name="connsiteY75" fmla="*/ 122238 h 2457451"/>
              <a:gd name="connsiteX76" fmla="*/ 136718 w 3851276"/>
              <a:gd name="connsiteY76" fmla="*/ 0 h 2457451"/>
              <a:gd name="connsiteX77" fmla="*/ 2260407 w 3851276"/>
              <a:gd name="connsiteY77" fmla="*/ 0 h 2457451"/>
              <a:gd name="connsiteX78" fmla="*/ 2397125 w 3851276"/>
              <a:gd name="connsiteY78" fmla="*/ 136880 h 2457451"/>
              <a:gd name="connsiteX79" fmla="*/ 2397125 w 3851276"/>
              <a:gd name="connsiteY79" fmla="*/ 306281 h 2457451"/>
              <a:gd name="connsiteX80" fmla="*/ 2397125 w 3851276"/>
              <a:gd name="connsiteY80" fmla="*/ 411163 h 2457451"/>
              <a:gd name="connsiteX81" fmla="*/ 2426638 w 3851276"/>
              <a:gd name="connsiteY81" fmla="*/ 411163 h 2457451"/>
              <a:gd name="connsiteX82" fmla="*/ 3107254 w 3851276"/>
              <a:gd name="connsiteY82" fmla="*/ 411163 h 2457451"/>
              <a:gd name="connsiteX83" fmla="*/ 3210506 w 3851276"/>
              <a:gd name="connsiteY83" fmla="*/ 459817 h 2457451"/>
              <a:gd name="connsiteX84" fmla="*/ 3684251 w 3851276"/>
              <a:gd name="connsiteY84" fmla="*/ 1025414 h 2457451"/>
              <a:gd name="connsiteX85" fmla="*/ 3687288 w 3851276"/>
              <a:gd name="connsiteY85" fmla="*/ 1025414 h 2457451"/>
              <a:gd name="connsiteX86" fmla="*/ 3687288 w 3851276"/>
              <a:gd name="connsiteY86" fmla="*/ 1031496 h 2457451"/>
              <a:gd name="connsiteX87" fmla="*/ 3817871 w 3851276"/>
              <a:gd name="connsiteY87" fmla="*/ 1186579 h 2457451"/>
              <a:gd name="connsiteX88" fmla="*/ 3851276 w 3851276"/>
              <a:gd name="connsiteY88" fmla="*/ 1274763 h 2457451"/>
              <a:gd name="connsiteX89" fmla="*/ 3851276 w 3851276"/>
              <a:gd name="connsiteY89" fmla="*/ 2001525 h 2457451"/>
              <a:gd name="connsiteX90" fmla="*/ 3714619 w 3851276"/>
              <a:gd name="connsiteY90" fmla="*/ 2138363 h 2457451"/>
              <a:gd name="connsiteX91" fmla="*/ 3635662 w 3851276"/>
              <a:gd name="connsiteY91" fmla="*/ 2138363 h 2457451"/>
              <a:gd name="connsiteX92" fmla="*/ 3502041 w 3851276"/>
              <a:gd name="connsiteY92" fmla="*/ 2022811 h 2457451"/>
              <a:gd name="connsiteX93" fmla="*/ 3137623 w 3851276"/>
              <a:gd name="connsiteY93" fmla="*/ 1709604 h 2457451"/>
              <a:gd name="connsiteX94" fmla="*/ 2773204 w 3851276"/>
              <a:gd name="connsiteY94" fmla="*/ 2022811 h 2457451"/>
              <a:gd name="connsiteX95" fmla="*/ 2639583 w 3851276"/>
              <a:gd name="connsiteY95" fmla="*/ 2138363 h 2457451"/>
              <a:gd name="connsiteX96" fmla="*/ 2281238 w 3851276"/>
              <a:gd name="connsiteY96" fmla="*/ 2138363 h 2457451"/>
              <a:gd name="connsiteX97" fmla="*/ 2281238 w 3851276"/>
              <a:gd name="connsiteY97" fmla="*/ 2134192 h 2457451"/>
              <a:gd name="connsiteX98" fmla="*/ 2260407 w 3851276"/>
              <a:gd name="connsiteY98" fmla="*/ 2138363 h 2457451"/>
              <a:gd name="connsiteX99" fmla="*/ 1324647 w 3851276"/>
              <a:gd name="connsiteY99" fmla="*/ 2138363 h 2457451"/>
              <a:gd name="connsiteX100" fmla="*/ 1190967 w 3851276"/>
              <a:gd name="connsiteY100" fmla="*/ 2022776 h 2457451"/>
              <a:gd name="connsiteX101" fmla="*/ 826386 w 3851276"/>
              <a:gd name="connsiteY101" fmla="*/ 1709474 h 2457451"/>
              <a:gd name="connsiteX102" fmla="*/ 461804 w 3851276"/>
              <a:gd name="connsiteY102" fmla="*/ 2022776 h 2457451"/>
              <a:gd name="connsiteX103" fmla="*/ 328124 w 3851276"/>
              <a:gd name="connsiteY103" fmla="*/ 2138363 h 2457451"/>
              <a:gd name="connsiteX104" fmla="*/ 136718 w 3851276"/>
              <a:gd name="connsiteY104" fmla="*/ 2138363 h 2457451"/>
              <a:gd name="connsiteX105" fmla="*/ 0 w 3851276"/>
              <a:gd name="connsiteY105" fmla="*/ 2001484 h 2457451"/>
              <a:gd name="connsiteX106" fmla="*/ 0 w 3851276"/>
              <a:gd name="connsiteY106" fmla="*/ 136880 h 2457451"/>
              <a:gd name="connsiteX107" fmla="*/ 136718 w 3851276"/>
              <a:gd name="connsiteY107"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681037 w 3851276"/>
              <a:gd name="connsiteY10" fmla="*/ 2108200 h 2457451"/>
              <a:gd name="connsiteX11" fmla="*/ 971551 w 3851276"/>
              <a:gd name="connsiteY11" fmla="*/ 2108200 h 2457451"/>
              <a:gd name="connsiteX12" fmla="*/ 826294 w 3851276"/>
              <a:gd name="connsiteY12" fmla="*/ 2254250 h 2457451"/>
              <a:gd name="connsiteX13" fmla="*/ 681037 w 3851276"/>
              <a:gd name="connsiteY13" fmla="*/ 2108200 h 2457451"/>
              <a:gd name="connsiteX14" fmla="*/ 3137695 w 3851276"/>
              <a:gd name="connsiteY14" fmla="*/ 1879600 h 2457451"/>
              <a:gd name="connsiteX15" fmla="*/ 2909888 w 3851276"/>
              <a:gd name="connsiteY15" fmla="*/ 2107407 h 2457451"/>
              <a:gd name="connsiteX16" fmla="*/ 3137695 w 3851276"/>
              <a:gd name="connsiteY16" fmla="*/ 2335214 h 2457451"/>
              <a:gd name="connsiteX17" fmla="*/ 3365502 w 3851276"/>
              <a:gd name="connsiteY17" fmla="*/ 2107407 h 2457451"/>
              <a:gd name="connsiteX18" fmla="*/ 3137695 w 3851276"/>
              <a:gd name="connsiteY18" fmla="*/ 1879600 h 2457451"/>
              <a:gd name="connsiteX19" fmla="*/ 826295 w 3851276"/>
              <a:gd name="connsiteY19" fmla="*/ 1879600 h 2457451"/>
              <a:gd name="connsiteX20" fmla="*/ 598488 w 3851276"/>
              <a:gd name="connsiteY20" fmla="*/ 2107407 h 2457451"/>
              <a:gd name="connsiteX21" fmla="*/ 826295 w 3851276"/>
              <a:gd name="connsiteY21" fmla="*/ 2335214 h 2457451"/>
              <a:gd name="connsiteX22" fmla="*/ 1054102 w 3851276"/>
              <a:gd name="connsiteY22" fmla="*/ 2107407 h 2457451"/>
              <a:gd name="connsiteX23" fmla="*/ 826295 w 3851276"/>
              <a:gd name="connsiteY23" fmla="*/ 1879600 h 2457451"/>
              <a:gd name="connsiteX24" fmla="*/ 3136900 w 3851276"/>
              <a:gd name="connsiteY24" fmla="*/ 1757363 h 2457451"/>
              <a:gd name="connsiteX25" fmla="*/ 3486150 w 3851276"/>
              <a:gd name="connsiteY25" fmla="*/ 2107407 h 2457451"/>
              <a:gd name="connsiteX26" fmla="*/ 3136900 w 3851276"/>
              <a:gd name="connsiteY26" fmla="*/ 2457451 h 2457451"/>
              <a:gd name="connsiteX27" fmla="*/ 2787650 w 3851276"/>
              <a:gd name="connsiteY27" fmla="*/ 2107407 h 2457451"/>
              <a:gd name="connsiteX28" fmla="*/ 3136900 w 3851276"/>
              <a:gd name="connsiteY28" fmla="*/ 1757363 h 2457451"/>
              <a:gd name="connsiteX29" fmla="*/ 825500 w 3851276"/>
              <a:gd name="connsiteY29" fmla="*/ 1757363 h 2457451"/>
              <a:gd name="connsiteX30" fmla="*/ 1174750 w 3851276"/>
              <a:gd name="connsiteY30" fmla="*/ 2107407 h 2457451"/>
              <a:gd name="connsiteX31" fmla="*/ 825500 w 3851276"/>
              <a:gd name="connsiteY31" fmla="*/ 2457451 h 2457451"/>
              <a:gd name="connsiteX32" fmla="*/ 476250 w 3851276"/>
              <a:gd name="connsiteY32" fmla="*/ 2107407 h 2457451"/>
              <a:gd name="connsiteX33" fmla="*/ 825500 w 3851276"/>
              <a:gd name="connsiteY33" fmla="*/ 1757363 h 2457451"/>
              <a:gd name="connsiteX34" fmla="*/ 2397125 w 3851276"/>
              <a:gd name="connsiteY34" fmla="*/ 532797 h 2457451"/>
              <a:gd name="connsiteX35" fmla="*/ 2397125 w 3851276"/>
              <a:gd name="connsiteY35" fmla="*/ 613672 h 2457451"/>
              <a:gd name="connsiteX36" fmla="*/ 2397125 w 3851276"/>
              <a:gd name="connsiteY36" fmla="*/ 2001484 h 2457451"/>
              <a:gd name="connsiteX37" fmla="*/ 2394079 w 3851276"/>
              <a:gd name="connsiteY37" fmla="*/ 2016729 h 2457451"/>
              <a:gd name="connsiteX38" fmla="*/ 2399520 w 3851276"/>
              <a:gd name="connsiteY38" fmla="*/ 2016729 h 2457451"/>
              <a:gd name="connsiteX39" fmla="*/ 2639583 w 3851276"/>
              <a:gd name="connsiteY39" fmla="*/ 2016729 h 2457451"/>
              <a:gd name="connsiteX40" fmla="*/ 2651731 w 3851276"/>
              <a:gd name="connsiteY40" fmla="*/ 2004566 h 2457451"/>
              <a:gd name="connsiteX41" fmla="*/ 3137623 w 3851276"/>
              <a:gd name="connsiteY41" fmla="*/ 1587970 h 2457451"/>
              <a:gd name="connsiteX42" fmla="*/ 3623514 w 3851276"/>
              <a:gd name="connsiteY42" fmla="*/ 2004566 h 2457451"/>
              <a:gd name="connsiteX43" fmla="*/ 3635662 w 3851276"/>
              <a:gd name="connsiteY43" fmla="*/ 2016729 h 2457451"/>
              <a:gd name="connsiteX44" fmla="*/ 3714619 w 3851276"/>
              <a:gd name="connsiteY44" fmla="*/ 2016729 h 2457451"/>
              <a:gd name="connsiteX45" fmla="*/ 3729803 w 3851276"/>
              <a:gd name="connsiteY45" fmla="*/ 2001525 h 2457451"/>
              <a:gd name="connsiteX46" fmla="*/ 3729803 w 3851276"/>
              <a:gd name="connsiteY46" fmla="*/ 1274763 h 2457451"/>
              <a:gd name="connsiteX47" fmla="*/ 3726766 w 3851276"/>
              <a:gd name="connsiteY47" fmla="*/ 1265641 h 2457451"/>
              <a:gd name="connsiteX48" fmla="*/ 3626551 w 3851276"/>
              <a:gd name="connsiteY48" fmla="*/ 1147048 h 2457451"/>
              <a:gd name="connsiteX49" fmla="*/ 2915934 w 3851276"/>
              <a:gd name="connsiteY49" fmla="*/ 1147048 h 2457451"/>
              <a:gd name="connsiteX50" fmla="*/ 2779277 w 3851276"/>
              <a:gd name="connsiteY50" fmla="*/ 1013250 h 2457451"/>
              <a:gd name="connsiteX51" fmla="*/ 2779277 w 3851276"/>
              <a:gd name="connsiteY51" fmla="*/ 532797 h 2457451"/>
              <a:gd name="connsiteX52" fmla="*/ 2402829 w 3851276"/>
              <a:gd name="connsiteY52" fmla="*/ 532797 h 2457451"/>
              <a:gd name="connsiteX53" fmla="*/ 2397125 w 3851276"/>
              <a:gd name="connsiteY53" fmla="*/ 532797 h 2457451"/>
              <a:gd name="connsiteX54" fmla="*/ 2900363 w 3851276"/>
              <a:gd name="connsiteY54" fmla="*/ 531813 h 2457451"/>
              <a:gd name="connsiteX55" fmla="*/ 2900363 w 3851276"/>
              <a:gd name="connsiteY55" fmla="*/ 1013336 h 2457451"/>
              <a:gd name="connsiteX56" fmla="*/ 2915545 w 3851276"/>
              <a:gd name="connsiteY56" fmla="*/ 1025526 h 2457451"/>
              <a:gd name="connsiteX57" fmla="*/ 3525838 w 3851276"/>
              <a:gd name="connsiteY57" fmla="*/ 1025526 h 2457451"/>
              <a:gd name="connsiteX58" fmla="*/ 3115940 w 3851276"/>
              <a:gd name="connsiteY58" fmla="*/ 537908 h 2457451"/>
              <a:gd name="connsiteX59" fmla="*/ 3106831 w 3851276"/>
              <a:gd name="connsiteY59" fmla="*/ 531813 h 2457451"/>
              <a:gd name="connsiteX60" fmla="*/ 2900363 w 3851276"/>
              <a:gd name="connsiteY60" fmla="*/ 531813 h 2457451"/>
              <a:gd name="connsiteX61" fmla="*/ 135842 w 3851276"/>
              <a:gd name="connsiteY61" fmla="*/ 122238 h 2457451"/>
              <a:gd name="connsiteX62" fmla="*/ 120650 w 3851276"/>
              <a:gd name="connsiteY62" fmla="*/ 137438 h 2457451"/>
              <a:gd name="connsiteX63" fmla="*/ 120650 w 3851276"/>
              <a:gd name="connsiteY63" fmla="*/ 2000926 h 2457451"/>
              <a:gd name="connsiteX64" fmla="*/ 135842 w 3851276"/>
              <a:gd name="connsiteY64" fmla="*/ 2016126 h 2457451"/>
              <a:gd name="connsiteX65" fmla="*/ 327263 w 3851276"/>
              <a:gd name="connsiteY65" fmla="*/ 2016126 h 2457451"/>
              <a:gd name="connsiteX66" fmla="*/ 339416 w 3851276"/>
              <a:gd name="connsiteY66" fmla="*/ 2003966 h 2457451"/>
              <a:gd name="connsiteX67" fmla="*/ 825563 w 3851276"/>
              <a:gd name="connsiteY67" fmla="*/ 1587493 h 2457451"/>
              <a:gd name="connsiteX68" fmla="*/ 1308671 w 3851276"/>
              <a:gd name="connsiteY68" fmla="*/ 2003966 h 2457451"/>
              <a:gd name="connsiteX69" fmla="*/ 1323864 w 3851276"/>
              <a:gd name="connsiteY69" fmla="*/ 2016126 h 2457451"/>
              <a:gd name="connsiteX70" fmla="*/ 2259696 w 3851276"/>
              <a:gd name="connsiteY70" fmla="*/ 2016126 h 2457451"/>
              <a:gd name="connsiteX71" fmla="*/ 2274888 w 3851276"/>
              <a:gd name="connsiteY71" fmla="*/ 2000926 h 2457451"/>
              <a:gd name="connsiteX72" fmla="*/ 2274888 w 3851276"/>
              <a:gd name="connsiteY72" fmla="*/ 137438 h 2457451"/>
              <a:gd name="connsiteX73" fmla="*/ 2259696 w 3851276"/>
              <a:gd name="connsiteY73" fmla="*/ 122238 h 2457451"/>
              <a:gd name="connsiteX74" fmla="*/ 135842 w 3851276"/>
              <a:gd name="connsiteY74" fmla="*/ 122238 h 2457451"/>
              <a:gd name="connsiteX75" fmla="*/ 136718 w 3851276"/>
              <a:gd name="connsiteY75" fmla="*/ 0 h 2457451"/>
              <a:gd name="connsiteX76" fmla="*/ 2260407 w 3851276"/>
              <a:gd name="connsiteY76" fmla="*/ 0 h 2457451"/>
              <a:gd name="connsiteX77" fmla="*/ 2397125 w 3851276"/>
              <a:gd name="connsiteY77" fmla="*/ 136880 h 2457451"/>
              <a:gd name="connsiteX78" fmla="*/ 2397125 w 3851276"/>
              <a:gd name="connsiteY78" fmla="*/ 306281 h 2457451"/>
              <a:gd name="connsiteX79" fmla="*/ 2397125 w 3851276"/>
              <a:gd name="connsiteY79" fmla="*/ 411163 h 2457451"/>
              <a:gd name="connsiteX80" fmla="*/ 2426638 w 3851276"/>
              <a:gd name="connsiteY80" fmla="*/ 411163 h 2457451"/>
              <a:gd name="connsiteX81" fmla="*/ 3107254 w 3851276"/>
              <a:gd name="connsiteY81" fmla="*/ 411163 h 2457451"/>
              <a:gd name="connsiteX82" fmla="*/ 3210506 w 3851276"/>
              <a:gd name="connsiteY82" fmla="*/ 459817 h 2457451"/>
              <a:gd name="connsiteX83" fmla="*/ 3684251 w 3851276"/>
              <a:gd name="connsiteY83" fmla="*/ 1025414 h 2457451"/>
              <a:gd name="connsiteX84" fmla="*/ 3687288 w 3851276"/>
              <a:gd name="connsiteY84" fmla="*/ 1025414 h 2457451"/>
              <a:gd name="connsiteX85" fmla="*/ 3687288 w 3851276"/>
              <a:gd name="connsiteY85" fmla="*/ 1031496 h 2457451"/>
              <a:gd name="connsiteX86" fmla="*/ 3817871 w 3851276"/>
              <a:gd name="connsiteY86" fmla="*/ 1186579 h 2457451"/>
              <a:gd name="connsiteX87" fmla="*/ 3851276 w 3851276"/>
              <a:gd name="connsiteY87" fmla="*/ 1274763 h 2457451"/>
              <a:gd name="connsiteX88" fmla="*/ 3851276 w 3851276"/>
              <a:gd name="connsiteY88" fmla="*/ 2001525 h 2457451"/>
              <a:gd name="connsiteX89" fmla="*/ 3714619 w 3851276"/>
              <a:gd name="connsiteY89" fmla="*/ 2138363 h 2457451"/>
              <a:gd name="connsiteX90" fmla="*/ 3635662 w 3851276"/>
              <a:gd name="connsiteY90" fmla="*/ 2138363 h 2457451"/>
              <a:gd name="connsiteX91" fmla="*/ 3502041 w 3851276"/>
              <a:gd name="connsiteY91" fmla="*/ 2022811 h 2457451"/>
              <a:gd name="connsiteX92" fmla="*/ 3137623 w 3851276"/>
              <a:gd name="connsiteY92" fmla="*/ 1709604 h 2457451"/>
              <a:gd name="connsiteX93" fmla="*/ 2773204 w 3851276"/>
              <a:gd name="connsiteY93" fmla="*/ 2022811 h 2457451"/>
              <a:gd name="connsiteX94" fmla="*/ 2639583 w 3851276"/>
              <a:gd name="connsiteY94" fmla="*/ 2138363 h 2457451"/>
              <a:gd name="connsiteX95" fmla="*/ 2281238 w 3851276"/>
              <a:gd name="connsiteY95" fmla="*/ 2138363 h 2457451"/>
              <a:gd name="connsiteX96" fmla="*/ 2281238 w 3851276"/>
              <a:gd name="connsiteY96" fmla="*/ 2134192 h 2457451"/>
              <a:gd name="connsiteX97" fmla="*/ 2260407 w 3851276"/>
              <a:gd name="connsiteY97" fmla="*/ 2138363 h 2457451"/>
              <a:gd name="connsiteX98" fmla="*/ 1324647 w 3851276"/>
              <a:gd name="connsiteY98" fmla="*/ 2138363 h 2457451"/>
              <a:gd name="connsiteX99" fmla="*/ 1190967 w 3851276"/>
              <a:gd name="connsiteY99" fmla="*/ 2022776 h 2457451"/>
              <a:gd name="connsiteX100" fmla="*/ 826386 w 3851276"/>
              <a:gd name="connsiteY100" fmla="*/ 1709474 h 2457451"/>
              <a:gd name="connsiteX101" fmla="*/ 461804 w 3851276"/>
              <a:gd name="connsiteY101" fmla="*/ 2022776 h 2457451"/>
              <a:gd name="connsiteX102" fmla="*/ 328124 w 3851276"/>
              <a:gd name="connsiteY102" fmla="*/ 2138363 h 2457451"/>
              <a:gd name="connsiteX103" fmla="*/ 136718 w 3851276"/>
              <a:gd name="connsiteY103" fmla="*/ 2138363 h 2457451"/>
              <a:gd name="connsiteX104" fmla="*/ 0 w 3851276"/>
              <a:gd name="connsiteY104" fmla="*/ 2001484 h 2457451"/>
              <a:gd name="connsiteX105" fmla="*/ 0 w 3851276"/>
              <a:gd name="connsiteY105" fmla="*/ 136880 h 2457451"/>
              <a:gd name="connsiteX106" fmla="*/ 136718 w 3851276"/>
              <a:gd name="connsiteY106"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826294 w 3851276"/>
              <a:gd name="connsiteY10" fmla="*/ 2254250 h 2457451"/>
              <a:gd name="connsiteX11" fmla="*/ 971551 w 3851276"/>
              <a:gd name="connsiteY11" fmla="*/ 2108200 h 2457451"/>
              <a:gd name="connsiteX12" fmla="*/ 826294 w 3851276"/>
              <a:gd name="connsiteY12" fmla="*/ 2254250 h 2457451"/>
              <a:gd name="connsiteX13" fmla="*/ 3137695 w 3851276"/>
              <a:gd name="connsiteY13" fmla="*/ 1879600 h 2457451"/>
              <a:gd name="connsiteX14" fmla="*/ 2909888 w 3851276"/>
              <a:gd name="connsiteY14" fmla="*/ 2107407 h 2457451"/>
              <a:gd name="connsiteX15" fmla="*/ 3137695 w 3851276"/>
              <a:gd name="connsiteY15" fmla="*/ 2335214 h 2457451"/>
              <a:gd name="connsiteX16" fmla="*/ 3365502 w 3851276"/>
              <a:gd name="connsiteY16" fmla="*/ 2107407 h 2457451"/>
              <a:gd name="connsiteX17" fmla="*/ 3137695 w 3851276"/>
              <a:gd name="connsiteY17" fmla="*/ 1879600 h 2457451"/>
              <a:gd name="connsiteX18" fmla="*/ 826295 w 3851276"/>
              <a:gd name="connsiteY18" fmla="*/ 1879600 h 2457451"/>
              <a:gd name="connsiteX19" fmla="*/ 598488 w 3851276"/>
              <a:gd name="connsiteY19" fmla="*/ 2107407 h 2457451"/>
              <a:gd name="connsiteX20" fmla="*/ 826295 w 3851276"/>
              <a:gd name="connsiteY20" fmla="*/ 2335214 h 2457451"/>
              <a:gd name="connsiteX21" fmla="*/ 1054102 w 3851276"/>
              <a:gd name="connsiteY21" fmla="*/ 2107407 h 2457451"/>
              <a:gd name="connsiteX22" fmla="*/ 826295 w 3851276"/>
              <a:gd name="connsiteY22" fmla="*/ 1879600 h 2457451"/>
              <a:gd name="connsiteX23" fmla="*/ 3136900 w 3851276"/>
              <a:gd name="connsiteY23" fmla="*/ 1757363 h 2457451"/>
              <a:gd name="connsiteX24" fmla="*/ 3486150 w 3851276"/>
              <a:gd name="connsiteY24" fmla="*/ 2107407 h 2457451"/>
              <a:gd name="connsiteX25" fmla="*/ 3136900 w 3851276"/>
              <a:gd name="connsiteY25" fmla="*/ 2457451 h 2457451"/>
              <a:gd name="connsiteX26" fmla="*/ 2787650 w 3851276"/>
              <a:gd name="connsiteY26" fmla="*/ 2107407 h 2457451"/>
              <a:gd name="connsiteX27" fmla="*/ 3136900 w 3851276"/>
              <a:gd name="connsiteY27" fmla="*/ 1757363 h 2457451"/>
              <a:gd name="connsiteX28" fmla="*/ 825500 w 3851276"/>
              <a:gd name="connsiteY28" fmla="*/ 1757363 h 2457451"/>
              <a:gd name="connsiteX29" fmla="*/ 1174750 w 3851276"/>
              <a:gd name="connsiteY29" fmla="*/ 2107407 h 2457451"/>
              <a:gd name="connsiteX30" fmla="*/ 825500 w 3851276"/>
              <a:gd name="connsiteY30" fmla="*/ 2457451 h 2457451"/>
              <a:gd name="connsiteX31" fmla="*/ 476250 w 3851276"/>
              <a:gd name="connsiteY31" fmla="*/ 2107407 h 2457451"/>
              <a:gd name="connsiteX32" fmla="*/ 825500 w 3851276"/>
              <a:gd name="connsiteY32" fmla="*/ 1757363 h 2457451"/>
              <a:gd name="connsiteX33" fmla="*/ 2397125 w 3851276"/>
              <a:gd name="connsiteY33" fmla="*/ 532797 h 2457451"/>
              <a:gd name="connsiteX34" fmla="*/ 2397125 w 3851276"/>
              <a:gd name="connsiteY34" fmla="*/ 613672 h 2457451"/>
              <a:gd name="connsiteX35" fmla="*/ 2397125 w 3851276"/>
              <a:gd name="connsiteY35" fmla="*/ 2001484 h 2457451"/>
              <a:gd name="connsiteX36" fmla="*/ 2394079 w 3851276"/>
              <a:gd name="connsiteY36" fmla="*/ 2016729 h 2457451"/>
              <a:gd name="connsiteX37" fmla="*/ 2399520 w 3851276"/>
              <a:gd name="connsiteY37" fmla="*/ 2016729 h 2457451"/>
              <a:gd name="connsiteX38" fmla="*/ 2639583 w 3851276"/>
              <a:gd name="connsiteY38" fmla="*/ 2016729 h 2457451"/>
              <a:gd name="connsiteX39" fmla="*/ 2651731 w 3851276"/>
              <a:gd name="connsiteY39" fmla="*/ 2004566 h 2457451"/>
              <a:gd name="connsiteX40" fmla="*/ 3137623 w 3851276"/>
              <a:gd name="connsiteY40" fmla="*/ 1587970 h 2457451"/>
              <a:gd name="connsiteX41" fmla="*/ 3623514 w 3851276"/>
              <a:gd name="connsiteY41" fmla="*/ 2004566 h 2457451"/>
              <a:gd name="connsiteX42" fmla="*/ 3635662 w 3851276"/>
              <a:gd name="connsiteY42" fmla="*/ 2016729 h 2457451"/>
              <a:gd name="connsiteX43" fmla="*/ 3714619 w 3851276"/>
              <a:gd name="connsiteY43" fmla="*/ 2016729 h 2457451"/>
              <a:gd name="connsiteX44" fmla="*/ 3729803 w 3851276"/>
              <a:gd name="connsiteY44" fmla="*/ 2001525 h 2457451"/>
              <a:gd name="connsiteX45" fmla="*/ 3729803 w 3851276"/>
              <a:gd name="connsiteY45" fmla="*/ 1274763 h 2457451"/>
              <a:gd name="connsiteX46" fmla="*/ 3726766 w 3851276"/>
              <a:gd name="connsiteY46" fmla="*/ 1265641 h 2457451"/>
              <a:gd name="connsiteX47" fmla="*/ 3626551 w 3851276"/>
              <a:gd name="connsiteY47" fmla="*/ 1147048 h 2457451"/>
              <a:gd name="connsiteX48" fmla="*/ 2915934 w 3851276"/>
              <a:gd name="connsiteY48" fmla="*/ 1147048 h 2457451"/>
              <a:gd name="connsiteX49" fmla="*/ 2779277 w 3851276"/>
              <a:gd name="connsiteY49" fmla="*/ 1013250 h 2457451"/>
              <a:gd name="connsiteX50" fmla="*/ 2779277 w 3851276"/>
              <a:gd name="connsiteY50" fmla="*/ 532797 h 2457451"/>
              <a:gd name="connsiteX51" fmla="*/ 2402829 w 3851276"/>
              <a:gd name="connsiteY51" fmla="*/ 532797 h 2457451"/>
              <a:gd name="connsiteX52" fmla="*/ 2397125 w 3851276"/>
              <a:gd name="connsiteY52" fmla="*/ 532797 h 2457451"/>
              <a:gd name="connsiteX53" fmla="*/ 2900363 w 3851276"/>
              <a:gd name="connsiteY53" fmla="*/ 531813 h 2457451"/>
              <a:gd name="connsiteX54" fmla="*/ 2900363 w 3851276"/>
              <a:gd name="connsiteY54" fmla="*/ 1013336 h 2457451"/>
              <a:gd name="connsiteX55" fmla="*/ 2915545 w 3851276"/>
              <a:gd name="connsiteY55" fmla="*/ 1025526 h 2457451"/>
              <a:gd name="connsiteX56" fmla="*/ 3525838 w 3851276"/>
              <a:gd name="connsiteY56" fmla="*/ 1025526 h 2457451"/>
              <a:gd name="connsiteX57" fmla="*/ 3115940 w 3851276"/>
              <a:gd name="connsiteY57" fmla="*/ 537908 h 2457451"/>
              <a:gd name="connsiteX58" fmla="*/ 3106831 w 3851276"/>
              <a:gd name="connsiteY58" fmla="*/ 531813 h 2457451"/>
              <a:gd name="connsiteX59" fmla="*/ 2900363 w 3851276"/>
              <a:gd name="connsiteY59" fmla="*/ 531813 h 2457451"/>
              <a:gd name="connsiteX60" fmla="*/ 135842 w 3851276"/>
              <a:gd name="connsiteY60" fmla="*/ 122238 h 2457451"/>
              <a:gd name="connsiteX61" fmla="*/ 120650 w 3851276"/>
              <a:gd name="connsiteY61" fmla="*/ 137438 h 2457451"/>
              <a:gd name="connsiteX62" fmla="*/ 120650 w 3851276"/>
              <a:gd name="connsiteY62" fmla="*/ 2000926 h 2457451"/>
              <a:gd name="connsiteX63" fmla="*/ 135842 w 3851276"/>
              <a:gd name="connsiteY63" fmla="*/ 2016126 h 2457451"/>
              <a:gd name="connsiteX64" fmla="*/ 327263 w 3851276"/>
              <a:gd name="connsiteY64" fmla="*/ 2016126 h 2457451"/>
              <a:gd name="connsiteX65" fmla="*/ 339416 w 3851276"/>
              <a:gd name="connsiteY65" fmla="*/ 2003966 h 2457451"/>
              <a:gd name="connsiteX66" fmla="*/ 825563 w 3851276"/>
              <a:gd name="connsiteY66" fmla="*/ 1587493 h 2457451"/>
              <a:gd name="connsiteX67" fmla="*/ 1308671 w 3851276"/>
              <a:gd name="connsiteY67" fmla="*/ 2003966 h 2457451"/>
              <a:gd name="connsiteX68" fmla="*/ 1323864 w 3851276"/>
              <a:gd name="connsiteY68" fmla="*/ 2016126 h 2457451"/>
              <a:gd name="connsiteX69" fmla="*/ 2259696 w 3851276"/>
              <a:gd name="connsiteY69" fmla="*/ 2016126 h 2457451"/>
              <a:gd name="connsiteX70" fmla="*/ 2274888 w 3851276"/>
              <a:gd name="connsiteY70" fmla="*/ 2000926 h 2457451"/>
              <a:gd name="connsiteX71" fmla="*/ 2274888 w 3851276"/>
              <a:gd name="connsiteY71" fmla="*/ 137438 h 2457451"/>
              <a:gd name="connsiteX72" fmla="*/ 2259696 w 3851276"/>
              <a:gd name="connsiteY72" fmla="*/ 122238 h 2457451"/>
              <a:gd name="connsiteX73" fmla="*/ 135842 w 3851276"/>
              <a:gd name="connsiteY73" fmla="*/ 122238 h 2457451"/>
              <a:gd name="connsiteX74" fmla="*/ 136718 w 3851276"/>
              <a:gd name="connsiteY74" fmla="*/ 0 h 2457451"/>
              <a:gd name="connsiteX75" fmla="*/ 2260407 w 3851276"/>
              <a:gd name="connsiteY75" fmla="*/ 0 h 2457451"/>
              <a:gd name="connsiteX76" fmla="*/ 2397125 w 3851276"/>
              <a:gd name="connsiteY76" fmla="*/ 136880 h 2457451"/>
              <a:gd name="connsiteX77" fmla="*/ 2397125 w 3851276"/>
              <a:gd name="connsiteY77" fmla="*/ 306281 h 2457451"/>
              <a:gd name="connsiteX78" fmla="*/ 2397125 w 3851276"/>
              <a:gd name="connsiteY78" fmla="*/ 411163 h 2457451"/>
              <a:gd name="connsiteX79" fmla="*/ 2426638 w 3851276"/>
              <a:gd name="connsiteY79" fmla="*/ 411163 h 2457451"/>
              <a:gd name="connsiteX80" fmla="*/ 3107254 w 3851276"/>
              <a:gd name="connsiteY80" fmla="*/ 411163 h 2457451"/>
              <a:gd name="connsiteX81" fmla="*/ 3210506 w 3851276"/>
              <a:gd name="connsiteY81" fmla="*/ 459817 h 2457451"/>
              <a:gd name="connsiteX82" fmla="*/ 3684251 w 3851276"/>
              <a:gd name="connsiteY82" fmla="*/ 1025414 h 2457451"/>
              <a:gd name="connsiteX83" fmla="*/ 3687288 w 3851276"/>
              <a:gd name="connsiteY83" fmla="*/ 1025414 h 2457451"/>
              <a:gd name="connsiteX84" fmla="*/ 3687288 w 3851276"/>
              <a:gd name="connsiteY84" fmla="*/ 1031496 h 2457451"/>
              <a:gd name="connsiteX85" fmla="*/ 3817871 w 3851276"/>
              <a:gd name="connsiteY85" fmla="*/ 1186579 h 2457451"/>
              <a:gd name="connsiteX86" fmla="*/ 3851276 w 3851276"/>
              <a:gd name="connsiteY86" fmla="*/ 1274763 h 2457451"/>
              <a:gd name="connsiteX87" fmla="*/ 3851276 w 3851276"/>
              <a:gd name="connsiteY87" fmla="*/ 2001525 h 2457451"/>
              <a:gd name="connsiteX88" fmla="*/ 3714619 w 3851276"/>
              <a:gd name="connsiteY88" fmla="*/ 2138363 h 2457451"/>
              <a:gd name="connsiteX89" fmla="*/ 3635662 w 3851276"/>
              <a:gd name="connsiteY89" fmla="*/ 2138363 h 2457451"/>
              <a:gd name="connsiteX90" fmla="*/ 3502041 w 3851276"/>
              <a:gd name="connsiteY90" fmla="*/ 2022811 h 2457451"/>
              <a:gd name="connsiteX91" fmla="*/ 3137623 w 3851276"/>
              <a:gd name="connsiteY91" fmla="*/ 1709604 h 2457451"/>
              <a:gd name="connsiteX92" fmla="*/ 2773204 w 3851276"/>
              <a:gd name="connsiteY92" fmla="*/ 2022811 h 2457451"/>
              <a:gd name="connsiteX93" fmla="*/ 2639583 w 3851276"/>
              <a:gd name="connsiteY93" fmla="*/ 2138363 h 2457451"/>
              <a:gd name="connsiteX94" fmla="*/ 2281238 w 3851276"/>
              <a:gd name="connsiteY94" fmla="*/ 2138363 h 2457451"/>
              <a:gd name="connsiteX95" fmla="*/ 2281238 w 3851276"/>
              <a:gd name="connsiteY95" fmla="*/ 2134192 h 2457451"/>
              <a:gd name="connsiteX96" fmla="*/ 2260407 w 3851276"/>
              <a:gd name="connsiteY96" fmla="*/ 2138363 h 2457451"/>
              <a:gd name="connsiteX97" fmla="*/ 1324647 w 3851276"/>
              <a:gd name="connsiteY97" fmla="*/ 2138363 h 2457451"/>
              <a:gd name="connsiteX98" fmla="*/ 1190967 w 3851276"/>
              <a:gd name="connsiteY98" fmla="*/ 2022776 h 2457451"/>
              <a:gd name="connsiteX99" fmla="*/ 826386 w 3851276"/>
              <a:gd name="connsiteY99" fmla="*/ 1709474 h 2457451"/>
              <a:gd name="connsiteX100" fmla="*/ 461804 w 3851276"/>
              <a:gd name="connsiteY100" fmla="*/ 2022776 h 2457451"/>
              <a:gd name="connsiteX101" fmla="*/ 328124 w 3851276"/>
              <a:gd name="connsiteY101" fmla="*/ 2138363 h 2457451"/>
              <a:gd name="connsiteX102" fmla="*/ 136718 w 3851276"/>
              <a:gd name="connsiteY102" fmla="*/ 2138363 h 2457451"/>
              <a:gd name="connsiteX103" fmla="*/ 0 w 3851276"/>
              <a:gd name="connsiteY103" fmla="*/ 2001484 h 2457451"/>
              <a:gd name="connsiteX104" fmla="*/ 0 w 3851276"/>
              <a:gd name="connsiteY104" fmla="*/ 136880 h 2457451"/>
              <a:gd name="connsiteX105" fmla="*/ 136718 w 3851276"/>
              <a:gd name="connsiteY105"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3137695 w 3851276"/>
              <a:gd name="connsiteY10" fmla="*/ 1879600 h 2457451"/>
              <a:gd name="connsiteX11" fmla="*/ 2909888 w 3851276"/>
              <a:gd name="connsiteY11" fmla="*/ 2107407 h 2457451"/>
              <a:gd name="connsiteX12" fmla="*/ 3137695 w 3851276"/>
              <a:gd name="connsiteY12" fmla="*/ 2335214 h 2457451"/>
              <a:gd name="connsiteX13" fmla="*/ 3365502 w 3851276"/>
              <a:gd name="connsiteY13" fmla="*/ 2107407 h 2457451"/>
              <a:gd name="connsiteX14" fmla="*/ 3137695 w 3851276"/>
              <a:gd name="connsiteY14" fmla="*/ 1879600 h 2457451"/>
              <a:gd name="connsiteX15" fmla="*/ 826295 w 3851276"/>
              <a:gd name="connsiteY15" fmla="*/ 1879600 h 2457451"/>
              <a:gd name="connsiteX16" fmla="*/ 598488 w 3851276"/>
              <a:gd name="connsiteY16" fmla="*/ 2107407 h 2457451"/>
              <a:gd name="connsiteX17" fmla="*/ 826295 w 3851276"/>
              <a:gd name="connsiteY17" fmla="*/ 2335214 h 2457451"/>
              <a:gd name="connsiteX18" fmla="*/ 1054102 w 3851276"/>
              <a:gd name="connsiteY18" fmla="*/ 2107407 h 2457451"/>
              <a:gd name="connsiteX19" fmla="*/ 826295 w 3851276"/>
              <a:gd name="connsiteY19" fmla="*/ 1879600 h 2457451"/>
              <a:gd name="connsiteX20" fmla="*/ 3136900 w 3851276"/>
              <a:gd name="connsiteY20" fmla="*/ 1757363 h 2457451"/>
              <a:gd name="connsiteX21" fmla="*/ 3486150 w 3851276"/>
              <a:gd name="connsiteY21" fmla="*/ 2107407 h 2457451"/>
              <a:gd name="connsiteX22" fmla="*/ 3136900 w 3851276"/>
              <a:gd name="connsiteY22" fmla="*/ 2457451 h 2457451"/>
              <a:gd name="connsiteX23" fmla="*/ 2787650 w 3851276"/>
              <a:gd name="connsiteY23" fmla="*/ 2107407 h 2457451"/>
              <a:gd name="connsiteX24" fmla="*/ 3136900 w 3851276"/>
              <a:gd name="connsiteY24" fmla="*/ 1757363 h 2457451"/>
              <a:gd name="connsiteX25" fmla="*/ 825500 w 3851276"/>
              <a:gd name="connsiteY25" fmla="*/ 1757363 h 2457451"/>
              <a:gd name="connsiteX26" fmla="*/ 1174750 w 3851276"/>
              <a:gd name="connsiteY26" fmla="*/ 2107407 h 2457451"/>
              <a:gd name="connsiteX27" fmla="*/ 825500 w 3851276"/>
              <a:gd name="connsiteY27" fmla="*/ 2457451 h 2457451"/>
              <a:gd name="connsiteX28" fmla="*/ 476250 w 3851276"/>
              <a:gd name="connsiteY28" fmla="*/ 2107407 h 2457451"/>
              <a:gd name="connsiteX29" fmla="*/ 825500 w 3851276"/>
              <a:gd name="connsiteY29" fmla="*/ 1757363 h 2457451"/>
              <a:gd name="connsiteX30" fmla="*/ 2397125 w 3851276"/>
              <a:gd name="connsiteY30" fmla="*/ 532797 h 2457451"/>
              <a:gd name="connsiteX31" fmla="*/ 2397125 w 3851276"/>
              <a:gd name="connsiteY31" fmla="*/ 613672 h 2457451"/>
              <a:gd name="connsiteX32" fmla="*/ 2397125 w 3851276"/>
              <a:gd name="connsiteY32" fmla="*/ 2001484 h 2457451"/>
              <a:gd name="connsiteX33" fmla="*/ 2394079 w 3851276"/>
              <a:gd name="connsiteY33" fmla="*/ 2016729 h 2457451"/>
              <a:gd name="connsiteX34" fmla="*/ 2399520 w 3851276"/>
              <a:gd name="connsiteY34" fmla="*/ 2016729 h 2457451"/>
              <a:gd name="connsiteX35" fmla="*/ 2639583 w 3851276"/>
              <a:gd name="connsiteY35" fmla="*/ 2016729 h 2457451"/>
              <a:gd name="connsiteX36" fmla="*/ 2651731 w 3851276"/>
              <a:gd name="connsiteY36" fmla="*/ 2004566 h 2457451"/>
              <a:gd name="connsiteX37" fmla="*/ 3137623 w 3851276"/>
              <a:gd name="connsiteY37" fmla="*/ 1587970 h 2457451"/>
              <a:gd name="connsiteX38" fmla="*/ 3623514 w 3851276"/>
              <a:gd name="connsiteY38" fmla="*/ 2004566 h 2457451"/>
              <a:gd name="connsiteX39" fmla="*/ 3635662 w 3851276"/>
              <a:gd name="connsiteY39" fmla="*/ 2016729 h 2457451"/>
              <a:gd name="connsiteX40" fmla="*/ 3714619 w 3851276"/>
              <a:gd name="connsiteY40" fmla="*/ 2016729 h 2457451"/>
              <a:gd name="connsiteX41" fmla="*/ 3729803 w 3851276"/>
              <a:gd name="connsiteY41" fmla="*/ 2001525 h 2457451"/>
              <a:gd name="connsiteX42" fmla="*/ 3729803 w 3851276"/>
              <a:gd name="connsiteY42" fmla="*/ 1274763 h 2457451"/>
              <a:gd name="connsiteX43" fmla="*/ 3726766 w 3851276"/>
              <a:gd name="connsiteY43" fmla="*/ 1265641 h 2457451"/>
              <a:gd name="connsiteX44" fmla="*/ 3626551 w 3851276"/>
              <a:gd name="connsiteY44" fmla="*/ 1147048 h 2457451"/>
              <a:gd name="connsiteX45" fmla="*/ 2915934 w 3851276"/>
              <a:gd name="connsiteY45" fmla="*/ 1147048 h 2457451"/>
              <a:gd name="connsiteX46" fmla="*/ 2779277 w 3851276"/>
              <a:gd name="connsiteY46" fmla="*/ 1013250 h 2457451"/>
              <a:gd name="connsiteX47" fmla="*/ 2779277 w 3851276"/>
              <a:gd name="connsiteY47" fmla="*/ 532797 h 2457451"/>
              <a:gd name="connsiteX48" fmla="*/ 2402829 w 3851276"/>
              <a:gd name="connsiteY48" fmla="*/ 532797 h 2457451"/>
              <a:gd name="connsiteX49" fmla="*/ 2397125 w 3851276"/>
              <a:gd name="connsiteY49" fmla="*/ 532797 h 2457451"/>
              <a:gd name="connsiteX50" fmla="*/ 2900363 w 3851276"/>
              <a:gd name="connsiteY50" fmla="*/ 531813 h 2457451"/>
              <a:gd name="connsiteX51" fmla="*/ 2900363 w 3851276"/>
              <a:gd name="connsiteY51" fmla="*/ 1013336 h 2457451"/>
              <a:gd name="connsiteX52" fmla="*/ 2915545 w 3851276"/>
              <a:gd name="connsiteY52" fmla="*/ 1025526 h 2457451"/>
              <a:gd name="connsiteX53" fmla="*/ 3525838 w 3851276"/>
              <a:gd name="connsiteY53" fmla="*/ 1025526 h 2457451"/>
              <a:gd name="connsiteX54" fmla="*/ 3115940 w 3851276"/>
              <a:gd name="connsiteY54" fmla="*/ 537908 h 2457451"/>
              <a:gd name="connsiteX55" fmla="*/ 3106831 w 3851276"/>
              <a:gd name="connsiteY55" fmla="*/ 531813 h 2457451"/>
              <a:gd name="connsiteX56" fmla="*/ 2900363 w 3851276"/>
              <a:gd name="connsiteY56" fmla="*/ 531813 h 2457451"/>
              <a:gd name="connsiteX57" fmla="*/ 135842 w 3851276"/>
              <a:gd name="connsiteY57" fmla="*/ 122238 h 2457451"/>
              <a:gd name="connsiteX58" fmla="*/ 120650 w 3851276"/>
              <a:gd name="connsiteY58" fmla="*/ 137438 h 2457451"/>
              <a:gd name="connsiteX59" fmla="*/ 120650 w 3851276"/>
              <a:gd name="connsiteY59" fmla="*/ 2000926 h 2457451"/>
              <a:gd name="connsiteX60" fmla="*/ 135842 w 3851276"/>
              <a:gd name="connsiteY60" fmla="*/ 2016126 h 2457451"/>
              <a:gd name="connsiteX61" fmla="*/ 327263 w 3851276"/>
              <a:gd name="connsiteY61" fmla="*/ 2016126 h 2457451"/>
              <a:gd name="connsiteX62" fmla="*/ 339416 w 3851276"/>
              <a:gd name="connsiteY62" fmla="*/ 2003966 h 2457451"/>
              <a:gd name="connsiteX63" fmla="*/ 825563 w 3851276"/>
              <a:gd name="connsiteY63" fmla="*/ 1587493 h 2457451"/>
              <a:gd name="connsiteX64" fmla="*/ 1308671 w 3851276"/>
              <a:gd name="connsiteY64" fmla="*/ 2003966 h 2457451"/>
              <a:gd name="connsiteX65" fmla="*/ 1323864 w 3851276"/>
              <a:gd name="connsiteY65" fmla="*/ 2016126 h 2457451"/>
              <a:gd name="connsiteX66" fmla="*/ 2259696 w 3851276"/>
              <a:gd name="connsiteY66" fmla="*/ 2016126 h 2457451"/>
              <a:gd name="connsiteX67" fmla="*/ 2274888 w 3851276"/>
              <a:gd name="connsiteY67" fmla="*/ 2000926 h 2457451"/>
              <a:gd name="connsiteX68" fmla="*/ 2274888 w 3851276"/>
              <a:gd name="connsiteY68" fmla="*/ 137438 h 2457451"/>
              <a:gd name="connsiteX69" fmla="*/ 2259696 w 3851276"/>
              <a:gd name="connsiteY69" fmla="*/ 122238 h 2457451"/>
              <a:gd name="connsiteX70" fmla="*/ 135842 w 3851276"/>
              <a:gd name="connsiteY70" fmla="*/ 122238 h 2457451"/>
              <a:gd name="connsiteX71" fmla="*/ 136718 w 3851276"/>
              <a:gd name="connsiteY71" fmla="*/ 0 h 2457451"/>
              <a:gd name="connsiteX72" fmla="*/ 2260407 w 3851276"/>
              <a:gd name="connsiteY72" fmla="*/ 0 h 2457451"/>
              <a:gd name="connsiteX73" fmla="*/ 2397125 w 3851276"/>
              <a:gd name="connsiteY73" fmla="*/ 136880 h 2457451"/>
              <a:gd name="connsiteX74" fmla="*/ 2397125 w 3851276"/>
              <a:gd name="connsiteY74" fmla="*/ 306281 h 2457451"/>
              <a:gd name="connsiteX75" fmla="*/ 2397125 w 3851276"/>
              <a:gd name="connsiteY75" fmla="*/ 411163 h 2457451"/>
              <a:gd name="connsiteX76" fmla="*/ 2426638 w 3851276"/>
              <a:gd name="connsiteY76" fmla="*/ 411163 h 2457451"/>
              <a:gd name="connsiteX77" fmla="*/ 3107254 w 3851276"/>
              <a:gd name="connsiteY77" fmla="*/ 411163 h 2457451"/>
              <a:gd name="connsiteX78" fmla="*/ 3210506 w 3851276"/>
              <a:gd name="connsiteY78" fmla="*/ 459817 h 2457451"/>
              <a:gd name="connsiteX79" fmla="*/ 3684251 w 3851276"/>
              <a:gd name="connsiteY79" fmla="*/ 1025414 h 2457451"/>
              <a:gd name="connsiteX80" fmla="*/ 3687288 w 3851276"/>
              <a:gd name="connsiteY80" fmla="*/ 1025414 h 2457451"/>
              <a:gd name="connsiteX81" fmla="*/ 3687288 w 3851276"/>
              <a:gd name="connsiteY81" fmla="*/ 1031496 h 2457451"/>
              <a:gd name="connsiteX82" fmla="*/ 3817871 w 3851276"/>
              <a:gd name="connsiteY82" fmla="*/ 1186579 h 2457451"/>
              <a:gd name="connsiteX83" fmla="*/ 3851276 w 3851276"/>
              <a:gd name="connsiteY83" fmla="*/ 1274763 h 2457451"/>
              <a:gd name="connsiteX84" fmla="*/ 3851276 w 3851276"/>
              <a:gd name="connsiteY84" fmla="*/ 2001525 h 2457451"/>
              <a:gd name="connsiteX85" fmla="*/ 3714619 w 3851276"/>
              <a:gd name="connsiteY85" fmla="*/ 2138363 h 2457451"/>
              <a:gd name="connsiteX86" fmla="*/ 3635662 w 3851276"/>
              <a:gd name="connsiteY86" fmla="*/ 2138363 h 2457451"/>
              <a:gd name="connsiteX87" fmla="*/ 3502041 w 3851276"/>
              <a:gd name="connsiteY87" fmla="*/ 2022811 h 2457451"/>
              <a:gd name="connsiteX88" fmla="*/ 3137623 w 3851276"/>
              <a:gd name="connsiteY88" fmla="*/ 1709604 h 2457451"/>
              <a:gd name="connsiteX89" fmla="*/ 2773204 w 3851276"/>
              <a:gd name="connsiteY89" fmla="*/ 2022811 h 2457451"/>
              <a:gd name="connsiteX90" fmla="*/ 2639583 w 3851276"/>
              <a:gd name="connsiteY90" fmla="*/ 2138363 h 2457451"/>
              <a:gd name="connsiteX91" fmla="*/ 2281238 w 3851276"/>
              <a:gd name="connsiteY91" fmla="*/ 2138363 h 2457451"/>
              <a:gd name="connsiteX92" fmla="*/ 2281238 w 3851276"/>
              <a:gd name="connsiteY92" fmla="*/ 2134192 h 2457451"/>
              <a:gd name="connsiteX93" fmla="*/ 2260407 w 3851276"/>
              <a:gd name="connsiteY93" fmla="*/ 2138363 h 2457451"/>
              <a:gd name="connsiteX94" fmla="*/ 1324647 w 3851276"/>
              <a:gd name="connsiteY94" fmla="*/ 2138363 h 2457451"/>
              <a:gd name="connsiteX95" fmla="*/ 1190967 w 3851276"/>
              <a:gd name="connsiteY95" fmla="*/ 2022776 h 2457451"/>
              <a:gd name="connsiteX96" fmla="*/ 826386 w 3851276"/>
              <a:gd name="connsiteY96" fmla="*/ 1709474 h 2457451"/>
              <a:gd name="connsiteX97" fmla="*/ 461804 w 3851276"/>
              <a:gd name="connsiteY97" fmla="*/ 2022776 h 2457451"/>
              <a:gd name="connsiteX98" fmla="*/ 328124 w 3851276"/>
              <a:gd name="connsiteY98" fmla="*/ 2138363 h 2457451"/>
              <a:gd name="connsiteX99" fmla="*/ 136718 w 3851276"/>
              <a:gd name="connsiteY99" fmla="*/ 2138363 h 2457451"/>
              <a:gd name="connsiteX100" fmla="*/ 0 w 3851276"/>
              <a:gd name="connsiteY100" fmla="*/ 2001484 h 2457451"/>
              <a:gd name="connsiteX101" fmla="*/ 0 w 3851276"/>
              <a:gd name="connsiteY101" fmla="*/ 136880 h 2457451"/>
              <a:gd name="connsiteX102" fmla="*/ 136718 w 3851276"/>
              <a:gd name="connsiteY102"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2992437 w 3851276"/>
              <a:gd name="connsiteY5" fmla="*/ 210820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5 w 3851276"/>
              <a:gd name="connsiteY9" fmla="*/ 1879600 h 2457451"/>
              <a:gd name="connsiteX10" fmla="*/ 2909888 w 3851276"/>
              <a:gd name="connsiteY10" fmla="*/ 2107407 h 2457451"/>
              <a:gd name="connsiteX11" fmla="*/ 3137695 w 3851276"/>
              <a:gd name="connsiteY11" fmla="*/ 2335214 h 2457451"/>
              <a:gd name="connsiteX12" fmla="*/ 3365502 w 3851276"/>
              <a:gd name="connsiteY12" fmla="*/ 2107407 h 2457451"/>
              <a:gd name="connsiteX13" fmla="*/ 3137695 w 3851276"/>
              <a:gd name="connsiteY13" fmla="*/ 1879600 h 2457451"/>
              <a:gd name="connsiteX14" fmla="*/ 826295 w 3851276"/>
              <a:gd name="connsiteY14" fmla="*/ 1879600 h 2457451"/>
              <a:gd name="connsiteX15" fmla="*/ 598488 w 3851276"/>
              <a:gd name="connsiteY15" fmla="*/ 2107407 h 2457451"/>
              <a:gd name="connsiteX16" fmla="*/ 826295 w 3851276"/>
              <a:gd name="connsiteY16" fmla="*/ 2335214 h 2457451"/>
              <a:gd name="connsiteX17" fmla="*/ 1054102 w 3851276"/>
              <a:gd name="connsiteY17" fmla="*/ 2107407 h 2457451"/>
              <a:gd name="connsiteX18" fmla="*/ 826295 w 3851276"/>
              <a:gd name="connsiteY18" fmla="*/ 1879600 h 2457451"/>
              <a:gd name="connsiteX19" fmla="*/ 3136900 w 3851276"/>
              <a:gd name="connsiteY19" fmla="*/ 1757363 h 2457451"/>
              <a:gd name="connsiteX20" fmla="*/ 3486150 w 3851276"/>
              <a:gd name="connsiteY20" fmla="*/ 2107407 h 2457451"/>
              <a:gd name="connsiteX21" fmla="*/ 3136900 w 3851276"/>
              <a:gd name="connsiteY21" fmla="*/ 2457451 h 2457451"/>
              <a:gd name="connsiteX22" fmla="*/ 2787650 w 3851276"/>
              <a:gd name="connsiteY22" fmla="*/ 2107407 h 2457451"/>
              <a:gd name="connsiteX23" fmla="*/ 3136900 w 3851276"/>
              <a:gd name="connsiteY23" fmla="*/ 1757363 h 2457451"/>
              <a:gd name="connsiteX24" fmla="*/ 825500 w 3851276"/>
              <a:gd name="connsiteY24" fmla="*/ 1757363 h 2457451"/>
              <a:gd name="connsiteX25" fmla="*/ 1174750 w 3851276"/>
              <a:gd name="connsiteY25" fmla="*/ 2107407 h 2457451"/>
              <a:gd name="connsiteX26" fmla="*/ 825500 w 3851276"/>
              <a:gd name="connsiteY26" fmla="*/ 2457451 h 2457451"/>
              <a:gd name="connsiteX27" fmla="*/ 476250 w 3851276"/>
              <a:gd name="connsiteY27" fmla="*/ 2107407 h 2457451"/>
              <a:gd name="connsiteX28" fmla="*/ 825500 w 3851276"/>
              <a:gd name="connsiteY28" fmla="*/ 1757363 h 2457451"/>
              <a:gd name="connsiteX29" fmla="*/ 2397125 w 3851276"/>
              <a:gd name="connsiteY29" fmla="*/ 532797 h 2457451"/>
              <a:gd name="connsiteX30" fmla="*/ 2397125 w 3851276"/>
              <a:gd name="connsiteY30" fmla="*/ 613672 h 2457451"/>
              <a:gd name="connsiteX31" fmla="*/ 2397125 w 3851276"/>
              <a:gd name="connsiteY31" fmla="*/ 2001484 h 2457451"/>
              <a:gd name="connsiteX32" fmla="*/ 2394079 w 3851276"/>
              <a:gd name="connsiteY32" fmla="*/ 2016729 h 2457451"/>
              <a:gd name="connsiteX33" fmla="*/ 2399520 w 3851276"/>
              <a:gd name="connsiteY33" fmla="*/ 2016729 h 2457451"/>
              <a:gd name="connsiteX34" fmla="*/ 2639583 w 3851276"/>
              <a:gd name="connsiteY34" fmla="*/ 2016729 h 2457451"/>
              <a:gd name="connsiteX35" fmla="*/ 2651731 w 3851276"/>
              <a:gd name="connsiteY35" fmla="*/ 2004566 h 2457451"/>
              <a:gd name="connsiteX36" fmla="*/ 3137623 w 3851276"/>
              <a:gd name="connsiteY36" fmla="*/ 1587970 h 2457451"/>
              <a:gd name="connsiteX37" fmla="*/ 3623514 w 3851276"/>
              <a:gd name="connsiteY37" fmla="*/ 2004566 h 2457451"/>
              <a:gd name="connsiteX38" fmla="*/ 3635662 w 3851276"/>
              <a:gd name="connsiteY38" fmla="*/ 2016729 h 2457451"/>
              <a:gd name="connsiteX39" fmla="*/ 3714619 w 3851276"/>
              <a:gd name="connsiteY39" fmla="*/ 2016729 h 2457451"/>
              <a:gd name="connsiteX40" fmla="*/ 3729803 w 3851276"/>
              <a:gd name="connsiteY40" fmla="*/ 2001525 h 2457451"/>
              <a:gd name="connsiteX41" fmla="*/ 3729803 w 3851276"/>
              <a:gd name="connsiteY41" fmla="*/ 1274763 h 2457451"/>
              <a:gd name="connsiteX42" fmla="*/ 3726766 w 3851276"/>
              <a:gd name="connsiteY42" fmla="*/ 1265641 h 2457451"/>
              <a:gd name="connsiteX43" fmla="*/ 3626551 w 3851276"/>
              <a:gd name="connsiteY43" fmla="*/ 1147048 h 2457451"/>
              <a:gd name="connsiteX44" fmla="*/ 2915934 w 3851276"/>
              <a:gd name="connsiteY44" fmla="*/ 1147048 h 2457451"/>
              <a:gd name="connsiteX45" fmla="*/ 2779277 w 3851276"/>
              <a:gd name="connsiteY45" fmla="*/ 1013250 h 2457451"/>
              <a:gd name="connsiteX46" fmla="*/ 2779277 w 3851276"/>
              <a:gd name="connsiteY46" fmla="*/ 532797 h 2457451"/>
              <a:gd name="connsiteX47" fmla="*/ 2402829 w 3851276"/>
              <a:gd name="connsiteY47" fmla="*/ 532797 h 2457451"/>
              <a:gd name="connsiteX48" fmla="*/ 2397125 w 3851276"/>
              <a:gd name="connsiteY48" fmla="*/ 532797 h 2457451"/>
              <a:gd name="connsiteX49" fmla="*/ 2900363 w 3851276"/>
              <a:gd name="connsiteY49" fmla="*/ 531813 h 2457451"/>
              <a:gd name="connsiteX50" fmla="*/ 2900363 w 3851276"/>
              <a:gd name="connsiteY50" fmla="*/ 1013336 h 2457451"/>
              <a:gd name="connsiteX51" fmla="*/ 2915545 w 3851276"/>
              <a:gd name="connsiteY51" fmla="*/ 1025526 h 2457451"/>
              <a:gd name="connsiteX52" fmla="*/ 3525838 w 3851276"/>
              <a:gd name="connsiteY52" fmla="*/ 1025526 h 2457451"/>
              <a:gd name="connsiteX53" fmla="*/ 3115940 w 3851276"/>
              <a:gd name="connsiteY53" fmla="*/ 537908 h 2457451"/>
              <a:gd name="connsiteX54" fmla="*/ 3106831 w 3851276"/>
              <a:gd name="connsiteY54" fmla="*/ 531813 h 2457451"/>
              <a:gd name="connsiteX55" fmla="*/ 2900363 w 3851276"/>
              <a:gd name="connsiteY55" fmla="*/ 531813 h 2457451"/>
              <a:gd name="connsiteX56" fmla="*/ 135842 w 3851276"/>
              <a:gd name="connsiteY56" fmla="*/ 122238 h 2457451"/>
              <a:gd name="connsiteX57" fmla="*/ 120650 w 3851276"/>
              <a:gd name="connsiteY57" fmla="*/ 137438 h 2457451"/>
              <a:gd name="connsiteX58" fmla="*/ 120650 w 3851276"/>
              <a:gd name="connsiteY58" fmla="*/ 2000926 h 2457451"/>
              <a:gd name="connsiteX59" fmla="*/ 135842 w 3851276"/>
              <a:gd name="connsiteY59" fmla="*/ 2016126 h 2457451"/>
              <a:gd name="connsiteX60" fmla="*/ 327263 w 3851276"/>
              <a:gd name="connsiteY60" fmla="*/ 2016126 h 2457451"/>
              <a:gd name="connsiteX61" fmla="*/ 339416 w 3851276"/>
              <a:gd name="connsiteY61" fmla="*/ 2003966 h 2457451"/>
              <a:gd name="connsiteX62" fmla="*/ 825563 w 3851276"/>
              <a:gd name="connsiteY62" fmla="*/ 1587493 h 2457451"/>
              <a:gd name="connsiteX63" fmla="*/ 1308671 w 3851276"/>
              <a:gd name="connsiteY63" fmla="*/ 2003966 h 2457451"/>
              <a:gd name="connsiteX64" fmla="*/ 1323864 w 3851276"/>
              <a:gd name="connsiteY64" fmla="*/ 2016126 h 2457451"/>
              <a:gd name="connsiteX65" fmla="*/ 2259696 w 3851276"/>
              <a:gd name="connsiteY65" fmla="*/ 2016126 h 2457451"/>
              <a:gd name="connsiteX66" fmla="*/ 2274888 w 3851276"/>
              <a:gd name="connsiteY66" fmla="*/ 2000926 h 2457451"/>
              <a:gd name="connsiteX67" fmla="*/ 2274888 w 3851276"/>
              <a:gd name="connsiteY67" fmla="*/ 137438 h 2457451"/>
              <a:gd name="connsiteX68" fmla="*/ 2259696 w 3851276"/>
              <a:gd name="connsiteY68" fmla="*/ 122238 h 2457451"/>
              <a:gd name="connsiteX69" fmla="*/ 135842 w 3851276"/>
              <a:gd name="connsiteY69" fmla="*/ 122238 h 2457451"/>
              <a:gd name="connsiteX70" fmla="*/ 136718 w 3851276"/>
              <a:gd name="connsiteY70" fmla="*/ 0 h 2457451"/>
              <a:gd name="connsiteX71" fmla="*/ 2260407 w 3851276"/>
              <a:gd name="connsiteY71" fmla="*/ 0 h 2457451"/>
              <a:gd name="connsiteX72" fmla="*/ 2397125 w 3851276"/>
              <a:gd name="connsiteY72" fmla="*/ 136880 h 2457451"/>
              <a:gd name="connsiteX73" fmla="*/ 2397125 w 3851276"/>
              <a:gd name="connsiteY73" fmla="*/ 306281 h 2457451"/>
              <a:gd name="connsiteX74" fmla="*/ 2397125 w 3851276"/>
              <a:gd name="connsiteY74" fmla="*/ 411163 h 2457451"/>
              <a:gd name="connsiteX75" fmla="*/ 2426638 w 3851276"/>
              <a:gd name="connsiteY75" fmla="*/ 411163 h 2457451"/>
              <a:gd name="connsiteX76" fmla="*/ 3107254 w 3851276"/>
              <a:gd name="connsiteY76" fmla="*/ 411163 h 2457451"/>
              <a:gd name="connsiteX77" fmla="*/ 3210506 w 3851276"/>
              <a:gd name="connsiteY77" fmla="*/ 459817 h 2457451"/>
              <a:gd name="connsiteX78" fmla="*/ 3684251 w 3851276"/>
              <a:gd name="connsiteY78" fmla="*/ 1025414 h 2457451"/>
              <a:gd name="connsiteX79" fmla="*/ 3687288 w 3851276"/>
              <a:gd name="connsiteY79" fmla="*/ 1025414 h 2457451"/>
              <a:gd name="connsiteX80" fmla="*/ 3687288 w 3851276"/>
              <a:gd name="connsiteY80" fmla="*/ 1031496 h 2457451"/>
              <a:gd name="connsiteX81" fmla="*/ 3817871 w 3851276"/>
              <a:gd name="connsiteY81" fmla="*/ 1186579 h 2457451"/>
              <a:gd name="connsiteX82" fmla="*/ 3851276 w 3851276"/>
              <a:gd name="connsiteY82" fmla="*/ 1274763 h 2457451"/>
              <a:gd name="connsiteX83" fmla="*/ 3851276 w 3851276"/>
              <a:gd name="connsiteY83" fmla="*/ 2001525 h 2457451"/>
              <a:gd name="connsiteX84" fmla="*/ 3714619 w 3851276"/>
              <a:gd name="connsiteY84" fmla="*/ 2138363 h 2457451"/>
              <a:gd name="connsiteX85" fmla="*/ 3635662 w 3851276"/>
              <a:gd name="connsiteY85" fmla="*/ 2138363 h 2457451"/>
              <a:gd name="connsiteX86" fmla="*/ 3502041 w 3851276"/>
              <a:gd name="connsiteY86" fmla="*/ 2022811 h 2457451"/>
              <a:gd name="connsiteX87" fmla="*/ 3137623 w 3851276"/>
              <a:gd name="connsiteY87" fmla="*/ 1709604 h 2457451"/>
              <a:gd name="connsiteX88" fmla="*/ 2773204 w 3851276"/>
              <a:gd name="connsiteY88" fmla="*/ 2022811 h 2457451"/>
              <a:gd name="connsiteX89" fmla="*/ 2639583 w 3851276"/>
              <a:gd name="connsiteY89" fmla="*/ 2138363 h 2457451"/>
              <a:gd name="connsiteX90" fmla="*/ 2281238 w 3851276"/>
              <a:gd name="connsiteY90" fmla="*/ 2138363 h 2457451"/>
              <a:gd name="connsiteX91" fmla="*/ 2281238 w 3851276"/>
              <a:gd name="connsiteY91" fmla="*/ 2134192 h 2457451"/>
              <a:gd name="connsiteX92" fmla="*/ 2260407 w 3851276"/>
              <a:gd name="connsiteY92" fmla="*/ 2138363 h 2457451"/>
              <a:gd name="connsiteX93" fmla="*/ 1324647 w 3851276"/>
              <a:gd name="connsiteY93" fmla="*/ 2138363 h 2457451"/>
              <a:gd name="connsiteX94" fmla="*/ 1190967 w 3851276"/>
              <a:gd name="connsiteY94" fmla="*/ 2022776 h 2457451"/>
              <a:gd name="connsiteX95" fmla="*/ 826386 w 3851276"/>
              <a:gd name="connsiteY95" fmla="*/ 1709474 h 2457451"/>
              <a:gd name="connsiteX96" fmla="*/ 461804 w 3851276"/>
              <a:gd name="connsiteY96" fmla="*/ 2022776 h 2457451"/>
              <a:gd name="connsiteX97" fmla="*/ 328124 w 3851276"/>
              <a:gd name="connsiteY97" fmla="*/ 2138363 h 2457451"/>
              <a:gd name="connsiteX98" fmla="*/ 136718 w 3851276"/>
              <a:gd name="connsiteY98" fmla="*/ 2138363 h 2457451"/>
              <a:gd name="connsiteX99" fmla="*/ 0 w 3851276"/>
              <a:gd name="connsiteY99" fmla="*/ 2001484 h 2457451"/>
              <a:gd name="connsiteX100" fmla="*/ 0 w 3851276"/>
              <a:gd name="connsiteY100" fmla="*/ 136880 h 2457451"/>
              <a:gd name="connsiteX101" fmla="*/ 136718 w 3851276"/>
              <a:gd name="connsiteY101" fmla="*/ 0 h 2457451"/>
              <a:gd name="connsiteX0" fmla="*/ 3162301 w 3851276"/>
              <a:gd name="connsiteY0" fmla="*/ 2107407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2992437 w 3851276"/>
              <a:gd name="connsiteY4" fmla="*/ 2108200 h 2457451"/>
              <a:gd name="connsiteX5" fmla="*/ 3282951 w 3851276"/>
              <a:gd name="connsiteY5" fmla="*/ 2108200 h 2457451"/>
              <a:gd name="connsiteX6" fmla="*/ 3137694 w 3851276"/>
              <a:gd name="connsiteY6" fmla="*/ 2254250 h 2457451"/>
              <a:gd name="connsiteX7" fmla="*/ 2992437 w 3851276"/>
              <a:gd name="connsiteY7" fmla="*/ 2108200 h 2457451"/>
              <a:gd name="connsiteX8" fmla="*/ 3137695 w 3851276"/>
              <a:gd name="connsiteY8" fmla="*/ 1879600 h 2457451"/>
              <a:gd name="connsiteX9" fmla="*/ 2909888 w 3851276"/>
              <a:gd name="connsiteY9" fmla="*/ 2107407 h 2457451"/>
              <a:gd name="connsiteX10" fmla="*/ 3137695 w 3851276"/>
              <a:gd name="connsiteY10" fmla="*/ 2335214 h 2457451"/>
              <a:gd name="connsiteX11" fmla="*/ 3365502 w 3851276"/>
              <a:gd name="connsiteY11" fmla="*/ 2107407 h 2457451"/>
              <a:gd name="connsiteX12" fmla="*/ 3137695 w 3851276"/>
              <a:gd name="connsiteY12" fmla="*/ 1879600 h 2457451"/>
              <a:gd name="connsiteX13" fmla="*/ 826295 w 3851276"/>
              <a:gd name="connsiteY13" fmla="*/ 1879600 h 2457451"/>
              <a:gd name="connsiteX14" fmla="*/ 598488 w 3851276"/>
              <a:gd name="connsiteY14" fmla="*/ 2107407 h 2457451"/>
              <a:gd name="connsiteX15" fmla="*/ 826295 w 3851276"/>
              <a:gd name="connsiteY15" fmla="*/ 2335214 h 2457451"/>
              <a:gd name="connsiteX16" fmla="*/ 1054102 w 3851276"/>
              <a:gd name="connsiteY16" fmla="*/ 2107407 h 2457451"/>
              <a:gd name="connsiteX17" fmla="*/ 826295 w 3851276"/>
              <a:gd name="connsiteY17" fmla="*/ 1879600 h 2457451"/>
              <a:gd name="connsiteX18" fmla="*/ 3136900 w 3851276"/>
              <a:gd name="connsiteY18" fmla="*/ 1757363 h 2457451"/>
              <a:gd name="connsiteX19" fmla="*/ 3486150 w 3851276"/>
              <a:gd name="connsiteY19" fmla="*/ 2107407 h 2457451"/>
              <a:gd name="connsiteX20" fmla="*/ 3136900 w 3851276"/>
              <a:gd name="connsiteY20" fmla="*/ 2457451 h 2457451"/>
              <a:gd name="connsiteX21" fmla="*/ 2787650 w 3851276"/>
              <a:gd name="connsiteY21" fmla="*/ 2107407 h 2457451"/>
              <a:gd name="connsiteX22" fmla="*/ 3136900 w 3851276"/>
              <a:gd name="connsiteY22" fmla="*/ 1757363 h 2457451"/>
              <a:gd name="connsiteX23" fmla="*/ 825500 w 3851276"/>
              <a:gd name="connsiteY23" fmla="*/ 1757363 h 2457451"/>
              <a:gd name="connsiteX24" fmla="*/ 1174750 w 3851276"/>
              <a:gd name="connsiteY24" fmla="*/ 2107407 h 2457451"/>
              <a:gd name="connsiteX25" fmla="*/ 825500 w 3851276"/>
              <a:gd name="connsiteY25" fmla="*/ 2457451 h 2457451"/>
              <a:gd name="connsiteX26" fmla="*/ 476250 w 3851276"/>
              <a:gd name="connsiteY26" fmla="*/ 2107407 h 2457451"/>
              <a:gd name="connsiteX27" fmla="*/ 825500 w 3851276"/>
              <a:gd name="connsiteY27" fmla="*/ 1757363 h 2457451"/>
              <a:gd name="connsiteX28" fmla="*/ 2397125 w 3851276"/>
              <a:gd name="connsiteY28" fmla="*/ 532797 h 2457451"/>
              <a:gd name="connsiteX29" fmla="*/ 2397125 w 3851276"/>
              <a:gd name="connsiteY29" fmla="*/ 613672 h 2457451"/>
              <a:gd name="connsiteX30" fmla="*/ 2397125 w 3851276"/>
              <a:gd name="connsiteY30" fmla="*/ 2001484 h 2457451"/>
              <a:gd name="connsiteX31" fmla="*/ 2394079 w 3851276"/>
              <a:gd name="connsiteY31" fmla="*/ 2016729 h 2457451"/>
              <a:gd name="connsiteX32" fmla="*/ 2399520 w 3851276"/>
              <a:gd name="connsiteY32" fmla="*/ 2016729 h 2457451"/>
              <a:gd name="connsiteX33" fmla="*/ 2639583 w 3851276"/>
              <a:gd name="connsiteY33" fmla="*/ 2016729 h 2457451"/>
              <a:gd name="connsiteX34" fmla="*/ 2651731 w 3851276"/>
              <a:gd name="connsiteY34" fmla="*/ 2004566 h 2457451"/>
              <a:gd name="connsiteX35" fmla="*/ 3137623 w 3851276"/>
              <a:gd name="connsiteY35" fmla="*/ 1587970 h 2457451"/>
              <a:gd name="connsiteX36" fmla="*/ 3623514 w 3851276"/>
              <a:gd name="connsiteY36" fmla="*/ 2004566 h 2457451"/>
              <a:gd name="connsiteX37" fmla="*/ 3635662 w 3851276"/>
              <a:gd name="connsiteY37" fmla="*/ 2016729 h 2457451"/>
              <a:gd name="connsiteX38" fmla="*/ 3714619 w 3851276"/>
              <a:gd name="connsiteY38" fmla="*/ 2016729 h 2457451"/>
              <a:gd name="connsiteX39" fmla="*/ 3729803 w 3851276"/>
              <a:gd name="connsiteY39" fmla="*/ 2001525 h 2457451"/>
              <a:gd name="connsiteX40" fmla="*/ 3729803 w 3851276"/>
              <a:gd name="connsiteY40" fmla="*/ 1274763 h 2457451"/>
              <a:gd name="connsiteX41" fmla="*/ 3726766 w 3851276"/>
              <a:gd name="connsiteY41" fmla="*/ 1265641 h 2457451"/>
              <a:gd name="connsiteX42" fmla="*/ 3626551 w 3851276"/>
              <a:gd name="connsiteY42" fmla="*/ 1147048 h 2457451"/>
              <a:gd name="connsiteX43" fmla="*/ 2915934 w 3851276"/>
              <a:gd name="connsiteY43" fmla="*/ 1147048 h 2457451"/>
              <a:gd name="connsiteX44" fmla="*/ 2779277 w 3851276"/>
              <a:gd name="connsiteY44" fmla="*/ 1013250 h 2457451"/>
              <a:gd name="connsiteX45" fmla="*/ 2779277 w 3851276"/>
              <a:gd name="connsiteY45" fmla="*/ 532797 h 2457451"/>
              <a:gd name="connsiteX46" fmla="*/ 2402829 w 3851276"/>
              <a:gd name="connsiteY46" fmla="*/ 532797 h 2457451"/>
              <a:gd name="connsiteX47" fmla="*/ 2397125 w 3851276"/>
              <a:gd name="connsiteY47" fmla="*/ 532797 h 2457451"/>
              <a:gd name="connsiteX48" fmla="*/ 2900363 w 3851276"/>
              <a:gd name="connsiteY48" fmla="*/ 531813 h 2457451"/>
              <a:gd name="connsiteX49" fmla="*/ 2900363 w 3851276"/>
              <a:gd name="connsiteY49" fmla="*/ 1013336 h 2457451"/>
              <a:gd name="connsiteX50" fmla="*/ 2915545 w 3851276"/>
              <a:gd name="connsiteY50" fmla="*/ 1025526 h 2457451"/>
              <a:gd name="connsiteX51" fmla="*/ 3525838 w 3851276"/>
              <a:gd name="connsiteY51" fmla="*/ 1025526 h 2457451"/>
              <a:gd name="connsiteX52" fmla="*/ 3115940 w 3851276"/>
              <a:gd name="connsiteY52" fmla="*/ 537908 h 2457451"/>
              <a:gd name="connsiteX53" fmla="*/ 3106831 w 3851276"/>
              <a:gd name="connsiteY53" fmla="*/ 531813 h 2457451"/>
              <a:gd name="connsiteX54" fmla="*/ 2900363 w 3851276"/>
              <a:gd name="connsiteY54" fmla="*/ 531813 h 2457451"/>
              <a:gd name="connsiteX55" fmla="*/ 135842 w 3851276"/>
              <a:gd name="connsiteY55" fmla="*/ 122238 h 2457451"/>
              <a:gd name="connsiteX56" fmla="*/ 120650 w 3851276"/>
              <a:gd name="connsiteY56" fmla="*/ 137438 h 2457451"/>
              <a:gd name="connsiteX57" fmla="*/ 120650 w 3851276"/>
              <a:gd name="connsiteY57" fmla="*/ 2000926 h 2457451"/>
              <a:gd name="connsiteX58" fmla="*/ 135842 w 3851276"/>
              <a:gd name="connsiteY58" fmla="*/ 2016126 h 2457451"/>
              <a:gd name="connsiteX59" fmla="*/ 327263 w 3851276"/>
              <a:gd name="connsiteY59" fmla="*/ 2016126 h 2457451"/>
              <a:gd name="connsiteX60" fmla="*/ 339416 w 3851276"/>
              <a:gd name="connsiteY60" fmla="*/ 2003966 h 2457451"/>
              <a:gd name="connsiteX61" fmla="*/ 825563 w 3851276"/>
              <a:gd name="connsiteY61" fmla="*/ 1587493 h 2457451"/>
              <a:gd name="connsiteX62" fmla="*/ 1308671 w 3851276"/>
              <a:gd name="connsiteY62" fmla="*/ 2003966 h 2457451"/>
              <a:gd name="connsiteX63" fmla="*/ 1323864 w 3851276"/>
              <a:gd name="connsiteY63" fmla="*/ 2016126 h 2457451"/>
              <a:gd name="connsiteX64" fmla="*/ 2259696 w 3851276"/>
              <a:gd name="connsiteY64" fmla="*/ 2016126 h 2457451"/>
              <a:gd name="connsiteX65" fmla="*/ 2274888 w 3851276"/>
              <a:gd name="connsiteY65" fmla="*/ 2000926 h 2457451"/>
              <a:gd name="connsiteX66" fmla="*/ 2274888 w 3851276"/>
              <a:gd name="connsiteY66" fmla="*/ 137438 h 2457451"/>
              <a:gd name="connsiteX67" fmla="*/ 2259696 w 3851276"/>
              <a:gd name="connsiteY67" fmla="*/ 122238 h 2457451"/>
              <a:gd name="connsiteX68" fmla="*/ 135842 w 3851276"/>
              <a:gd name="connsiteY68" fmla="*/ 122238 h 2457451"/>
              <a:gd name="connsiteX69" fmla="*/ 136718 w 3851276"/>
              <a:gd name="connsiteY69" fmla="*/ 0 h 2457451"/>
              <a:gd name="connsiteX70" fmla="*/ 2260407 w 3851276"/>
              <a:gd name="connsiteY70" fmla="*/ 0 h 2457451"/>
              <a:gd name="connsiteX71" fmla="*/ 2397125 w 3851276"/>
              <a:gd name="connsiteY71" fmla="*/ 136880 h 2457451"/>
              <a:gd name="connsiteX72" fmla="*/ 2397125 w 3851276"/>
              <a:gd name="connsiteY72" fmla="*/ 306281 h 2457451"/>
              <a:gd name="connsiteX73" fmla="*/ 2397125 w 3851276"/>
              <a:gd name="connsiteY73" fmla="*/ 411163 h 2457451"/>
              <a:gd name="connsiteX74" fmla="*/ 2426638 w 3851276"/>
              <a:gd name="connsiteY74" fmla="*/ 411163 h 2457451"/>
              <a:gd name="connsiteX75" fmla="*/ 3107254 w 3851276"/>
              <a:gd name="connsiteY75" fmla="*/ 411163 h 2457451"/>
              <a:gd name="connsiteX76" fmla="*/ 3210506 w 3851276"/>
              <a:gd name="connsiteY76" fmla="*/ 459817 h 2457451"/>
              <a:gd name="connsiteX77" fmla="*/ 3684251 w 3851276"/>
              <a:gd name="connsiteY77" fmla="*/ 1025414 h 2457451"/>
              <a:gd name="connsiteX78" fmla="*/ 3687288 w 3851276"/>
              <a:gd name="connsiteY78" fmla="*/ 1025414 h 2457451"/>
              <a:gd name="connsiteX79" fmla="*/ 3687288 w 3851276"/>
              <a:gd name="connsiteY79" fmla="*/ 1031496 h 2457451"/>
              <a:gd name="connsiteX80" fmla="*/ 3817871 w 3851276"/>
              <a:gd name="connsiteY80" fmla="*/ 1186579 h 2457451"/>
              <a:gd name="connsiteX81" fmla="*/ 3851276 w 3851276"/>
              <a:gd name="connsiteY81" fmla="*/ 1274763 h 2457451"/>
              <a:gd name="connsiteX82" fmla="*/ 3851276 w 3851276"/>
              <a:gd name="connsiteY82" fmla="*/ 2001525 h 2457451"/>
              <a:gd name="connsiteX83" fmla="*/ 3714619 w 3851276"/>
              <a:gd name="connsiteY83" fmla="*/ 2138363 h 2457451"/>
              <a:gd name="connsiteX84" fmla="*/ 3635662 w 3851276"/>
              <a:gd name="connsiteY84" fmla="*/ 2138363 h 2457451"/>
              <a:gd name="connsiteX85" fmla="*/ 3502041 w 3851276"/>
              <a:gd name="connsiteY85" fmla="*/ 2022811 h 2457451"/>
              <a:gd name="connsiteX86" fmla="*/ 3137623 w 3851276"/>
              <a:gd name="connsiteY86" fmla="*/ 1709604 h 2457451"/>
              <a:gd name="connsiteX87" fmla="*/ 2773204 w 3851276"/>
              <a:gd name="connsiteY87" fmla="*/ 2022811 h 2457451"/>
              <a:gd name="connsiteX88" fmla="*/ 2639583 w 3851276"/>
              <a:gd name="connsiteY88" fmla="*/ 2138363 h 2457451"/>
              <a:gd name="connsiteX89" fmla="*/ 2281238 w 3851276"/>
              <a:gd name="connsiteY89" fmla="*/ 2138363 h 2457451"/>
              <a:gd name="connsiteX90" fmla="*/ 2281238 w 3851276"/>
              <a:gd name="connsiteY90" fmla="*/ 2134192 h 2457451"/>
              <a:gd name="connsiteX91" fmla="*/ 2260407 w 3851276"/>
              <a:gd name="connsiteY91" fmla="*/ 2138363 h 2457451"/>
              <a:gd name="connsiteX92" fmla="*/ 1324647 w 3851276"/>
              <a:gd name="connsiteY92" fmla="*/ 2138363 h 2457451"/>
              <a:gd name="connsiteX93" fmla="*/ 1190967 w 3851276"/>
              <a:gd name="connsiteY93" fmla="*/ 2022776 h 2457451"/>
              <a:gd name="connsiteX94" fmla="*/ 826386 w 3851276"/>
              <a:gd name="connsiteY94" fmla="*/ 1709474 h 2457451"/>
              <a:gd name="connsiteX95" fmla="*/ 461804 w 3851276"/>
              <a:gd name="connsiteY95" fmla="*/ 2022776 h 2457451"/>
              <a:gd name="connsiteX96" fmla="*/ 328124 w 3851276"/>
              <a:gd name="connsiteY96" fmla="*/ 2138363 h 2457451"/>
              <a:gd name="connsiteX97" fmla="*/ 136718 w 3851276"/>
              <a:gd name="connsiteY97" fmla="*/ 2138363 h 2457451"/>
              <a:gd name="connsiteX98" fmla="*/ 0 w 3851276"/>
              <a:gd name="connsiteY98" fmla="*/ 2001484 h 2457451"/>
              <a:gd name="connsiteX99" fmla="*/ 0 w 3851276"/>
              <a:gd name="connsiteY99" fmla="*/ 136880 h 2457451"/>
              <a:gd name="connsiteX100" fmla="*/ 136718 w 3851276"/>
              <a:gd name="connsiteY100" fmla="*/ 0 h 2457451"/>
              <a:gd name="connsiteX0" fmla="*/ 3137694 w 3851276"/>
              <a:gd name="connsiteY0" fmla="*/ 2132014 h 2457451"/>
              <a:gd name="connsiteX1" fmla="*/ 3113087 w 3851276"/>
              <a:gd name="connsiteY1" fmla="*/ 2107407 h 2457451"/>
              <a:gd name="connsiteX2" fmla="*/ 3137694 w 3851276"/>
              <a:gd name="connsiteY2" fmla="*/ 2132014 h 2457451"/>
              <a:gd name="connsiteX3" fmla="*/ 2992437 w 3851276"/>
              <a:gd name="connsiteY3" fmla="*/ 2108200 h 2457451"/>
              <a:gd name="connsiteX4" fmla="*/ 3282951 w 3851276"/>
              <a:gd name="connsiteY4" fmla="*/ 2108200 h 2457451"/>
              <a:gd name="connsiteX5" fmla="*/ 3137694 w 3851276"/>
              <a:gd name="connsiteY5" fmla="*/ 2254250 h 2457451"/>
              <a:gd name="connsiteX6" fmla="*/ 2992437 w 3851276"/>
              <a:gd name="connsiteY6" fmla="*/ 2108200 h 2457451"/>
              <a:gd name="connsiteX7" fmla="*/ 3137695 w 3851276"/>
              <a:gd name="connsiteY7" fmla="*/ 1879600 h 2457451"/>
              <a:gd name="connsiteX8" fmla="*/ 2909888 w 3851276"/>
              <a:gd name="connsiteY8" fmla="*/ 2107407 h 2457451"/>
              <a:gd name="connsiteX9" fmla="*/ 3137695 w 3851276"/>
              <a:gd name="connsiteY9" fmla="*/ 2335214 h 2457451"/>
              <a:gd name="connsiteX10" fmla="*/ 3365502 w 3851276"/>
              <a:gd name="connsiteY10" fmla="*/ 2107407 h 2457451"/>
              <a:gd name="connsiteX11" fmla="*/ 3137695 w 3851276"/>
              <a:gd name="connsiteY11" fmla="*/ 1879600 h 2457451"/>
              <a:gd name="connsiteX12" fmla="*/ 826295 w 3851276"/>
              <a:gd name="connsiteY12" fmla="*/ 1879600 h 2457451"/>
              <a:gd name="connsiteX13" fmla="*/ 598488 w 3851276"/>
              <a:gd name="connsiteY13" fmla="*/ 2107407 h 2457451"/>
              <a:gd name="connsiteX14" fmla="*/ 826295 w 3851276"/>
              <a:gd name="connsiteY14" fmla="*/ 2335214 h 2457451"/>
              <a:gd name="connsiteX15" fmla="*/ 1054102 w 3851276"/>
              <a:gd name="connsiteY15" fmla="*/ 2107407 h 2457451"/>
              <a:gd name="connsiteX16" fmla="*/ 826295 w 3851276"/>
              <a:gd name="connsiteY16" fmla="*/ 1879600 h 2457451"/>
              <a:gd name="connsiteX17" fmla="*/ 3136900 w 3851276"/>
              <a:gd name="connsiteY17" fmla="*/ 1757363 h 2457451"/>
              <a:gd name="connsiteX18" fmla="*/ 3486150 w 3851276"/>
              <a:gd name="connsiteY18" fmla="*/ 2107407 h 2457451"/>
              <a:gd name="connsiteX19" fmla="*/ 3136900 w 3851276"/>
              <a:gd name="connsiteY19" fmla="*/ 2457451 h 2457451"/>
              <a:gd name="connsiteX20" fmla="*/ 2787650 w 3851276"/>
              <a:gd name="connsiteY20" fmla="*/ 2107407 h 2457451"/>
              <a:gd name="connsiteX21" fmla="*/ 3136900 w 3851276"/>
              <a:gd name="connsiteY21" fmla="*/ 1757363 h 2457451"/>
              <a:gd name="connsiteX22" fmla="*/ 825500 w 3851276"/>
              <a:gd name="connsiteY22" fmla="*/ 1757363 h 2457451"/>
              <a:gd name="connsiteX23" fmla="*/ 1174750 w 3851276"/>
              <a:gd name="connsiteY23" fmla="*/ 2107407 h 2457451"/>
              <a:gd name="connsiteX24" fmla="*/ 825500 w 3851276"/>
              <a:gd name="connsiteY24" fmla="*/ 2457451 h 2457451"/>
              <a:gd name="connsiteX25" fmla="*/ 476250 w 3851276"/>
              <a:gd name="connsiteY25" fmla="*/ 2107407 h 2457451"/>
              <a:gd name="connsiteX26" fmla="*/ 825500 w 3851276"/>
              <a:gd name="connsiteY26" fmla="*/ 1757363 h 2457451"/>
              <a:gd name="connsiteX27" fmla="*/ 2397125 w 3851276"/>
              <a:gd name="connsiteY27" fmla="*/ 532797 h 2457451"/>
              <a:gd name="connsiteX28" fmla="*/ 2397125 w 3851276"/>
              <a:gd name="connsiteY28" fmla="*/ 613672 h 2457451"/>
              <a:gd name="connsiteX29" fmla="*/ 2397125 w 3851276"/>
              <a:gd name="connsiteY29" fmla="*/ 2001484 h 2457451"/>
              <a:gd name="connsiteX30" fmla="*/ 2394079 w 3851276"/>
              <a:gd name="connsiteY30" fmla="*/ 2016729 h 2457451"/>
              <a:gd name="connsiteX31" fmla="*/ 2399520 w 3851276"/>
              <a:gd name="connsiteY31" fmla="*/ 2016729 h 2457451"/>
              <a:gd name="connsiteX32" fmla="*/ 2639583 w 3851276"/>
              <a:gd name="connsiteY32" fmla="*/ 2016729 h 2457451"/>
              <a:gd name="connsiteX33" fmla="*/ 2651731 w 3851276"/>
              <a:gd name="connsiteY33" fmla="*/ 2004566 h 2457451"/>
              <a:gd name="connsiteX34" fmla="*/ 3137623 w 3851276"/>
              <a:gd name="connsiteY34" fmla="*/ 1587970 h 2457451"/>
              <a:gd name="connsiteX35" fmla="*/ 3623514 w 3851276"/>
              <a:gd name="connsiteY35" fmla="*/ 2004566 h 2457451"/>
              <a:gd name="connsiteX36" fmla="*/ 3635662 w 3851276"/>
              <a:gd name="connsiteY36" fmla="*/ 2016729 h 2457451"/>
              <a:gd name="connsiteX37" fmla="*/ 3714619 w 3851276"/>
              <a:gd name="connsiteY37" fmla="*/ 2016729 h 2457451"/>
              <a:gd name="connsiteX38" fmla="*/ 3729803 w 3851276"/>
              <a:gd name="connsiteY38" fmla="*/ 2001525 h 2457451"/>
              <a:gd name="connsiteX39" fmla="*/ 3729803 w 3851276"/>
              <a:gd name="connsiteY39" fmla="*/ 1274763 h 2457451"/>
              <a:gd name="connsiteX40" fmla="*/ 3726766 w 3851276"/>
              <a:gd name="connsiteY40" fmla="*/ 1265641 h 2457451"/>
              <a:gd name="connsiteX41" fmla="*/ 3626551 w 3851276"/>
              <a:gd name="connsiteY41" fmla="*/ 1147048 h 2457451"/>
              <a:gd name="connsiteX42" fmla="*/ 2915934 w 3851276"/>
              <a:gd name="connsiteY42" fmla="*/ 1147048 h 2457451"/>
              <a:gd name="connsiteX43" fmla="*/ 2779277 w 3851276"/>
              <a:gd name="connsiteY43" fmla="*/ 1013250 h 2457451"/>
              <a:gd name="connsiteX44" fmla="*/ 2779277 w 3851276"/>
              <a:gd name="connsiteY44" fmla="*/ 532797 h 2457451"/>
              <a:gd name="connsiteX45" fmla="*/ 2402829 w 3851276"/>
              <a:gd name="connsiteY45" fmla="*/ 532797 h 2457451"/>
              <a:gd name="connsiteX46" fmla="*/ 2397125 w 3851276"/>
              <a:gd name="connsiteY46" fmla="*/ 532797 h 2457451"/>
              <a:gd name="connsiteX47" fmla="*/ 2900363 w 3851276"/>
              <a:gd name="connsiteY47" fmla="*/ 531813 h 2457451"/>
              <a:gd name="connsiteX48" fmla="*/ 2900363 w 3851276"/>
              <a:gd name="connsiteY48" fmla="*/ 1013336 h 2457451"/>
              <a:gd name="connsiteX49" fmla="*/ 2915545 w 3851276"/>
              <a:gd name="connsiteY49" fmla="*/ 1025526 h 2457451"/>
              <a:gd name="connsiteX50" fmla="*/ 3525838 w 3851276"/>
              <a:gd name="connsiteY50" fmla="*/ 1025526 h 2457451"/>
              <a:gd name="connsiteX51" fmla="*/ 3115940 w 3851276"/>
              <a:gd name="connsiteY51" fmla="*/ 537908 h 2457451"/>
              <a:gd name="connsiteX52" fmla="*/ 3106831 w 3851276"/>
              <a:gd name="connsiteY52" fmla="*/ 531813 h 2457451"/>
              <a:gd name="connsiteX53" fmla="*/ 2900363 w 3851276"/>
              <a:gd name="connsiteY53" fmla="*/ 531813 h 2457451"/>
              <a:gd name="connsiteX54" fmla="*/ 135842 w 3851276"/>
              <a:gd name="connsiteY54" fmla="*/ 122238 h 2457451"/>
              <a:gd name="connsiteX55" fmla="*/ 120650 w 3851276"/>
              <a:gd name="connsiteY55" fmla="*/ 137438 h 2457451"/>
              <a:gd name="connsiteX56" fmla="*/ 120650 w 3851276"/>
              <a:gd name="connsiteY56" fmla="*/ 2000926 h 2457451"/>
              <a:gd name="connsiteX57" fmla="*/ 135842 w 3851276"/>
              <a:gd name="connsiteY57" fmla="*/ 2016126 h 2457451"/>
              <a:gd name="connsiteX58" fmla="*/ 327263 w 3851276"/>
              <a:gd name="connsiteY58" fmla="*/ 2016126 h 2457451"/>
              <a:gd name="connsiteX59" fmla="*/ 339416 w 3851276"/>
              <a:gd name="connsiteY59" fmla="*/ 2003966 h 2457451"/>
              <a:gd name="connsiteX60" fmla="*/ 825563 w 3851276"/>
              <a:gd name="connsiteY60" fmla="*/ 1587493 h 2457451"/>
              <a:gd name="connsiteX61" fmla="*/ 1308671 w 3851276"/>
              <a:gd name="connsiteY61" fmla="*/ 2003966 h 2457451"/>
              <a:gd name="connsiteX62" fmla="*/ 1323864 w 3851276"/>
              <a:gd name="connsiteY62" fmla="*/ 2016126 h 2457451"/>
              <a:gd name="connsiteX63" fmla="*/ 2259696 w 3851276"/>
              <a:gd name="connsiteY63" fmla="*/ 2016126 h 2457451"/>
              <a:gd name="connsiteX64" fmla="*/ 2274888 w 3851276"/>
              <a:gd name="connsiteY64" fmla="*/ 2000926 h 2457451"/>
              <a:gd name="connsiteX65" fmla="*/ 2274888 w 3851276"/>
              <a:gd name="connsiteY65" fmla="*/ 137438 h 2457451"/>
              <a:gd name="connsiteX66" fmla="*/ 2259696 w 3851276"/>
              <a:gd name="connsiteY66" fmla="*/ 122238 h 2457451"/>
              <a:gd name="connsiteX67" fmla="*/ 135842 w 3851276"/>
              <a:gd name="connsiteY67" fmla="*/ 122238 h 2457451"/>
              <a:gd name="connsiteX68" fmla="*/ 136718 w 3851276"/>
              <a:gd name="connsiteY68" fmla="*/ 0 h 2457451"/>
              <a:gd name="connsiteX69" fmla="*/ 2260407 w 3851276"/>
              <a:gd name="connsiteY69" fmla="*/ 0 h 2457451"/>
              <a:gd name="connsiteX70" fmla="*/ 2397125 w 3851276"/>
              <a:gd name="connsiteY70" fmla="*/ 136880 h 2457451"/>
              <a:gd name="connsiteX71" fmla="*/ 2397125 w 3851276"/>
              <a:gd name="connsiteY71" fmla="*/ 306281 h 2457451"/>
              <a:gd name="connsiteX72" fmla="*/ 2397125 w 3851276"/>
              <a:gd name="connsiteY72" fmla="*/ 411163 h 2457451"/>
              <a:gd name="connsiteX73" fmla="*/ 2426638 w 3851276"/>
              <a:gd name="connsiteY73" fmla="*/ 411163 h 2457451"/>
              <a:gd name="connsiteX74" fmla="*/ 3107254 w 3851276"/>
              <a:gd name="connsiteY74" fmla="*/ 411163 h 2457451"/>
              <a:gd name="connsiteX75" fmla="*/ 3210506 w 3851276"/>
              <a:gd name="connsiteY75" fmla="*/ 459817 h 2457451"/>
              <a:gd name="connsiteX76" fmla="*/ 3684251 w 3851276"/>
              <a:gd name="connsiteY76" fmla="*/ 1025414 h 2457451"/>
              <a:gd name="connsiteX77" fmla="*/ 3687288 w 3851276"/>
              <a:gd name="connsiteY77" fmla="*/ 1025414 h 2457451"/>
              <a:gd name="connsiteX78" fmla="*/ 3687288 w 3851276"/>
              <a:gd name="connsiteY78" fmla="*/ 1031496 h 2457451"/>
              <a:gd name="connsiteX79" fmla="*/ 3817871 w 3851276"/>
              <a:gd name="connsiteY79" fmla="*/ 1186579 h 2457451"/>
              <a:gd name="connsiteX80" fmla="*/ 3851276 w 3851276"/>
              <a:gd name="connsiteY80" fmla="*/ 1274763 h 2457451"/>
              <a:gd name="connsiteX81" fmla="*/ 3851276 w 3851276"/>
              <a:gd name="connsiteY81" fmla="*/ 2001525 h 2457451"/>
              <a:gd name="connsiteX82" fmla="*/ 3714619 w 3851276"/>
              <a:gd name="connsiteY82" fmla="*/ 2138363 h 2457451"/>
              <a:gd name="connsiteX83" fmla="*/ 3635662 w 3851276"/>
              <a:gd name="connsiteY83" fmla="*/ 2138363 h 2457451"/>
              <a:gd name="connsiteX84" fmla="*/ 3502041 w 3851276"/>
              <a:gd name="connsiteY84" fmla="*/ 2022811 h 2457451"/>
              <a:gd name="connsiteX85" fmla="*/ 3137623 w 3851276"/>
              <a:gd name="connsiteY85" fmla="*/ 1709604 h 2457451"/>
              <a:gd name="connsiteX86" fmla="*/ 2773204 w 3851276"/>
              <a:gd name="connsiteY86" fmla="*/ 2022811 h 2457451"/>
              <a:gd name="connsiteX87" fmla="*/ 2639583 w 3851276"/>
              <a:gd name="connsiteY87" fmla="*/ 2138363 h 2457451"/>
              <a:gd name="connsiteX88" fmla="*/ 2281238 w 3851276"/>
              <a:gd name="connsiteY88" fmla="*/ 2138363 h 2457451"/>
              <a:gd name="connsiteX89" fmla="*/ 2281238 w 3851276"/>
              <a:gd name="connsiteY89" fmla="*/ 2134192 h 2457451"/>
              <a:gd name="connsiteX90" fmla="*/ 2260407 w 3851276"/>
              <a:gd name="connsiteY90" fmla="*/ 2138363 h 2457451"/>
              <a:gd name="connsiteX91" fmla="*/ 1324647 w 3851276"/>
              <a:gd name="connsiteY91" fmla="*/ 2138363 h 2457451"/>
              <a:gd name="connsiteX92" fmla="*/ 1190967 w 3851276"/>
              <a:gd name="connsiteY92" fmla="*/ 2022776 h 2457451"/>
              <a:gd name="connsiteX93" fmla="*/ 826386 w 3851276"/>
              <a:gd name="connsiteY93" fmla="*/ 1709474 h 2457451"/>
              <a:gd name="connsiteX94" fmla="*/ 461804 w 3851276"/>
              <a:gd name="connsiteY94" fmla="*/ 2022776 h 2457451"/>
              <a:gd name="connsiteX95" fmla="*/ 328124 w 3851276"/>
              <a:gd name="connsiteY95" fmla="*/ 2138363 h 2457451"/>
              <a:gd name="connsiteX96" fmla="*/ 136718 w 3851276"/>
              <a:gd name="connsiteY96" fmla="*/ 2138363 h 2457451"/>
              <a:gd name="connsiteX97" fmla="*/ 0 w 3851276"/>
              <a:gd name="connsiteY97" fmla="*/ 2001484 h 2457451"/>
              <a:gd name="connsiteX98" fmla="*/ 0 w 3851276"/>
              <a:gd name="connsiteY98" fmla="*/ 136880 h 2457451"/>
              <a:gd name="connsiteX99" fmla="*/ 136718 w 3851276"/>
              <a:gd name="connsiteY99" fmla="*/ 0 h 2457451"/>
              <a:gd name="connsiteX0" fmla="*/ 2992437 w 3851276"/>
              <a:gd name="connsiteY0" fmla="*/ 2108200 h 2457451"/>
              <a:gd name="connsiteX1" fmla="*/ 3282951 w 3851276"/>
              <a:gd name="connsiteY1" fmla="*/ 2108200 h 2457451"/>
              <a:gd name="connsiteX2" fmla="*/ 3137694 w 3851276"/>
              <a:gd name="connsiteY2" fmla="*/ 2254250 h 2457451"/>
              <a:gd name="connsiteX3" fmla="*/ 2992437 w 3851276"/>
              <a:gd name="connsiteY3" fmla="*/ 2108200 h 2457451"/>
              <a:gd name="connsiteX4" fmla="*/ 3137695 w 3851276"/>
              <a:gd name="connsiteY4" fmla="*/ 1879600 h 2457451"/>
              <a:gd name="connsiteX5" fmla="*/ 2909888 w 3851276"/>
              <a:gd name="connsiteY5" fmla="*/ 2107407 h 2457451"/>
              <a:gd name="connsiteX6" fmla="*/ 3137695 w 3851276"/>
              <a:gd name="connsiteY6" fmla="*/ 2335214 h 2457451"/>
              <a:gd name="connsiteX7" fmla="*/ 3365502 w 3851276"/>
              <a:gd name="connsiteY7" fmla="*/ 2107407 h 2457451"/>
              <a:gd name="connsiteX8" fmla="*/ 3137695 w 3851276"/>
              <a:gd name="connsiteY8" fmla="*/ 1879600 h 2457451"/>
              <a:gd name="connsiteX9" fmla="*/ 826295 w 3851276"/>
              <a:gd name="connsiteY9" fmla="*/ 1879600 h 2457451"/>
              <a:gd name="connsiteX10" fmla="*/ 598488 w 3851276"/>
              <a:gd name="connsiteY10" fmla="*/ 2107407 h 2457451"/>
              <a:gd name="connsiteX11" fmla="*/ 826295 w 3851276"/>
              <a:gd name="connsiteY11" fmla="*/ 2335214 h 2457451"/>
              <a:gd name="connsiteX12" fmla="*/ 1054102 w 3851276"/>
              <a:gd name="connsiteY12" fmla="*/ 2107407 h 2457451"/>
              <a:gd name="connsiteX13" fmla="*/ 826295 w 3851276"/>
              <a:gd name="connsiteY13" fmla="*/ 1879600 h 2457451"/>
              <a:gd name="connsiteX14" fmla="*/ 3136900 w 3851276"/>
              <a:gd name="connsiteY14" fmla="*/ 1757363 h 2457451"/>
              <a:gd name="connsiteX15" fmla="*/ 3486150 w 3851276"/>
              <a:gd name="connsiteY15" fmla="*/ 2107407 h 2457451"/>
              <a:gd name="connsiteX16" fmla="*/ 3136900 w 3851276"/>
              <a:gd name="connsiteY16" fmla="*/ 2457451 h 2457451"/>
              <a:gd name="connsiteX17" fmla="*/ 2787650 w 3851276"/>
              <a:gd name="connsiteY17" fmla="*/ 2107407 h 2457451"/>
              <a:gd name="connsiteX18" fmla="*/ 3136900 w 3851276"/>
              <a:gd name="connsiteY18" fmla="*/ 1757363 h 2457451"/>
              <a:gd name="connsiteX19" fmla="*/ 825500 w 3851276"/>
              <a:gd name="connsiteY19" fmla="*/ 1757363 h 2457451"/>
              <a:gd name="connsiteX20" fmla="*/ 1174750 w 3851276"/>
              <a:gd name="connsiteY20" fmla="*/ 2107407 h 2457451"/>
              <a:gd name="connsiteX21" fmla="*/ 825500 w 3851276"/>
              <a:gd name="connsiteY21" fmla="*/ 2457451 h 2457451"/>
              <a:gd name="connsiteX22" fmla="*/ 476250 w 3851276"/>
              <a:gd name="connsiteY22" fmla="*/ 2107407 h 2457451"/>
              <a:gd name="connsiteX23" fmla="*/ 825500 w 3851276"/>
              <a:gd name="connsiteY23" fmla="*/ 1757363 h 2457451"/>
              <a:gd name="connsiteX24" fmla="*/ 2397125 w 3851276"/>
              <a:gd name="connsiteY24" fmla="*/ 532797 h 2457451"/>
              <a:gd name="connsiteX25" fmla="*/ 2397125 w 3851276"/>
              <a:gd name="connsiteY25" fmla="*/ 613672 h 2457451"/>
              <a:gd name="connsiteX26" fmla="*/ 2397125 w 3851276"/>
              <a:gd name="connsiteY26" fmla="*/ 2001484 h 2457451"/>
              <a:gd name="connsiteX27" fmla="*/ 2394079 w 3851276"/>
              <a:gd name="connsiteY27" fmla="*/ 2016729 h 2457451"/>
              <a:gd name="connsiteX28" fmla="*/ 2399520 w 3851276"/>
              <a:gd name="connsiteY28" fmla="*/ 2016729 h 2457451"/>
              <a:gd name="connsiteX29" fmla="*/ 2639583 w 3851276"/>
              <a:gd name="connsiteY29" fmla="*/ 2016729 h 2457451"/>
              <a:gd name="connsiteX30" fmla="*/ 2651731 w 3851276"/>
              <a:gd name="connsiteY30" fmla="*/ 2004566 h 2457451"/>
              <a:gd name="connsiteX31" fmla="*/ 3137623 w 3851276"/>
              <a:gd name="connsiteY31" fmla="*/ 1587970 h 2457451"/>
              <a:gd name="connsiteX32" fmla="*/ 3623514 w 3851276"/>
              <a:gd name="connsiteY32" fmla="*/ 2004566 h 2457451"/>
              <a:gd name="connsiteX33" fmla="*/ 3635662 w 3851276"/>
              <a:gd name="connsiteY33" fmla="*/ 2016729 h 2457451"/>
              <a:gd name="connsiteX34" fmla="*/ 3714619 w 3851276"/>
              <a:gd name="connsiteY34" fmla="*/ 2016729 h 2457451"/>
              <a:gd name="connsiteX35" fmla="*/ 3729803 w 3851276"/>
              <a:gd name="connsiteY35" fmla="*/ 2001525 h 2457451"/>
              <a:gd name="connsiteX36" fmla="*/ 3729803 w 3851276"/>
              <a:gd name="connsiteY36" fmla="*/ 1274763 h 2457451"/>
              <a:gd name="connsiteX37" fmla="*/ 3726766 w 3851276"/>
              <a:gd name="connsiteY37" fmla="*/ 1265641 h 2457451"/>
              <a:gd name="connsiteX38" fmla="*/ 3626551 w 3851276"/>
              <a:gd name="connsiteY38" fmla="*/ 1147048 h 2457451"/>
              <a:gd name="connsiteX39" fmla="*/ 2915934 w 3851276"/>
              <a:gd name="connsiteY39" fmla="*/ 1147048 h 2457451"/>
              <a:gd name="connsiteX40" fmla="*/ 2779277 w 3851276"/>
              <a:gd name="connsiteY40" fmla="*/ 1013250 h 2457451"/>
              <a:gd name="connsiteX41" fmla="*/ 2779277 w 3851276"/>
              <a:gd name="connsiteY41" fmla="*/ 532797 h 2457451"/>
              <a:gd name="connsiteX42" fmla="*/ 2402829 w 3851276"/>
              <a:gd name="connsiteY42" fmla="*/ 532797 h 2457451"/>
              <a:gd name="connsiteX43" fmla="*/ 2397125 w 3851276"/>
              <a:gd name="connsiteY43" fmla="*/ 532797 h 2457451"/>
              <a:gd name="connsiteX44" fmla="*/ 2900363 w 3851276"/>
              <a:gd name="connsiteY44" fmla="*/ 531813 h 2457451"/>
              <a:gd name="connsiteX45" fmla="*/ 2900363 w 3851276"/>
              <a:gd name="connsiteY45" fmla="*/ 1013336 h 2457451"/>
              <a:gd name="connsiteX46" fmla="*/ 2915545 w 3851276"/>
              <a:gd name="connsiteY46" fmla="*/ 1025526 h 2457451"/>
              <a:gd name="connsiteX47" fmla="*/ 3525838 w 3851276"/>
              <a:gd name="connsiteY47" fmla="*/ 1025526 h 2457451"/>
              <a:gd name="connsiteX48" fmla="*/ 3115940 w 3851276"/>
              <a:gd name="connsiteY48" fmla="*/ 537908 h 2457451"/>
              <a:gd name="connsiteX49" fmla="*/ 3106831 w 3851276"/>
              <a:gd name="connsiteY49" fmla="*/ 531813 h 2457451"/>
              <a:gd name="connsiteX50" fmla="*/ 2900363 w 3851276"/>
              <a:gd name="connsiteY50" fmla="*/ 531813 h 2457451"/>
              <a:gd name="connsiteX51" fmla="*/ 135842 w 3851276"/>
              <a:gd name="connsiteY51" fmla="*/ 122238 h 2457451"/>
              <a:gd name="connsiteX52" fmla="*/ 120650 w 3851276"/>
              <a:gd name="connsiteY52" fmla="*/ 137438 h 2457451"/>
              <a:gd name="connsiteX53" fmla="*/ 120650 w 3851276"/>
              <a:gd name="connsiteY53" fmla="*/ 2000926 h 2457451"/>
              <a:gd name="connsiteX54" fmla="*/ 135842 w 3851276"/>
              <a:gd name="connsiteY54" fmla="*/ 2016126 h 2457451"/>
              <a:gd name="connsiteX55" fmla="*/ 327263 w 3851276"/>
              <a:gd name="connsiteY55" fmla="*/ 2016126 h 2457451"/>
              <a:gd name="connsiteX56" fmla="*/ 339416 w 3851276"/>
              <a:gd name="connsiteY56" fmla="*/ 2003966 h 2457451"/>
              <a:gd name="connsiteX57" fmla="*/ 825563 w 3851276"/>
              <a:gd name="connsiteY57" fmla="*/ 1587493 h 2457451"/>
              <a:gd name="connsiteX58" fmla="*/ 1308671 w 3851276"/>
              <a:gd name="connsiteY58" fmla="*/ 2003966 h 2457451"/>
              <a:gd name="connsiteX59" fmla="*/ 1323864 w 3851276"/>
              <a:gd name="connsiteY59" fmla="*/ 2016126 h 2457451"/>
              <a:gd name="connsiteX60" fmla="*/ 2259696 w 3851276"/>
              <a:gd name="connsiteY60" fmla="*/ 2016126 h 2457451"/>
              <a:gd name="connsiteX61" fmla="*/ 2274888 w 3851276"/>
              <a:gd name="connsiteY61" fmla="*/ 2000926 h 2457451"/>
              <a:gd name="connsiteX62" fmla="*/ 2274888 w 3851276"/>
              <a:gd name="connsiteY62" fmla="*/ 137438 h 2457451"/>
              <a:gd name="connsiteX63" fmla="*/ 2259696 w 3851276"/>
              <a:gd name="connsiteY63" fmla="*/ 122238 h 2457451"/>
              <a:gd name="connsiteX64" fmla="*/ 135842 w 3851276"/>
              <a:gd name="connsiteY64" fmla="*/ 122238 h 2457451"/>
              <a:gd name="connsiteX65" fmla="*/ 136718 w 3851276"/>
              <a:gd name="connsiteY65" fmla="*/ 0 h 2457451"/>
              <a:gd name="connsiteX66" fmla="*/ 2260407 w 3851276"/>
              <a:gd name="connsiteY66" fmla="*/ 0 h 2457451"/>
              <a:gd name="connsiteX67" fmla="*/ 2397125 w 3851276"/>
              <a:gd name="connsiteY67" fmla="*/ 136880 h 2457451"/>
              <a:gd name="connsiteX68" fmla="*/ 2397125 w 3851276"/>
              <a:gd name="connsiteY68" fmla="*/ 306281 h 2457451"/>
              <a:gd name="connsiteX69" fmla="*/ 2397125 w 3851276"/>
              <a:gd name="connsiteY69" fmla="*/ 411163 h 2457451"/>
              <a:gd name="connsiteX70" fmla="*/ 2426638 w 3851276"/>
              <a:gd name="connsiteY70" fmla="*/ 411163 h 2457451"/>
              <a:gd name="connsiteX71" fmla="*/ 3107254 w 3851276"/>
              <a:gd name="connsiteY71" fmla="*/ 411163 h 2457451"/>
              <a:gd name="connsiteX72" fmla="*/ 3210506 w 3851276"/>
              <a:gd name="connsiteY72" fmla="*/ 459817 h 2457451"/>
              <a:gd name="connsiteX73" fmla="*/ 3684251 w 3851276"/>
              <a:gd name="connsiteY73" fmla="*/ 1025414 h 2457451"/>
              <a:gd name="connsiteX74" fmla="*/ 3687288 w 3851276"/>
              <a:gd name="connsiteY74" fmla="*/ 1025414 h 2457451"/>
              <a:gd name="connsiteX75" fmla="*/ 3687288 w 3851276"/>
              <a:gd name="connsiteY75" fmla="*/ 1031496 h 2457451"/>
              <a:gd name="connsiteX76" fmla="*/ 3817871 w 3851276"/>
              <a:gd name="connsiteY76" fmla="*/ 1186579 h 2457451"/>
              <a:gd name="connsiteX77" fmla="*/ 3851276 w 3851276"/>
              <a:gd name="connsiteY77" fmla="*/ 1274763 h 2457451"/>
              <a:gd name="connsiteX78" fmla="*/ 3851276 w 3851276"/>
              <a:gd name="connsiteY78" fmla="*/ 2001525 h 2457451"/>
              <a:gd name="connsiteX79" fmla="*/ 3714619 w 3851276"/>
              <a:gd name="connsiteY79" fmla="*/ 2138363 h 2457451"/>
              <a:gd name="connsiteX80" fmla="*/ 3635662 w 3851276"/>
              <a:gd name="connsiteY80" fmla="*/ 2138363 h 2457451"/>
              <a:gd name="connsiteX81" fmla="*/ 3502041 w 3851276"/>
              <a:gd name="connsiteY81" fmla="*/ 2022811 h 2457451"/>
              <a:gd name="connsiteX82" fmla="*/ 3137623 w 3851276"/>
              <a:gd name="connsiteY82" fmla="*/ 1709604 h 2457451"/>
              <a:gd name="connsiteX83" fmla="*/ 2773204 w 3851276"/>
              <a:gd name="connsiteY83" fmla="*/ 2022811 h 2457451"/>
              <a:gd name="connsiteX84" fmla="*/ 2639583 w 3851276"/>
              <a:gd name="connsiteY84" fmla="*/ 2138363 h 2457451"/>
              <a:gd name="connsiteX85" fmla="*/ 2281238 w 3851276"/>
              <a:gd name="connsiteY85" fmla="*/ 2138363 h 2457451"/>
              <a:gd name="connsiteX86" fmla="*/ 2281238 w 3851276"/>
              <a:gd name="connsiteY86" fmla="*/ 2134192 h 2457451"/>
              <a:gd name="connsiteX87" fmla="*/ 2260407 w 3851276"/>
              <a:gd name="connsiteY87" fmla="*/ 2138363 h 2457451"/>
              <a:gd name="connsiteX88" fmla="*/ 1324647 w 3851276"/>
              <a:gd name="connsiteY88" fmla="*/ 2138363 h 2457451"/>
              <a:gd name="connsiteX89" fmla="*/ 1190967 w 3851276"/>
              <a:gd name="connsiteY89" fmla="*/ 2022776 h 2457451"/>
              <a:gd name="connsiteX90" fmla="*/ 826386 w 3851276"/>
              <a:gd name="connsiteY90" fmla="*/ 1709474 h 2457451"/>
              <a:gd name="connsiteX91" fmla="*/ 461804 w 3851276"/>
              <a:gd name="connsiteY91" fmla="*/ 2022776 h 2457451"/>
              <a:gd name="connsiteX92" fmla="*/ 328124 w 3851276"/>
              <a:gd name="connsiteY92" fmla="*/ 2138363 h 2457451"/>
              <a:gd name="connsiteX93" fmla="*/ 136718 w 3851276"/>
              <a:gd name="connsiteY93" fmla="*/ 2138363 h 2457451"/>
              <a:gd name="connsiteX94" fmla="*/ 0 w 3851276"/>
              <a:gd name="connsiteY94" fmla="*/ 2001484 h 2457451"/>
              <a:gd name="connsiteX95" fmla="*/ 0 w 3851276"/>
              <a:gd name="connsiteY95" fmla="*/ 136880 h 2457451"/>
              <a:gd name="connsiteX96" fmla="*/ 136718 w 3851276"/>
              <a:gd name="connsiteY96" fmla="*/ 0 h 2457451"/>
              <a:gd name="connsiteX0" fmla="*/ 3137694 w 3851276"/>
              <a:gd name="connsiteY0" fmla="*/ 2254250 h 2457451"/>
              <a:gd name="connsiteX1" fmla="*/ 3282951 w 3851276"/>
              <a:gd name="connsiteY1" fmla="*/ 2108200 h 2457451"/>
              <a:gd name="connsiteX2" fmla="*/ 3137694 w 3851276"/>
              <a:gd name="connsiteY2" fmla="*/ 2254250 h 2457451"/>
              <a:gd name="connsiteX3" fmla="*/ 3137695 w 3851276"/>
              <a:gd name="connsiteY3" fmla="*/ 1879600 h 2457451"/>
              <a:gd name="connsiteX4" fmla="*/ 2909888 w 3851276"/>
              <a:gd name="connsiteY4" fmla="*/ 2107407 h 2457451"/>
              <a:gd name="connsiteX5" fmla="*/ 3137695 w 3851276"/>
              <a:gd name="connsiteY5" fmla="*/ 2335214 h 2457451"/>
              <a:gd name="connsiteX6" fmla="*/ 3365502 w 3851276"/>
              <a:gd name="connsiteY6" fmla="*/ 2107407 h 2457451"/>
              <a:gd name="connsiteX7" fmla="*/ 3137695 w 3851276"/>
              <a:gd name="connsiteY7" fmla="*/ 1879600 h 2457451"/>
              <a:gd name="connsiteX8" fmla="*/ 826295 w 3851276"/>
              <a:gd name="connsiteY8" fmla="*/ 1879600 h 2457451"/>
              <a:gd name="connsiteX9" fmla="*/ 598488 w 3851276"/>
              <a:gd name="connsiteY9" fmla="*/ 2107407 h 2457451"/>
              <a:gd name="connsiteX10" fmla="*/ 826295 w 3851276"/>
              <a:gd name="connsiteY10" fmla="*/ 2335214 h 2457451"/>
              <a:gd name="connsiteX11" fmla="*/ 1054102 w 3851276"/>
              <a:gd name="connsiteY11" fmla="*/ 2107407 h 2457451"/>
              <a:gd name="connsiteX12" fmla="*/ 826295 w 3851276"/>
              <a:gd name="connsiteY12" fmla="*/ 1879600 h 2457451"/>
              <a:gd name="connsiteX13" fmla="*/ 3136900 w 3851276"/>
              <a:gd name="connsiteY13" fmla="*/ 1757363 h 2457451"/>
              <a:gd name="connsiteX14" fmla="*/ 3486150 w 3851276"/>
              <a:gd name="connsiteY14" fmla="*/ 2107407 h 2457451"/>
              <a:gd name="connsiteX15" fmla="*/ 3136900 w 3851276"/>
              <a:gd name="connsiteY15" fmla="*/ 2457451 h 2457451"/>
              <a:gd name="connsiteX16" fmla="*/ 2787650 w 3851276"/>
              <a:gd name="connsiteY16" fmla="*/ 2107407 h 2457451"/>
              <a:gd name="connsiteX17" fmla="*/ 3136900 w 3851276"/>
              <a:gd name="connsiteY17" fmla="*/ 1757363 h 2457451"/>
              <a:gd name="connsiteX18" fmla="*/ 825500 w 3851276"/>
              <a:gd name="connsiteY18" fmla="*/ 1757363 h 2457451"/>
              <a:gd name="connsiteX19" fmla="*/ 1174750 w 3851276"/>
              <a:gd name="connsiteY19" fmla="*/ 2107407 h 2457451"/>
              <a:gd name="connsiteX20" fmla="*/ 825500 w 3851276"/>
              <a:gd name="connsiteY20" fmla="*/ 2457451 h 2457451"/>
              <a:gd name="connsiteX21" fmla="*/ 476250 w 3851276"/>
              <a:gd name="connsiteY21" fmla="*/ 2107407 h 2457451"/>
              <a:gd name="connsiteX22" fmla="*/ 825500 w 3851276"/>
              <a:gd name="connsiteY22" fmla="*/ 1757363 h 2457451"/>
              <a:gd name="connsiteX23" fmla="*/ 2397125 w 3851276"/>
              <a:gd name="connsiteY23" fmla="*/ 532797 h 2457451"/>
              <a:gd name="connsiteX24" fmla="*/ 2397125 w 3851276"/>
              <a:gd name="connsiteY24" fmla="*/ 613672 h 2457451"/>
              <a:gd name="connsiteX25" fmla="*/ 2397125 w 3851276"/>
              <a:gd name="connsiteY25" fmla="*/ 2001484 h 2457451"/>
              <a:gd name="connsiteX26" fmla="*/ 2394079 w 3851276"/>
              <a:gd name="connsiteY26" fmla="*/ 2016729 h 2457451"/>
              <a:gd name="connsiteX27" fmla="*/ 2399520 w 3851276"/>
              <a:gd name="connsiteY27" fmla="*/ 2016729 h 2457451"/>
              <a:gd name="connsiteX28" fmla="*/ 2639583 w 3851276"/>
              <a:gd name="connsiteY28" fmla="*/ 2016729 h 2457451"/>
              <a:gd name="connsiteX29" fmla="*/ 2651731 w 3851276"/>
              <a:gd name="connsiteY29" fmla="*/ 2004566 h 2457451"/>
              <a:gd name="connsiteX30" fmla="*/ 3137623 w 3851276"/>
              <a:gd name="connsiteY30" fmla="*/ 1587970 h 2457451"/>
              <a:gd name="connsiteX31" fmla="*/ 3623514 w 3851276"/>
              <a:gd name="connsiteY31" fmla="*/ 2004566 h 2457451"/>
              <a:gd name="connsiteX32" fmla="*/ 3635662 w 3851276"/>
              <a:gd name="connsiteY32" fmla="*/ 2016729 h 2457451"/>
              <a:gd name="connsiteX33" fmla="*/ 3714619 w 3851276"/>
              <a:gd name="connsiteY33" fmla="*/ 2016729 h 2457451"/>
              <a:gd name="connsiteX34" fmla="*/ 3729803 w 3851276"/>
              <a:gd name="connsiteY34" fmla="*/ 2001525 h 2457451"/>
              <a:gd name="connsiteX35" fmla="*/ 3729803 w 3851276"/>
              <a:gd name="connsiteY35" fmla="*/ 1274763 h 2457451"/>
              <a:gd name="connsiteX36" fmla="*/ 3726766 w 3851276"/>
              <a:gd name="connsiteY36" fmla="*/ 1265641 h 2457451"/>
              <a:gd name="connsiteX37" fmla="*/ 3626551 w 3851276"/>
              <a:gd name="connsiteY37" fmla="*/ 1147048 h 2457451"/>
              <a:gd name="connsiteX38" fmla="*/ 2915934 w 3851276"/>
              <a:gd name="connsiteY38" fmla="*/ 1147048 h 2457451"/>
              <a:gd name="connsiteX39" fmla="*/ 2779277 w 3851276"/>
              <a:gd name="connsiteY39" fmla="*/ 1013250 h 2457451"/>
              <a:gd name="connsiteX40" fmla="*/ 2779277 w 3851276"/>
              <a:gd name="connsiteY40" fmla="*/ 532797 h 2457451"/>
              <a:gd name="connsiteX41" fmla="*/ 2402829 w 3851276"/>
              <a:gd name="connsiteY41" fmla="*/ 532797 h 2457451"/>
              <a:gd name="connsiteX42" fmla="*/ 2397125 w 3851276"/>
              <a:gd name="connsiteY42" fmla="*/ 532797 h 2457451"/>
              <a:gd name="connsiteX43" fmla="*/ 2900363 w 3851276"/>
              <a:gd name="connsiteY43" fmla="*/ 531813 h 2457451"/>
              <a:gd name="connsiteX44" fmla="*/ 2900363 w 3851276"/>
              <a:gd name="connsiteY44" fmla="*/ 1013336 h 2457451"/>
              <a:gd name="connsiteX45" fmla="*/ 2915545 w 3851276"/>
              <a:gd name="connsiteY45" fmla="*/ 1025526 h 2457451"/>
              <a:gd name="connsiteX46" fmla="*/ 3525838 w 3851276"/>
              <a:gd name="connsiteY46" fmla="*/ 1025526 h 2457451"/>
              <a:gd name="connsiteX47" fmla="*/ 3115940 w 3851276"/>
              <a:gd name="connsiteY47" fmla="*/ 537908 h 2457451"/>
              <a:gd name="connsiteX48" fmla="*/ 3106831 w 3851276"/>
              <a:gd name="connsiteY48" fmla="*/ 531813 h 2457451"/>
              <a:gd name="connsiteX49" fmla="*/ 2900363 w 3851276"/>
              <a:gd name="connsiteY49" fmla="*/ 531813 h 2457451"/>
              <a:gd name="connsiteX50" fmla="*/ 135842 w 3851276"/>
              <a:gd name="connsiteY50" fmla="*/ 122238 h 2457451"/>
              <a:gd name="connsiteX51" fmla="*/ 120650 w 3851276"/>
              <a:gd name="connsiteY51" fmla="*/ 137438 h 2457451"/>
              <a:gd name="connsiteX52" fmla="*/ 120650 w 3851276"/>
              <a:gd name="connsiteY52" fmla="*/ 2000926 h 2457451"/>
              <a:gd name="connsiteX53" fmla="*/ 135842 w 3851276"/>
              <a:gd name="connsiteY53" fmla="*/ 2016126 h 2457451"/>
              <a:gd name="connsiteX54" fmla="*/ 327263 w 3851276"/>
              <a:gd name="connsiteY54" fmla="*/ 2016126 h 2457451"/>
              <a:gd name="connsiteX55" fmla="*/ 339416 w 3851276"/>
              <a:gd name="connsiteY55" fmla="*/ 2003966 h 2457451"/>
              <a:gd name="connsiteX56" fmla="*/ 825563 w 3851276"/>
              <a:gd name="connsiteY56" fmla="*/ 1587493 h 2457451"/>
              <a:gd name="connsiteX57" fmla="*/ 1308671 w 3851276"/>
              <a:gd name="connsiteY57" fmla="*/ 2003966 h 2457451"/>
              <a:gd name="connsiteX58" fmla="*/ 1323864 w 3851276"/>
              <a:gd name="connsiteY58" fmla="*/ 2016126 h 2457451"/>
              <a:gd name="connsiteX59" fmla="*/ 2259696 w 3851276"/>
              <a:gd name="connsiteY59" fmla="*/ 2016126 h 2457451"/>
              <a:gd name="connsiteX60" fmla="*/ 2274888 w 3851276"/>
              <a:gd name="connsiteY60" fmla="*/ 2000926 h 2457451"/>
              <a:gd name="connsiteX61" fmla="*/ 2274888 w 3851276"/>
              <a:gd name="connsiteY61" fmla="*/ 137438 h 2457451"/>
              <a:gd name="connsiteX62" fmla="*/ 2259696 w 3851276"/>
              <a:gd name="connsiteY62" fmla="*/ 122238 h 2457451"/>
              <a:gd name="connsiteX63" fmla="*/ 135842 w 3851276"/>
              <a:gd name="connsiteY63" fmla="*/ 122238 h 2457451"/>
              <a:gd name="connsiteX64" fmla="*/ 136718 w 3851276"/>
              <a:gd name="connsiteY64" fmla="*/ 0 h 2457451"/>
              <a:gd name="connsiteX65" fmla="*/ 2260407 w 3851276"/>
              <a:gd name="connsiteY65" fmla="*/ 0 h 2457451"/>
              <a:gd name="connsiteX66" fmla="*/ 2397125 w 3851276"/>
              <a:gd name="connsiteY66" fmla="*/ 136880 h 2457451"/>
              <a:gd name="connsiteX67" fmla="*/ 2397125 w 3851276"/>
              <a:gd name="connsiteY67" fmla="*/ 306281 h 2457451"/>
              <a:gd name="connsiteX68" fmla="*/ 2397125 w 3851276"/>
              <a:gd name="connsiteY68" fmla="*/ 411163 h 2457451"/>
              <a:gd name="connsiteX69" fmla="*/ 2426638 w 3851276"/>
              <a:gd name="connsiteY69" fmla="*/ 411163 h 2457451"/>
              <a:gd name="connsiteX70" fmla="*/ 3107254 w 3851276"/>
              <a:gd name="connsiteY70" fmla="*/ 411163 h 2457451"/>
              <a:gd name="connsiteX71" fmla="*/ 3210506 w 3851276"/>
              <a:gd name="connsiteY71" fmla="*/ 459817 h 2457451"/>
              <a:gd name="connsiteX72" fmla="*/ 3684251 w 3851276"/>
              <a:gd name="connsiteY72" fmla="*/ 1025414 h 2457451"/>
              <a:gd name="connsiteX73" fmla="*/ 3687288 w 3851276"/>
              <a:gd name="connsiteY73" fmla="*/ 1025414 h 2457451"/>
              <a:gd name="connsiteX74" fmla="*/ 3687288 w 3851276"/>
              <a:gd name="connsiteY74" fmla="*/ 1031496 h 2457451"/>
              <a:gd name="connsiteX75" fmla="*/ 3817871 w 3851276"/>
              <a:gd name="connsiteY75" fmla="*/ 1186579 h 2457451"/>
              <a:gd name="connsiteX76" fmla="*/ 3851276 w 3851276"/>
              <a:gd name="connsiteY76" fmla="*/ 1274763 h 2457451"/>
              <a:gd name="connsiteX77" fmla="*/ 3851276 w 3851276"/>
              <a:gd name="connsiteY77" fmla="*/ 2001525 h 2457451"/>
              <a:gd name="connsiteX78" fmla="*/ 3714619 w 3851276"/>
              <a:gd name="connsiteY78" fmla="*/ 2138363 h 2457451"/>
              <a:gd name="connsiteX79" fmla="*/ 3635662 w 3851276"/>
              <a:gd name="connsiteY79" fmla="*/ 2138363 h 2457451"/>
              <a:gd name="connsiteX80" fmla="*/ 3502041 w 3851276"/>
              <a:gd name="connsiteY80" fmla="*/ 2022811 h 2457451"/>
              <a:gd name="connsiteX81" fmla="*/ 3137623 w 3851276"/>
              <a:gd name="connsiteY81" fmla="*/ 1709604 h 2457451"/>
              <a:gd name="connsiteX82" fmla="*/ 2773204 w 3851276"/>
              <a:gd name="connsiteY82" fmla="*/ 2022811 h 2457451"/>
              <a:gd name="connsiteX83" fmla="*/ 2639583 w 3851276"/>
              <a:gd name="connsiteY83" fmla="*/ 2138363 h 2457451"/>
              <a:gd name="connsiteX84" fmla="*/ 2281238 w 3851276"/>
              <a:gd name="connsiteY84" fmla="*/ 2138363 h 2457451"/>
              <a:gd name="connsiteX85" fmla="*/ 2281238 w 3851276"/>
              <a:gd name="connsiteY85" fmla="*/ 2134192 h 2457451"/>
              <a:gd name="connsiteX86" fmla="*/ 2260407 w 3851276"/>
              <a:gd name="connsiteY86" fmla="*/ 2138363 h 2457451"/>
              <a:gd name="connsiteX87" fmla="*/ 1324647 w 3851276"/>
              <a:gd name="connsiteY87" fmla="*/ 2138363 h 2457451"/>
              <a:gd name="connsiteX88" fmla="*/ 1190967 w 3851276"/>
              <a:gd name="connsiteY88" fmla="*/ 2022776 h 2457451"/>
              <a:gd name="connsiteX89" fmla="*/ 826386 w 3851276"/>
              <a:gd name="connsiteY89" fmla="*/ 1709474 h 2457451"/>
              <a:gd name="connsiteX90" fmla="*/ 461804 w 3851276"/>
              <a:gd name="connsiteY90" fmla="*/ 2022776 h 2457451"/>
              <a:gd name="connsiteX91" fmla="*/ 328124 w 3851276"/>
              <a:gd name="connsiteY91" fmla="*/ 2138363 h 2457451"/>
              <a:gd name="connsiteX92" fmla="*/ 136718 w 3851276"/>
              <a:gd name="connsiteY92" fmla="*/ 2138363 h 2457451"/>
              <a:gd name="connsiteX93" fmla="*/ 0 w 3851276"/>
              <a:gd name="connsiteY93" fmla="*/ 2001484 h 2457451"/>
              <a:gd name="connsiteX94" fmla="*/ 0 w 3851276"/>
              <a:gd name="connsiteY94" fmla="*/ 136880 h 2457451"/>
              <a:gd name="connsiteX95" fmla="*/ 136718 w 3851276"/>
              <a:gd name="connsiteY95" fmla="*/ 0 h 2457451"/>
              <a:gd name="connsiteX0" fmla="*/ 3137695 w 3851276"/>
              <a:gd name="connsiteY0" fmla="*/ 1879600 h 2457451"/>
              <a:gd name="connsiteX1" fmla="*/ 2909888 w 3851276"/>
              <a:gd name="connsiteY1" fmla="*/ 2107407 h 2457451"/>
              <a:gd name="connsiteX2" fmla="*/ 3137695 w 3851276"/>
              <a:gd name="connsiteY2" fmla="*/ 2335214 h 2457451"/>
              <a:gd name="connsiteX3" fmla="*/ 3365502 w 3851276"/>
              <a:gd name="connsiteY3" fmla="*/ 2107407 h 2457451"/>
              <a:gd name="connsiteX4" fmla="*/ 3137695 w 3851276"/>
              <a:gd name="connsiteY4" fmla="*/ 1879600 h 2457451"/>
              <a:gd name="connsiteX5" fmla="*/ 826295 w 3851276"/>
              <a:gd name="connsiteY5" fmla="*/ 1879600 h 2457451"/>
              <a:gd name="connsiteX6" fmla="*/ 598488 w 3851276"/>
              <a:gd name="connsiteY6" fmla="*/ 2107407 h 2457451"/>
              <a:gd name="connsiteX7" fmla="*/ 826295 w 3851276"/>
              <a:gd name="connsiteY7" fmla="*/ 2335214 h 2457451"/>
              <a:gd name="connsiteX8" fmla="*/ 1054102 w 3851276"/>
              <a:gd name="connsiteY8" fmla="*/ 2107407 h 2457451"/>
              <a:gd name="connsiteX9" fmla="*/ 826295 w 3851276"/>
              <a:gd name="connsiteY9" fmla="*/ 1879600 h 2457451"/>
              <a:gd name="connsiteX10" fmla="*/ 3136900 w 3851276"/>
              <a:gd name="connsiteY10" fmla="*/ 1757363 h 2457451"/>
              <a:gd name="connsiteX11" fmla="*/ 3486150 w 3851276"/>
              <a:gd name="connsiteY11" fmla="*/ 2107407 h 2457451"/>
              <a:gd name="connsiteX12" fmla="*/ 3136900 w 3851276"/>
              <a:gd name="connsiteY12" fmla="*/ 2457451 h 2457451"/>
              <a:gd name="connsiteX13" fmla="*/ 2787650 w 3851276"/>
              <a:gd name="connsiteY13" fmla="*/ 2107407 h 2457451"/>
              <a:gd name="connsiteX14" fmla="*/ 3136900 w 3851276"/>
              <a:gd name="connsiteY14" fmla="*/ 1757363 h 2457451"/>
              <a:gd name="connsiteX15" fmla="*/ 825500 w 3851276"/>
              <a:gd name="connsiteY15" fmla="*/ 1757363 h 2457451"/>
              <a:gd name="connsiteX16" fmla="*/ 1174750 w 3851276"/>
              <a:gd name="connsiteY16" fmla="*/ 2107407 h 2457451"/>
              <a:gd name="connsiteX17" fmla="*/ 825500 w 3851276"/>
              <a:gd name="connsiteY17" fmla="*/ 2457451 h 2457451"/>
              <a:gd name="connsiteX18" fmla="*/ 476250 w 3851276"/>
              <a:gd name="connsiteY18" fmla="*/ 2107407 h 2457451"/>
              <a:gd name="connsiteX19" fmla="*/ 825500 w 3851276"/>
              <a:gd name="connsiteY19" fmla="*/ 1757363 h 2457451"/>
              <a:gd name="connsiteX20" fmla="*/ 2397125 w 3851276"/>
              <a:gd name="connsiteY20" fmla="*/ 532797 h 2457451"/>
              <a:gd name="connsiteX21" fmla="*/ 2397125 w 3851276"/>
              <a:gd name="connsiteY21" fmla="*/ 613672 h 2457451"/>
              <a:gd name="connsiteX22" fmla="*/ 2397125 w 3851276"/>
              <a:gd name="connsiteY22" fmla="*/ 2001484 h 2457451"/>
              <a:gd name="connsiteX23" fmla="*/ 2394079 w 3851276"/>
              <a:gd name="connsiteY23" fmla="*/ 2016729 h 2457451"/>
              <a:gd name="connsiteX24" fmla="*/ 2399520 w 3851276"/>
              <a:gd name="connsiteY24" fmla="*/ 2016729 h 2457451"/>
              <a:gd name="connsiteX25" fmla="*/ 2639583 w 3851276"/>
              <a:gd name="connsiteY25" fmla="*/ 2016729 h 2457451"/>
              <a:gd name="connsiteX26" fmla="*/ 2651731 w 3851276"/>
              <a:gd name="connsiteY26" fmla="*/ 2004566 h 2457451"/>
              <a:gd name="connsiteX27" fmla="*/ 3137623 w 3851276"/>
              <a:gd name="connsiteY27" fmla="*/ 1587970 h 2457451"/>
              <a:gd name="connsiteX28" fmla="*/ 3623514 w 3851276"/>
              <a:gd name="connsiteY28" fmla="*/ 2004566 h 2457451"/>
              <a:gd name="connsiteX29" fmla="*/ 3635662 w 3851276"/>
              <a:gd name="connsiteY29" fmla="*/ 2016729 h 2457451"/>
              <a:gd name="connsiteX30" fmla="*/ 3714619 w 3851276"/>
              <a:gd name="connsiteY30" fmla="*/ 2016729 h 2457451"/>
              <a:gd name="connsiteX31" fmla="*/ 3729803 w 3851276"/>
              <a:gd name="connsiteY31" fmla="*/ 2001525 h 2457451"/>
              <a:gd name="connsiteX32" fmla="*/ 3729803 w 3851276"/>
              <a:gd name="connsiteY32" fmla="*/ 1274763 h 2457451"/>
              <a:gd name="connsiteX33" fmla="*/ 3726766 w 3851276"/>
              <a:gd name="connsiteY33" fmla="*/ 1265641 h 2457451"/>
              <a:gd name="connsiteX34" fmla="*/ 3626551 w 3851276"/>
              <a:gd name="connsiteY34" fmla="*/ 1147048 h 2457451"/>
              <a:gd name="connsiteX35" fmla="*/ 2915934 w 3851276"/>
              <a:gd name="connsiteY35" fmla="*/ 1147048 h 2457451"/>
              <a:gd name="connsiteX36" fmla="*/ 2779277 w 3851276"/>
              <a:gd name="connsiteY36" fmla="*/ 1013250 h 2457451"/>
              <a:gd name="connsiteX37" fmla="*/ 2779277 w 3851276"/>
              <a:gd name="connsiteY37" fmla="*/ 532797 h 2457451"/>
              <a:gd name="connsiteX38" fmla="*/ 2402829 w 3851276"/>
              <a:gd name="connsiteY38" fmla="*/ 532797 h 2457451"/>
              <a:gd name="connsiteX39" fmla="*/ 2397125 w 3851276"/>
              <a:gd name="connsiteY39" fmla="*/ 532797 h 2457451"/>
              <a:gd name="connsiteX40" fmla="*/ 2900363 w 3851276"/>
              <a:gd name="connsiteY40" fmla="*/ 531813 h 2457451"/>
              <a:gd name="connsiteX41" fmla="*/ 2900363 w 3851276"/>
              <a:gd name="connsiteY41" fmla="*/ 1013336 h 2457451"/>
              <a:gd name="connsiteX42" fmla="*/ 2915545 w 3851276"/>
              <a:gd name="connsiteY42" fmla="*/ 1025526 h 2457451"/>
              <a:gd name="connsiteX43" fmla="*/ 3525838 w 3851276"/>
              <a:gd name="connsiteY43" fmla="*/ 1025526 h 2457451"/>
              <a:gd name="connsiteX44" fmla="*/ 3115940 w 3851276"/>
              <a:gd name="connsiteY44" fmla="*/ 537908 h 2457451"/>
              <a:gd name="connsiteX45" fmla="*/ 3106831 w 3851276"/>
              <a:gd name="connsiteY45" fmla="*/ 531813 h 2457451"/>
              <a:gd name="connsiteX46" fmla="*/ 2900363 w 3851276"/>
              <a:gd name="connsiteY46" fmla="*/ 531813 h 2457451"/>
              <a:gd name="connsiteX47" fmla="*/ 135842 w 3851276"/>
              <a:gd name="connsiteY47" fmla="*/ 122238 h 2457451"/>
              <a:gd name="connsiteX48" fmla="*/ 120650 w 3851276"/>
              <a:gd name="connsiteY48" fmla="*/ 137438 h 2457451"/>
              <a:gd name="connsiteX49" fmla="*/ 120650 w 3851276"/>
              <a:gd name="connsiteY49" fmla="*/ 2000926 h 2457451"/>
              <a:gd name="connsiteX50" fmla="*/ 135842 w 3851276"/>
              <a:gd name="connsiteY50" fmla="*/ 2016126 h 2457451"/>
              <a:gd name="connsiteX51" fmla="*/ 327263 w 3851276"/>
              <a:gd name="connsiteY51" fmla="*/ 2016126 h 2457451"/>
              <a:gd name="connsiteX52" fmla="*/ 339416 w 3851276"/>
              <a:gd name="connsiteY52" fmla="*/ 2003966 h 2457451"/>
              <a:gd name="connsiteX53" fmla="*/ 825563 w 3851276"/>
              <a:gd name="connsiteY53" fmla="*/ 1587493 h 2457451"/>
              <a:gd name="connsiteX54" fmla="*/ 1308671 w 3851276"/>
              <a:gd name="connsiteY54" fmla="*/ 2003966 h 2457451"/>
              <a:gd name="connsiteX55" fmla="*/ 1323864 w 3851276"/>
              <a:gd name="connsiteY55" fmla="*/ 2016126 h 2457451"/>
              <a:gd name="connsiteX56" fmla="*/ 2259696 w 3851276"/>
              <a:gd name="connsiteY56" fmla="*/ 2016126 h 2457451"/>
              <a:gd name="connsiteX57" fmla="*/ 2274888 w 3851276"/>
              <a:gd name="connsiteY57" fmla="*/ 2000926 h 2457451"/>
              <a:gd name="connsiteX58" fmla="*/ 2274888 w 3851276"/>
              <a:gd name="connsiteY58" fmla="*/ 137438 h 2457451"/>
              <a:gd name="connsiteX59" fmla="*/ 2259696 w 3851276"/>
              <a:gd name="connsiteY59" fmla="*/ 122238 h 2457451"/>
              <a:gd name="connsiteX60" fmla="*/ 135842 w 3851276"/>
              <a:gd name="connsiteY60" fmla="*/ 122238 h 2457451"/>
              <a:gd name="connsiteX61" fmla="*/ 136718 w 3851276"/>
              <a:gd name="connsiteY61" fmla="*/ 0 h 2457451"/>
              <a:gd name="connsiteX62" fmla="*/ 2260407 w 3851276"/>
              <a:gd name="connsiteY62" fmla="*/ 0 h 2457451"/>
              <a:gd name="connsiteX63" fmla="*/ 2397125 w 3851276"/>
              <a:gd name="connsiteY63" fmla="*/ 136880 h 2457451"/>
              <a:gd name="connsiteX64" fmla="*/ 2397125 w 3851276"/>
              <a:gd name="connsiteY64" fmla="*/ 306281 h 2457451"/>
              <a:gd name="connsiteX65" fmla="*/ 2397125 w 3851276"/>
              <a:gd name="connsiteY65" fmla="*/ 411163 h 2457451"/>
              <a:gd name="connsiteX66" fmla="*/ 2426638 w 3851276"/>
              <a:gd name="connsiteY66" fmla="*/ 411163 h 2457451"/>
              <a:gd name="connsiteX67" fmla="*/ 3107254 w 3851276"/>
              <a:gd name="connsiteY67" fmla="*/ 411163 h 2457451"/>
              <a:gd name="connsiteX68" fmla="*/ 3210506 w 3851276"/>
              <a:gd name="connsiteY68" fmla="*/ 459817 h 2457451"/>
              <a:gd name="connsiteX69" fmla="*/ 3684251 w 3851276"/>
              <a:gd name="connsiteY69" fmla="*/ 1025414 h 2457451"/>
              <a:gd name="connsiteX70" fmla="*/ 3687288 w 3851276"/>
              <a:gd name="connsiteY70" fmla="*/ 1025414 h 2457451"/>
              <a:gd name="connsiteX71" fmla="*/ 3687288 w 3851276"/>
              <a:gd name="connsiteY71" fmla="*/ 1031496 h 2457451"/>
              <a:gd name="connsiteX72" fmla="*/ 3817871 w 3851276"/>
              <a:gd name="connsiteY72" fmla="*/ 1186579 h 2457451"/>
              <a:gd name="connsiteX73" fmla="*/ 3851276 w 3851276"/>
              <a:gd name="connsiteY73" fmla="*/ 1274763 h 2457451"/>
              <a:gd name="connsiteX74" fmla="*/ 3851276 w 3851276"/>
              <a:gd name="connsiteY74" fmla="*/ 2001525 h 2457451"/>
              <a:gd name="connsiteX75" fmla="*/ 3714619 w 3851276"/>
              <a:gd name="connsiteY75" fmla="*/ 2138363 h 2457451"/>
              <a:gd name="connsiteX76" fmla="*/ 3635662 w 3851276"/>
              <a:gd name="connsiteY76" fmla="*/ 2138363 h 2457451"/>
              <a:gd name="connsiteX77" fmla="*/ 3502041 w 3851276"/>
              <a:gd name="connsiteY77" fmla="*/ 2022811 h 2457451"/>
              <a:gd name="connsiteX78" fmla="*/ 3137623 w 3851276"/>
              <a:gd name="connsiteY78" fmla="*/ 1709604 h 2457451"/>
              <a:gd name="connsiteX79" fmla="*/ 2773204 w 3851276"/>
              <a:gd name="connsiteY79" fmla="*/ 2022811 h 2457451"/>
              <a:gd name="connsiteX80" fmla="*/ 2639583 w 3851276"/>
              <a:gd name="connsiteY80" fmla="*/ 2138363 h 2457451"/>
              <a:gd name="connsiteX81" fmla="*/ 2281238 w 3851276"/>
              <a:gd name="connsiteY81" fmla="*/ 2138363 h 2457451"/>
              <a:gd name="connsiteX82" fmla="*/ 2281238 w 3851276"/>
              <a:gd name="connsiteY82" fmla="*/ 2134192 h 2457451"/>
              <a:gd name="connsiteX83" fmla="*/ 2260407 w 3851276"/>
              <a:gd name="connsiteY83" fmla="*/ 2138363 h 2457451"/>
              <a:gd name="connsiteX84" fmla="*/ 1324647 w 3851276"/>
              <a:gd name="connsiteY84" fmla="*/ 2138363 h 2457451"/>
              <a:gd name="connsiteX85" fmla="*/ 1190967 w 3851276"/>
              <a:gd name="connsiteY85" fmla="*/ 2022776 h 2457451"/>
              <a:gd name="connsiteX86" fmla="*/ 826386 w 3851276"/>
              <a:gd name="connsiteY86" fmla="*/ 1709474 h 2457451"/>
              <a:gd name="connsiteX87" fmla="*/ 461804 w 3851276"/>
              <a:gd name="connsiteY87" fmla="*/ 2022776 h 2457451"/>
              <a:gd name="connsiteX88" fmla="*/ 328124 w 3851276"/>
              <a:gd name="connsiteY88" fmla="*/ 2138363 h 2457451"/>
              <a:gd name="connsiteX89" fmla="*/ 136718 w 3851276"/>
              <a:gd name="connsiteY89" fmla="*/ 2138363 h 2457451"/>
              <a:gd name="connsiteX90" fmla="*/ 0 w 3851276"/>
              <a:gd name="connsiteY90" fmla="*/ 2001484 h 2457451"/>
              <a:gd name="connsiteX91" fmla="*/ 0 w 3851276"/>
              <a:gd name="connsiteY91" fmla="*/ 136880 h 2457451"/>
              <a:gd name="connsiteX92" fmla="*/ 136718 w 3851276"/>
              <a:gd name="connsiteY92" fmla="*/ 0 h 245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3851276" h="2457451">
                <a:moveTo>
                  <a:pt x="3137695" y="1879600"/>
                </a:moveTo>
                <a:cubicBezTo>
                  <a:pt x="3011881" y="1879600"/>
                  <a:pt x="2909888" y="1981593"/>
                  <a:pt x="2909888" y="2107407"/>
                </a:cubicBezTo>
                <a:cubicBezTo>
                  <a:pt x="2909888" y="2233221"/>
                  <a:pt x="3011881" y="2335214"/>
                  <a:pt x="3137695" y="2335214"/>
                </a:cubicBezTo>
                <a:cubicBezTo>
                  <a:pt x="3263509" y="2335214"/>
                  <a:pt x="3365502" y="2233221"/>
                  <a:pt x="3365502" y="2107407"/>
                </a:cubicBezTo>
                <a:cubicBezTo>
                  <a:pt x="3365502" y="1981593"/>
                  <a:pt x="3263509" y="1879600"/>
                  <a:pt x="3137695" y="1879600"/>
                </a:cubicBezTo>
                <a:close/>
                <a:moveTo>
                  <a:pt x="826295" y="1879600"/>
                </a:moveTo>
                <a:cubicBezTo>
                  <a:pt x="700481" y="1879600"/>
                  <a:pt x="598488" y="1981593"/>
                  <a:pt x="598488" y="2107407"/>
                </a:cubicBezTo>
                <a:cubicBezTo>
                  <a:pt x="598488" y="2233221"/>
                  <a:pt x="700481" y="2335214"/>
                  <a:pt x="826295" y="2335214"/>
                </a:cubicBezTo>
                <a:cubicBezTo>
                  <a:pt x="952109" y="2335214"/>
                  <a:pt x="1054102" y="2233221"/>
                  <a:pt x="1054102" y="2107407"/>
                </a:cubicBezTo>
                <a:cubicBezTo>
                  <a:pt x="1054102" y="1981593"/>
                  <a:pt x="952109" y="1879600"/>
                  <a:pt x="826295" y="1879600"/>
                </a:cubicBezTo>
                <a:close/>
                <a:moveTo>
                  <a:pt x="3136900" y="1757363"/>
                </a:moveTo>
                <a:cubicBezTo>
                  <a:pt x="3329785" y="1757363"/>
                  <a:pt x="3486150" y="1914083"/>
                  <a:pt x="3486150" y="2107407"/>
                </a:cubicBezTo>
                <a:cubicBezTo>
                  <a:pt x="3486150" y="2300731"/>
                  <a:pt x="3329785" y="2457451"/>
                  <a:pt x="3136900" y="2457451"/>
                </a:cubicBezTo>
                <a:cubicBezTo>
                  <a:pt x="2944015" y="2457451"/>
                  <a:pt x="2787650" y="2300731"/>
                  <a:pt x="2787650" y="2107407"/>
                </a:cubicBezTo>
                <a:cubicBezTo>
                  <a:pt x="2787650" y="1914083"/>
                  <a:pt x="2944015" y="1757363"/>
                  <a:pt x="3136900" y="1757363"/>
                </a:cubicBezTo>
                <a:close/>
                <a:moveTo>
                  <a:pt x="825500" y="1757363"/>
                </a:moveTo>
                <a:cubicBezTo>
                  <a:pt x="1018385" y="1757363"/>
                  <a:pt x="1174750" y="1914083"/>
                  <a:pt x="1174750" y="2107407"/>
                </a:cubicBezTo>
                <a:cubicBezTo>
                  <a:pt x="1174750" y="2300731"/>
                  <a:pt x="1018385" y="2457451"/>
                  <a:pt x="825500" y="2457451"/>
                </a:cubicBezTo>
                <a:cubicBezTo>
                  <a:pt x="632615" y="2457451"/>
                  <a:pt x="476250" y="2300731"/>
                  <a:pt x="476250" y="2107407"/>
                </a:cubicBezTo>
                <a:cubicBezTo>
                  <a:pt x="476250" y="1914083"/>
                  <a:pt x="632615" y="1757363"/>
                  <a:pt x="825500" y="1757363"/>
                </a:cubicBezTo>
                <a:close/>
                <a:moveTo>
                  <a:pt x="2397125" y="532797"/>
                </a:moveTo>
                <a:lnTo>
                  <a:pt x="2397125" y="613672"/>
                </a:lnTo>
                <a:lnTo>
                  <a:pt x="2397125" y="2001484"/>
                </a:lnTo>
                <a:lnTo>
                  <a:pt x="2394079" y="2016729"/>
                </a:lnTo>
                <a:lnTo>
                  <a:pt x="2399520" y="2016729"/>
                </a:lnTo>
                <a:lnTo>
                  <a:pt x="2639583" y="2016729"/>
                </a:lnTo>
                <a:cubicBezTo>
                  <a:pt x="2645657" y="2016729"/>
                  <a:pt x="2651731" y="2010648"/>
                  <a:pt x="2651731" y="2004566"/>
                </a:cubicBezTo>
                <a:cubicBezTo>
                  <a:pt x="2685136" y="1761298"/>
                  <a:pt x="2885566" y="1587970"/>
                  <a:pt x="3137623" y="1587970"/>
                </a:cubicBezTo>
                <a:cubicBezTo>
                  <a:pt x="3389679" y="1587970"/>
                  <a:pt x="3590109" y="1761298"/>
                  <a:pt x="3623514" y="2004566"/>
                </a:cubicBezTo>
                <a:cubicBezTo>
                  <a:pt x="3623514" y="2010648"/>
                  <a:pt x="3629588" y="2016729"/>
                  <a:pt x="3635662" y="2016729"/>
                </a:cubicBezTo>
                <a:lnTo>
                  <a:pt x="3714619" y="2016729"/>
                </a:lnTo>
                <a:cubicBezTo>
                  <a:pt x="3723730" y="2016729"/>
                  <a:pt x="3729803" y="2010648"/>
                  <a:pt x="3729803" y="2001525"/>
                </a:cubicBezTo>
                <a:lnTo>
                  <a:pt x="3729803" y="1274763"/>
                </a:lnTo>
                <a:cubicBezTo>
                  <a:pt x="3729803" y="1271722"/>
                  <a:pt x="3726766" y="1268681"/>
                  <a:pt x="3726766" y="1265641"/>
                </a:cubicBezTo>
                <a:lnTo>
                  <a:pt x="3626551" y="1147048"/>
                </a:lnTo>
                <a:lnTo>
                  <a:pt x="2915934" y="1147048"/>
                </a:lnTo>
                <a:cubicBezTo>
                  <a:pt x="2840014" y="1147048"/>
                  <a:pt x="2779277" y="1086231"/>
                  <a:pt x="2779277" y="1013250"/>
                </a:cubicBezTo>
                <a:lnTo>
                  <a:pt x="2779277" y="532797"/>
                </a:lnTo>
                <a:lnTo>
                  <a:pt x="2402829" y="532797"/>
                </a:lnTo>
                <a:lnTo>
                  <a:pt x="2397125" y="532797"/>
                </a:lnTo>
                <a:close/>
                <a:moveTo>
                  <a:pt x="2900363" y="531813"/>
                </a:moveTo>
                <a:lnTo>
                  <a:pt x="2900363" y="1013336"/>
                </a:lnTo>
                <a:cubicBezTo>
                  <a:pt x="2900363" y="1019431"/>
                  <a:pt x="2906436" y="1025526"/>
                  <a:pt x="2915545" y="1025526"/>
                </a:cubicBezTo>
                <a:lnTo>
                  <a:pt x="3525838" y="1025526"/>
                </a:lnTo>
                <a:lnTo>
                  <a:pt x="3115940" y="537908"/>
                </a:lnTo>
                <a:cubicBezTo>
                  <a:pt x="3115940" y="534861"/>
                  <a:pt x="3109867" y="531813"/>
                  <a:pt x="3106831" y="531813"/>
                </a:cubicBezTo>
                <a:lnTo>
                  <a:pt x="2900363" y="531813"/>
                </a:lnTo>
                <a:close/>
                <a:moveTo>
                  <a:pt x="135842" y="122238"/>
                </a:moveTo>
                <a:cubicBezTo>
                  <a:pt x="126727" y="122238"/>
                  <a:pt x="120650" y="128318"/>
                  <a:pt x="120650" y="137438"/>
                </a:cubicBezTo>
                <a:lnTo>
                  <a:pt x="120650" y="2000926"/>
                </a:lnTo>
                <a:cubicBezTo>
                  <a:pt x="120650" y="2010046"/>
                  <a:pt x="126727" y="2016126"/>
                  <a:pt x="135842" y="2016126"/>
                </a:cubicBezTo>
                <a:lnTo>
                  <a:pt x="327263" y="2016126"/>
                </a:lnTo>
                <a:cubicBezTo>
                  <a:pt x="333339" y="2016126"/>
                  <a:pt x="339416" y="2010046"/>
                  <a:pt x="339416" y="2003966"/>
                </a:cubicBezTo>
                <a:cubicBezTo>
                  <a:pt x="372839" y="1760771"/>
                  <a:pt x="570336" y="1587493"/>
                  <a:pt x="825563" y="1587493"/>
                </a:cubicBezTo>
                <a:cubicBezTo>
                  <a:pt x="1077752" y="1587493"/>
                  <a:pt x="1278287" y="1760771"/>
                  <a:pt x="1308671" y="2003966"/>
                </a:cubicBezTo>
                <a:cubicBezTo>
                  <a:pt x="1311710" y="2010046"/>
                  <a:pt x="1317787" y="2016126"/>
                  <a:pt x="1323864" y="2016126"/>
                </a:cubicBezTo>
                <a:lnTo>
                  <a:pt x="2259696" y="2016126"/>
                </a:lnTo>
                <a:cubicBezTo>
                  <a:pt x="2268811" y="2016126"/>
                  <a:pt x="2274888" y="2010046"/>
                  <a:pt x="2274888" y="2000926"/>
                </a:cubicBezTo>
                <a:lnTo>
                  <a:pt x="2274888" y="137438"/>
                </a:lnTo>
                <a:cubicBezTo>
                  <a:pt x="2274888" y="128318"/>
                  <a:pt x="2268811" y="122238"/>
                  <a:pt x="2259696" y="122238"/>
                </a:cubicBezTo>
                <a:lnTo>
                  <a:pt x="135842" y="122238"/>
                </a:lnTo>
                <a:close/>
                <a:moveTo>
                  <a:pt x="136718" y="0"/>
                </a:moveTo>
                <a:lnTo>
                  <a:pt x="2260407" y="0"/>
                </a:lnTo>
                <a:cubicBezTo>
                  <a:pt x="2336362" y="0"/>
                  <a:pt x="2397125" y="60835"/>
                  <a:pt x="2397125" y="136880"/>
                </a:cubicBezTo>
                <a:lnTo>
                  <a:pt x="2397125" y="306281"/>
                </a:lnTo>
                <a:lnTo>
                  <a:pt x="2397125" y="411163"/>
                </a:lnTo>
                <a:lnTo>
                  <a:pt x="2426638" y="411163"/>
                </a:lnTo>
                <a:lnTo>
                  <a:pt x="3107254" y="411163"/>
                </a:lnTo>
                <a:cubicBezTo>
                  <a:pt x="3146733" y="411163"/>
                  <a:pt x="3186212" y="429408"/>
                  <a:pt x="3210506" y="459817"/>
                </a:cubicBezTo>
                <a:lnTo>
                  <a:pt x="3684251" y="1025414"/>
                </a:lnTo>
                <a:lnTo>
                  <a:pt x="3687288" y="1025414"/>
                </a:lnTo>
                <a:lnTo>
                  <a:pt x="3687288" y="1031496"/>
                </a:lnTo>
                <a:lnTo>
                  <a:pt x="3817871" y="1186579"/>
                </a:lnTo>
                <a:cubicBezTo>
                  <a:pt x="3839129" y="1210905"/>
                  <a:pt x="3851276" y="1241314"/>
                  <a:pt x="3851276" y="1274763"/>
                </a:cubicBezTo>
                <a:lnTo>
                  <a:pt x="3851276" y="2001525"/>
                </a:lnTo>
                <a:cubicBezTo>
                  <a:pt x="3851276" y="2077546"/>
                  <a:pt x="3790540" y="2138363"/>
                  <a:pt x="3714619" y="2138363"/>
                </a:cubicBezTo>
                <a:lnTo>
                  <a:pt x="3635662" y="2138363"/>
                </a:lnTo>
                <a:cubicBezTo>
                  <a:pt x="3568852" y="2138363"/>
                  <a:pt x="3511152" y="2086669"/>
                  <a:pt x="3502041" y="2022811"/>
                </a:cubicBezTo>
                <a:cubicBezTo>
                  <a:pt x="3477747" y="1834279"/>
                  <a:pt x="3331979" y="1709604"/>
                  <a:pt x="3137623" y="1709604"/>
                </a:cubicBezTo>
                <a:cubicBezTo>
                  <a:pt x="2943266" y="1709604"/>
                  <a:pt x="2797498" y="1834279"/>
                  <a:pt x="2773204" y="2022811"/>
                </a:cubicBezTo>
                <a:cubicBezTo>
                  <a:pt x="2764093" y="2086669"/>
                  <a:pt x="2706394" y="2138363"/>
                  <a:pt x="2639583" y="2138363"/>
                </a:cubicBezTo>
                <a:lnTo>
                  <a:pt x="2281238" y="2138363"/>
                </a:lnTo>
                <a:lnTo>
                  <a:pt x="2281238" y="2134192"/>
                </a:lnTo>
                <a:lnTo>
                  <a:pt x="2260407" y="2138363"/>
                </a:lnTo>
                <a:lnTo>
                  <a:pt x="1324647" y="2138363"/>
                </a:lnTo>
                <a:cubicBezTo>
                  <a:pt x="1257807" y="2138363"/>
                  <a:pt x="1200082" y="2086653"/>
                  <a:pt x="1190967" y="2022776"/>
                </a:cubicBezTo>
                <a:cubicBezTo>
                  <a:pt x="1166662" y="1834186"/>
                  <a:pt x="1020829" y="1709474"/>
                  <a:pt x="826386" y="1709474"/>
                </a:cubicBezTo>
                <a:cubicBezTo>
                  <a:pt x="631942" y="1709474"/>
                  <a:pt x="486109" y="1834186"/>
                  <a:pt x="461804" y="2022776"/>
                </a:cubicBezTo>
                <a:cubicBezTo>
                  <a:pt x="452689" y="2086653"/>
                  <a:pt x="394964" y="2138363"/>
                  <a:pt x="328124" y="2138363"/>
                </a:cubicBezTo>
                <a:lnTo>
                  <a:pt x="136718" y="2138363"/>
                </a:lnTo>
                <a:cubicBezTo>
                  <a:pt x="60764" y="2138363"/>
                  <a:pt x="0" y="2077528"/>
                  <a:pt x="0" y="2001484"/>
                </a:cubicBezTo>
                <a:lnTo>
                  <a:pt x="0" y="136880"/>
                </a:lnTo>
                <a:cubicBezTo>
                  <a:pt x="0" y="60835"/>
                  <a:pt x="60764" y="0"/>
                  <a:pt x="136718" y="0"/>
                </a:cubicBezTo>
                <a:close/>
              </a:path>
            </a:pathLst>
          </a:custGeom>
          <a:solidFill>
            <a:schemeClr val="bg1"/>
          </a:solidFill>
          <a:ln>
            <a:solidFill>
              <a:schemeClr val="accent4">
                <a:lumMod val="40000"/>
                <a:lumOff val="60000"/>
              </a:schemeClr>
            </a:solid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388" name="Freeform 73">
            <a:extLst>
              <a:ext uri="{FF2B5EF4-FFF2-40B4-BE49-F238E27FC236}">
                <a16:creationId xmlns:a16="http://schemas.microsoft.com/office/drawing/2014/main" id="{B8FABCA9-53C4-4CB0-992D-D1F650C8EA40}"/>
              </a:ext>
            </a:extLst>
          </p:cNvPr>
          <p:cNvSpPr>
            <a:spLocks noChangeArrowheads="1"/>
          </p:cNvSpPr>
          <p:nvPr/>
        </p:nvSpPr>
        <p:spPr bwMode="auto">
          <a:xfrm>
            <a:off x="5503109" y="3199599"/>
            <a:ext cx="234296" cy="149501"/>
          </a:xfrm>
          <a:custGeom>
            <a:avLst/>
            <a:gdLst>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26294 w 3851276"/>
              <a:gd name="connsiteY5" fmla="*/ 2082800 h 2457451"/>
              <a:gd name="connsiteX6" fmla="*/ 801687 w 3851276"/>
              <a:gd name="connsiteY6" fmla="*/ 2107407 h 2457451"/>
              <a:gd name="connsiteX7" fmla="*/ 826294 w 3851276"/>
              <a:gd name="connsiteY7" fmla="*/ 2132014 h 2457451"/>
              <a:gd name="connsiteX8" fmla="*/ 850901 w 3851276"/>
              <a:gd name="connsiteY8" fmla="*/ 2107407 h 2457451"/>
              <a:gd name="connsiteX9" fmla="*/ 826294 w 3851276"/>
              <a:gd name="connsiteY9" fmla="*/ 2082800 h 2457451"/>
              <a:gd name="connsiteX10" fmla="*/ 3137694 w 3851276"/>
              <a:gd name="connsiteY10" fmla="*/ 1962150 h 2457451"/>
              <a:gd name="connsiteX11" fmla="*/ 3282951 w 3851276"/>
              <a:gd name="connsiteY11" fmla="*/ 2108200 h 2457451"/>
              <a:gd name="connsiteX12" fmla="*/ 3137694 w 3851276"/>
              <a:gd name="connsiteY12" fmla="*/ 2254250 h 2457451"/>
              <a:gd name="connsiteX13" fmla="*/ 2992437 w 3851276"/>
              <a:gd name="connsiteY13" fmla="*/ 2108200 h 2457451"/>
              <a:gd name="connsiteX14" fmla="*/ 3137694 w 3851276"/>
              <a:gd name="connsiteY14" fmla="*/ 1962150 h 2457451"/>
              <a:gd name="connsiteX15" fmla="*/ 826294 w 3851276"/>
              <a:gd name="connsiteY15" fmla="*/ 1962150 h 2457451"/>
              <a:gd name="connsiteX16" fmla="*/ 971551 w 3851276"/>
              <a:gd name="connsiteY16" fmla="*/ 2108200 h 2457451"/>
              <a:gd name="connsiteX17" fmla="*/ 826294 w 3851276"/>
              <a:gd name="connsiteY17" fmla="*/ 2254250 h 2457451"/>
              <a:gd name="connsiteX18" fmla="*/ 681037 w 3851276"/>
              <a:gd name="connsiteY18" fmla="*/ 2108200 h 2457451"/>
              <a:gd name="connsiteX19" fmla="*/ 826294 w 3851276"/>
              <a:gd name="connsiteY19" fmla="*/ 1962150 h 2457451"/>
              <a:gd name="connsiteX20" fmla="*/ 3137695 w 3851276"/>
              <a:gd name="connsiteY20" fmla="*/ 1879600 h 2457451"/>
              <a:gd name="connsiteX21" fmla="*/ 2909888 w 3851276"/>
              <a:gd name="connsiteY21" fmla="*/ 2107407 h 2457451"/>
              <a:gd name="connsiteX22" fmla="*/ 3137695 w 3851276"/>
              <a:gd name="connsiteY22" fmla="*/ 2335214 h 2457451"/>
              <a:gd name="connsiteX23" fmla="*/ 3365502 w 3851276"/>
              <a:gd name="connsiteY23" fmla="*/ 2107407 h 2457451"/>
              <a:gd name="connsiteX24" fmla="*/ 3137695 w 3851276"/>
              <a:gd name="connsiteY24" fmla="*/ 1879600 h 2457451"/>
              <a:gd name="connsiteX25" fmla="*/ 826295 w 3851276"/>
              <a:gd name="connsiteY25" fmla="*/ 1879600 h 2457451"/>
              <a:gd name="connsiteX26" fmla="*/ 598488 w 3851276"/>
              <a:gd name="connsiteY26" fmla="*/ 2107407 h 2457451"/>
              <a:gd name="connsiteX27" fmla="*/ 826295 w 3851276"/>
              <a:gd name="connsiteY27" fmla="*/ 2335214 h 2457451"/>
              <a:gd name="connsiteX28" fmla="*/ 1054102 w 3851276"/>
              <a:gd name="connsiteY28" fmla="*/ 2107407 h 2457451"/>
              <a:gd name="connsiteX29" fmla="*/ 826295 w 3851276"/>
              <a:gd name="connsiteY29" fmla="*/ 1879600 h 2457451"/>
              <a:gd name="connsiteX30" fmla="*/ 3136900 w 3851276"/>
              <a:gd name="connsiteY30" fmla="*/ 1757363 h 2457451"/>
              <a:gd name="connsiteX31" fmla="*/ 3486150 w 3851276"/>
              <a:gd name="connsiteY31" fmla="*/ 2107407 h 2457451"/>
              <a:gd name="connsiteX32" fmla="*/ 3136900 w 3851276"/>
              <a:gd name="connsiteY32" fmla="*/ 2457451 h 2457451"/>
              <a:gd name="connsiteX33" fmla="*/ 2787650 w 3851276"/>
              <a:gd name="connsiteY33" fmla="*/ 2107407 h 2457451"/>
              <a:gd name="connsiteX34" fmla="*/ 3136900 w 3851276"/>
              <a:gd name="connsiteY34" fmla="*/ 1757363 h 2457451"/>
              <a:gd name="connsiteX35" fmla="*/ 825500 w 3851276"/>
              <a:gd name="connsiteY35" fmla="*/ 1757363 h 2457451"/>
              <a:gd name="connsiteX36" fmla="*/ 1174750 w 3851276"/>
              <a:gd name="connsiteY36" fmla="*/ 2107407 h 2457451"/>
              <a:gd name="connsiteX37" fmla="*/ 825500 w 3851276"/>
              <a:gd name="connsiteY37" fmla="*/ 2457451 h 2457451"/>
              <a:gd name="connsiteX38" fmla="*/ 476250 w 3851276"/>
              <a:gd name="connsiteY38" fmla="*/ 2107407 h 2457451"/>
              <a:gd name="connsiteX39" fmla="*/ 825500 w 3851276"/>
              <a:gd name="connsiteY39" fmla="*/ 1757363 h 2457451"/>
              <a:gd name="connsiteX40" fmla="*/ 2397125 w 3851276"/>
              <a:gd name="connsiteY40" fmla="*/ 532797 h 2457451"/>
              <a:gd name="connsiteX41" fmla="*/ 2397125 w 3851276"/>
              <a:gd name="connsiteY41" fmla="*/ 613672 h 2457451"/>
              <a:gd name="connsiteX42" fmla="*/ 2397125 w 3851276"/>
              <a:gd name="connsiteY42" fmla="*/ 2001484 h 2457451"/>
              <a:gd name="connsiteX43" fmla="*/ 2394079 w 3851276"/>
              <a:gd name="connsiteY43" fmla="*/ 2016729 h 2457451"/>
              <a:gd name="connsiteX44" fmla="*/ 2399520 w 3851276"/>
              <a:gd name="connsiteY44" fmla="*/ 2016729 h 2457451"/>
              <a:gd name="connsiteX45" fmla="*/ 2639583 w 3851276"/>
              <a:gd name="connsiteY45" fmla="*/ 2016729 h 2457451"/>
              <a:gd name="connsiteX46" fmla="*/ 2651731 w 3851276"/>
              <a:gd name="connsiteY46" fmla="*/ 2004566 h 2457451"/>
              <a:gd name="connsiteX47" fmla="*/ 3137623 w 3851276"/>
              <a:gd name="connsiteY47" fmla="*/ 1587970 h 2457451"/>
              <a:gd name="connsiteX48" fmla="*/ 3623514 w 3851276"/>
              <a:gd name="connsiteY48" fmla="*/ 2004566 h 2457451"/>
              <a:gd name="connsiteX49" fmla="*/ 3635662 w 3851276"/>
              <a:gd name="connsiteY49" fmla="*/ 2016729 h 2457451"/>
              <a:gd name="connsiteX50" fmla="*/ 3714619 w 3851276"/>
              <a:gd name="connsiteY50" fmla="*/ 2016729 h 2457451"/>
              <a:gd name="connsiteX51" fmla="*/ 3729803 w 3851276"/>
              <a:gd name="connsiteY51" fmla="*/ 2001525 h 2457451"/>
              <a:gd name="connsiteX52" fmla="*/ 3729803 w 3851276"/>
              <a:gd name="connsiteY52" fmla="*/ 1274763 h 2457451"/>
              <a:gd name="connsiteX53" fmla="*/ 3726766 w 3851276"/>
              <a:gd name="connsiteY53" fmla="*/ 1265641 h 2457451"/>
              <a:gd name="connsiteX54" fmla="*/ 3626551 w 3851276"/>
              <a:gd name="connsiteY54" fmla="*/ 1147048 h 2457451"/>
              <a:gd name="connsiteX55" fmla="*/ 2915934 w 3851276"/>
              <a:gd name="connsiteY55" fmla="*/ 1147048 h 2457451"/>
              <a:gd name="connsiteX56" fmla="*/ 2779277 w 3851276"/>
              <a:gd name="connsiteY56" fmla="*/ 1013250 h 2457451"/>
              <a:gd name="connsiteX57" fmla="*/ 2779277 w 3851276"/>
              <a:gd name="connsiteY57" fmla="*/ 532797 h 2457451"/>
              <a:gd name="connsiteX58" fmla="*/ 2402829 w 3851276"/>
              <a:gd name="connsiteY58" fmla="*/ 532797 h 2457451"/>
              <a:gd name="connsiteX59" fmla="*/ 2900363 w 3851276"/>
              <a:gd name="connsiteY59" fmla="*/ 531813 h 2457451"/>
              <a:gd name="connsiteX60" fmla="*/ 2900363 w 3851276"/>
              <a:gd name="connsiteY60" fmla="*/ 1013336 h 2457451"/>
              <a:gd name="connsiteX61" fmla="*/ 2915545 w 3851276"/>
              <a:gd name="connsiteY61" fmla="*/ 1025526 h 2457451"/>
              <a:gd name="connsiteX62" fmla="*/ 3525838 w 3851276"/>
              <a:gd name="connsiteY62" fmla="*/ 1025526 h 2457451"/>
              <a:gd name="connsiteX63" fmla="*/ 3115940 w 3851276"/>
              <a:gd name="connsiteY63" fmla="*/ 537908 h 2457451"/>
              <a:gd name="connsiteX64" fmla="*/ 3106831 w 3851276"/>
              <a:gd name="connsiteY64" fmla="*/ 531813 h 2457451"/>
              <a:gd name="connsiteX65" fmla="*/ 135842 w 3851276"/>
              <a:gd name="connsiteY65" fmla="*/ 122238 h 2457451"/>
              <a:gd name="connsiteX66" fmla="*/ 120650 w 3851276"/>
              <a:gd name="connsiteY66" fmla="*/ 137438 h 2457451"/>
              <a:gd name="connsiteX67" fmla="*/ 120650 w 3851276"/>
              <a:gd name="connsiteY67" fmla="*/ 2000926 h 2457451"/>
              <a:gd name="connsiteX68" fmla="*/ 135842 w 3851276"/>
              <a:gd name="connsiteY68" fmla="*/ 2016126 h 2457451"/>
              <a:gd name="connsiteX69" fmla="*/ 327263 w 3851276"/>
              <a:gd name="connsiteY69" fmla="*/ 2016126 h 2457451"/>
              <a:gd name="connsiteX70" fmla="*/ 339416 w 3851276"/>
              <a:gd name="connsiteY70" fmla="*/ 2003966 h 2457451"/>
              <a:gd name="connsiteX71" fmla="*/ 825563 w 3851276"/>
              <a:gd name="connsiteY71" fmla="*/ 1587493 h 2457451"/>
              <a:gd name="connsiteX72" fmla="*/ 1308671 w 3851276"/>
              <a:gd name="connsiteY72" fmla="*/ 2003966 h 2457451"/>
              <a:gd name="connsiteX73" fmla="*/ 1323864 w 3851276"/>
              <a:gd name="connsiteY73" fmla="*/ 2016126 h 2457451"/>
              <a:gd name="connsiteX74" fmla="*/ 2259696 w 3851276"/>
              <a:gd name="connsiteY74" fmla="*/ 2016126 h 2457451"/>
              <a:gd name="connsiteX75" fmla="*/ 2274888 w 3851276"/>
              <a:gd name="connsiteY75" fmla="*/ 2000926 h 2457451"/>
              <a:gd name="connsiteX76" fmla="*/ 2274888 w 3851276"/>
              <a:gd name="connsiteY76" fmla="*/ 137438 h 2457451"/>
              <a:gd name="connsiteX77" fmla="*/ 2259696 w 3851276"/>
              <a:gd name="connsiteY77" fmla="*/ 122238 h 2457451"/>
              <a:gd name="connsiteX78" fmla="*/ 135842 w 3851276"/>
              <a:gd name="connsiteY78" fmla="*/ 122238 h 2457451"/>
              <a:gd name="connsiteX79" fmla="*/ 136718 w 3851276"/>
              <a:gd name="connsiteY79" fmla="*/ 0 h 2457451"/>
              <a:gd name="connsiteX80" fmla="*/ 2260407 w 3851276"/>
              <a:gd name="connsiteY80" fmla="*/ 0 h 2457451"/>
              <a:gd name="connsiteX81" fmla="*/ 2397125 w 3851276"/>
              <a:gd name="connsiteY81" fmla="*/ 136880 h 2457451"/>
              <a:gd name="connsiteX82" fmla="*/ 2397125 w 3851276"/>
              <a:gd name="connsiteY82" fmla="*/ 306281 h 2457451"/>
              <a:gd name="connsiteX83" fmla="*/ 2397125 w 3851276"/>
              <a:gd name="connsiteY83" fmla="*/ 411163 h 2457451"/>
              <a:gd name="connsiteX84" fmla="*/ 2426638 w 3851276"/>
              <a:gd name="connsiteY84" fmla="*/ 411163 h 2457451"/>
              <a:gd name="connsiteX85" fmla="*/ 3107254 w 3851276"/>
              <a:gd name="connsiteY85" fmla="*/ 411163 h 2457451"/>
              <a:gd name="connsiteX86" fmla="*/ 3210506 w 3851276"/>
              <a:gd name="connsiteY86" fmla="*/ 459817 h 2457451"/>
              <a:gd name="connsiteX87" fmla="*/ 3684251 w 3851276"/>
              <a:gd name="connsiteY87" fmla="*/ 1025414 h 2457451"/>
              <a:gd name="connsiteX88" fmla="*/ 3687288 w 3851276"/>
              <a:gd name="connsiteY88" fmla="*/ 1025414 h 2457451"/>
              <a:gd name="connsiteX89" fmla="*/ 3687288 w 3851276"/>
              <a:gd name="connsiteY89" fmla="*/ 1031496 h 2457451"/>
              <a:gd name="connsiteX90" fmla="*/ 3817871 w 3851276"/>
              <a:gd name="connsiteY90" fmla="*/ 1186579 h 2457451"/>
              <a:gd name="connsiteX91" fmla="*/ 3851276 w 3851276"/>
              <a:gd name="connsiteY91" fmla="*/ 1274763 h 2457451"/>
              <a:gd name="connsiteX92" fmla="*/ 3851276 w 3851276"/>
              <a:gd name="connsiteY92" fmla="*/ 2001525 h 2457451"/>
              <a:gd name="connsiteX93" fmla="*/ 3714619 w 3851276"/>
              <a:gd name="connsiteY93" fmla="*/ 2138363 h 2457451"/>
              <a:gd name="connsiteX94" fmla="*/ 3635662 w 3851276"/>
              <a:gd name="connsiteY94" fmla="*/ 2138363 h 2457451"/>
              <a:gd name="connsiteX95" fmla="*/ 3502041 w 3851276"/>
              <a:gd name="connsiteY95" fmla="*/ 2022811 h 2457451"/>
              <a:gd name="connsiteX96" fmla="*/ 3137623 w 3851276"/>
              <a:gd name="connsiteY96" fmla="*/ 1709604 h 2457451"/>
              <a:gd name="connsiteX97" fmla="*/ 2773204 w 3851276"/>
              <a:gd name="connsiteY97" fmla="*/ 2022811 h 2457451"/>
              <a:gd name="connsiteX98" fmla="*/ 2639583 w 3851276"/>
              <a:gd name="connsiteY98" fmla="*/ 2138363 h 2457451"/>
              <a:gd name="connsiteX99" fmla="*/ 2281238 w 3851276"/>
              <a:gd name="connsiteY99" fmla="*/ 2138363 h 2457451"/>
              <a:gd name="connsiteX100" fmla="*/ 2281238 w 3851276"/>
              <a:gd name="connsiteY100" fmla="*/ 2134192 h 2457451"/>
              <a:gd name="connsiteX101" fmla="*/ 2260407 w 3851276"/>
              <a:gd name="connsiteY101" fmla="*/ 2138363 h 2457451"/>
              <a:gd name="connsiteX102" fmla="*/ 1324647 w 3851276"/>
              <a:gd name="connsiteY102" fmla="*/ 2138363 h 2457451"/>
              <a:gd name="connsiteX103" fmla="*/ 1190967 w 3851276"/>
              <a:gd name="connsiteY103" fmla="*/ 2022776 h 2457451"/>
              <a:gd name="connsiteX104" fmla="*/ 826386 w 3851276"/>
              <a:gd name="connsiteY104" fmla="*/ 1709474 h 2457451"/>
              <a:gd name="connsiteX105" fmla="*/ 461804 w 3851276"/>
              <a:gd name="connsiteY105" fmla="*/ 2022776 h 2457451"/>
              <a:gd name="connsiteX106" fmla="*/ 328124 w 3851276"/>
              <a:gd name="connsiteY106" fmla="*/ 2138363 h 2457451"/>
              <a:gd name="connsiteX107" fmla="*/ 136718 w 3851276"/>
              <a:gd name="connsiteY107" fmla="*/ 2138363 h 2457451"/>
              <a:gd name="connsiteX108" fmla="*/ 0 w 3851276"/>
              <a:gd name="connsiteY108" fmla="*/ 2001484 h 2457451"/>
              <a:gd name="connsiteX109" fmla="*/ 0 w 3851276"/>
              <a:gd name="connsiteY109" fmla="*/ 136880 h 2457451"/>
              <a:gd name="connsiteX110" fmla="*/ 136718 w 3851276"/>
              <a:gd name="connsiteY110"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50901 w 3851276"/>
              <a:gd name="connsiteY5" fmla="*/ 2107407 h 2457451"/>
              <a:gd name="connsiteX6" fmla="*/ 801687 w 3851276"/>
              <a:gd name="connsiteY6" fmla="*/ 2107407 h 2457451"/>
              <a:gd name="connsiteX7" fmla="*/ 826294 w 3851276"/>
              <a:gd name="connsiteY7" fmla="*/ 2132014 h 2457451"/>
              <a:gd name="connsiteX8" fmla="*/ 850901 w 3851276"/>
              <a:gd name="connsiteY8" fmla="*/ 2107407 h 2457451"/>
              <a:gd name="connsiteX9" fmla="*/ 3137694 w 3851276"/>
              <a:gd name="connsiteY9" fmla="*/ 1962150 h 2457451"/>
              <a:gd name="connsiteX10" fmla="*/ 3282951 w 3851276"/>
              <a:gd name="connsiteY10" fmla="*/ 2108200 h 2457451"/>
              <a:gd name="connsiteX11" fmla="*/ 3137694 w 3851276"/>
              <a:gd name="connsiteY11" fmla="*/ 2254250 h 2457451"/>
              <a:gd name="connsiteX12" fmla="*/ 2992437 w 3851276"/>
              <a:gd name="connsiteY12" fmla="*/ 2108200 h 2457451"/>
              <a:gd name="connsiteX13" fmla="*/ 3137694 w 3851276"/>
              <a:gd name="connsiteY13" fmla="*/ 1962150 h 2457451"/>
              <a:gd name="connsiteX14" fmla="*/ 826294 w 3851276"/>
              <a:gd name="connsiteY14" fmla="*/ 1962150 h 2457451"/>
              <a:gd name="connsiteX15" fmla="*/ 971551 w 3851276"/>
              <a:gd name="connsiteY15" fmla="*/ 2108200 h 2457451"/>
              <a:gd name="connsiteX16" fmla="*/ 826294 w 3851276"/>
              <a:gd name="connsiteY16" fmla="*/ 2254250 h 2457451"/>
              <a:gd name="connsiteX17" fmla="*/ 681037 w 3851276"/>
              <a:gd name="connsiteY17" fmla="*/ 2108200 h 2457451"/>
              <a:gd name="connsiteX18" fmla="*/ 826294 w 3851276"/>
              <a:gd name="connsiteY18" fmla="*/ 1962150 h 2457451"/>
              <a:gd name="connsiteX19" fmla="*/ 3137695 w 3851276"/>
              <a:gd name="connsiteY19" fmla="*/ 1879600 h 2457451"/>
              <a:gd name="connsiteX20" fmla="*/ 2909888 w 3851276"/>
              <a:gd name="connsiteY20" fmla="*/ 2107407 h 2457451"/>
              <a:gd name="connsiteX21" fmla="*/ 3137695 w 3851276"/>
              <a:gd name="connsiteY21" fmla="*/ 2335214 h 2457451"/>
              <a:gd name="connsiteX22" fmla="*/ 3365502 w 3851276"/>
              <a:gd name="connsiteY22" fmla="*/ 2107407 h 2457451"/>
              <a:gd name="connsiteX23" fmla="*/ 3137695 w 3851276"/>
              <a:gd name="connsiteY23" fmla="*/ 1879600 h 2457451"/>
              <a:gd name="connsiteX24" fmla="*/ 826295 w 3851276"/>
              <a:gd name="connsiteY24" fmla="*/ 1879600 h 2457451"/>
              <a:gd name="connsiteX25" fmla="*/ 598488 w 3851276"/>
              <a:gd name="connsiteY25" fmla="*/ 2107407 h 2457451"/>
              <a:gd name="connsiteX26" fmla="*/ 826295 w 3851276"/>
              <a:gd name="connsiteY26" fmla="*/ 2335214 h 2457451"/>
              <a:gd name="connsiteX27" fmla="*/ 1054102 w 3851276"/>
              <a:gd name="connsiteY27" fmla="*/ 2107407 h 2457451"/>
              <a:gd name="connsiteX28" fmla="*/ 826295 w 3851276"/>
              <a:gd name="connsiteY28" fmla="*/ 1879600 h 2457451"/>
              <a:gd name="connsiteX29" fmla="*/ 3136900 w 3851276"/>
              <a:gd name="connsiteY29" fmla="*/ 1757363 h 2457451"/>
              <a:gd name="connsiteX30" fmla="*/ 3486150 w 3851276"/>
              <a:gd name="connsiteY30" fmla="*/ 2107407 h 2457451"/>
              <a:gd name="connsiteX31" fmla="*/ 3136900 w 3851276"/>
              <a:gd name="connsiteY31" fmla="*/ 2457451 h 2457451"/>
              <a:gd name="connsiteX32" fmla="*/ 2787650 w 3851276"/>
              <a:gd name="connsiteY32" fmla="*/ 2107407 h 2457451"/>
              <a:gd name="connsiteX33" fmla="*/ 3136900 w 3851276"/>
              <a:gd name="connsiteY33" fmla="*/ 1757363 h 2457451"/>
              <a:gd name="connsiteX34" fmla="*/ 825500 w 3851276"/>
              <a:gd name="connsiteY34" fmla="*/ 1757363 h 2457451"/>
              <a:gd name="connsiteX35" fmla="*/ 1174750 w 3851276"/>
              <a:gd name="connsiteY35" fmla="*/ 2107407 h 2457451"/>
              <a:gd name="connsiteX36" fmla="*/ 825500 w 3851276"/>
              <a:gd name="connsiteY36" fmla="*/ 2457451 h 2457451"/>
              <a:gd name="connsiteX37" fmla="*/ 476250 w 3851276"/>
              <a:gd name="connsiteY37" fmla="*/ 2107407 h 2457451"/>
              <a:gd name="connsiteX38" fmla="*/ 825500 w 3851276"/>
              <a:gd name="connsiteY38" fmla="*/ 1757363 h 2457451"/>
              <a:gd name="connsiteX39" fmla="*/ 2397125 w 3851276"/>
              <a:gd name="connsiteY39" fmla="*/ 532797 h 2457451"/>
              <a:gd name="connsiteX40" fmla="*/ 2397125 w 3851276"/>
              <a:gd name="connsiteY40" fmla="*/ 613672 h 2457451"/>
              <a:gd name="connsiteX41" fmla="*/ 2397125 w 3851276"/>
              <a:gd name="connsiteY41" fmla="*/ 2001484 h 2457451"/>
              <a:gd name="connsiteX42" fmla="*/ 2394079 w 3851276"/>
              <a:gd name="connsiteY42" fmla="*/ 2016729 h 2457451"/>
              <a:gd name="connsiteX43" fmla="*/ 2399520 w 3851276"/>
              <a:gd name="connsiteY43" fmla="*/ 2016729 h 2457451"/>
              <a:gd name="connsiteX44" fmla="*/ 2639583 w 3851276"/>
              <a:gd name="connsiteY44" fmla="*/ 2016729 h 2457451"/>
              <a:gd name="connsiteX45" fmla="*/ 2651731 w 3851276"/>
              <a:gd name="connsiteY45" fmla="*/ 2004566 h 2457451"/>
              <a:gd name="connsiteX46" fmla="*/ 3137623 w 3851276"/>
              <a:gd name="connsiteY46" fmla="*/ 1587970 h 2457451"/>
              <a:gd name="connsiteX47" fmla="*/ 3623514 w 3851276"/>
              <a:gd name="connsiteY47" fmla="*/ 2004566 h 2457451"/>
              <a:gd name="connsiteX48" fmla="*/ 3635662 w 3851276"/>
              <a:gd name="connsiteY48" fmla="*/ 2016729 h 2457451"/>
              <a:gd name="connsiteX49" fmla="*/ 3714619 w 3851276"/>
              <a:gd name="connsiteY49" fmla="*/ 2016729 h 2457451"/>
              <a:gd name="connsiteX50" fmla="*/ 3729803 w 3851276"/>
              <a:gd name="connsiteY50" fmla="*/ 2001525 h 2457451"/>
              <a:gd name="connsiteX51" fmla="*/ 3729803 w 3851276"/>
              <a:gd name="connsiteY51" fmla="*/ 1274763 h 2457451"/>
              <a:gd name="connsiteX52" fmla="*/ 3726766 w 3851276"/>
              <a:gd name="connsiteY52" fmla="*/ 1265641 h 2457451"/>
              <a:gd name="connsiteX53" fmla="*/ 3626551 w 3851276"/>
              <a:gd name="connsiteY53" fmla="*/ 1147048 h 2457451"/>
              <a:gd name="connsiteX54" fmla="*/ 2915934 w 3851276"/>
              <a:gd name="connsiteY54" fmla="*/ 1147048 h 2457451"/>
              <a:gd name="connsiteX55" fmla="*/ 2779277 w 3851276"/>
              <a:gd name="connsiteY55" fmla="*/ 1013250 h 2457451"/>
              <a:gd name="connsiteX56" fmla="*/ 2779277 w 3851276"/>
              <a:gd name="connsiteY56" fmla="*/ 532797 h 2457451"/>
              <a:gd name="connsiteX57" fmla="*/ 2402829 w 3851276"/>
              <a:gd name="connsiteY57" fmla="*/ 532797 h 2457451"/>
              <a:gd name="connsiteX58" fmla="*/ 2397125 w 3851276"/>
              <a:gd name="connsiteY58" fmla="*/ 532797 h 2457451"/>
              <a:gd name="connsiteX59" fmla="*/ 2900363 w 3851276"/>
              <a:gd name="connsiteY59" fmla="*/ 531813 h 2457451"/>
              <a:gd name="connsiteX60" fmla="*/ 2900363 w 3851276"/>
              <a:gd name="connsiteY60" fmla="*/ 1013336 h 2457451"/>
              <a:gd name="connsiteX61" fmla="*/ 2915545 w 3851276"/>
              <a:gd name="connsiteY61" fmla="*/ 1025526 h 2457451"/>
              <a:gd name="connsiteX62" fmla="*/ 3525838 w 3851276"/>
              <a:gd name="connsiteY62" fmla="*/ 1025526 h 2457451"/>
              <a:gd name="connsiteX63" fmla="*/ 3115940 w 3851276"/>
              <a:gd name="connsiteY63" fmla="*/ 537908 h 2457451"/>
              <a:gd name="connsiteX64" fmla="*/ 3106831 w 3851276"/>
              <a:gd name="connsiteY64" fmla="*/ 531813 h 2457451"/>
              <a:gd name="connsiteX65" fmla="*/ 2900363 w 3851276"/>
              <a:gd name="connsiteY65" fmla="*/ 531813 h 2457451"/>
              <a:gd name="connsiteX66" fmla="*/ 135842 w 3851276"/>
              <a:gd name="connsiteY66" fmla="*/ 122238 h 2457451"/>
              <a:gd name="connsiteX67" fmla="*/ 120650 w 3851276"/>
              <a:gd name="connsiteY67" fmla="*/ 137438 h 2457451"/>
              <a:gd name="connsiteX68" fmla="*/ 120650 w 3851276"/>
              <a:gd name="connsiteY68" fmla="*/ 2000926 h 2457451"/>
              <a:gd name="connsiteX69" fmla="*/ 135842 w 3851276"/>
              <a:gd name="connsiteY69" fmla="*/ 2016126 h 2457451"/>
              <a:gd name="connsiteX70" fmla="*/ 327263 w 3851276"/>
              <a:gd name="connsiteY70" fmla="*/ 2016126 h 2457451"/>
              <a:gd name="connsiteX71" fmla="*/ 339416 w 3851276"/>
              <a:gd name="connsiteY71" fmla="*/ 2003966 h 2457451"/>
              <a:gd name="connsiteX72" fmla="*/ 825563 w 3851276"/>
              <a:gd name="connsiteY72" fmla="*/ 1587493 h 2457451"/>
              <a:gd name="connsiteX73" fmla="*/ 1308671 w 3851276"/>
              <a:gd name="connsiteY73" fmla="*/ 2003966 h 2457451"/>
              <a:gd name="connsiteX74" fmla="*/ 1323864 w 3851276"/>
              <a:gd name="connsiteY74" fmla="*/ 2016126 h 2457451"/>
              <a:gd name="connsiteX75" fmla="*/ 2259696 w 3851276"/>
              <a:gd name="connsiteY75" fmla="*/ 2016126 h 2457451"/>
              <a:gd name="connsiteX76" fmla="*/ 2274888 w 3851276"/>
              <a:gd name="connsiteY76" fmla="*/ 2000926 h 2457451"/>
              <a:gd name="connsiteX77" fmla="*/ 2274888 w 3851276"/>
              <a:gd name="connsiteY77" fmla="*/ 137438 h 2457451"/>
              <a:gd name="connsiteX78" fmla="*/ 2259696 w 3851276"/>
              <a:gd name="connsiteY78" fmla="*/ 122238 h 2457451"/>
              <a:gd name="connsiteX79" fmla="*/ 135842 w 3851276"/>
              <a:gd name="connsiteY79" fmla="*/ 122238 h 2457451"/>
              <a:gd name="connsiteX80" fmla="*/ 136718 w 3851276"/>
              <a:gd name="connsiteY80" fmla="*/ 0 h 2457451"/>
              <a:gd name="connsiteX81" fmla="*/ 2260407 w 3851276"/>
              <a:gd name="connsiteY81" fmla="*/ 0 h 2457451"/>
              <a:gd name="connsiteX82" fmla="*/ 2397125 w 3851276"/>
              <a:gd name="connsiteY82" fmla="*/ 136880 h 2457451"/>
              <a:gd name="connsiteX83" fmla="*/ 2397125 w 3851276"/>
              <a:gd name="connsiteY83" fmla="*/ 306281 h 2457451"/>
              <a:gd name="connsiteX84" fmla="*/ 2397125 w 3851276"/>
              <a:gd name="connsiteY84" fmla="*/ 411163 h 2457451"/>
              <a:gd name="connsiteX85" fmla="*/ 2426638 w 3851276"/>
              <a:gd name="connsiteY85" fmla="*/ 411163 h 2457451"/>
              <a:gd name="connsiteX86" fmla="*/ 3107254 w 3851276"/>
              <a:gd name="connsiteY86" fmla="*/ 411163 h 2457451"/>
              <a:gd name="connsiteX87" fmla="*/ 3210506 w 3851276"/>
              <a:gd name="connsiteY87" fmla="*/ 459817 h 2457451"/>
              <a:gd name="connsiteX88" fmla="*/ 3684251 w 3851276"/>
              <a:gd name="connsiteY88" fmla="*/ 1025414 h 2457451"/>
              <a:gd name="connsiteX89" fmla="*/ 3687288 w 3851276"/>
              <a:gd name="connsiteY89" fmla="*/ 1025414 h 2457451"/>
              <a:gd name="connsiteX90" fmla="*/ 3687288 w 3851276"/>
              <a:gd name="connsiteY90" fmla="*/ 1031496 h 2457451"/>
              <a:gd name="connsiteX91" fmla="*/ 3817871 w 3851276"/>
              <a:gd name="connsiteY91" fmla="*/ 1186579 h 2457451"/>
              <a:gd name="connsiteX92" fmla="*/ 3851276 w 3851276"/>
              <a:gd name="connsiteY92" fmla="*/ 1274763 h 2457451"/>
              <a:gd name="connsiteX93" fmla="*/ 3851276 w 3851276"/>
              <a:gd name="connsiteY93" fmla="*/ 2001525 h 2457451"/>
              <a:gd name="connsiteX94" fmla="*/ 3714619 w 3851276"/>
              <a:gd name="connsiteY94" fmla="*/ 2138363 h 2457451"/>
              <a:gd name="connsiteX95" fmla="*/ 3635662 w 3851276"/>
              <a:gd name="connsiteY95" fmla="*/ 2138363 h 2457451"/>
              <a:gd name="connsiteX96" fmla="*/ 3502041 w 3851276"/>
              <a:gd name="connsiteY96" fmla="*/ 2022811 h 2457451"/>
              <a:gd name="connsiteX97" fmla="*/ 3137623 w 3851276"/>
              <a:gd name="connsiteY97" fmla="*/ 1709604 h 2457451"/>
              <a:gd name="connsiteX98" fmla="*/ 2773204 w 3851276"/>
              <a:gd name="connsiteY98" fmla="*/ 2022811 h 2457451"/>
              <a:gd name="connsiteX99" fmla="*/ 2639583 w 3851276"/>
              <a:gd name="connsiteY99" fmla="*/ 2138363 h 2457451"/>
              <a:gd name="connsiteX100" fmla="*/ 2281238 w 3851276"/>
              <a:gd name="connsiteY100" fmla="*/ 2138363 h 2457451"/>
              <a:gd name="connsiteX101" fmla="*/ 2281238 w 3851276"/>
              <a:gd name="connsiteY101" fmla="*/ 2134192 h 2457451"/>
              <a:gd name="connsiteX102" fmla="*/ 2260407 w 3851276"/>
              <a:gd name="connsiteY102" fmla="*/ 2138363 h 2457451"/>
              <a:gd name="connsiteX103" fmla="*/ 1324647 w 3851276"/>
              <a:gd name="connsiteY103" fmla="*/ 2138363 h 2457451"/>
              <a:gd name="connsiteX104" fmla="*/ 1190967 w 3851276"/>
              <a:gd name="connsiteY104" fmla="*/ 2022776 h 2457451"/>
              <a:gd name="connsiteX105" fmla="*/ 826386 w 3851276"/>
              <a:gd name="connsiteY105" fmla="*/ 1709474 h 2457451"/>
              <a:gd name="connsiteX106" fmla="*/ 461804 w 3851276"/>
              <a:gd name="connsiteY106" fmla="*/ 2022776 h 2457451"/>
              <a:gd name="connsiteX107" fmla="*/ 328124 w 3851276"/>
              <a:gd name="connsiteY107" fmla="*/ 2138363 h 2457451"/>
              <a:gd name="connsiteX108" fmla="*/ 136718 w 3851276"/>
              <a:gd name="connsiteY108" fmla="*/ 2138363 h 2457451"/>
              <a:gd name="connsiteX109" fmla="*/ 0 w 3851276"/>
              <a:gd name="connsiteY109" fmla="*/ 2001484 h 2457451"/>
              <a:gd name="connsiteX110" fmla="*/ 0 w 3851276"/>
              <a:gd name="connsiteY110" fmla="*/ 136880 h 2457451"/>
              <a:gd name="connsiteX111" fmla="*/ 136718 w 3851276"/>
              <a:gd name="connsiteY111"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26294 w 3851276"/>
              <a:gd name="connsiteY5" fmla="*/ 2132014 h 2457451"/>
              <a:gd name="connsiteX6" fmla="*/ 801687 w 3851276"/>
              <a:gd name="connsiteY6" fmla="*/ 2107407 h 2457451"/>
              <a:gd name="connsiteX7" fmla="*/ 826294 w 3851276"/>
              <a:gd name="connsiteY7" fmla="*/ 2132014 h 2457451"/>
              <a:gd name="connsiteX8" fmla="*/ 3137694 w 3851276"/>
              <a:gd name="connsiteY8" fmla="*/ 1962150 h 2457451"/>
              <a:gd name="connsiteX9" fmla="*/ 3282951 w 3851276"/>
              <a:gd name="connsiteY9" fmla="*/ 2108200 h 2457451"/>
              <a:gd name="connsiteX10" fmla="*/ 3137694 w 3851276"/>
              <a:gd name="connsiteY10" fmla="*/ 2254250 h 2457451"/>
              <a:gd name="connsiteX11" fmla="*/ 2992437 w 3851276"/>
              <a:gd name="connsiteY11" fmla="*/ 2108200 h 2457451"/>
              <a:gd name="connsiteX12" fmla="*/ 3137694 w 3851276"/>
              <a:gd name="connsiteY12" fmla="*/ 1962150 h 2457451"/>
              <a:gd name="connsiteX13" fmla="*/ 826294 w 3851276"/>
              <a:gd name="connsiteY13" fmla="*/ 1962150 h 2457451"/>
              <a:gd name="connsiteX14" fmla="*/ 971551 w 3851276"/>
              <a:gd name="connsiteY14" fmla="*/ 2108200 h 2457451"/>
              <a:gd name="connsiteX15" fmla="*/ 826294 w 3851276"/>
              <a:gd name="connsiteY15" fmla="*/ 2254250 h 2457451"/>
              <a:gd name="connsiteX16" fmla="*/ 681037 w 3851276"/>
              <a:gd name="connsiteY16" fmla="*/ 2108200 h 2457451"/>
              <a:gd name="connsiteX17" fmla="*/ 826294 w 3851276"/>
              <a:gd name="connsiteY17" fmla="*/ 1962150 h 2457451"/>
              <a:gd name="connsiteX18" fmla="*/ 3137695 w 3851276"/>
              <a:gd name="connsiteY18" fmla="*/ 1879600 h 2457451"/>
              <a:gd name="connsiteX19" fmla="*/ 2909888 w 3851276"/>
              <a:gd name="connsiteY19" fmla="*/ 2107407 h 2457451"/>
              <a:gd name="connsiteX20" fmla="*/ 3137695 w 3851276"/>
              <a:gd name="connsiteY20" fmla="*/ 2335214 h 2457451"/>
              <a:gd name="connsiteX21" fmla="*/ 3365502 w 3851276"/>
              <a:gd name="connsiteY21" fmla="*/ 2107407 h 2457451"/>
              <a:gd name="connsiteX22" fmla="*/ 3137695 w 3851276"/>
              <a:gd name="connsiteY22" fmla="*/ 1879600 h 2457451"/>
              <a:gd name="connsiteX23" fmla="*/ 826295 w 3851276"/>
              <a:gd name="connsiteY23" fmla="*/ 1879600 h 2457451"/>
              <a:gd name="connsiteX24" fmla="*/ 598488 w 3851276"/>
              <a:gd name="connsiteY24" fmla="*/ 2107407 h 2457451"/>
              <a:gd name="connsiteX25" fmla="*/ 826295 w 3851276"/>
              <a:gd name="connsiteY25" fmla="*/ 2335214 h 2457451"/>
              <a:gd name="connsiteX26" fmla="*/ 1054102 w 3851276"/>
              <a:gd name="connsiteY26" fmla="*/ 2107407 h 2457451"/>
              <a:gd name="connsiteX27" fmla="*/ 826295 w 3851276"/>
              <a:gd name="connsiteY27" fmla="*/ 1879600 h 2457451"/>
              <a:gd name="connsiteX28" fmla="*/ 3136900 w 3851276"/>
              <a:gd name="connsiteY28" fmla="*/ 1757363 h 2457451"/>
              <a:gd name="connsiteX29" fmla="*/ 3486150 w 3851276"/>
              <a:gd name="connsiteY29" fmla="*/ 2107407 h 2457451"/>
              <a:gd name="connsiteX30" fmla="*/ 3136900 w 3851276"/>
              <a:gd name="connsiteY30" fmla="*/ 2457451 h 2457451"/>
              <a:gd name="connsiteX31" fmla="*/ 2787650 w 3851276"/>
              <a:gd name="connsiteY31" fmla="*/ 2107407 h 2457451"/>
              <a:gd name="connsiteX32" fmla="*/ 3136900 w 3851276"/>
              <a:gd name="connsiteY32" fmla="*/ 1757363 h 2457451"/>
              <a:gd name="connsiteX33" fmla="*/ 825500 w 3851276"/>
              <a:gd name="connsiteY33" fmla="*/ 1757363 h 2457451"/>
              <a:gd name="connsiteX34" fmla="*/ 1174750 w 3851276"/>
              <a:gd name="connsiteY34" fmla="*/ 2107407 h 2457451"/>
              <a:gd name="connsiteX35" fmla="*/ 825500 w 3851276"/>
              <a:gd name="connsiteY35" fmla="*/ 2457451 h 2457451"/>
              <a:gd name="connsiteX36" fmla="*/ 476250 w 3851276"/>
              <a:gd name="connsiteY36" fmla="*/ 2107407 h 2457451"/>
              <a:gd name="connsiteX37" fmla="*/ 825500 w 3851276"/>
              <a:gd name="connsiteY37" fmla="*/ 1757363 h 2457451"/>
              <a:gd name="connsiteX38" fmla="*/ 2397125 w 3851276"/>
              <a:gd name="connsiteY38" fmla="*/ 532797 h 2457451"/>
              <a:gd name="connsiteX39" fmla="*/ 2397125 w 3851276"/>
              <a:gd name="connsiteY39" fmla="*/ 613672 h 2457451"/>
              <a:gd name="connsiteX40" fmla="*/ 2397125 w 3851276"/>
              <a:gd name="connsiteY40" fmla="*/ 2001484 h 2457451"/>
              <a:gd name="connsiteX41" fmla="*/ 2394079 w 3851276"/>
              <a:gd name="connsiteY41" fmla="*/ 2016729 h 2457451"/>
              <a:gd name="connsiteX42" fmla="*/ 2399520 w 3851276"/>
              <a:gd name="connsiteY42" fmla="*/ 2016729 h 2457451"/>
              <a:gd name="connsiteX43" fmla="*/ 2639583 w 3851276"/>
              <a:gd name="connsiteY43" fmla="*/ 2016729 h 2457451"/>
              <a:gd name="connsiteX44" fmla="*/ 2651731 w 3851276"/>
              <a:gd name="connsiteY44" fmla="*/ 2004566 h 2457451"/>
              <a:gd name="connsiteX45" fmla="*/ 3137623 w 3851276"/>
              <a:gd name="connsiteY45" fmla="*/ 1587970 h 2457451"/>
              <a:gd name="connsiteX46" fmla="*/ 3623514 w 3851276"/>
              <a:gd name="connsiteY46" fmla="*/ 2004566 h 2457451"/>
              <a:gd name="connsiteX47" fmla="*/ 3635662 w 3851276"/>
              <a:gd name="connsiteY47" fmla="*/ 2016729 h 2457451"/>
              <a:gd name="connsiteX48" fmla="*/ 3714619 w 3851276"/>
              <a:gd name="connsiteY48" fmla="*/ 2016729 h 2457451"/>
              <a:gd name="connsiteX49" fmla="*/ 3729803 w 3851276"/>
              <a:gd name="connsiteY49" fmla="*/ 2001525 h 2457451"/>
              <a:gd name="connsiteX50" fmla="*/ 3729803 w 3851276"/>
              <a:gd name="connsiteY50" fmla="*/ 1274763 h 2457451"/>
              <a:gd name="connsiteX51" fmla="*/ 3726766 w 3851276"/>
              <a:gd name="connsiteY51" fmla="*/ 1265641 h 2457451"/>
              <a:gd name="connsiteX52" fmla="*/ 3626551 w 3851276"/>
              <a:gd name="connsiteY52" fmla="*/ 1147048 h 2457451"/>
              <a:gd name="connsiteX53" fmla="*/ 2915934 w 3851276"/>
              <a:gd name="connsiteY53" fmla="*/ 1147048 h 2457451"/>
              <a:gd name="connsiteX54" fmla="*/ 2779277 w 3851276"/>
              <a:gd name="connsiteY54" fmla="*/ 1013250 h 2457451"/>
              <a:gd name="connsiteX55" fmla="*/ 2779277 w 3851276"/>
              <a:gd name="connsiteY55" fmla="*/ 532797 h 2457451"/>
              <a:gd name="connsiteX56" fmla="*/ 2402829 w 3851276"/>
              <a:gd name="connsiteY56" fmla="*/ 532797 h 2457451"/>
              <a:gd name="connsiteX57" fmla="*/ 2397125 w 3851276"/>
              <a:gd name="connsiteY57" fmla="*/ 532797 h 2457451"/>
              <a:gd name="connsiteX58" fmla="*/ 2900363 w 3851276"/>
              <a:gd name="connsiteY58" fmla="*/ 531813 h 2457451"/>
              <a:gd name="connsiteX59" fmla="*/ 2900363 w 3851276"/>
              <a:gd name="connsiteY59" fmla="*/ 1013336 h 2457451"/>
              <a:gd name="connsiteX60" fmla="*/ 2915545 w 3851276"/>
              <a:gd name="connsiteY60" fmla="*/ 1025526 h 2457451"/>
              <a:gd name="connsiteX61" fmla="*/ 3525838 w 3851276"/>
              <a:gd name="connsiteY61" fmla="*/ 1025526 h 2457451"/>
              <a:gd name="connsiteX62" fmla="*/ 3115940 w 3851276"/>
              <a:gd name="connsiteY62" fmla="*/ 537908 h 2457451"/>
              <a:gd name="connsiteX63" fmla="*/ 3106831 w 3851276"/>
              <a:gd name="connsiteY63" fmla="*/ 531813 h 2457451"/>
              <a:gd name="connsiteX64" fmla="*/ 2900363 w 3851276"/>
              <a:gd name="connsiteY64" fmla="*/ 531813 h 2457451"/>
              <a:gd name="connsiteX65" fmla="*/ 135842 w 3851276"/>
              <a:gd name="connsiteY65" fmla="*/ 122238 h 2457451"/>
              <a:gd name="connsiteX66" fmla="*/ 120650 w 3851276"/>
              <a:gd name="connsiteY66" fmla="*/ 137438 h 2457451"/>
              <a:gd name="connsiteX67" fmla="*/ 120650 w 3851276"/>
              <a:gd name="connsiteY67" fmla="*/ 2000926 h 2457451"/>
              <a:gd name="connsiteX68" fmla="*/ 135842 w 3851276"/>
              <a:gd name="connsiteY68" fmla="*/ 2016126 h 2457451"/>
              <a:gd name="connsiteX69" fmla="*/ 327263 w 3851276"/>
              <a:gd name="connsiteY69" fmla="*/ 2016126 h 2457451"/>
              <a:gd name="connsiteX70" fmla="*/ 339416 w 3851276"/>
              <a:gd name="connsiteY70" fmla="*/ 2003966 h 2457451"/>
              <a:gd name="connsiteX71" fmla="*/ 825563 w 3851276"/>
              <a:gd name="connsiteY71" fmla="*/ 1587493 h 2457451"/>
              <a:gd name="connsiteX72" fmla="*/ 1308671 w 3851276"/>
              <a:gd name="connsiteY72" fmla="*/ 2003966 h 2457451"/>
              <a:gd name="connsiteX73" fmla="*/ 1323864 w 3851276"/>
              <a:gd name="connsiteY73" fmla="*/ 2016126 h 2457451"/>
              <a:gd name="connsiteX74" fmla="*/ 2259696 w 3851276"/>
              <a:gd name="connsiteY74" fmla="*/ 2016126 h 2457451"/>
              <a:gd name="connsiteX75" fmla="*/ 2274888 w 3851276"/>
              <a:gd name="connsiteY75" fmla="*/ 2000926 h 2457451"/>
              <a:gd name="connsiteX76" fmla="*/ 2274888 w 3851276"/>
              <a:gd name="connsiteY76" fmla="*/ 137438 h 2457451"/>
              <a:gd name="connsiteX77" fmla="*/ 2259696 w 3851276"/>
              <a:gd name="connsiteY77" fmla="*/ 122238 h 2457451"/>
              <a:gd name="connsiteX78" fmla="*/ 135842 w 3851276"/>
              <a:gd name="connsiteY78" fmla="*/ 122238 h 2457451"/>
              <a:gd name="connsiteX79" fmla="*/ 136718 w 3851276"/>
              <a:gd name="connsiteY79" fmla="*/ 0 h 2457451"/>
              <a:gd name="connsiteX80" fmla="*/ 2260407 w 3851276"/>
              <a:gd name="connsiteY80" fmla="*/ 0 h 2457451"/>
              <a:gd name="connsiteX81" fmla="*/ 2397125 w 3851276"/>
              <a:gd name="connsiteY81" fmla="*/ 136880 h 2457451"/>
              <a:gd name="connsiteX82" fmla="*/ 2397125 w 3851276"/>
              <a:gd name="connsiteY82" fmla="*/ 306281 h 2457451"/>
              <a:gd name="connsiteX83" fmla="*/ 2397125 w 3851276"/>
              <a:gd name="connsiteY83" fmla="*/ 411163 h 2457451"/>
              <a:gd name="connsiteX84" fmla="*/ 2426638 w 3851276"/>
              <a:gd name="connsiteY84" fmla="*/ 411163 h 2457451"/>
              <a:gd name="connsiteX85" fmla="*/ 3107254 w 3851276"/>
              <a:gd name="connsiteY85" fmla="*/ 411163 h 2457451"/>
              <a:gd name="connsiteX86" fmla="*/ 3210506 w 3851276"/>
              <a:gd name="connsiteY86" fmla="*/ 459817 h 2457451"/>
              <a:gd name="connsiteX87" fmla="*/ 3684251 w 3851276"/>
              <a:gd name="connsiteY87" fmla="*/ 1025414 h 2457451"/>
              <a:gd name="connsiteX88" fmla="*/ 3687288 w 3851276"/>
              <a:gd name="connsiteY88" fmla="*/ 1025414 h 2457451"/>
              <a:gd name="connsiteX89" fmla="*/ 3687288 w 3851276"/>
              <a:gd name="connsiteY89" fmla="*/ 1031496 h 2457451"/>
              <a:gd name="connsiteX90" fmla="*/ 3817871 w 3851276"/>
              <a:gd name="connsiteY90" fmla="*/ 1186579 h 2457451"/>
              <a:gd name="connsiteX91" fmla="*/ 3851276 w 3851276"/>
              <a:gd name="connsiteY91" fmla="*/ 1274763 h 2457451"/>
              <a:gd name="connsiteX92" fmla="*/ 3851276 w 3851276"/>
              <a:gd name="connsiteY92" fmla="*/ 2001525 h 2457451"/>
              <a:gd name="connsiteX93" fmla="*/ 3714619 w 3851276"/>
              <a:gd name="connsiteY93" fmla="*/ 2138363 h 2457451"/>
              <a:gd name="connsiteX94" fmla="*/ 3635662 w 3851276"/>
              <a:gd name="connsiteY94" fmla="*/ 2138363 h 2457451"/>
              <a:gd name="connsiteX95" fmla="*/ 3502041 w 3851276"/>
              <a:gd name="connsiteY95" fmla="*/ 2022811 h 2457451"/>
              <a:gd name="connsiteX96" fmla="*/ 3137623 w 3851276"/>
              <a:gd name="connsiteY96" fmla="*/ 1709604 h 2457451"/>
              <a:gd name="connsiteX97" fmla="*/ 2773204 w 3851276"/>
              <a:gd name="connsiteY97" fmla="*/ 2022811 h 2457451"/>
              <a:gd name="connsiteX98" fmla="*/ 2639583 w 3851276"/>
              <a:gd name="connsiteY98" fmla="*/ 2138363 h 2457451"/>
              <a:gd name="connsiteX99" fmla="*/ 2281238 w 3851276"/>
              <a:gd name="connsiteY99" fmla="*/ 2138363 h 2457451"/>
              <a:gd name="connsiteX100" fmla="*/ 2281238 w 3851276"/>
              <a:gd name="connsiteY100" fmla="*/ 2134192 h 2457451"/>
              <a:gd name="connsiteX101" fmla="*/ 2260407 w 3851276"/>
              <a:gd name="connsiteY101" fmla="*/ 2138363 h 2457451"/>
              <a:gd name="connsiteX102" fmla="*/ 1324647 w 3851276"/>
              <a:gd name="connsiteY102" fmla="*/ 2138363 h 2457451"/>
              <a:gd name="connsiteX103" fmla="*/ 1190967 w 3851276"/>
              <a:gd name="connsiteY103" fmla="*/ 2022776 h 2457451"/>
              <a:gd name="connsiteX104" fmla="*/ 826386 w 3851276"/>
              <a:gd name="connsiteY104" fmla="*/ 1709474 h 2457451"/>
              <a:gd name="connsiteX105" fmla="*/ 461804 w 3851276"/>
              <a:gd name="connsiteY105" fmla="*/ 2022776 h 2457451"/>
              <a:gd name="connsiteX106" fmla="*/ 328124 w 3851276"/>
              <a:gd name="connsiteY106" fmla="*/ 2138363 h 2457451"/>
              <a:gd name="connsiteX107" fmla="*/ 136718 w 3851276"/>
              <a:gd name="connsiteY107" fmla="*/ 2138363 h 2457451"/>
              <a:gd name="connsiteX108" fmla="*/ 0 w 3851276"/>
              <a:gd name="connsiteY108" fmla="*/ 2001484 h 2457451"/>
              <a:gd name="connsiteX109" fmla="*/ 0 w 3851276"/>
              <a:gd name="connsiteY109" fmla="*/ 136880 h 2457451"/>
              <a:gd name="connsiteX110" fmla="*/ 136718 w 3851276"/>
              <a:gd name="connsiteY110"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826294 w 3851276"/>
              <a:gd name="connsiteY10" fmla="*/ 1962150 h 2457451"/>
              <a:gd name="connsiteX11" fmla="*/ 971551 w 3851276"/>
              <a:gd name="connsiteY11" fmla="*/ 2108200 h 2457451"/>
              <a:gd name="connsiteX12" fmla="*/ 826294 w 3851276"/>
              <a:gd name="connsiteY12" fmla="*/ 2254250 h 2457451"/>
              <a:gd name="connsiteX13" fmla="*/ 681037 w 3851276"/>
              <a:gd name="connsiteY13" fmla="*/ 2108200 h 2457451"/>
              <a:gd name="connsiteX14" fmla="*/ 826294 w 3851276"/>
              <a:gd name="connsiteY14" fmla="*/ 1962150 h 2457451"/>
              <a:gd name="connsiteX15" fmla="*/ 3137695 w 3851276"/>
              <a:gd name="connsiteY15" fmla="*/ 1879600 h 2457451"/>
              <a:gd name="connsiteX16" fmla="*/ 2909888 w 3851276"/>
              <a:gd name="connsiteY16" fmla="*/ 2107407 h 2457451"/>
              <a:gd name="connsiteX17" fmla="*/ 3137695 w 3851276"/>
              <a:gd name="connsiteY17" fmla="*/ 2335214 h 2457451"/>
              <a:gd name="connsiteX18" fmla="*/ 3365502 w 3851276"/>
              <a:gd name="connsiteY18" fmla="*/ 2107407 h 2457451"/>
              <a:gd name="connsiteX19" fmla="*/ 3137695 w 3851276"/>
              <a:gd name="connsiteY19" fmla="*/ 1879600 h 2457451"/>
              <a:gd name="connsiteX20" fmla="*/ 826295 w 3851276"/>
              <a:gd name="connsiteY20" fmla="*/ 1879600 h 2457451"/>
              <a:gd name="connsiteX21" fmla="*/ 598488 w 3851276"/>
              <a:gd name="connsiteY21" fmla="*/ 2107407 h 2457451"/>
              <a:gd name="connsiteX22" fmla="*/ 826295 w 3851276"/>
              <a:gd name="connsiteY22" fmla="*/ 2335214 h 2457451"/>
              <a:gd name="connsiteX23" fmla="*/ 1054102 w 3851276"/>
              <a:gd name="connsiteY23" fmla="*/ 2107407 h 2457451"/>
              <a:gd name="connsiteX24" fmla="*/ 826295 w 3851276"/>
              <a:gd name="connsiteY24" fmla="*/ 1879600 h 2457451"/>
              <a:gd name="connsiteX25" fmla="*/ 3136900 w 3851276"/>
              <a:gd name="connsiteY25" fmla="*/ 1757363 h 2457451"/>
              <a:gd name="connsiteX26" fmla="*/ 3486150 w 3851276"/>
              <a:gd name="connsiteY26" fmla="*/ 2107407 h 2457451"/>
              <a:gd name="connsiteX27" fmla="*/ 3136900 w 3851276"/>
              <a:gd name="connsiteY27" fmla="*/ 2457451 h 2457451"/>
              <a:gd name="connsiteX28" fmla="*/ 2787650 w 3851276"/>
              <a:gd name="connsiteY28" fmla="*/ 2107407 h 2457451"/>
              <a:gd name="connsiteX29" fmla="*/ 3136900 w 3851276"/>
              <a:gd name="connsiteY29" fmla="*/ 1757363 h 2457451"/>
              <a:gd name="connsiteX30" fmla="*/ 825500 w 3851276"/>
              <a:gd name="connsiteY30" fmla="*/ 1757363 h 2457451"/>
              <a:gd name="connsiteX31" fmla="*/ 1174750 w 3851276"/>
              <a:gd name="connsiteY31" fmla="*/ 2107407 h 2457451"/>
              <a:gd name="connsiteX32" fmla="*/ 825500 w 3851276"/>
              <a:gd name="connsiteY32" fmla="*/ 2457451 h 2457451"/>
              <a:gd name="connsiteX33" fmla="*/ 476250 w 3851276"/>
              <a:gd name="connsiteY33" fmla="*/ 2107407 h 2457451"/>
              <a:gd name="connsiteX34" fmla="*/ 825500 w 3851276"/>
              <a:gd name="connsiteY34" fmla="*/ 1757363 h 2457451"/>
              <a:gd name="connsiteX35" fmla="*/ 2397125 w 3851276"/>
              <a:gd name="connsiteY35" fmla="*/ 532797 h 2457451"/>
              <a:gd name="connsiteX36" fmla="*/ 2397125 w 3851276"/>
              <a:gd name="connsiteY36" fmla="*/ 613672 h 2457451"/>
              <a:gd name="connsiteX37" fmla="*/ 2397125 w 3851276"/>
              <a:gd name="connsiteY37" fmla="*/ 2001484 h 2457451"/>
              <a:gd name="connsiteX38" fmla="*/ 2394079 w 3851276"/>
              <a:gd name="connsiteY38" fmla="*/ 2016729 h 2457451"/>
              <a:gd name="connsiteX39" fmla="*/ 2399520 w 3851276"/>
              <a:gd name="connsiteY39" fmla="*/ 2016729 h 2457451"/>
              <a:gd name="connsiteX40" fmla="*/ 2639583 w 3851276"/>
              <a:gd name="connsiteY40" fmla="*/ 2016729 h 2457451"/>
              <a:gd name="connsiteX41" fmla="*/ 2651731 w 3851276"/>
              <a:gd name="connsiteY41" fmla="*/ 2004566 h 2457451"/>
              <a:gd name="connsiteX42" fmla="*/ 3137623 w 3851276"/>
              <a:gd name="connsiteY42" fmla="*/ 1587970 h 2457451"/>
              <a:gd name="connsiteX43" fmla="*/ 3623514 w 3851276"/>
              <a:gd name="connsiteY43" fmla="*/ 2004566 h 2457451"/>
              <a:gd name="connsiteX44" fmla="*/ 3635662 w 3851276"/>
              <a:gd name="connsiteY44" fmla="*/ 2016729 h 2457451"/>
              <a:gd name="connsiteX45" fmla="*/ 3714619 w 3851276"/>
              <a:gd name="connsiteY45" fmla="*/ 2016729 h 2457451"/>
              <a:gd name="connsiteX46" fmla="*/ 3729803 w 3851276"/>
              <a:gd name="connsiteY46" fmla="*/ 2001525 h 2457451"/>
              <a:gd name="connsiteX47" fmla="*/ 3729803 w 3851276"/>
              <a:gd name="connsiteY47" fmla="*/ 1274763 h 2457451"/>
              <a:gd name="connsiteX48" fmla="*/ 3726766 w 3851276"/>
              <a:gd name="connsiteY48" fmla="*/ 1265641 h 2457451"/>
              <a:gd name="connsiteX49" fmla="*/ 3626551 w 3851276"/>
              <a:gd name="connsiteY49" fmla="*/ 1147048 h 2457451"/>
              <a:gd name="connsiteX50" fmla="*/ 2915934 w 3851276"/>
              <a:gd name="connsiteY50" fmla="*/ 1147048 h 2457451"/>
              <a:gd name="connsiteX51" fmla="*/ 2779277 w 3851276"/>
              <a:gd name="connsiteY51" fmla="*/ 1013250 h 2457451"/>
              <a:gd name="connsiteX52" fmla="*/ 2779277 w 3851276"/>
              <a:gd name="connsiteY52" fmla="*/ 532797 h 2457451"/>
              <a:gd name="connsiteX53" fmla="*/ 2402829 w 3851276"/>
              <a:gd name="connsiteY53" fmla="*/ 532797 h 2457451"/>
              <a:gd name="connsiteX54" fmla="*/ 2397125 w 3851276"/>
              <a:gd name="connsiteY54" fmla="*/ 532797 h 2457451"/>
              <a:gd name="connsiteX55" fmla="*/ 2900363 w 3851276"/>
              <a:gd name="connsiteY55" fmla="*/ 531813 h 2457451"/>
              <a:gd name="connsiteX56" fmla="*/ 2900363 w 3851276"/>
              <a:gd name="connsiteY56" fmla="*/ 1013336 h 2457451"/>
              <a:gd name="connsiteX57" fmla="*/ 2915545 w 3851276"/>
              <a:gd name="connsiteY57" fmla="*/ 1025526 h 2457451"/>
              <a:gd name="connsiteX58" fmla="*/ 3525838 w 3851276"/>
              <a:gd name="connsiteY58" fmla="*/ 1025526 h 2457451"/>
              <a:gd name="connsiteX59" fmla="*/ 3115940 w 3851276"/>
              <a:gd name="connsiteY59" fmla="*/ 537908 h 2457451"/>
              <a:gd name="connsiteX60" fmla="*/ 3106831 w 3851276"/>
              <a:gd name="connsiteY60" fmla="*/ 531813 h 2457451"/>
              <a:gd name="connsiteX61" fmla="*/ 2900363 w 3851276"/>
              <a:gd name="connsiteY61" fmla="*/ 531813 h 2457451"/>
              <a:gd name="connsiteX62" fmla="*/ 135842 w 3851276"/>
              <a:gd name="connsiteY62" fmla="*/ 122238 h 2457451"/>
              <a:gd name="connsiteX63" fmla="*/ 120650 w 3851276"/>
              <a:gd name="connsiteY63" fmla="*/ 137438 h 2457451"/>
              <a:gd name="connsiteX64" fmla="*/ 120650 w 3851276"/>
              <a:gd name="connsiteY64" fmla="*/ 2000926 h 2457451"/>
              <a:gd name="connsiteX65" fmla="*/ 135842 w 3851276"/>
              <a:gd name="connsiteY65" fmla="*/ 2016126 h 2457451"/>
              <a:gd name="connsiteX66" fmla="*/ 327263 w 3851276"/>
              <a:gd name="connsiteY66" fmla="*/ 2016126 h 2457451"/>
              <a:gd name="connsiteX67" fmla="*/ 339416 w 3851276"/>
              <a:gd name="connsiteY67" fmla="*/ 2003966 h 2457451"/>
              <a:gd name="connsiteX68" fmla="*/ 825563 w 3851276"/>
              <a:gd name="connsiteY68" fmla="*/ 1587493 h 2457451"/>
              <a:gd name="connsiteX69" fmla="*/ 1308671 w 3851276"/>
              <a:gd name="connsiteY69" fmla="*/ 2003966 h 2457451"/>
              <a:gd name="connsiteX70" fmla="*/ 1323864 w 3851276"/>
              <a:gd name="connsiteY70" fmla="*/ 2016126 h 2457451"/>
              <a:gd name="connsiteX71" fmla="*/ 2259696 w 3851276"/>
              <a:gd name="connsiteY71" fmla="*/ 2016126 h 2457451"/>
              <a:gd name="connsiteX72" fmla="*/ 2274888 w 3851276"/>
              <a:gd name="connsiteY72" fmla="*/ 2000926 h 2457451"/>
              <a:gd name="connsiteX73" fmla="*/ 2274888 w 3851276"/>
              <a:gd name="connsiteY73" fmla="*/ 137438 h 2457451"/>
              <a:gd name="connsiteX74" fmla="*/ 2259696 w 3851276"/>
              <a:gd name="connsiteY74" fmla="*/ 122238 h 2457451"/>
              <a:gd name="connsiteX75" fmla="*/ 135842 w 3851276"/>
              <a:gd name="connsiteY75" fmla="*/ 122238 h 2457451"/>
              <a:gd name="connsiteX76" fmla="*/ 136718 w 3851276"/>
              <a:gd name="connsiteY76" fmla="*/ 0 h 2457451"/>
              <a:gd name="connsiteX77" fmla="*/ 2260407 w 3851276"/>
              <a:gd name="connsiteY77" fmla="*/ 0 h 2457451"/>
              <a:gd name="connsiteX78" fmla="*/ 2397125 w 3851276"/>
              <a:gd name="connsiteY78" fmla="*/ 136880 h 2457451"/>
              <a:gd name="connsiteX79" fmla="*/ 2397125 w 3851276"/>
              <a:gd name="connsiteY79" fmla="*/ 306281 h 2457451"/>
              <a:gd name="connsiteX80" fmla="*/ 2397125 w 3851276"/>
              <a:gd name="connsiteY80" fmla="*/ 411163 h 2457451"/>
              <a:gd name="connsiteX81" fmla="*/ 2426638 w 3851276"/>
              <a:gd name="connsiteY81" fmla="*/ 411163 h 2457451"/>
              <a:gd name="connsiteX82" fmla="*/ 3107254 w 3851276"/>
              <a:gd name="connsiteY82" fmla="*/ 411163 h 2457451"/>
              <a:gd name="connsiteX83" fmla="*/ 3210506 w 3851276"/>
              <a:gd name="connsiteY83" fmla="*/ 459817 h 2457451"/>
              <a:gd name="connsiteX84" fmla="*/ 3684251 w 3851276"/>
              <a:gd name="connsiteY84" fmla="*/ 1025414 h 2457451"/>
              <a:gd name="connsiteX85" fmla="*/ 3687288 w 3851276"/>
              <a:gd name="connsiteY85" fmla="*/ 1025414 h 2457451"/>
              <a:gd name="connsiteX86" fmla="*/ 3687288 w 3851276"/>
              <a:gd name="connsiteY86" fmla="*/ 1031496 h 2457451"/>
              <a:gd name="connsiteX87" fmla="*/ 3817871 w 3851276"/>
              <a:gd name="connsiteY87" fmla="*/ 1186579 h 2457451"/>
              <a:gd name="connsiteX88" fmla="*/ 3851276 w 3851276"/>
              <a:gd name="connsiteY88" fmla="*/ 1274763 h 2457451"/>
              <a:gd name="connsiteX89" fmla="*/ 3851276 w 3851276"/>
              <a:gd name="connsiteY89" fmla="*/ 2001525 h 2457451"/>
              <a:gd name="connsiteX90" fmla="*/ 3714619 w 3851276"/>
              <a:gd name="connsiteY90" fmla="*/ 2138363 h 2457451"/>
              <a:gd name="connsiteX91" fmla="*/ 3635662 w 3851276"/>
              <a:gd name="connsiteY91" fmla="*/ 2138363 h 2457451"/>
              <a:gd name="connsiteX92" fmla="*/ 3502041 w 3851276"/>
              <a:gd name="connsiteY92" fmla="*/ 2022811 h 2457451"/>
              <a:gd name="connsiteX93" fmla="*/ 3137623 w 3851276"/>
              <a:gd name="connsiteY93" fmla="*/ 1709604 h 2457451"/>
              <a:gd name="connsiteX94" fmla="*/ 2773204 w 3851276"/>
              <a:gd name="connsiteY94" fmla="*/ 2022811 h 2457451"/>
              <a:gd name="connsiteX95" fmla="*/ 2639583 w 3851276"/>
              <a:gd name="connsiteY95" fmla="*/ 2138363 h 2457451"/>
              <a:gd name="connsiteX96" fmla="*/ 2281238 w 3851276"/>
              <a:gd name="connsiteY96" fmla="*/ 2138363 h 2457451"/>
              <a:gd name="connsiteX97" fmla="*/ 2281238 w 3851276"/>
              <a:gd name="connsiteY97" fmla="*/ 2134192 h 2457451"/>
              <a:gd name="connsiteX98" fmla="*/ 2260407 w 3851276"/>
              <a:gd name="connsiteY98" fmla="*/ 2138363 h 2457451"/>
              <a:gd name="connsiteX99" fmla="*/ 1324647 w 3851276"/>
              <a:gd name="connsiteY99" fmla="*/ 2138363 h 2457451"/>
              <a:gd name="connsiteX100" fmla="*/ 1190967 w 3851276"/>
              <a:gd name="connsiteY100" fmla="*/ 2022776 h 2457451"/>
              <a:gd name="connsiteX101" fmla="*/ 826386 w 3851276"/>
              <a:gd name="connsiteY101" fmla="*/ 1709474 h 2457451"/>
              <a:gd name="connsiteX102" fmla="*/ 461804 w 3851276"/>
              <a:gd name="connsiteY102" fmla="*/ 2022776 h 2457451"/>
              <a:gd name="connsiteX103" fmla="*/ 328124 w 3851276"/>
              <a:gd name="connsiteY103" fmla="*/ 2138363 h 2457451"/>
              <a:gd name="connsiteX104" fmla="*/ 136718 w 3851276"/>
              <a:gd name="connsiteY104" fmla="*/ 2138363 h 2457451"/>
              <a:gd name="connsiteX105" fmla="*/ 0 w 3851276"/>
              <a:gd name="connsiteY105" fmla="*/ 2001484 h 2457451"/>
              <a:gd name="connsiteX106" fmla="*/ 0 w 3851276"/>
              <a:gd name="connsiteY106" fmla="*/ 136880 h 2457451"/>
              <a:gd name="connsiteX107" fmla="*/ 136718 w 3851276"/>
              <a:gd name="connsiteY107"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681037 w 3851276"/>
              <a:gd name="connsiteY10" fmla="*/ 2108200 h 2457451"/>
              <a:gd name="connsiteX11" fmla="*/ 971551 w 3851276"/>
              <a:gd name="connsiteY11" fmla="*/ 2108200 h 2457451"/>
              <a:gd name="connsiteX12" fmla="*/ 826294 w 3851276"/>
              <a:gd name="connsiteY12" fmla="*/ 2254250 h 2457451"/>
              <a:gd name="connsiteX13" fmla="*/ 681037 w 3851276"/>
              <a:gd name="connsiteY13" fmla="*/ 2108200 h 2457451"/>
              <a:gd name="connsiteX14" fmla="*/ 3137695 w 3851276"/>
              <a:gd name="connsiteY14" fmla="*/ 1879600 h 2457451"/>
              <a:gd name="connsiteX15" fmla="*/ 2909888 w 3851276"/>
              <a:gd name="connsiteY15" fmla="*/ 2107407 h 2457451"/>
              <a:gd name="connsiteX16" fmla="*/ 3137695 w 3851276"/>
              <a:gd name="connsiteY16" fmla="*/ 2335214 h 2457451"/>
              <a:gd name="connsiteX17" fmla="*/ 3365502 w 3851276"/>
              <a:gd name="connsiteY17" fmla="*/ 2107407 h 2457451"/>
              <a:gd name="connsiteX18" fmla="*/ 3137695 w 3851276"/>
              <a:gd name="connsiteY18" fmla="*/ 1879600 h 2457451"/>
              <a:gd name="connsiteX19" fmla="*/ 826295 w 3851276"/>
              <a:gd name="connsiteY19" fmla="*/ 1879600 h 2457451"/>
              <a:gd name="connsiteX20" fmla="*/ 598488 w 3851276"/>
              <a:gd name="connsiteY20" fmla="*/ 2107407 h 2457451"/>
              <a:gd name="connsiteX21" fmla="*/ 826295 w 3851276"/>
              <a:gd name="connsiteY21" fmla="*/ 2335214 h 2457451"/>
              <a:gd name="connsiteX22" fmla="*/ 1054102 w 3851276"/>
              <a:gd name="connsiteY22" fmla="*/ 2107407 h 2457451"/>
              <a:gd name="connsiteX23" fmla="*/ 826295 w 3851276"/>
              <a:gd name="connsiteY23" fmla="*/ 1879600 h 2457451"/>
              <a:gd name="connsiteX24" fmla="*/ 3136900 w 3851276"/>
              <a:gd name="connsiteY24" fmla="*/ 1757363 h 2457451"/>
              <a:gd name="connsiteX25" fmla="*/ 3486150 w 3851276"/>
              <a:gd name="connsiteY25" fmla="*/ 2107407 h 2457451"/>
              <a:gd name="connsiteX26" fmla="*/ 3136900 w 3851276"/>
              <a:gd name="connsiteY26" fmla="*/ 2457451 h 2457451"/>
              <a:gd name="connsiteX27" fmla="*/ 2787650 w 3851276"/>
              <a:gd name="connsiteY27" fmla="*/ 2107407 h 2457451"/>
              <a:gd name="connsiteX28" fmla="*/ 3136900 w 3851276"/>
              <a:gd name="connsiteY28" fmla="*/ 1757363 h 2457451"/>
              <a:gd name="connsiteX29" fmla="*/ 825500 w 3851276"/>
              <a:gd name="connsiteY29" fmla="*/ 1757363 h 2457451"/>
              <a:gd name="connsiteX30" fmla="*/ 1174750 w 3851276"/>
              <a:gd name="connsiteY30" fmla="*/ 2107407 h 2457451"/>
              <a:gd name="connsiteX31" fmla="*/ 825500 w 3851276"/>
              <a:gd name="connsiteY31" fmla="*/ 2457451 h 2457451"/>
              <a:gd name="connsiteX32" fmla="*/ 476250 w 3851276"/>
              <a:gd name="connsiteY32" fmla="*/ 2107407 h 2457451"/>
              <a:gd name="connsiteX33" fmla="*/ 825500 w 3851276"/>
              <a:gd name="connsiteY33" fmla="*/ 1757363 h 2457451"/>
              <a:gd name="connsiteX34" fmla="*/ 2397125 w 3851276"/>
              <a:gd name="connsiteY34" fmla="*/ 532797 h 2457451"/>
              <a:gd name="connsiteX35" fmla="*/ 2397125 w 3851276"/>
              <a:gd name="connsiteY35" fmla="*/ 613672 h 2457451"/>
              <a:gd name="connsiteX36" fmla="*/ 2397125 w 3851276"/>
              <a:gd name="connsiteY36" fmla="*/ 2001484 h 2457451"/>
              <a:gd name="connsiteX37" fmla="*/ 2394079 w 3851276"/>
              <a:gd name="connsiteY37" fmla="*/ 2016729 h 2457451"/>
              <a:gd name="connsiteX38" fmla="*/ 2399520 w 3851276"/>
              <a:gd name="connsiteY38" fmla="*/ 2016729 h 2457451"/>
              <a:gd name="connsiteX39" fmla="*/ 2639583 w 3851276"/>
              <a:gd name="connsiteY39" fmla="*/ 2016729 h 2457451"/>
              <a:gd name="connsiteX40" fmla="*/ 2651731 w 3851276"/>
              <a:gd name="connsiteY40" fmla="*/ 2004566 h 2457451"/>
              <a:gd name="connsiteX41" fmla="*/ 3137623 w 3851276"/>
              <a:gd name="connsiteY41" fmla="*/ 1587970 h 2457451"/>
              <a:gd name="connsiteX42" fmla="*/ 3623514 w 3851276"/>
              <a:gd name="connsiteY42" fmla="*/ 2004566 h 2457451"/>
              <a:gd name="connsiteX43" fmla="*/ 3635662 w 3851276"/>
              <a:gd name="connsiteY43" fmla="*/ 2016729 h 2457451"/>
              <a:gd name="connsiteX44" fmla="*/ 3714619 w 3851276"/>
              <a:gd name="connsiteY44" fmla="*/ 2016729 h 2457451"/>
              <a:gd name="connsiteX45" fmla="*/ 3729803 w 3851276"/>
              <a:gd name="connsiteY45" fmla="*/ 2001525 h 2457451"/>
              <a:gd name="connsiteX46" fmla="*/ 3729803 w 3851276"/>
              <a:gd name="connsiteY46" fmla="*/ 1274763 h 2457451"/>
              <a:gd name="connsiteX47" fmla="*/ 3726766 w 3851276"/>
              <a:gd name="connsiteY47" fmla="*/ 1265641 h 2457451"/>
              <a:gd name="connsiteX48" fmla="*/ 3626551 w 3851276"/>
              <a:gd name="connsiteY48" fmla="*/ 1147048 h 2457451"/>
              <a:gd name="connsiteX49" fmla="*/ 2915934 w 3851276"/>
              <a:gd name="connsiteY49" fmla="*/ 1147048 h 2457451"/>
              <a:gd name="connsiteX50" fmla="*/ 2779277 w 3851276"/>
              <a:gd name="connsiteY50" fmla="*/ 1013250 h 2457451"/>
              <a:gd name="connsiteX51" fmla="*/ 2779277 w 3851276"/>
              <a:gd name="connsiteY51" fmla="*/ 532797 h 2457451"/>
              <a:gd name="connsiteX52" fmla="*/ 2402829 w 3851276"/>
              <a:gd name="connsiteY52" fmla="*/ 532797 h 2457451"/>
              <a:gd name="connsiteX53" fmla="*/ 2397125 w 3851276"/>
              <a:gd name="connsiteY53" fmla="*/ 532797 h 2457451"/>
              <a:gd name="connsiteX54" fmla="*/ 2900363 w 3851276"/>
              <a:gd name="connsiteY54" fmla="*/ 531813 h 2457451"/>
              <a:gd name="connsiteX55" fmla="*/ 2900363 w 3851276"/>
              <a:gd name="connsiteY55" fmla="*/ 1013336 h 2457451"/>
              <a:gd name="connsiteX56" fmla="*/ 2915545 w 3851276"/>
              <a:gd name="connsiteY56" fmla="*/ 1025526 h 2457451"/>
              <a:gd name="connsiteX57" fmla="*/ 3525838 w 3851276"/>
              <a:gd name="connsiteY57" fmla="*/ 1025526 h 2457451"/>
              <a:gd name="connsiteX58" fmla="*/ 3115940 w 3851276"/>
              <a:gd name="connsiteY58" fmla="*/ 537908 h 2457451"/>
              <a:gd name="connsiteX59" fmla="*/ 3106831 w 3851276"/>
              <a:gd name="connsiteY59" fmla="*/ 531813 h 2457451"/>
              <a:gd name="connsiteX60" fmla="*/ 2900363 w 3851276"/>
              <a:gd name="connsiteY60" fmla="*/ 531813 h 2457451"/>
              <a:gd name="connsiteX61" fmla="*/ 135842 w 3851276"/>
              <a:gd name="connsiteY61" fmla="*/ 122238 h 2457451"/>
              <a:gd name="connsiteX62" fmla="*/ 120650 w 3851276"/>
              <a:gd name="connsiteY62" fmla="*/ 137438 h 2457451"/>
              <a:gd name="connsiteX63" fmla="*/ 120650 w 3851276"/>
              <a:gd name="connsiteY63" fmla="*/ 2000926 h 2457451"/>
              <a:gd name="connsiteX64" fmla="*/ 135842 w 3851276"/>
              <a:gd name="connsiteY64" fmla="*/ 2016126 h 2457451"/>
              <a:gd name="connsiteX65" fmla="*/ 327263 w 3851276"/>
              <a:gd name="connsiteY65" fmla="*/ 2016126 h 2457451"/>
              <a:gd name="connsiteX66" fmla="*/ 339416 w 3851276"/>
              <a:gd name="connsiteY66" fmla="*/ 2003966 h 2457451"/>
              <a:gd name="connsiteX67" fmla="*/ 825563 w 3851276"/>
              <a:gd name="connsiteY67" fmla="*/ 1587493 h 2457451"/>
              <a:gd name="connsiteX68" fmla="*/ 1308671 w 3851276"/>
              <a:gd name="connsiteY68" fmla="*/ 2003966 h 2457451"/>
              <a:gd name="connsiteX69" fmla="*/ 1323864 w 3851276"/>
              <a:gd name="connsiteY69" fmla="*/ 2016126 h 2457451"/>
              <a:gd name="connsiteX70" fmla="*/ 2259696 w 3851276"/>
              <a:gd name="connsiteY70" fmla="*/ 2016126 h 2457451"/>
              <a:gd name="connsiteX71" fmla="*/ 2274888 w 3851276"/>
              <a:gd name="connsiteY71" fmla="*/ 2000926 h 2457451"/>
              <a:gd name="connsiteX72" fmla="*/ 2274888 w 3851276"/>
              <a:gd name="connsiteY72" fmla="*/ 137438 h 2457451"/>
              <a:gd name="connsiteX73" fmla="*/ 2259696 w 3851276"/>
              <a:gd name="connsiteY73" fmla="*/ 122238 h 2457451"/>
              <a:gd name="connsiteX74" fmla="*/ 135842 w 3851276"/>
              <a:gd name="connsiteY74" fmla="*/ 122238 h 2457451"/>
              <a:gd name="connsiteX75" fmla="*/ 136718 w 3851276"/>
              <a:gd name="connsiteY75" fmla="*/ 0 h 2457451"/>
              <a:gd name="connsiteX76" fmla="*/ 2260407 w 3851276"/>
              <a:gd name="connsiteY76" fmla="*/ 0 h 2457451"/>
              <a:gd name="connsiteX77" fmla="*/ 2397125 w 3851276"/>
              <a:gd name="connsiteY77" fmla="*/ 136880 h 2457451"/>
              <a:gd name="connsiteX78" fmla="*/ 2397125 w 3851276"/>
              <a:gd name="connsiteY78" fmla="*/ 306281 h 2457451"/>
              <a:gd name="connsiteX79" fmla="*/ 2397125 w 3851276"/>
              <a:gd name="connsiteY79" fmla="*/ 411163 h 2457451"/>
              <a:gd name="connsiteX80" fmla="*/ 2426638 w 3851276"/>
              <a:gd name="connsiteY80" fmla="*/ 411163 h 2457451"/>
              <a:gd name="connsiteX81" fmla="*/ 3107254 w 3851276"/>
              <a:gd name="connsiteY81" fmla="*/ 411163 h 2457451"/>
              <a:gd name="connsiteX82" fmla="*/ 3210506 w 3851276"/>
              <a:gd name="connsiteY82" fmla="*/ 459817 h 2457451"/>
              <a:gd name="connsiteX83" fmla="*/ 3684251 w 3851276"/>
              <a:gd name="connsiteY83" fmla="*/ 1025414 h 2457451"/>
              <a:gd name="connsiteX84" fmla="*/ 3687288 w 3851276"/>
              <a:gd name="connsiteY84" fmla="*/ 1025414 h 2457451"/>
              <a:gd name="connsiteX85" fmla="*/ 3687288 w 3851276"/>
              <a:gd name="connsiteY85" fmla="*/ 1031496 h 2457451"/>
              <a:gd name="connsiteX86" fmla="*/ 3817871 w 3851276"/>
              <a:gd name="connsiteY86" fmla="*/ 1186579 h 2457451"/>
              <a:gd name="connsiteX87" fmla="*/ 3851276 w 3851276"/>
              <a:gd name="connsiteY87" fmla="*/ 1274763 h 2457451"/>
              <a:gd name="connsiteX88" fmla="*/ 3851276 w 3851276"/>
              <a:gd name="connsiteY88" fmla="*/ 2001525 h 2457451"/>
              <a:gd name="connsiteX89" fmla="*/ 3714619 w 3851276"/>
              <a:gd name="connsiteY89" fmla="*/ 2138363 h 2457451"/>
              <a:gd name="connsiteX90" fmla="*/ 3635662 w 3851276"/>
              <a:gd name="connsiteY90" fmla="*/ 2138363 h 2457451"/>
              <a:gd name="connsiteX91" fmla="*/ 3502041 w 3851276"/>
              <a:gd name="connsiteY91" fmla="*/ 2022811 h 2457451"/>
              <a:gd name="connsiteX92" fmla="*/ 3137623 w 3851276"/>
              <a:gd name="connsiteY92" fmla="*/ 1709604 h 2457451"/>
              <a:gd name="connsiteX93" fmla="*/ 2773204 w 3851276"/>
              <a:gd name="connsiteY93" fmla="*/ 2022811 h 2457451"/>
              <a:gd name="connsiteX94" fmla="*/ 2639583 w 3851276"/>
              <a:gd name="connsiteY94" fmla="*/ 2138363 h 2457451"/>
              <a:gd name="connsiteX95" fmla="*/ 2281238 w 3851276"/>
              <a:gd name="connsiteY95" fmla="*/ 2138363 h 2457451"/>
              <a:gd name="connsiteX96" fmla="*/ 2281238 w 3851276"/>
              <a:gd name="connsiteY96" fmla="*/ 2134192 h 2457451"/>
              <a:gd name="connsiteX97" fmla="*/ 2260407 w 3851276"/>
              <a:gd name="connsiteY97" fmla="*/ 2138363 h 2457451"/>
              <a:gd name="connsiteX98" fmla="*/ 1324647 w 3851276"/>
              <a:gd name="connsiteY98" fmla="*/ 2138363 h 2457451"/>
              <a:gd name="connsiteX99" fmla="*/ 1190967 w 3851276"/>
              <a:gd name="connsiteY99" fmla="*/ 2022776 h 2457451"/>
              <a:gd name="connsiteX100" fmla="*/ 826386 w 3851276"/>
              <a:gd name="connsiteY100" fmla="*/ 1709474 h 2457451"/>
              <a:gd name="connsiteX101" fmla="*/ 461804 w 3851276"/>
              <a:gd name="connsiteY101" fmla="*/ 2022776 h 2457451"/>
              <a:gd name="connsiteX102" fmla="*/ 328124 w 3851276"/>
              <a:gd name="connsiteY102" fmla="*/ 2138363 h 2457451"/>
              <a:gd name="connsiteX103" fmla="*/ 136718 w 3851276"/>
              <a:gd name="connsiteY103" fmla="*/ 2138363 h 2457451"/>
              <a:gd name="connsiteX104" fmla="*/ 0 w 3851276"/>
              <a:gd name="connsiteY104" fmla="*/ 2001484 h 2457451"/>
              <a:gd name="connsiteX105" fmla="*/ 0 w 3851276"/>
              <a:gd name="connsiteY105" fmla="*/ 136880 h 2457451"/>
              <a:gd name="connsiteX106" fmla="*/ 136718 w 3851276"/>
              <a:gd name="connsiteY106"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826294 w 3851276"/>
              <a:gd name="connsiteY10" fmla="*/ 2254250 h 2457451"/>
              <a:gd name="connsiteX11" fmla="*/ 971551 w 3851276"/>
              <a:gd name="connsiteY11" fmla="*/ 2108200 h 2457451"/>
              <a:gd name="connsiteX12" fmla="*/ 826294 w 3851276"/>
              <a:gd name="connsiteY12" fmla="*/ 2254250 h 2457451"/>
              <a:gd name="connsiteX13" fmla="*/ 3137695 w 3851276"/>
              <a:gd name="connsiteY13" fmla="*/ 1879600 h 2457451"/>
              <a:gd name="connsiteX14" fmla="*/ 2909888 w 3851276"/>
              <a:gd name="connsiteY14" fmla="*/ 2107407 h 2457451"/>
              <a:gd name="connsiteX15" fmla="*/ 3137695 w 3851276"/>
              <a:gd name="connsiteY15" fmla="*/ 2335214 h 2457451"/>
              <a:gd name="connsiteX16" fmla="*/ 3365502 w 3851276"/>
              <a:gd name="connsiteY16" fmla="*/ 2107407 h 2457451"/>
              <a:gd name="connsiteX17" fmla="*/ 3137695 w 3851276"/>
              <a:gd name="connsiteY17" fmla="*/ 1879600 h 2457451"/>
              <a:gd name="connsiteX18" fmla="*/ 826295 w 3851276"/>
              <a:gd name="connsiteY18" fmla="*/ 1879600 h 2457451"/>
              <a:gd name="connsiteX19" fmla="*/ 598488 w 3851276"/>
              <a:gd name="connsiteY19" fmla="*/ 2107407 h 2457451"/>
              <a:gd name="connsiteX20" fmla="*/ 826295 w 3851276"/>
              <a:gd name="connsiteY20" fmla="*/ 2335214 h 2457451"/>
              <a:gd name="connsiteX21" fmla="*/ 1054102 w 3851276"/>
              <a:gd name="connsiteY21" fmla="*/ 2107407 h 2457451"/>
              <a:gd name="connsiteX22" fmla="*/ 826295 w 3851276"/>
              <a:gd name="connsiteY22" fmla="*/ 1879600 h 2457451"/>
              <a:gd name="connsiteX23" fmla="*/ 3136900 w 3851276"/>
              <a:gd name="connsiteY23" fmla="*/ 1757363 h 2457451"/>
              <a:gd name="connsiteX24" fmla="*/ 3486150 w 3851276"/>
              <a:gd name="connsiteY24" fmla="*/ 2107407 h 2457451"/>
              <a:gd name="connsiteX25" fmla="*/ 3136900 w 3851276"/>
              <a:gd name="connsiteY25" fmla="*/ 2457451 h 2457451"/>
              <a:gd name="connsiteX26" fmla="*/ 2787650 w 3851276"/>
              <a:gd name="connsiteY26" fmla="*/ 2107407 h 2457451"/>
              <a:gd name="connsiteX27" fmla="*/ 3136900 w 3851276"/>
              <a:gd name="connsiteY27" fmla="*/ 1757363 h 2457451"/>
              <a:gd name="connsiteX28" fmla="*/ 825500 w 3851276"/>
              <a:gd name="connsiteY28" fmla="*/ 1757363 h 2457451"/>
              <a:gd name="connsiteX29" fmla="*/ 1174750 w 3851276"/>
              <a:gd name="connsiteY29" fmla="*/ 2107407 h 2457451"/>
              <a:gd name="connsiteX30" fmla="*/ 825500 w 3851276"/>
              <a:gd name="connsiteY30" fmla="*/ 2457451 h 2457451"/>
              <a:gd name="connsiteX31" fmla="*/ 476250 w 3851276"/>
              <a:gd name="connsiteY31" fmla="*/ 2107407 h 2457451"/>
              <a:gd name="connsiteX32" fmla="*/ 825500 w 3851276"/>
              <a:gd name="connsiteY32" fmla="*/ 1757363 h 2457451"/>
              <a:gd name="connsiteX33" fmla="*/ 2397125 w 3851276"/>
              <a:gd name="connsiteY33" fmla="*/ 532797 h 2457451"/>
              <a:gd name="connsiteX34" fmla="*/ 2397125 w 3851276"/>
              <a:gd name="connsiteY34" fmla="*/ 613672 h 2457451"/>
              <a:gd name="connsiteX35" fmla="*/ 2397125 w 3851276"/>
              <a:gd name="connsiteY35" fmla="*/ 2001484 h 2457451"/>
              <a:gd name="connsiteX36" fmla="*/ 2394079 w 3851276"/>
              <a:gd name="connsiteY36" fmla="*/ 2016729 h 2457451"/>
              <a:gd name="connsiteX37" fmla="*/ 2399520 w 3851276"/>
              <a:gd name="connsiteY37" fmla="*/ 2016729 h 2457451"/>
              <a:gd name="connsiteX38" fmla="*/ 2639583 w 3851276"/>
              <a:gd name="connsiteY38" fmla="*/ 2016729 h 2457451"/>
              <a:gd name="connsiteX39" fmla="*/ 2651731 w 3851276"/>
              <a:gd name="connsiteY39" fmla="*/ 2004566 h 2457451"/>
              <a:gd name="connsiteX40" fmla="*/ 3137623 w 3851276"/>
              <a:gd name="connsiteY40" fmla="*/ 1587970 h 2457451"/>
              <a:gd name="connsiteX41" fmla="*/ 3623514 w 3851276"/>
              <a:gd name="connsiteY41" fmla="*/ 2004566 h 2457451"/>
              <a:gd name="connsiteX42" fmla="*/ 3635662 w 3851276"/>
              <a:gd name="connsiteY42" fmla="*/ 2016729 h 2457451"/>
              <a:gd name="connsiteX43" fmla="*/ 3714619 w 3851276"/>
              <a:gd name="connsiteY43" fmla="*/ 2016729 h 2457451"/>
              <a:gd name="connsiteX44" fmla="*/ 3729803 w 3851276"/>
              <a:gd name="connsiteY44" fmla="*/ 2001525 h 2457451"/>
              <a:gd name="connsiteX45" fmla="*/ 3729803 w 3851276"/>
              <a:gd name="connsiteY45" fmla="*/ 1274763 h 2457451"/>
              <a:gd name="connsiteX46" fmla="*/ 3726766 w 3851276"/>
              <a:gd name="connsiteY46" fmla="*/ 1265641 h 2457451"/>
              <a:gd name="connsiteX47" fmla="*/ 3626551 w 3851276"/>
              <a:gd name="connsiteY47" fmla="*/ 1147048 h 2457451"/>
              <a:gd name="connsiteX48" fmla="*/ 2915934 w 3851276"/>
              <a:gd name="connsiteY48" fmla="*/ 1147048 h 2457451"/>
              <a:gd name="connsiteX49" fmla="*/ 2779277 w 3851276"/>
              <a:gd name="connsiteY49" fmla="*/ 1013250 h 2457451"/>
              <a:gd name="connsiteX50" fmla="*/ 2779277 w 3851276"/>
              <a:gd name="connsiteY50" fmla="*/ 532797 h 2457451"/>
              <a:gd name="connsiteX51" fmla="*/ 2402829 w 3851276"/>
              <a:gd name="connsiteY51" fmla="*/ 532797 h 2457451"/>
              <a:gd name="connsiteX52" fmla="*/ 2397125 w 3851276"/>
              <a:gd name="connsiteY52" fmla="*/ 532797 h 2457451"/>
              <a:gd name="connsiteX53" fmla="*/ 2900363 w 3851276"/>
              <a:gd name="connsiteY53" fmla="*/ 531813 h 2457451"/>
              <a:gd name="connsiteX54" fmla="*/ 2900363 w 3851276"/>
              <a:gd name="connsiteY54" fmla="*/ 1013336 h 2457451"/>
              <a:gd name="connsiteX55" fmla="*/ 2915545 w 3851276"/>
              <a:gd name="connsiteY55" fmla="*/ 1025526 h 2457451"/>
              <a:gd name="connsiteX56" fmla="*/ 3525838 w 3851276"/>
              <a:gd name="connsiteY56" fmla="*/ 1025526 h 2457451"/>
              <a:gd name="connsiteX57" fmla="*/ 3115940 w 3851276"/>
              <a:gd name="connsiteY57" fmla="*/ 537908 h 2457451"/>
              <a:gd name="connsiteX58" fmla="*/ 3106831 w 3851276"/>
              <a:gd name="connsiteY58" fmla="*/ 531813 h 2457451"/>
              <a:gd name="connsiteX59" fmla="*/ 2900363 w 3851276"/>
              <a:gd name="connsiteY59" fmla="*/ 531813 h 2457451"/>
              <a:gd name="connsiteX60" fmla="*/ 135842 w 3851276"/>
              <a:gd name="connsiteY60" fmla="*/ 122238 h 2457451"/>
              <a:gd name="connsiteX61" fmla="*/ 120650 w 3851276"/>
              <a:gd name="connsiteY61" fmla="*/ 137438 h 2457451"/>
              <a:gd name="connsiteX62" fmla="*/ 120650 w 3851276"/>
              <a:gd name="connsiteY62" fmla="*/ 2000926 h 2457451"/>
              <a:gd name="connsiteX63" fmla="*/ 135842 w 3851276"/>
              <a:gd name="connsiteY63" fmla="*/ 2016126 h 2457451"/>
              <a:gd name="connsiteX64" fmla="*/ 327263 w 3851276"/>
              <a:gd name="connsiteY64" fmla="*/ 2016126 h 2457451"/>
              <a:gd name="connsiteX65" fmla="*/ 339416 w 3851276"/>
              <a:gd name="connsiteY65" fmla="*/ 2003966 h 2457451"/>
              <a:gd name="connsiteX66" fmla="*/ 825563 w 3851276"/>
              <a:gd name="connsiteY66" fmla="*/ 1587493 h 2457451"/>
              <a:gd name="connsiteX67" fmla="*/ 1308671 w 3851276"/>
              <a:gd name="connsiteY67" fmla="*/ 2003966 h 2457451"/>
              <a:gd name="connsiteX68" fmla="*/ 1323864 w 3851276"/>
              <a:gd name="connsiteY68" fmla="*/ 2016126 h 2457451"/>
              <a:gd name="connsiteX69" fmla="*/ 2259696 w 3851276"/>
              <a:gd name="connsiteY69" fmla="*/ 2016126 h 2457451"/>
              <a:gd name="connsiteX70" fmla="*/ 2274888 w 3851276"/>
              <a:gd name="connsiteY70" fmla="*/ 2000926 h 2457451"/>
              <a:gd name="connsiteX71" fmla="*/ 2274888 w 3851276"/>
              <a:gd name="connsiteY71" fmla="*/ 137438 h 2457451"/>
              <a:gd name="connsiteX72" fmla="*/ 2259696 w 3851276"/>
              <a:gd name="connsiteY72" fmla="*/ 122238 h 2457451"/>
              <a:gd name="connsiteX73" fmla="*/ 135842 w 3851276"/>
              <a:gd name="connsiteY73" fmla="*/ 122238 h 2457451"/>
              <a:gd name="connsiteX74" fmla="*/ 136718 w 3851276"/>
              <a:gd name="connsiteY74" fmla="*/ 0 h 2457451"/>
              <a:gd name="connsiteX75" fmla="*/ 2260407 w 3851276"/>
              <a:gd name="connsiteY75" fmla="*/ 0 h 2457451"/>
              <a:gd name="connsiteX76" fmla="*/ 2397125 w 3851276"/>
              <a:gd name="connsiteY76" fmla="*/ 136880 h 2457451"/>
              <a:gd name="connsiteX77" fmla="*/ 2397125 w 3851276"/>
              <a:gd name="connsiteY77" fmla="*/ 306281 h 2457451"/>
              <a:gd name="connsiteX78" fmla="*/ 2397125 w 3851276"/>
              <a:gd name="connsiteY78" fmla="*/ 411163 h 2457451"/>
              <a:gd name="connsiteX79" fmla="*/ 2426638 w 3851276"/>
              <a:gd name="connsiteY79" fmla="*/ 411163 h 2457451"/>
              <a:gd name="connsiteX80" fmla="*/ 3107254 w 3851276"/>
              <a:gd name="connsiteY80" fmla="*/ 411163 h 2457451"/>
              <a:gd name="connsiteX81" fmla="*/ 3210506 w 3851276"/>
              <a:gd name="connsiteY81" fmla="*/ 459817 h 2457451"/>
              <a:gd name="connsiteX82" fmla="*/ 3684251 w 3851276"/>
              <a:gd name="connsiteY82" fmla="*/ 1025414 h 2457451"/>
              <a:gd name="connsiteX83" fmla="*/ 3687288 w 3851276"/>
              <a:gd name="connsiteY83" fmla="*/ 1025414 h 2457451"/>
              <a:gd name="connsiteX84" fmla="*/ 3687288 w 3851276"/>
              <a:gd name="connsiteY84" fmla="*/ 1031496 h 2457451"/>
              <a:gd name="connsiteX85" fmla="*/ 3817871 w 3851276"/>
              <a:gd name="connsiteY85" fmla="*/ 1186579 h 2457451"/>
              <a:gd name="connsiteX86" fmla="*/ 3851276 w 3851276"/>
              <a:gd name="connsiteY86" fmla="*/ 1274763 h 2457451"/>
              <a:gd name="connsiteX87" fmla="*/ 3851276 w 3851276"/>
              <a:gd name="connsiteY87" fmla="*/ 2001525 h 2457451"/>
              <a:gd name="connsiteX88" fmla="*/ 3714619 w 3851276"/>
              <a:gd name="connsiteY88" fmla="*/ 2138363 h 2457451"/>
              <a:gd name="connsiteX89" fmla="*/ 3635662 w 3851276"/>
              <a:gd name="connsiteY89" fmla="*/ 2138363 h 2457451"/>
              <a:gd name="connsiteX90" fmla="*/ 3502041 w 3851276"/>
              <a:gd name="connsiteY90" fmla="*/ 2022811 h 2457451"/>
              <a:gd name="connsiteX91" fmla="*/ 3137623 w 3851276"/>
              <a:gd name="connsiteY91" fmla="*/ 1709604 h 2457451"/>
              <a:gd name="connsiteX92" fmla="*/ 2773204 w 3851276"/>
              <a:gd name="connsiteY92" fmla="*/ 2022811 h 2457451"/>
              <a:gd name="connsiteX93" fmla="*/ 2639583 w 3851276"/>
              <a:gd name="connsiteY93" fmla="*/ 2138363 h 2457451"/>
              <a:gd name="connsiteX94" fmla="*/ 2281238 w 3851276"/>
              <a:gd name="connsiteY94" fmla="*/ 2138363 h 2457451"/>
              <a:gd name="connsiteX95" fmla="*/ 2281238 w 3851276"/>
              <a:gd name="connsiteY95" fmla="*/ 2134192 h 2457451"/>
              <a:gd name="connsiteX96" fmla="*/ 2260407 w 3851276"/>
              <a:gd name="connsiteY96" fmla="*/ 2138363 h 2457451"/>
              <a:gd name="connsiteX97" fmla="*/ 1324647 w 3851276"/>
              <a:gd name="connsiteY97" fmla="*/ 2138363 h 2457451"/>
              <a:gd name="connsiteX98" fmla="*/ 1190967 w 3851276"/>
              <a:gd name="connsiteY98" fmla="*/ 2022776 h 2457451"/>
              <a:gd name="connsiteX99" fmla="*/ 826386 w 3851276"/>
              <a:gd name="connsiteY99" fmla="*/ 1709474 h 2457451"/>
              <a:gd name="connsiteX100" fmla="*/ 461804 w 3851276"/>
              <a:gd name="connsiteY100" fmla="*/ 2022776 h 2457451"/>
              <a:gd name="connsiteX101" fmla="*/ 328124 w 3851276"/>
              <a:gd name="connsiteY101" fmla="*/ 2138363 h 2457451"/>
              <a:gd name="connsiteX102" fmla="*/ 136718 w 3851276"/>
              <a:gd name="connsiteY102" fmla="*/ 2138363 h 2457451"/>
              <a:gd name="connsiteX103" fmla="*/ 0 w 3851276"/>
              <a:gd name="connsiteY103" fmla="*/ 2001484 h 2457451"/>
              <a:gd name="connsiteX104" fmla="*/ 0 w 3851276"/>
              <a:gd name="connsiteY104" fmla="*/ 136880 h 2457451"/>
              <a:gd name="connsiteX105" fmla="*/ 136718 w 3851276"/>
              <a:gd name="connsiteY105"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3137695 w 3851276"/>
              <a:gd name="connsiteY10" fmla="*/ 1879600 h 2457451"/>
              <a:gd name="connsiteX11" fmla="*/ 2909888 w 3851276"/>
              <a:gd name="connsiteY11" fmla="*/ 2107407 h 2457451"/>
              <a:gd name="connsiteX12" fmla="*/ 3137695 w 3851276"/>
              <a:gd name="connsiteY12" fmla="*/ 2335214 h 2457451"/>
              <a:gd name="connsiteX13" fmla="*/ 3365502 w 3851276"/>
              <a:gd name="connsiteY13" fmla="*/ 2107407 h 2457451"/>
              <a:gd name="connsiteX14" fmla="*/ 3137695 w 3851276"/>
              <a:gd name="connsiteY14" fmla="*/ 1879600 h 2457451"/>
              <a:gd name="connsiteX15" fmla="*/ 826295 w 3851276"/>
              <a:gd name="connsiteY15" fmla="*/ 1879600 h 2457451"/>
              <a:gd name="connsiteX16" fmla="*/ 598488 w 3851276"/>
              <a:gd name="connsiteY16" fmla="*/ 2107407 h 2457451"/>
              <a:gd name="connsiteX17" fmla="*/ 826295 w 3851276"/>
              <a:gd name="connsiteY17" fmla="*/ 2335214 h 2457451"/>
              <a:gd name="connsiteX18" fmla="*/ 1054102 w 3851276"/>
              <a:gd name="connsiteY18" fmla="*/ 2107407 h 2457451"/>
              <a:gd name="connsiteX19" fmla="*/ 826295 w 3851276"/>
              <a:gd name="connsiteY19" fmla="*/ 1879600 h 2457451"/>
              <a:gd name="connsiteX20" fmla="*/ 3136900 w 3851276"/>
              <a:gd name="connsiteY20" fmla="*/ 1757363 h 2457451"/>
              <a:gd name="connsiteX21" fmla="*/ 3486150 w 3851276"/>
              <a:gd name="connsiteY21" fmla="*/ 2107407 h 2457451"/>
              <a:gd name="connsiteX22" fmla="*/ 3136900 w 3851276"/>
              <a:gd name="connsiteY22" fmla="*/ 2457451 h 2457451"/>
              <a:gd name="connsiteX23" fmla="*/ 2787650 w 3851276"/>
              <a:gd name="connsiteY23" fmla="*/ 2107407 h 2457451"/>
              <a:gd name="connsiteX24" fmla="*/ 3136900 w 3851276"/>
              <a:gd name="connsiteY24" fmla="*/ 1757363 h 2457451"/>
              <a:gd name="connsiteX25" fmla="*/ 825500 w 3851276"/>
              <a:gd name="connsiteY25" fmla="*/ 1757363 h 2457451"/>
              <a:gd name="connsiteX26" fmla="*/ 1174750 w 3851276"/>
              <a:gd name="connsiteY26" fmla="*/ 2107407 h 2457451"/>
              <a:gd name="connsiteX27" fmla="*/ 825500 w 3851276"/>
              <a:gd name="connsiteY27" fmla="*/ 2457451 h 2457451"/>
              <a:gd name="connsiteX28" fmla="*/ 476250 w 3851276"/>
              <a:gd name="connsiteY28" fmla="*/ 2107407 h 2457451"/>
              <a:gd name="connsiteX29" fmla="*/ 825500 w 3851276"/>
              <a:gd name="connsiteY29" fmla="*/ 1757363 h 2457451"/>
              <a:gd name="connsiteX30" fmla="*/ 2397125 w 3851276"/>
              <a:gd name="connsiteY30" fmla="*/ 532797 h 2457451"/>
              <a:gd name="connsiteX31" fmla="*/ 2397125 w 3851276"/>
              <a:gd name="connsiteY31" fmla="*/ 613672 h 2457451"/>
              <a:gd name="connsiteX32" fmla="*/ 2397125 w 3851276"/>
              <a:gd name="connsiteY32" fmla="*/ 2001484 h 2457451"/>
              <a:gd name="connsiteX33" fmla="*/ 2394079 w 3851276"/>
              <a:gd name="connsiteY33" fmla="*/ 2016729 h 2457451"/>
              <a:gd name="connsiteX34" fmla="*/ 2399520 w 3851276"/>
              <a:gd name="connsiteY34" fmla="*/ 2016729 h 2457451"/>
              <a:gd name="connsiteX35" fmla="*/ 2639583 w 3851276"/>
              <a:gd name="connsiteY35" fmla="*/ 2016729 h 2457451"/>
              <a:gd name="connsiteX36" fmla="*/ 2651731 w 3851276"/>
              <a:gd name="connsiteY36" fmla="*/ 2004566 h 2457451"/>
              <a:gd name="connsiteX37" fmla="*/ 3137623 w 3851276"/>
              <a:gd name="connsiteY37" fmla="*/ 1587970 h 2457451"/>
              <a:gd name="connsiteX38" fmla="*/ 3623514 w 3851276"/>
              <a:gd name="connsiteY38" fmla="*/ 2004566 h 2457451"/>
              <a:gd name="connsiteX39" fmla="*/ 3635662 w 3851276"/>
              <a:gd name="connsiteY39" fmla="*/ 2016729 h 2457451"/>
              <a:gd name="connsiteX40" fmla="*/ 3714619 w 3851276"/>
              <a:gd name="connsiteY40" fmla="*/ 2016729 h 2457451"/>
              <a:gd name="connsiteX41" fmla="*/ 3729803 w 3851276"/>
              <a:gd name="connsiteY41" fmla="*/ 2001525 h 2457451"/>
              <a:gd name="connsiteX42" fmla="*/ 3729803 w 3851276"/>
              <a:gd name="connsiteY42" fmla="*/ 1274763 h 2457451"/>
              <a:gd name="connsiteX43" fmla="*/ 3726766 w 3851276"/>
              <a:gd name="connsiteY43" fmla="*/ 1265641 h 2457451"/>
              <a:gd name="connsiteX44" fmla="*/ 3626551 w 3851276"/>
              <a:gd name="connsiteY44" fmla="*/ 1147048 h 2457451"/>
              <a:gd name="connsiteX45" fmla="*/ 2915934 w 3851276"/>
              <a:gd name="connsiteY45" fmla="*/ 1147048 h 2457451"/>
              <a:gd name="connsiteX46" fmla="*/ 2779277 w 3851276"/>
              <a:gd name="connsiteY46" fmla="*/ 1013250 h 2457451"/>
              <a:gd name="connsiteX47" fmla="*/ 2779277 w 3851276"/>
              <a:gd name="connsiteY47" fmla="*/ 532797 h 2457451"/>
              <a:gd name="connsiteX48" fmla="*/ 2402829 w 3851276"/>
              <a:gd name="connsiteY48" fmla="*/ 532797 h 2457451"/>
              <a:gd name="connsiteX49" fmla="*/ 2397125 w 3851276"/>
              <a:gd name="connsiteY49" fmla="*/ 532797 h 2457451"/>
              <a:gd name="connsiteX50" fmla="*/ 2900363 w 3851276"/>
              <a:gd name="connsiteY50" fmla="*/ 531813 h 2457451"/>
              <a:gd name="connsiteX51" fmla="*/ 2900363 w 3851276"/>
              <a:gd name="connsiteY51" fmla="*/ 1013336 h 2457451"/>
              <a:gd name="connsiteX52" fmla="*/ 2915545 w 3851276"/>
              <a:gd name="connsiteY52" fmla="*/ 1025526 h 2457451"/>
              <a:gd name="connsiteX53" fmla="*/ 3525838 w 3851276"/>
              <a:gd name="connsiteY53" fmla="*/ 1025526 h 2457451"/>
              <a:gd name="connsiteX54" fmla="*/ 3115940 w 3851276"/>
              <a:gd name="connsiteY54" fmla="*/ 537908 h 2457451"/>
              <a:gd name="connsiteX55" fmla="*/ 3106831 w 3851276"/>
              <a:gd name="connsiteY55" fmla="*/ 531813 h 2457451"/>
              <a:gd name="connsiteX56" fmla="*/ 2900363 w 3851276"/>
              <a:gd name="connsiteY56" fmla="*/ 531813 h 2457451"/>
              <a:gd name="connsiteX57" fmla="*/ 135842 w 3851276"/>
              <a:gd name="connsiteY57" fmla="*/ 122238 h 2457451"/>
              <a:gd name="connsiteX58" fmla="*/ 120650 w 3851276"/>
              <a:gd name="connsiteY58" fmla="*/ 137438 h 2457451"/>
              <a:gd name="connsiteX59" fmla="*/ 120650 w 3851276"/>
              <a:gd name="connsiteY59" fmla="*/ 2000926 h 2457451"/>
              <a:gd name="connsiteX60" fmla="*/ 135842 w 3851276"/>
              <a:gd name="connsiteY60" fmla="*/ 2016126 h 2457451"/>
              <a:gd name="connsiteX61" fmla="*/ 327263 w 3851276"/>
              <a:gd name="connsiteY61" fmla="*/ 2016126 h 2457451"/>
              <a:gd name="connsiteX62" fmla="*/ 339416 w 3851276"/>
              <a:gd name="connsiteY62" fmla="*/ 2003966 h 2457451"/>
              <a:gd name="connsiteX63" fmla="*/ 825563 w 3851276"/>
              <a:gd name="connsiteY63" fmla="*/ 1587493 h 2457451"/>
              <a:gd name="connsiteX64" fmla="*/ 1308671 w 3851276"/>
              <a:gd name="connsiteY64" fmla="*/ 2003966 h 2457451"/>
              <a:gd name="connsiteX65" fmla="*/ 1323864 w 3851276"/>
              <a:gd name="connsiteY65" fmla="*/ 2016126 h 2457451"/>
              <a:gd name="connsiteX66" fmla="*/ 2259696 w 3851276"/>
              <a:gd name="connsiteY66" fmla="*/ 2016126 h 2457451"/>
              <a:gd name="connsiteX67" fmla="*/ 2274888 w 3851276"/>
              <a:gd name="connsiteY67" fmla="*/ 2000926 h 2457451"/>
              <a:gd name="connsiteX68" fmla="*/ 2274888 w 3851276"/>
              <a:gd name="connsiteY68" fmla="*/ 137438 h 2457451"/>
              <a:gd name="connsiteX69" fmla="*/ 2259696 w 3851276"/>
              <a:gd name="connsiteY69" fmla="*/ 122238 h 2457451"/>
              <a:gd name="connsiteX70" fmla="*/ 135842 w 3851276"/>
              <a:gd name="connsiteY70" fmla="*/ 122238 h 2457451"/>
              <a:gd name="connsiteX71" fmla="*/ 136718 w 3851276"/>
              <a:gd name="connsiteY71" fmla="*/ 0 h 2457451"/>
              <a:gd name="connsiteX72" fmla="*/ 2260407 w 3851276"/>
              <a:gd name="connsiteY72" fmla="*/ 0 h 2457451"/>
              <a:gd name="connsiteX73" fmla="*/ 2397125 w 3851276"/>
              <a:gd name="connsiteY73" fmla="*/ 136880 h 2457451"/>
              <a:gd name="connsiteX74" fmla="*/ 2397125 w 3851276"/>
              <a:gd name="connsiteY74" fmla="*/ 306281 h 2457451"/>
              <a:gd name="connsiteX75" fmla="*/ 2397125 w 3851276"/>
              <a:gd name="connsiteY75" fmla="*/ 411163 h 2457451"/>
              <a:gd name="connsiteX76" fmla="*/ 2426638 w 3851276"/>
              <a:gd name="connsiteY76" fmla="*/ 411163 h 2457451"/>
              <a:gd name="connsiteX77" fmla="*/ 3107254 w 3851276"/>
              <a:gd name="connsiteY77" fmla="*/ 411163 h 2457451"/>
              <a:gd name="connsiteX78" fmla="*/ 3210506 w 3851276"/>
              <a:gd name="connsiteY78" fmla="*/ 459817 h 2457451"/>
              <a:gd name="connsiteX79" fmla="*/ 3684251 w 3851276"/>
              <a:gd name="connsiteY79" fmla="*/ 1025414 h 2457451"/>
              <a:gd name="connsiteX80" fmla="*/ 3687288 w 3851276"/>
              <a:gd name="connsiteY80" fmla="*/ 1025414 h 2457451"/>
              <a:gd name="connsiteX81" fmla="*/ 3687288 w 3851276"/>
              <a:gd name="connsiteY81" fmla="*/ 1031496 h 2457451"/>
              <a:gd name="connsiteX82" fmla="*/ 3817871 w 3851276"/>
              <a:gd name="connsiteY82" fmla="*/ 1186579 h 2457451"/>
              <a:gd name="connsiteX83" fmla="*/ 3851276 w 3851276"/>
              <a:gd name="connsiteY83" fmla="*/ 1274763 h 2457451"/>
              <a:gd name="connsiteX84" fmla="*/ 3851276 w 3851276"/>
              <a:gd name="connsiteY84" fmla="*/ 2001525 h 2457451"/>
              <a:gd name="connsiteX85" fmla="*/ 3714619 w 3851276"/>
              <a:gd name="connsiteY85" fmla="*/ 2138363 h 2457451"/>
              <a:gd name="connsiteX86" fmla="*/ 3635662 w 3851276"/>
              <a:gd name="connsiteY86" fmla="*/ 2138363 h 2457451"/>
              <a:gd name="connsiteX87" fmla="*/ 3502041 w 3851276"/>
              <a:gd name="connsiteY87" fmla="*/ 2022811 h 2457451"/>
              <a:gd name="connsiteX88" fmla="*/ 3137623 w 3851276"/>
              <a:gd name="connsiteY88" fmla="*/ 1709604 h 2457451"/>
              <a:gd name="connsiteX89" fmla="*/ 2773204 w 3851276"/>
              <a:gd name="connsiteY89" fmla="*/ 2022811 h 2457451"/>
              <a:gd name="connsiteX90" fmla="*/ 2639583 w 3851276"/>
              <a:gd name="connsiteY90" fmla="*/ 2138363 h 2457451"/>
              <a:gd name="connsiteX91" fmla="*/ 2281238 w 3851276"/>
              <a:gd name="connsiteY91" fmla="*/ 2138363 h 2457451"/>
              <a:gd name="connsiteX92" fmla="*/ 2281238 w 3851276"/>
              <a:gd name="connsiteY92" fmla="*/ 2134192 h 2457451"/>
              <a:gd name="connsiteX93" fmla="*/ 2260407 w 3851276"/>
              <a:gd name="connsiteY93" fmla="*/ 2138363 h 2457451"/>
              <a:gd name="connsiteX94" fmla="*/ 1324647 w 3851276"/>
              <a:gd name="connsiteY94" fmla="*/ 2138363 h 2457451"/>
              <a:gd name="connsiteX95" fmla="*/ 1190967 w 3851276"/>
              <a:gd name="connsiteY95" fmla="*/ 2022776 h 2457451"/>
              <a:gd name="connsiteX96" fmla="*/ 826386 w 3851276"/>
              <a:gd name="connsiteY96" fmla="*/ 1709474 h 2457451"/>
              <a:gd name="connsiteX97" fmla="*/ 461804 w 3851276"/>
              <a:gd name="connsiteY97" fmla="*/ 2022776 h 2457451"/>
              <a:gd name="connsiteX98" fmla="*/ 328124 w 3851276"/>
              <a:gd name="connsiteY98" fmla="*/ 2138363 h 2457451"/>
              <a:gd name="connsiteX99" fmla="*/ 136718 w 3851276"/>
              <a:gd name="connsiteY99" fmla="*/ 2138363 h 2457451"/>
              <a:gd name="connsiteX100" fmla="*/ 0 w 3851276"/>
              <a:gd name="connsiteY100" fmla="*/ 2001484 h 2457451"/>
              <a:gd name="connsiteX101" fmla="*/ 0 w 3851276"/>
              <a:gd name="connsiteY101" fmla="*/ 136880 h 2457451"/>
              <a:gd name="connsiteX102" fmla="*/ 136718 w 3851276"/>
              <a:gd name="connsiteY102"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2992437 w 3851276"/>
              <a:gd name="connsiteY5" fmla="*/ 210820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5 w 3851276"/>
              <a:gd name="connsiteY9" fmla="*/ 1879600 h 2457451"/>
              <a:gd name="connsiteX10" fmla="*/ 2909888 w 3851276"/>
              <a:gd name="connsiteY10" fmla="*/ 2107407 h 2457451"/>
              <a:gd name="connsiteX11" fmla="*/ 3137695 w 3851276"/>
              <a:gd name="connsiteY11" fmla="*/ 2335214 h 2457451"/>
              <a:gd name="connsiteX12" fmla="*/ 3365502 w 3851276"/>
              <a:gd name="connsiteY12" fmla="*/ 2107407 h 2457451"/>
              <a:gd name="connsiteX13" fmla="*/ 3137695 w 3851276"/>
              <a:gd name="connsiteY13" fmla="*/ 1879600 h 2457451"/>
              <a:gd name="connsiteX14" fmla="*/ 826295 w 3851276"/>
              <a:gd name="connsiteY14" fmla="*/ 1879600 h 2457451"/>
              <a:gd name="connsiteX15" fmla="*/ 598488 w 3851276"/>
              <a:gd name="connsiteY15" fmla="*/ 2107407 h 2457451"/>
              <a:gd name="connsiteX16" fmla="*/ 826295 w 3851276"/>
              <a:gd name="connsiteY16" fmla="*/ 2335214 h 2457451"/>
              <a:gd name="connsiteX17" fmla="*/ 1054102 w 3851276"/>
              <a:gd name="connsiteY17" fmla="*/ 2107407 h 2457451"/>
              <a:gd name="connsiteX18" fmla="*/ 826295 w 3851276"/>
              <a:gd name="connsiteY18" fmla="*/ 1879600 h 2457451"/>
              <a:gd name="connsiteX19" fmla="*/ 3136900 w 3851276"/>
              <a:gd name="connsiteY19" fmla="*/ 1757363 h 2457451"/>
              <a:gd name="connsiteX20" fmla="*/ 3486150 w 3851276"/>
              <a:gd name="connsiteY20" fmla="*/ 2107407 h 2457451"/>
              <a:gd name="connsiteX21" fmla="*/ 3136900 w 3851276"/>
              <a:gd name="connsiteY21" fmla="*/ 2457451 h 2457451"/>
              <a:gd name="connsiteX22" fmla="*/ 2787650 w 3851276"/>
              <a:gd name="connsiteY22" fmla="*/ 2107407 h 2457451"/>
              <a:gd name="connsiteX23" fmla="*/ 3136900 w 3851276"/>
              <a:gd name="connsiteY23" fmla="*/ 1757363 h 2457451"/>
              <a:gd name="connsiteX24" fmla="*/ 825500 w 3851276"/>
              <a:gd name="connsiteY24" fmla="*/ 1757363 h 2457451"/>
              <a:gd name="connsiteX25" fmla="*/ 1174750 w 3851276"/>
              <a:gd name="connsiteY25" fmla="*/ 2107407 h 2457451"/>
              <a:gd name="connsiteX26" fmla="*/ 825500 w 3851276"/>
              <a:gd name="connsiteY26" fmla="*/ 2457451 h 2457451"/>
              <a:gd name="connsiteX27" fmla="*/ 476250 w 3851276"/>
              <a:gd name="connsiteY27" fmla="*/ 2107407 h 2457451"/>
              <a:gd name="connsiteX28" fmla="*/ 825500 w 3851276"/>
              <a:gd name="connsiteY28" fmla="*/ 1757363 h 2457451"/>
              <a:gd name="connsiteX29" fmla="*/ 2397125 w 3851276"/>
              <a:gd name="connsiteY29" fmla="*/ 532797 h 2457451"/>
              <a:gd name="connsiteX30" fmla="*/ 2397125 w 3851276"/>
              <a:gd name="connsiteY30" fmla="*/ 613672 h 2457451"/>
              <a:gd name="connsiteX31" fmla="*/ 2397125 w 3851276"/>
              <a:gd name="connsiteY31" fmla="*/ 2001484 h 2457451"/>
              <a:gd name="connsiteX32" fmla="*/ 2394079 w 3851276"/>
              <a:gd name="connsiteY32" fmla="*/ 2016729 h 2457451"/>
              <a:gd name="connsiteX33" fmla="*/ 2399520 w 3851276"/>
              <a:gd name="connsiteY33" fmla="*/ 2016729 h 2457451"/>
              <a:gd name="connsiteX34" fmla="*/ 2639583 w 3851276"/>
              <a:gd name="connsiteY34" fmla="*/ 2016729 h 2457451"/>
              <a:gd name="connsiteX35" fmla="*/ 2651731 w 3851276"/>
              <a:gd name="connsiteY35" fmla="*/ 2004566 h 2457451"/>
              <a:gd name="connsiteX36" fmla="*/ 3137623 w 3851276"/>
              <a:gd name="connsiteY36" fmla="*/ 1587970 h 2457451"/>
              <a:gd name="connsiteX37" fmla="*/ 3623514 w 3851276"/>
              <a:gd name="connsiteY37" fmla="*/ 2004566 h 2457451"/>
              <a:gd name="connsiteX38" fmla="*/ 3635662 w 3851276"/>
              <a:gd name="connsiteY38" fmla="*/ 2016729 h 2457451"/>
              <a:gd name="connsiteX39" fmla="*/ 3714619 w 3851276"/>
              <a:gd name="connsiteY39" fmla="*/ 2016729 h 2457451"/>
              <a:gd name="connsiteX40" fmla="*/ 3729803 w 3851276"/>
              <a:gd name="connsiteY40" fmla="*/ 2001525 h 2457451"/>
              <a:gd name="connsiteX41" fmla="*/ 3729803 w 3851276"/>
              <a:gd name="connsiteY41" fmla="*/ 1274763 h 2457451"/>
              <a:gd name="connsiteX42" fmla="*/ 3726766 w 3851276"/>
              <a:gd name="connsiteY42" fmla="*/ 1265641 h 2457451"/>
              <a:gd name="connsiteX43" fmla="*/ 3626551 w 3851276"/>
              <a:gd name="connsiteY43" fmla="*/ 1147048 h 2457451"/>
              <a:gd name="connsiteX44" fmla="*/ 2915934 w 3851276"/>
              <a:gd name="connsiteY44" fmla="*/ 1147048 h 2457451"/>
              <a:gd name="connsiteX45" fmla="*/ 2779277 w 3851276"/>
              <a:gd name="connsiteY45" fmla="*/ 1013250 h 2457451"/>
              <a:gd name="connsiteX46" fmla="*/ 2779277 w 3851276"/>
              <a:gd name="connsiteY46" fmla="*/ 532797 h 2457451"/>
              <a:gd name="connsiteX47" fmla="*/ 2402829 w 3851276"/>
              <a:gd name="connsiteY47" fmla="*/ 532797 h 2457451"/>
              <a:gd name="connsiteX48" fmla="*/ 2397125 w 3851276"/>
              <a:gd name="connsiteY48" fmla="*/ 532797 h 2457451"/>
              <a:gd name="connsiteX49" fmla="*/ 2900363 w 3851276"/>
              <a:gd name="connsiteY49" fmla="*/ 531813 h 2457451"/>
              <a:gd name="connsiteX50" fmla="*/ 2900363 w 3851276"/>
              <a:gd name="connsiteY50" fmla="*/ 1013336 h 2457451"/>
              <a:gd name="connsiteX51" fmla="*/ 2915545 w 3851276"/>
              <a:gd name="connsiteY51" fmla="*/ 1025526 h 2457451"/>
              <a:gd name="connsiteX52" fmla="*/ 3525838 w 3851276"/>
              <a:gd name="connsiteY52" fmla="*/ 1025526 h 2457451"/>
              <a:gd name="connsiteX53" fmla="*/ 3115940 w 3851276"/>
              <a:gd name="connsiteY53" fmla="*/ 537908 h 2457451"/>
              <a:gd name="connsiteX54" fmla="*/ 3106831 w 3851276"/>
              <a:gd name="connsiteY54" fmla="*/ 531813 h 2457451"/>
              <a:gd name="connsiteX55" fmla="*/ 2900363 w 3851276"/>
              <a:gd name="connsiteY55" fmla="*/ 531813 h 2457451"/>
              <a:gd name="connsiteX56" fmla="*/ 135842 w 3851276"/>
              <a:gd name="connsiteY56" fmla="*/ 122238 h 2457451"/>
              <a:gd name="connsiteX57" fmla="*/ 120650 w 3851276"/>
              <a:gd name="connsiteY57" fmla="*/ 137438 h 2457451"/>
              <a:gd name="connsiteX58" fmla="*/ 120650 w 3851276"/>
              <a:gd name="connsiteY58" fmla="*/ 2000926 h 2457451"/>
              <a:gd name="connsiteX59" fmla="*/ 135842 w 3851276"/>
              <a:gd name="connsiteY59" fmla="*/ 2016126 h 2457451"/>
              <a:gd name="connsiteX60" fmla="*/ 327263 w 3851276"/>
              <a:gd name="connsiteY60" fmla="*/ 2016126 h 2457451"/>
              <a:gd name="connsiteX61" fmla="*/ 339416 w 3851276"/>
              <a:gd name="connsiteY61" fmla="*/ 2003966 h 2457451"/>
              <a:gd name="connsiteX62" fmla="*/ 825563 w 3851276"/>
              <a:gd name="connsiteY62" fmla="*/ 1587493 h 2457451"/>
              <a:gd name="connsiteX63" fmla="*/ 1308671 w 3851276"/>
              <a:gd name="connsiteY63" fmla="*/ 2003966 h 2457451"/>
              <a:gd name="connsiteX64" fmla="*/ 1323864 w 3851276"/>
              <a:gd name="connsiteY64" fmla="*/ 2016126 h 2457451"/>
              <a:gd name="connsiteX65" fmla="*/ 2259696 w 3851276"/>
              <a:gd name="connsiteY65" fmla="*/ 2016126 h 2457451"/>
              <a:gd name="connsiteX66" fmla="*/ 2274888 w 3851276"/>
              <a:gd name="connsiteY66" fmla="*/ 2000926 h 2457451"/>
              <a:gd name="connsiteX67" fmla="*/ 2274888 w 3851276"/>
              <a:gd name="connsiteY67" fmla="*/ 137438 h 2457451"/>
              <a:gd name="connsiteX68" fmla="*/ 2259696 w 3851276"/>
              <a:gd name="connsiteY68" fmla="*/ 122238 h 2457451"/>
              <a:gd name="connsiteX69" fmla="*/ 135842 w 3851276"/>
              <a:gd name="connsiteY69" fmla="*/ 122238 h 2457451"/>
              <a:gd name="connsiteX70" fmla="*/ 136718 w 3851276"/>
              <a:gd name="connsiteY70" fmla="*/ 0 h 2457451"/>
              <a:gd name="connsiteX71" fmla="*/ 2260407 w 3851276"/>
              <a:gd name="connsiteY71" fmla="*/ 0 h 2457451"/>
              <a:gd name="connsiteX72" fmla="*/ 2397125 w 3851276"/>
              <a:gd name="connsiteY72" fmla="*/ 136880 h 2457451"/>
              <a:gd name="connsiteX73" fmla="*/ 2397125 w 3851276"/>
              <a:gd name="connsiteY73" fmla="*/ 306281 h 2457451"/>
              <a:gd name="connsiteX74" fmla="*/ 2397125 w 3851276"/>
              <a:gd name="connsiteY74" fmla="*/ 411163 h 2457451"/>
              <a:gd name="connsiteX75" fmla="*/ 2426638 w 3851276"/>
              <a:gd name="connsiteY75" fmla="*/ 411163 h 2457451"/>
              <a:gd name="connsiteX76" fmla="*/ 3107254 w 3851276"/>
              <a:gd name="connsiteY76" fmla="*/ 411163 h 2457451"/>
              <a:gd name="connsiteX77" fmla="*/ 3210506 w 3851276"/>
              <a:gd name="connsiteY77" fmla="*/ 459817 h 2457451"/>
              <a:gd name="connsiteX78" fmla="*/ 3684251 w 3851276"/>
              <a:gd name="connsiteY78" fmla="*/ 1025414 h 2457451"/>
              <a:gd name="connsiteX79" fmla="*/ 3687288 w 3851276"/>
              <a:gd name="connsiteY79" fmla="*/ 1025414 h 2457451"/>
              <a:gd name="connsiteX80" fmla="*/ 3687288 w 3851276"/>
              <a:gd name="connsiteY80" fmla="*/ 1031496 h 2457451"/>
              <a:gd name="connsiteX81" fmla="*/ 3817871 w 3851276"/>
              <a:gd name="connsiteY81" fmla="*/ 1186579 h 2457451"/>
              <a:gd name="connsiteX82" fmla="*/ 3851276 w 3851276"/>
              <a:gd name="connsiteY82" fmla="*/ 1274763 h 2457451"/>
              <a:gd name="connsiteX83" fmla="*/ 3851276 w 3851276"/>
              <a:gd name="connsiteY83" fmla="*/ 2001525 h 2457451"/>
              <a:gd name="connsiteX84" fmla="*/ 3714619 w 3851276"/>
              <a:gd name="connsiteY84" fmla="*/ 2138363 h 2457451"/>
              <a:gd name="connsiteX85" fmla="*/ 3635662 w 3851276"/>
              <a:gd name="connsiteY85" fmla="*/ 2138363 h 2457451"/>
              <a:gd name="connsiteX86" fmla="*/ 3502041 w 3851276"/>
              <a:gd name="connsiteY86" fmla="*/ 2022811 h 2457451"/>
              <a:gd name="connsiteX87" fmla="*/ 3137623 w 3851276"/>
              <a:gd name="connsiteY87" fmla="*/ 1709604 h 2457451"/>
              <a:gd name="connsiteX88" fmla="*/ 2773204 w 3851276"/>
              <a:gd name="connsiteY88" fmla="*/ 2022811 h 2457451"/>
              <a:gd name="connsiteX89" fmla="*/ 2639583 w 3851276"/>
              <a:gd name="connsiteY89" fmla="*/ 2138363 h 2457451"/>
              <a:gd name="connsiteX90" fmla="*/ 2281238 w 3851276"/>
              <a:gd name="connsiteY90" fmla="*/ 2138363 h 2457451"/>
              <a:gd name="connsiteX91" fmla="*/ 2281238 w 3851276"/>
              <a:gd name="connsiteY91" fmla="*/ 2134192 h 2457451"/>
              <a:gd name="connsiteX92" fmla="*/ 2260407 w 3851276"/>
              <a:gd name="connsiteY92" fmla="*/ 2138363 h 2457451"/>
              <a:gd name="connsiteX93" fmla="*/ 1324647 w 3851276"/>
              <a:gd name="connsiteY93" fmla="*/ 2138363 h 2457451"/>
              <a:gd name="connsiteX94" fmla="*/ 1190967 w 3851276"/>
              <a:gd name="connsiteY94" fmla="*/ 2022776 h 2457451"/>
              <a:gd name="connsiteX95" fmla="*/ 826386 w 3851276"/>
              <a:gd name="connsiteY95" fmla="*/ 1709474 h 2457451"/>
              <a:gd name="connsiteX96" fmla="*/ 461804 w 3851276"/>
              <a:gd name="connsiteY96" fmla="*/ 2022776 h 2457451"/>
              <a:gd name="connsiteX97" fmla="*/ 328124 w 3851276"/>
              <a:gd name="connsiteY97" fmla="*/ 2138363 h 2457451"/>
              <a:gd name="connsiteX98" fmla="*/ 136718 w 3851276"/>
              <a:gd name="connsiteY98" fmla="*/ 2138363 h 2457451"/>
              <a:gd name="connsiteX99" fmla="*/ 0 w 3851276"/>
              <a:gd name="connsiteY99" fmla="*/ 2001484 h 2457451"/>
              <a:gd name="connsiteX100" fmla="*/ 0 w 3851276"/>
              <a:gd name="connsiteY100" fmla="*/ 136880 h 2457451"/>
              <a:gd name="connsiteX101" fmla="*/ 136718 w 3851276"/>
              <a:gd name="connsiteY101" fmla="*/ 0 h 2457451"/>
              <a:gd name="connsiteX0" fmla="*/ 3162301 w 3851276"/>
              <a:gd name="connsiteY0" fmla="*/ 2107407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2992437 w 3851276"/>
              <a:gd name="connsiteY4" fmla="*/ 2108200 h 2457451"/>
              <a:gd name="connsiteX5" fmla="*/ 3282951 w 3851276"/>
              <a:gd name="connsiteY5" fmla="*/ 2108200 h 2457451"/>
              <a:gd name="connsiteX6" fmla="*/ 3137694 w 3851276"/>
              <a:gd name="connsiteY6" fmla="*/ 2254250 h 2457451"/>
              <a:gd name="connsiteX7" fmla="*/ 2992437 w 3851276"/>
              <a:gd name="connsiteY7" fmla="*/ 2108200 h 2457451"/>
              <a:gd name="connsiteX8" fmla="*/ 3137695 w 3851276"/>
              <a:gd name="connsiteY8" fmla="*/ 1879600 h 2457451"/>
              <a:gd name="connsiteX9" fmla="*/ 2909888 w 3851276"/>
              <a:gd name="connsiteY9" fmla="*/ 2107407 h 2457451"/>
              <a:gd name="connsiteX10" fmla="*/ 3137695 w 3851276"/>
              <a:gd name="connsiteY10" fmla="*/ 2335214 h 2457451"/>
              <a:gd name="connsiteX11" fmla="*/ 3365502 w 3851276"/>
              <a:gd name="connsiteY11" fmla="*/ 2107407 h 2457451"/>
              <a:gd name="connsiteX12" fmla="*/ 3137695 w 3851276"/>
              <a:gd name="connsiteY12" fmla="*/ 1879600 h 2457451"/>
              <a:gd name="connsiteX13" fmla="*/ 826295 w 3851276"/>
              <a:gd name="connsiteY13" fmla="*/ 1879600 h 2457451"/>
              <a:gd name="connsiteX14" fmla="*/ 598488 w 3851276"/>
              <a:gd name="connsiteY14" fmla="*/ 2107407 h 2457451"/>
              <a:gd name="connsiteX15" fmla="*/ 826295 w 3851276"/>
              <a:gd name="connsiteY15" fmla="*/ 2335214 h 2457451"/>
              <a:gd name="connsiteX16" fmla="*/ 1054102 w 3851276"/>
              <a:gd name="connsiteY16" fmla="*/ 2107407 h 2457451"/>
              <a:gd name="connsiteX17" fmla="*/ 826295 w 3851276"/>
              <a:gd name="connsiteY17" fmla="*/ 1879600 h 2457451"/>
              <a:gd name="connsiteX18" fmla="*/ 3136900 w 3851276"/>
              <a:gd name="connsiteY18" fmla="*/ 1757363 h 2457451"/>
              <a:gd name="connsiteX19" fmla="*/ 3486150 w 3851276"/>
              <a:gd name="connsiteY19" fmla="*/ 2107407 h 2457451"/>
              <a:gd name="connsiteX20" fmla="*/ 3136900 w 3851276"/>
              <a:gd name="connsiteY20" fmla="*/ 2457451 h 2457451"/>
              <a:gd name="connsiteX21" fmla="*/ 2787650 w 3851276"/>
              <a:gd name="connsiteY21" fmla="*/ 2107407 h 2457451"/>
              <a:gd name="connsiteX22" fmla="*/ 3136900 w 3851276"/>
              <a:gd name="connsiteY22" fmla="*/ 1757363 h 2457451"/>
              <a:gd name="connsiteX23" fmla="*/ 825500 w 3851276"/>
              <a:gd name="connsiteY23" fmla="*/ 1757363 h 2457451"/>
              <a:gd name="connsiteX24" fmla="*/ 1174750 w 3851276"/>
              <a:gd name="connsiteY24" fmla="*/ 2107407 h 2457451"/>
              <a:gd name="connsiteX25" fmla="*/ 825500 w 3851276"/>
              <a:gd name="connsiteY25" fmla="*/ 2457451 h 2457451"/>
              <a:gd name="connsiteX26" fmla="*/ 476250 w 3851276"/>
              <a:gd name="connsiteY26" fmla="*/ 2107407 h 2457451"/>
              <a:gd name="connsiteX27" fmla="*/ 825500 w 3851276"/>
              <a:gd name="connsiteY27" fmla="*/ 1757363 h 2457451"/>
              <a:gd name="connsiteX28" fmla="*/ 2397125 w 3851276"/>
              <a:gd name="connsiteY28" fmla="*/ 532797 h 2457451"/>
              <a:gd name="connsiteX29" fmla="*/ 2397125 w 3851276"/>
              <a:gd name="connsiteY29" fmla="*/ 613672 h 2457451"/>
              <a:gd name="connsiteX30" fmla="*/ 2397125 w 3851276"/>
              <a:gd name="connsiteY30" fmla="*/ 2001484 h 2457451"/>
              <a:gd name="connsiteX31" fmla="*/ 2394079 w 3851276"/>
              <a:gd name="connsiteY31" fmla="*/ 2016729 h 2457451"/>
              <a:gd name="connsiteX32" fmla="*/ 2399520 w 3851276"/>
              <a:gd name="connsiteY32" fmla="*/ 2016729 h 2457451"/>
              <a:gd name="connsiteX33" fmla="*/ 2639583 w 3851276"/>
              <a:gd name="connsiteY33" fmla="*/ 2016729 h 2457451"/>
              <a:gd name="connsiteX34" fmla="*/ 2651731 w 3851276"/>
              <a:gd name="connsiteY34" fmla="*/ 2004566 h 2457451"/>
              <a:gd name="connsiteX35" fmla="*/ 3137623 w 3851276"/>
              <a:gd name="connsiteY35" fmla="*/ 1587970 h 2457451"/>
              <a:gd name="connsiteX36" fmla="*/ 3623514 w 3851276"/>
              <a:gd name="connsiteY36" fmla="*/ 2004566 h 2457451"/>
              <a:gd name="connsiteX37" fmla="*/ 3635662 w 3851276"/>
              <a:gd name="connsiteY37" fmla="*/ 2016729 h 2457451"/>
              <a:gd name="connsiteX38" fmla="*/ 3714619 w 3851276"/>
              <a:gd name="connsiteY38" fmla="*/ 2016729 h 2457451"/>
              <a:gd name="connsiteX39" fmla="*/ 3729803 w 3851276"/>
              <a:gd name="connsiteY39" fmla="*/ 2001525 h 2457451"/>
              <a:gd name="connsiteX40" fmla="*/ 3729803 w 3851276"/>
              <a:gd name="connsiteY40" fmla="*/ 1274763 h 2457451"/>
              <a:gd name="connsiteX41" fmla="*/ 3726766 w 3851276"/>
              <a:gd name="connsiteY41" fmla="*/ 1265641 h 2457451"/>
              <a:gd name="connsiteX42" fmla="*/ 3626551 w 3851276"/>
              <a:gd name="connsiteY42" fmla="*/ 1147048 h 2457451"/>
              <a:gd name="connsiteX43" fmla="*/ 2915934 w 3851276"/>
              <a:gd name="connsiteY43" fmla="*/ 1147048 h 2457451"/>
              <a:gd name="connsiteX44" fmla="*/ 2779277 w 3851276"/>
              <a:gd name="connsiteY44" fmla="*/ 1013250 h 2457451"/>
              <a:gd name="connsiteX45" fmla="*/ 2779277 w 3851276"/>
              <a:gd name="connsiteY45" fmla="*/ 532797 h 2457451"/>
              <a:gd name="connsiteX46" fmla="*/ 2402829 w 3851276"/>
              <a:gd name="connsiteY46" fmla="*/ 532797 h 2457451"/>
              <a:gd name="connsiteX47" fmla="*/ 2397125 w 3851276"/>
              <a:gd name="connsiteY47" fmla="*/ 532797 h 2457451"/>
              <a:gd name="connsiteX48" fmla="*/ 2900363 w 3851276"/>
              <a:gd name="connsiteY48" fmla="*/ 531813 h 2457451"/>
              <a:gd name="connsiteX49" fmla="*/ 2900363 w 3851276"/>
              <a:gd name="connsiteY49" fmla="*/ 1013336 h 2457451"/>
              <a:gd name="connsiteX50" fmla="*/ 2915545 w 3851276"/>
              <a:gd name="connsiteY50" fmla="*/ 1025526 h 2457451"/>
              <a:gd name="connsiteX51" fmla="*/ 3525838 w 3851276"/>
              <a:gd name="connsiteY51" fmla="*/ 1025526 h 2457451"/>
              <a:gd name="connsiteX52" fmla="*/ 3115940 w 3851276"/>
              <a:gd name="connsiteY52" fmla="*/ 537908 h 2457451"/>
              <a:gd name="connsiteX53" fmla="*/ 3106831 w 3851276"/>
              <a:gd name="connsiteY53" fmla="*/ 531813 h 2457451"/>
              <a:gd name="connsiteX54" fmla="*/ 2900363 w 3851276"/>
              <a:gd name="connsiteY54" fmla="*/ 531813 h 2457451"/>
              <a:gd name="connsiteX55" fmla="*/ 135842 w 3851276"/>
              <a:gd name="connsiteY55" fmla="*/ 122238 h 2457451"/>
              <a:gd name="connsiteX56" fmla="*/ 120650 w 3851276"/>
              <a:gd name="connsiteY56" fmla="*/ 137438 h 2457451"/>
              <a:gd name="connsiteX57" fmla="*/ 120650 w 3851276"/>
              <a:gd name="connsiteY57" fmla="*/ 2000926 h 2457451"/>
              <a:gd name="connsiteX58" fmla="*/ 135842 w 3851276"/>
              <a:gd name="connsiteY58" fmla="*/ 2016126 h 2457451"/>
              <a:gd name="connsiteX59" fmla="*/ 327263 w 3851276"/>
              <a:gd name="connsiteY59" fmla="*/ 2016126 h 2457451"/>
              <a:gd name="connsiteX60" fmla="*/ 339416 w 3851276"/>
              <a:gd name="connsiteY60" fmla="*/ 2003966 h 2457451"/>
              <a:gd name="connsiteX61" fmla="*/ 825563 w 3851276"/>
              <a:gd name="connsiteY61" fmla="*/ 1587493 h 2457451"/>
              <a:gd name="connsiteX62" fmla="*/ 1308671 w 3851276"/>
              <a:gd name="connsiteY62" fmla="*/ 2003966 h 2457451"/>
              <a:gd name="connsiteX63" fmla="*/ 1323864 w 3851276"/>
              <a:gd name="connsiteY63" fmla="*/ 2016126 h 2457451"/>
              <a:gd name="connsiteX64" fmla="*/ 2259696 w 3851276"/>
              <a:gd name="connsiteY64" fmla="*/ 2016126 h 2457451"/>
              <a:gd name="connsiteX65" fmla="*/ 2274888 w 3851276"/>
              <a:gd name="connsiteY65" fmla="*/ 2000926 h 2457451"/>
              <a:gd name="connsiteX66" fmla="*/ 2274888 w 3851276"/>
              <a:gd name="connsiteY66" fmla="*/ 137438 h 2457451"/>
              <a:gd name="connsiteX67" fmla="*/ 2259696 w 3851276"/>
              <a:gd name="connsiteY67" fmla="*/ 122238 h 2457451"/>
              <a:gd name="connsiteX68" fmla="*/ 135842 w 3851276"/>
              <a:gd name="connsiteY68" fmla="*/ 122238 h 2457451"/>
              <a:gd name="connsiteX69" fmla="*/ 136718 w 3851276"/>
              <a:gd name="connsiteY69" fmla="*/ 0 h 2457451"/>
              <a:gd name="connsiteX70" fmla="*/ 2260407 w 3851276"/>
              <a:gd name="connsiteY70" fmla="*/ 0 h 2457451"/>
              <a:gd name="connsiteX71" fmla="*/ 2397125 w 3851276"/>
              <a:gd name="connsiteY71" fmla="*/ 136880 h 2457451"/>
              <a:gd name="connsiteX72" fmla="*/ 2397125 w 3851276"/>
              <a:gd name="connsiteY72" fmla="*/ 306281 h 2457451"/>
              <a:gd name="connsiteX73" fmla="*/ 2397125 w 3851276"/>
              <a:gd name="connsiteY73" fmla="*/ 411163 h 2457451"/>
              <a:gd name="connsiteX74" fmla="*/ 2426638 w 3851276"/>
              <a:gd name="connsiteY74" fmla="*/ 411163 h 2457451"/>
              <a:gd name="connsiteX75" fmla="*/ 3107254 w 3851276"/>
              <a:gd name="connsiteY75" fmla="*/ 411163 h 2457451"/>
              <a:gd name="connsiteX76" fmla="*/ 3210506 w 3851276"/>
              <a:gd name="connsiteY76" fmla="*/ 459817 h 2457451"/>
              <a:gd name="connsiteX77" fmla="*/ 3684251 w 3851276"/>
              <a:gd name="connsiteY77" fmla="*/ 1025414 h 2457451"/>
              <a:gd name="connsiteX78" fmla="*/ 3687288 w 3851276"/>
              <a:gd name="connsiteY78" fmla="*/ 1025414 h 2457451"/>
              <a:gd name="connsiteX79" fmla="*/ 3687288 w 3851276"/>
              <a:gd name="connsiteY79" fmla="*/ 1031496 h 2457451"/>
              <a:gd name="connsiteX80" fmla="*/ 3817871 w 3851276"/>
              <a:gd name="connsiteY80" fmla="*/ 1186579 h 2457451"/>
              <a:gd name="connsiteX81" fmla="*/ 3851276 w 3851276"/>
              <a:gd name="connsiteY81" fmla="*/ 1274763 h 2457451"/>
              <a:gd name="connsiteX82" fmla="*/ 3851276 w 3851276"/>
              <a:gd name="connsiteY82" fmla="*/ 2001525 h 2457451"/>
              <a:gd name="connsiteX83" fmla="*/ 3714619 w 3851276"/>
              <a:gd name="connsiteY83" fmla="*/ 2138363 h 2457451"/>
              <a:gd name="connsiteX84" fmla="*/ 3635662 w 3851276"/>
              <a:gd name="connsiteY84" fmla="*/ 2138363 h 2457451"/>
              <a:gd name="connsiteX85" fmla="*/ 3502041 w 3851276"/>
              <a:gd name="connsiteY85" fmla="*/ 2022811 h 2457451"/>
              <a:gd name="connsiteX86" fmla="*/ 3137623 w 3851276"/>
              <a:gd name="connsiteY86" fmla="*/ 1709604 h 2457451"/>
              <a:gd name="connsiteX87" fmla="*/ 2773204 w 3851276"/>
              <a:gd name="connsiteY87" fmla="*/ 2022811 h 2457451"/>
              <a:gd name="connsiteX88" fmla="*/ 2639583 w 3851276"/>
              <a:gd name="connsiteY88" fmla="*/ 2138363 h 2457451"/>
              <a:gd name="connsiteX89" fmla="*/ 2281238 w 3851276"/>
              <a:gd name="connsiteY89" fmla="*/ 2138363 h 2457451"/>
              <a:gd name="connsiteX90" fmla="*/ 2281238 w 3851276"/>
              <a:gd name="connsiteY90" fmla="*/ 2134192 h 2457451"/>
              <a:gd name="connsiteX91" fmla="*/ 2260407 w 3851276"/>
              <a:gd name="connsiteY91" fmla="*/ 2138363 h 2457451"/>
              <a:gd name="connsiteX92" fmla="*/ 1324647 w 3851276"/>
              <a:gd name="connsiteY92" fmla="*/ 2138363 h 2457451"/>
              <a:gd name="connsiteX93" fmla="*/ 1190967 w 3851276"/>
              <a:gd name="connsiteY93" fmla="*/ 2022776 h 2457451"/>
              <a:gd name="connsiteX94" fmla="*/ 826386 w 3851276"/>
              <a:gd name="connsiteY94" fmla="*/ 1709474 h 2457451"/>
              <a:gd name="connsiteX95" fmla="*/ 461804 w 3851276"/>
              <a:gd name="connsiteY95" fmla="*/ 2022776 h 2457451"/>
              <a:gd name="connsiteX96" fmla="*/ 328124 w 3851276"/>
              <a:gd name="connsiteY96" fmla="*/ 2138363 h 2457451"/>
              <a:gd name="connsiteX97" fmla="*/ 136718 w 3851276"/>
              <a:gd name="connsiteY97" fmla="*/ 2138363 h 2457451"/>
              <a:gd name="connsiteX98" fmla="*/ 0 w 3851276"/>
              <a:gd name="connsiteY98" fmla="*/ 2001484 h 2457451"/>
              <a:gd name="connsiteX99" fmla="*/ 0 w 3851276"/>
              <a:gd name="connsiteY99" fmla="*/ 136880 h 2457451"/>
              <a:gd name="connsiteX100" fmla="*/ 136718 w 3851276"/>
              <a:gd name="connsiteY100" fmla="*/ 0 h 2457451"/>
              <a:gd name="connsiteX0" fmla="*/ 3137694 w 3851276"/>
              <a:gd name="connsiteY0" fmla="*/ 2132014 h 2457451"/>
              <a:gd name="connsiteX1" fmla="*/ 3113087 w 3851276"/>
              <a:gd name="connsiteY1" fmla="*/ 2107407 h 2457451"/>
              <a:gd name="connsiteX2" fmla="*/ 3137694 w 3851276"/>
              <a:gd name="connsiteY2" fmla="*/ 2132014 h 2457451"/>
              <a:gd name="connsiteX3" fmla="*/ 2992437 w 3851276"/>
              <a:gd name="connsiteY3" fmla="*/ 2108200 h 2457451"/>
              <a:gd name="connsiteX4" fmla="*/ 3282951 w 3851276"/>
              <a:gd name="connsiteY4" fmla="*/ 2108200 h 2457451"/>
              <a:gd name="connsiteX5" fmla="*/ 3137694 w 3851276"/>
              <a:gd name="connsiteY5" fmla="*/ 2254250 h 2457451"/>
              <a:gd name="connsiteX6" fmla="*/ 2992437 w 3851276"/>
              <a:gd name="connsiteY6" fmla="*/ 2108200 h 2457451"/>
              <a:gd name="connsiteX7" fmla="*/ 3137695 w 3851276"/>
              <a:gd name="connsiteY7" fmla="*/ 1879600 h 2457451"/>
              <a:gd name="connsiteX8" fmla="*/ 2909888 w 3851276"/>
              <a:gd name="connsiteY8" fmla="*/ 2107407 h 2457451"/>
              <a:gd name="connsiteX9" fmla="*/ 3137695 w 3851276"/>
              <a:gd name="connsiteY9" fmla="*/ 2335214 h 2457451"/>
              <a:gd name="connsiteX10" fmla="*/ 3365502 w 3851276"/>
              <a:gd name="connsiteY10" fmla="*/ 2107407 h 2457451"/>
              <a:gd name="connsiteX11" fmla="*/ 3137695 w 3851276"/>
              <a:gd name="connsiteY11" fmla="*/ 1879600 h 2457451"/>
              <a:gd name="connsiteX12" fmla="*/ 826295 w 3851276"/>
              <a:gd name="connsiteY12" fmla="*/ 1879600 h 2457451"/>
              <a:gd name="connsiteX13" fmla="*/ 598488 w 3851276"/>
              <a:gd name="connsiteY13" fmla="*/ 2107407 h 2457451"/>
              <a:gd name="connsiteX14" fmla="*/ 826295 w 3851276"/>
              <a:gd name="connsiteY14" fmla="*/ 2335214 h 2457451"/>
              <a:gd name="connsiteX15" fmla="*/ 1054102 w 3851276"/>
              <a:gd name="connsiteY15" fmla="*/ 2107407 h 2457451"/>
              <a:gd name="connsiteX16" fmla="*/ 826295 w 3851276"/>
              <a:gd name="connsiteY16" fmla="*/ 1879600 h 2457451"/>
              <a:gd name="connsiteX17" fmla="*/ 3136900 w 3851276"/>
              <a:gd name="connsiteY17" fmla="*/ 1757363 h 2457451"/>
              <a:gd name="connsiteX18" fmla="*/ 3486150 w 3851276"/>
              <a:gd name="connsiteY18" fmla="*/ 2107407 h 2457451"/>
              <a:gd name="connsiteX19" fmla="*/ 3136900 w 3851276"/>
              <a:gd name="connsiteY19" fmla="*/ 2457451 h 2457451"/>
              <a:gd name="connsiteX20" fmla="*/ 2787650 w 3851276"/>
              <a:gd name="connsiteY20" fmla="*/ 2107407 h 2457451"/>
              <a:gd name="connsiteX21" fmla="*/ 3136900 w 3851276"/>
              <a:gd name="connsiteY21" fmla="*/ 1757363 h 2457451"/>
              <a:gd name="connsiteX22" fmla="*/ 825500 w 3851276"/>
              <a:gd name="connsiteY22" fmla="*/ 1757363 h 2457451"/>
              <a:gd name="connsiteX23" fmla="*/ 1174750 w 3851276"/>
              <a:gd name="connsiteY23" fmla="*/ 2107407 h 2457451"/>
              <a:gd name="connsiteX24" fmla="*/ 825500 w 3851276"/>
              <a:gd name="connsiteY24" fmla="*/ 2457451 h 2457451"/>
              <a:gd name="connsiteX25" fmla="*/ 476250 w 3851276"/>
              <a:gd name="connsiteY25" fmla="*/ 2107407 h 2457451"/>
              <a:gd name="connsiteX26" fmla="*/ 825500 w 3851276"/>
              <a:gd name="connsiteY26" fmla="*/ 1757363 h 2457451"/>
              <a:gd name="connsiteX27" fmla="*/ 2397125 w 3851276"/>
              <a:gd name="connsiteY27" fmla="*/ 532797 h 2457451"/>
              <a:gd name="connsiteX28" fmla="*/ 2397125 w 3851276"/>
              <a:gd name="connsiteY28" fmla="*/ 613672 h 2457451"/>
              <a:gd name="connsiteX29" fmla="*/ 2397125 w 3851276"/>
              <a:gd name="connsiteY29" fmla="*/ 2001484 h 2457451"/>
              <a:gd name="connsiteX30" fmla="*/ 2394079 w 3851276"/>
              <a:gd name="connsiteY30" fmla="*/ 2016729 h 2457451"/>
              <a:gd name="connsiteX31" fmla="*/ 2399520 w 3851276"/>
              <a:gd name="connsiteY31" fmla="*/ 2016729 h 2457451"/>
              <a:gd name="connsiteX32" fmla="*/ 2639583 w 3851276"/>
              <a:gd name="connsiteY32" fmla="*/ 2016729 h 2457451"/>
              <a:gd name="connsiteX33" fmla="*/ 2651731 w 3851276"/>
              <a:gd name="connsiteY33" fmla="*/ 2004566 h 2457451"/>
              <a:gd name="connsiteX34" fmla="*/ 3137623 w 3851276"/>
              <a:gd name="connsiteY34" fmla="*/ 1587970 h 2457451"/>
              <a:gd name="connsiteX35" fmla="*/ 3623514 w 3851276"/>
              <a:gd name="connsiteY35" fmla="*/ 2004566 h 2457451"/>
              <a:gd name="connsiteX36" fmla="*/ 3635662 w 3851276"/>
              <a:gd name="connsiteY36" fmla="*/ 2016729 h 2457451"/>
              <a:gd name="connsiteX37" fmla="*/ 3714619 w 3851276"/>
              <a:gd name="connsiteY37" fmla="*/ 2016729 h 2457451"/>
              <a:gd name="connsiteX38" fmla="*/ 3729803 w 3851276"/>
              <a:gd name="connsiteY38" fmla="*/ 2001525 h 2457451"/>
              <a:gd name="connsiteX39" fmla="*/ 3729803 w 3851276"/>
              <a:gd name="connsiteY39" fmla="*/ 1274763 h 2457451"/>
              <a:gd name="connsiteX40" fmla="*/ 3726766 w 3851276"/>
              <a:gd name="connsiteY40" fmla="*/ 1265641 h 2457451"/>
              <a:gd name="connsiteX41" fmla="*/ 3626551 w 3851276"/>
              <a:gd name="connsiteY41" fmla="*/ 1147048 h 2457451"/>
              <a:gd name="connsiteX42" fmla="*/ 2915934 w 3851276"/>
              <a:gd name="connsiteY42" fmla="*/ 1147048 h 2457451"/>
              <a:gd name="connsiteX43" fmla="*/ 2779277 w 3851276"/>
              <a:gd name="connsiteY43" fmla="*/ 1013250 h 2457451"/>
              <a:gd name="connsiteX44" fmla="*/ 2779277 w 3851276"/>
              <a:gd name="connsiteY44" fmla="*/ 532797 h 2457451"/>
              <a:gd name="connsiteX45" fmla="*/ 2402829 w 3851276"/>
              <a:gd name="connsiteY45" fmla="*/ 532797 h 2457451"/>
              <a:gd name="connsiteX46" fmla="*/ 2397125 w 3851276"/>
              <a:gd name="connsiteY46" fmla="*/ 532797 h 2457451"/>
              <a:gd name="connsiteX47" fmla="*/ 2900363 w 3851276"/>
              <a:gd name="connsiteY47" fmla="*/ 531813 h 2457451"/>
              <a:gd name="connsiteX48" fmla="*/ 2900363 w 3851276"/>
              <a:gd name="connsiteY48" fmla="*/ 1013336 h 2457451"/>
              <a:gd name="connsiteX49" fmla="*/ 2915545 w 3851276"/>
              <a:gd name="connsiteY49" fmla="*/ 1025526 h 2457451"/>
              <a:gd name="connsiteX50" fmla="*/ 3525838 w 3851276"/>
              <a:gd name="connsiteY50" fmla="*/ 1025526 h 2457451"/>
              <a:gd name="connsiteX51" fmla="*/ 3115940 w 3851276"/>
              <a:gd name="connsiteY51" fmla="*/ 537908 h 2457451"/>
              <a:gd name="connsiteX52" fmla="*/ 3106831 w 3851276"/>
              <a:gd name="connsiteY52" fmla="*/ 531813 h 2457451"/>
              <a:gd name="connsiteX53" fmla="*/ 2900363 w 3851276"/>
              <a:gd name="connsiteY53" fmla="*/ 531813 h 2457451"/>
              <a:gd name="connsiteX54" fmla="*/ 135842 w 3851276"/>
              <a:gd name="connsiteY54" fmla="*/ 122238 h 2457451"/>
              <a:gd name="connsiteX55" fmla="*/ 120650 w 3851276"/>
              <a:gd name="connsiteY55" fmla="*/ 137438 h 2457451"/>
              <a:gd name="connsiteX56" fmla="*/ 120650 w 3851276"/>
              <a:gd name="connsiteY56" fmla="*/ 2000926 h 2457451"/>
              <a:gd name="connsiteX57" fmla="*/ 135842 w 3851276"/>
              <a:gd name="connsiteY57" fmla="*/ 2016126 h 2457451"/>
              <a:gd name="connsiteX58" fmla="*/ 327263 w 3851276"/>
              <a:gd name="connsiteY58" fmla="*/ 2016126 h 2457451"/>
              <a:gd name="connsiteX59" fmla="*/ 339416 w 3851276"/>
              <a:gd name="connsiteY59" fmla="*/ 2003966 h 2457451"/>
              <a:gd name="connsiteX60" fmla="*/ 825563 w 3851276"/>
              <a:gd name="connsiteY60" fmla="*/ 1587493 h 2457451"/>
              <a:gd name="connsiteX61" fmla="*/ 1308671 w 3851276"/>
              <a:gd name="connsiteY61" fmla="*/ 2003966 h 2457451"/>
              <a:gd name="connsiteX62" fmla="*/ 1323864 w 3851276"/>
              <a:gd name="connsiteY62" fmla="*/ 2016126 h 2457451"/>
              <a:gd name="connsiteX63" fmla="*/ 2259696 w 3851276"/>
              <a:gd name="connsiteY63" fmla="*/ 2016126 h 2457451"/>
              <a:gd name="connsiteX64" fmla="*/ 2274888 w 3851276"/>
              <a:gd name="connsiteY64" fmla="*/ 2000926 h 2457451"/>
              <a:gd name="connsiteX65" fmla="*/ 2274888 w 3851276"/>
              <a:gd name="connsiteY65" fmla="*/ 137438 h 2457451"/>
              <a:gd name="connsiteX66" fmla="*/ 2259696 w 3851276"/>
              <a:gd name="connsiteY66" fmla="*/ 122238 h 2457451"/>
              <a:gd name="connsiteX67" fmla="*/ 135842 w 3851276"/>
              <a:gd name="connsiteY67" fmla="*/ 122238 h 2457451"/>
              <a:gd name="connsiteX68" fmla="*/ 136718 w 3851276"/>
              <a:gd name="connsiteY68" fmla="*/ 0 h 2457451"/>
              <a:gd name="connsiteX69" fmla="*/ 2260407 w 3851276"/>
              <a:gd name="connsiteY69" fmla="*/ 0 h 2457451"/>
              <a:gd name="connsiteX70" fmla="*/ 2397125 w 3851276"/>
              <a:gd name="connsiteY70" fmla="*/ 136880 h 2457451"/>
              <a:gd name="connsiteX71" fmla="*/ 2397125 w 3851276"/>
              <a:gd name="connsiteY71" fmla="*/ 306281 h 2457451"/>
              <a:gd name="connsiteX72" fmla="*/ 2397125 w 3851276"/>
              <a:gd name="connsiteY72" fmla="*/ 411163 h 2457451"/>
              <a:gd name="connsiteX73" fmla="*/ 2426638 w 3851276"/>
              <a:gd name="connsiteY73" fmla="*/ 411163 h 2457451"/>
              <a:gd name="connsiteX74" fmla="*/ 3107254 w 3851276"/>
              <a:gd name="connsiteY74" fmla="*/ 411163 h 2457451"/>
              <a:gd name="connsiteX75" fmla="*/ 3210506 w 3851276"/>
              <a:gd name="connsiteY75" fmla="*/ 459817 h 2457451"/>
              <a:gd name="connsiteX76" fmla="*/ 3684251 w 3851276"/>
              <a:gd name="connsiteY76" fmla="*/ 1025414 h 2457451"/>
              <a:gd name="connsiteX77" fmla="*/ 3687288 w 3851276"/>
              <a:gd name="connsiteY77" fmla="*/ 1025414 h 2457451"/>
              <a:gd name="connsiteX78" fmla="*/ 3687288 w 3851276"/>
              <a:gd name="connsiteY78" fmla="*/ 1031496 h 2457451"/>
              <a:gd name="connsiteX79" fmla="*/ 3817871 w 3851276"/>
              <a:gd name="connsiteY79" fmla="*/ 1186579 h 2457451"/>
              <a:gd name="connsiteX80" fmla="*/ 3851276 w 3851276"/>
              <a:gd name="connsiteY80" fmla="*/ 1274763 h 2457451"/>
              <a:gd name="connsiteX81" fmla="*/ 3851276 w 3851276"/>
              <a:gd name="connsiteY81" fmla="*/ 2001525 h 2457451"/>
              <a:gd name="connsiteX82" fmla="*/ 3714619 w 3851276"/>
              <a:gd name="connsiteY82" fmla="*/ 2138363 h 2457451"/>
              <a:gd name="connsiteX83" fmla="*/ 3635662 w 3851276"/>
              <a:gd name="connsiteY83" fmla="*/ 2138363 h 2457451"/>
              <a:gd name="connsiteX84" fmla="*/ 3502041 w 3851276"/>
              <a:gd name="connsiteY84" fmla="*/ 2022811 h 2457451"/>
              <a:gd name="connsiteX85" fmla="*/ 3137623 w 3851276"/>
              <a:gd name="connsiteY85" fmla="*/ 1709604 h 2457451"/>
              <a:gd name="connsiteX86" fmla="*/ 2773204 w 3851276"/>
              <a:gd name="connsiteY86" fmla="*/ 2022811 h 2457451"/>
              <a:gd name="connsiteX87" fmla="*/ 2639583 w 3851276"/>
              <a:gd name="connsiteY87" fmla="*/ 2138363 h 2457451"/>
              <a:gd name="connsiteX88" fmla="*/ 2281238 w 3851276"/>
              <a:gd name="connsiteY88" fmla="*/ 2138363 h 2457451"/>
              <a:gd name="connsiteX89" fmla="*/ 2281238 w 3851276"/>
              <a:gd name="connsiteY89" fmla="*/ 2134192 h 2457451"/>
              <a:gd name="connsiteX90" fmla="*/ 2260407 w 3851276"/>
              <a:gd name="connsiteY90" fmla="*/ 2138363 h 2457451"/>
              <a:gd name="connsiteX91" fmla="*/ 1324647 w 3851276"/>
              <a:gd name="connsiteY91" fmla="*/ 2138363 h 2457451"/>
              <a:gd name="connsiteX92" fmla="*/ 1190967 w 3851276"/>
              <a:gd name="connsiteY92" fmla="*/ 2022776 h 2457451"/>
              <a:gd name="connsiteX93" fmla="*/ 826386 w 3851276"/>
              <a:gd name="connsiteY93" fmla="*/ 1709474 h 2457451"/>
              <a:gd name="connsiteX94" fmla="*/ 461804 w 3851276"/>
              <a:gd name="connsiteY94" fmla="*/ 2022776 h 2457451"/>
              <a:gd name="connsiteX95" fmla="*/ 328124 w 3851276"/>
              <a:gd name="connsiteY95" fmla="*/ 2138363 h 2457451"/>
              <a:gd name="connsiteX96" fmla="*/ 136718 w 3851276"/>
              <a:gd name="connsiteY96" fmla="*/ 2138363 h 2457451"/>
              <a:gd name="connsiteX97" fmla="*/ 0 w 3851276"/>
              <a:gd name="connsiteY97" fmla="*/ 2001484 h 2457451"/>
              <a:gd name="connsiteX98" fmla="*/ 0 w 3851276"/>
              <a:gd name="connsiteY98" fmla="*/ 136880 h 2457451"/>
              <a:gd name="connsiteX99" fmla="*/ 136718 w 3851276"/>
              <a:gd name="connsiteY99" fmla="*/ 0 h 2457451"/>
              <a:gd name="connsiteX0" fmla="*/ 2992437 w 3851276"/>
              <a:gd name="connsiteY0" fmla="*/ 2108200 h 2457451"/>
              <a:gd name="connsiteX1" fmla="*/ 3282951 w 3851276"/>
              <a:gd name="connsiteY1" fmla="*/ 2108200 h 2457451"/>
              <a:gd name="connsiteX2" fmla="*/ 3137694 w 3851276"/>
              <a:gd name="connsiteY2" fmla="*/ 2254250 h 2457451"/>
              <a:gd name="connsiteX3" fmla="*/ 2992437 w 3851276"/>
              <a:gd name="connsiteY3" fmla="*/ 2108200 h 2457451"/>
              <a:gd name="connsiteX4" fmla="*/ 3137695 w 3851276"/>
              <a:gd name="connsiteY4" fmla="*/ 1879600 h 2457451"/>
              <a:gd name="connsiteX5" fmla="*/ 2909888 w 3851276"/>
              <a:gd name="connsiteY5" fmla="*/ 2107407 h 2457451"/>
              <a:gd name="connsiteX6" fmla="*/ 3137695 w 3851276"/>
              <a:gd name="connsiteY6" fmla="*/ 2335214 h 2457451"/>
              <a:gd name="connsiteX7" fmla="*/ 3365502 w 3851276"/>
              <a:gd name="connsiteY7" fmla="*/ 2107407 h 2457451"/>
              <a:gd name="connsiteX8" fmla="*/ 3137695 w 3851276"/>
              <a:gd name="connsiteY8" fmla="*/ 1879600 h 2457451"/>
              <a:gd name="connsiteX9" fmla="*/ 826295 w 3851276"/>
              <a:gd name="connsiteY9" fmla="*/ 1879600 h 2457451"/>
              <a:gd name="connsiteX10" fmla="*/ 598488 w 3851276"/>
              <a:gd name="connsiteY10" fmla="*/ 2107407 h 2457451"/>
              <a:gd name="connsiteX11" fmla="*/ 826295 w 3851276"/>
              <a:gd name="connsiteY11" fmla="*/ 2335214 h 2457451"/>
              <a:gd name="connsiteX12" fmla="*/ 1054102 w 3851276"/>
              <a:gd name="connsiteY12" fmla="*/ 2107407 h 2457451"/>
              <a:gd name="connsiteX13" fmla="*/ 826295 w 3851276"/>
              <a:gd name="connsiteY13" fmla="*/ 1879600 h 2457451"/>
              <a:gd name="connsiteX14" fmla="*/ 3136900 w 3851276"/>
              <a:gd name="connsiteY14" fmla="*/ 1757363 h 2457451"/>
              <a:gd name="connsiteX15" fmla="*/ 3486150 w 3851276"/>
              <a:gd name="connsiteY15" fmla="*/ 2107407 h 2457451"/>
              <a:gd name="connsiteX16" fmla="*/ 3136900 w 3851276"/>
              <a:gd name="connsiteY16" fmla="*/ 2457451 h 2457451"/>
              <a:gd name="connsiteX17" fmla="*/ 2787650 w 3851276"/>
              <a:gd name="connsiteY17" fmla="*/ 2107407 h 2457451"/>
              <a:gd name="connsiteX18" fmla="*/ 3136900 w 3851276"/>
              <a:gd name="connsiteY18" fmla="*/ 1757363 h 2457451"/>
              <a:gd name="connsiteX19" fmla="*/ 825500 w 3851276"/>
              <a:gd name="connsiteY19" fmla="*/ 1757363 h 2457451"/>
              <a:gd name="connsiteX20" fmla="*/ 1174750 w 3851276"/>
              <a:gd name="connsiteY20" fmla="*/ 2107407 h 2457451"/>
              <a:gd name="connsiteX21" fmla="*/ 825500 w 3851276"/>
              <a:gd name="connsiteY21" fmla="*/ 2457451 h 2457451"/>
              <a:gd name="connsiteX22" fmla="*/ 476250 w 3851276"/>
              <a:gd name="connsiteY22" fmla="*/ 2107407 h 2457451"/>
              <a:gd name="connsiteX23" fmla="*/ 825500 w 3851276"/>
              <a:gd name="connsiteY23" fmla="*/ 1757363 h 2457451"/>
              <a:gd name="connsiteX24" fmla="*/ 2397125 w 3851276"/>
              <a:gd name="connsiteY24" fmla="*/ 532797 h 2457451"/>
              <a:gd name="connsiteX25" fmla="*/ 2397125 w 3851276"/>
              <a:gd name="connsiteY25" fmla="*/ 613672 h 2457451"/>
              <a:gd name="connsiteX26" fmla="*/ 2397125 w 3851276"/>
              <a:gd name="connsiteY26" fmla="*/ 2001484 h 2457451"/>
              <a:gd name="connsiteX27" fmla="*/ 2394079 w 3851276"/>
              <a:gd name="connsiteY27" fmla="*/ 2016729 h 2457451"/>
              <a:gd name="connsiteX28" fmla="*/ 2399520 w 3851276"/>
              <a:gd name="connsiteY28" fmla="*/ 2016729 h 2457451"/>
              <a:gd name="connsiteX29" fmla="*/ 2639583 w 3851276"/>
              <a:gd name="connsiteY29" fmla="*/ 2016729 h 2457451"/>
              <a:gd name="connsiteX30" fmla="*/ 2651731 w 3851276"/>
              <a:gd name="connsiteY30" fmla="*/ 2004566 h 2457451"/>
              <a:gd name="connsiteX31" fmla="*/ 3137623 w 3851276"/>
              <a:gd name="connsiteY31" fmla="*/ 1587970 h 2457451"/>
              <a:gd name="connsiteX32" fmla="*/ 3623514 w 3851276"/>
              <a:gd name="connsiteY32" fmla="*/ 2004566 h 2457451"/>
              <a:gd name="connsiteX33" fmla="*/ 3635662 w 3851276"/>
              <a:gd name="connsiteY33" fmla="*/ 2016729 h 2457451"/>
              <a:gd name="connsiteX34" fmla="*/ 3714619 w 3851276"/>
              <a:gd name="connsiteY34" fmla="*/ 2016729 h 2457451"/>
              <a:gd name="connsiteX35" fmla="*/ 3729803 w 3851276"/>
              <a:gd name="connsiteY35" fmla="*/ 2001525 h 2457451"/>
              <a:gd name="connsiteX36" fmla="*/ 3729803 w 3851276"/>
              <a:gd name="connsiteY36" fmla="*/ 1274763 h 2457451"/>
              <a:gd name="connsiteX37" fmla="*/ 3726766 w 3851276"/>
              <a:gd name="connsiteY37" fmla="*/ 1265641 h 2457451"/>
              <a:gd name="connsiteX38" fmla="*/ 3626551 w 3851276"/>
              <a:gd name="connsiteY38" fmla="*/ 1147048 h 2457451"/>
              <a:gd name="connsiteX39" fmla="*/ 2915934 w 3851276"/>
              <a:gd name="connsiteY39" fmla="*/ 1147048 h 2457451"/>
              <a:gd name="connsiteX40" fmla="*/ 2779277 w 3851276"/>
              <a:gd name="connsiteY40" fmla="*/ 1013250 h 2457451"/>
              <a:gd name="connsiteX41" fmla="*/ 2779277 w 3851276"/>
              <a:gd name="connsiteY41" fmla="*/ 532797 h 2457451"/>
              <a:gd name="connsiteX42" fmla="*/ 2402829 w 3851276"/>
              <a:gd name="connsiteY42" fmla="*/ 532797 h 2457451"/>
              <a:gd name="connsiteX43" fmla="*/ 2397125 w 3851276"/>
              <a:gd name="connsiteY43" fmla="*/ 532797 h 2457451"/>
              <a:gd name="connsiteX44" fmla="*/ 2900363 w 3851276"/>
              <a:gd name="connsiteY44" fmla="*/ 531813 h 2457451"/>
              <a:gd name="connsiteX45" fmla="*/ 2900363 w 3851276"/>
              <a:gd name="connsiteY45" fmla="*/ 1013336 h 2457451"/>
              <a:gd name="connsiteX46" fmla="*/ 2915545 w 3851276"/>
              <a:gd name="connsiteY46" fmla="*/ 1025526 h 2457451"/>
              <a:gd name="connsiteX47" fmla="*/ 3525838 w 3851276"/>
              <a:gd name="connsiteY47" fmla="*/ 1025526 h 2457451"/>
              <a:gd name="connsiteX48" fmla="*/ 3115940 w 3851276"/>
              <a:gd name="connsiteY48" fmla="*/ 537908 h 2457451"/>
              <a:gd name="connsiteX49" fmla="*/ 3106831 w 3851276"/>
              <a:gd name="connsiteY49" fmla="*/ 531813 h 2457451"/>
              <a:gd name="connsiteX50" fmla="*/ 2900363 w 3851276"/>
              <a:gd name="connsiteY50" fmla="*/ 531813 h 2457451"/>
              <a:gd name="connsiteX51" fmla="*/ 135842 w 3851276"/>
              <a:gd name="connsiteY51" fmla="*/ 122238 h 2457451"/>
              <a:gd name="connsiteX52" fmla="*/ 120650 w 3851276"/>
              <a:gd name="connsiteY52" fmla="*/ 137438 h 2457451"/>
              <a:gd name="connsiteX53" fmla="*/ 120650 w 3851276"/>
              <a:gd name="connsiteY53" fmla="*/ 2000926 h 2457451"/>
              <a:gd name="connsiteX54" fmla="*/ 135842 w 3851276"/>
              <a:gd name="connsiteY54" fmla="*/ 2016126 h 2457451"/>
              <a:gd name="connsiteX55" fmla="*/ 327263 w 3851276"/>
              <a:gd name="connsiteY55" fmla="*/ 2016126 h 2457451"/>
              <a:gd name="connsiteX56" fmla="*/ 339416 w 3851276"/>
              <a:gd name="connsiteY56" fmla="*/ 2003966 h 2457451"/>
              <a:gd name="connsiteX57" fmla="*/ 825563 w 3851276"/>
              <a:gd name="connsiteY57" fmla="*/ 1587493 h 2457451"/>
              <a:gd name="connsiteX58" fmla="*/ 1308671 w 3851276"/>
              <a:gd name="connsiteY58" fmla="*/ 2003966 h 2457451"/>
              <a:gd name="connsiteX59" fmla="*/ 1323864 w 3851276"/>
              <a:gd name="connsiteY59" fmla="*/ 2016126 h 2457451"/>
              <a:gd name="connsiteX60" fmla="*/ 2259696 w 3851276"/>
              <a:gd name="connsiteY60" fmla="*/ 2016126 h 2457451"/>
              <a:gd name="connsiteX61" fmla="*/ 2274888 w 3851276"/>
              <a:gd name="connsiteY61" fmla="*/ 2000926 h 2457451"/>
              <a:gd name="connsiteX62" fmla="*/ 2274888 w 3851276"/>
              <a:gd name="connsiteY62" fmla="*/ 137438 h 2457451"/>
              <a:gd name="connsiteX63" fmla="*/ 2259696 w 3851276"/>
              <a:gd name="connsiteY63" fmla="*/ 122238 h 2457451"/>
              <a:gd name="connsiteX64" fmla="*/ 135842 w 3851276"/>
              <a:gd name="connsiteY64" fmla="*/ 122238 h 2457451"/>
              <a:gd name="connsiteX65" fmla="*/ 136718 w 3851276"/>
              <a:gd name="connsiteY65" fmla="*/ 0 h 2457451"/>
              <a:gd name="connsiteX66" fmla="*/ 2260407 w 3851276"/>
              <a:gd name="connsiteY66" fmla="*/ 0 h 2457451"/>
              <a:gd name="connsiteX67" fmla="*/ 2397125 w 3851276"/>
              <a:gd name="connsiteY67" fmla="*/ 136880 h 2457451"/>
              <a:gd name="connsiteX68" fmla="*/ 2397125 w 3851276"/>
              <a:gd name="connsiteY68" fmla="*/ 306281 h 2457451"/>
              <a:gd name="connsiteX69" fmla="*/ 2397125 w 3851276"/>
              <a:gd name="connsiteY69" fmla="*/ 411163 h 2457451"/>
              <a:gd name="connsiteX70" fmla="*/ 2426638 w 3851276"/>
              <a:gd name="connsiteY70" fmla="*/ 411163 h 2457451"/>
              <a:gd name="connsiteX71" fmla="*/ 3107254 w 3851276"/>
              <a:gd name="connsiteY71" fmla="*/ 411163 h 2457451"/>
              <a:gd name="connsiteX72" fmla="*/ 3210506 w 3851276"/>
              <a:gd name="connsiteY72" fmla="*/ 459817 h 2457451"/>
              <a:gd name="connsiteX73" fmla="*/ 3684251 w 3851276"/>
              <a:gd name="connsiteY73" fmla="*/ 1025414 h 2457451"/>
              <a:gd name="connsiteX74" fmla="*/ 3687288 w 3851276"/>
              <a:gd name="connsiteY74" fmla="*/ 1025414 h 2457451"/>
              <a:gd name="connsiteX75" fmla="*/ 3687288 w 3851276"/>
              <a:gd name="connsiteY75" fmla="*/ 1031496 h 2457451"/>
              <a:gd name="connsiteX76" fmla="*/ 3817871 w 3851276"/>
              <a:gd name="connsiteY76" fmla="*/ 1186579 h 2457451"/>
              <a:gd name="connsiteX77" fmla="*/ 3851276 w 3851276"/>
              <a:gd name="connsiteY77" fmla="*/ 1274763 h 2457451"/>
              <a:gd name="connsiteX78" fmla="*/ 3851276 w 3851276"/>
              <a:gd name="connsiteY78" fmla="*/ 2001525 h 2457451"/>
              <a:gd name="connsiteX79" fmla="*/ 3714619 w 3851276"/>
              <a:gd name="connsiteY79" fmla="*/ 2138363 h 2457451"/>
              <a:gd name="connsiteX80" fmla="*/ 3635662 w 3851276"/>
              <a:gd name="connsiteY80" fmla="*/ 2138363 h 2457451"/>
              <a:gd name="connsiteX81" fmla="*/ 3502041 w 3851276"/>
              <a:gd name="connsiteY81" fmla="*/ 2022811 h 2457451"/>
              <a:gd name="connsiteX82" fmla="*/ 3137623 w 3851276"/>
              <a:gd name="connsiteY82" fmla="*/ 1709604 h 2457451"/>
              <a:gd name="connsiteX83" fmla="*/ 2773204 w 3851276"/>
              <a:gd name="connsiteY83" fmla="*/ 2022811 h 2457451"/>
              <a:gd name="connsiteX84" fmla="*/ 2639583 w 3851276"/>
              <a:gd name="connsiteY84" fmla="*/ 2138363 h 2457451"/>
              <a:gd name="connsiteX85" fmla="*/ 2281238 w 3851276"/>
              <a:gd name="connsiteY85" fmla="*/ 2138363 h 2457451"/>
              <a:gd name="connsiteX86" fmla="*/ 2281238 w 3851276"/>
              <a:gd name="connsiteY86" fmla="*/ 2134192 h 2457451"/>
              <a:gd name="connsiteX87" fmla="*/ 2260407 w 3851276"/>
              <a:gd name="connsiteY87" fmla="*/ 2138363 h 2457451"/>
              <a:gd name="connsiteX88" fmla="*/ 1324647 w 3851276"/>
              <a:gd name="connsiteY88" fmla="*/ 2138363 h 2457451"/>
              <a:gd name="connsiteX89" fmla="*/ 1190967 w 3851276"/>
              <a:gd name="connsiteY89" fmla="*/ 2022776 h 2457451"/>
              <a:gd name="connsiteX90" fmla="*/ 826386 w 3851276"/>
              <a:gd name="connsiteY90" fmla="*/ 1709474 h 2457451"/>
              <a:gd name="connsiteX91" fmla="*/ 461804 w 3851276"/>
              <a:gd name="connsiteY91" fmla="*/ 2022776 h 2457451"/>
              <a:gd name="connsiteX92" fmla="*/ 328124 w 3851276"/>
              <a:gd name="connsiteY92" fmla="*/ 2138363 h 2457451"/>
              <a:gd name="connsiteX93" fmla="*/ 136718 w 3851276"/>
              <a:gd name="connsiteY93" fmla="*/ 2138363 h 2457451"/>
              <a:gd name="connsiteX94" fmla="*/ 0 w 3851276"/>
              <a:gd name="connsiteY94" fmla="*/ 2001484 h 2457451"/>
              <a:gd name="connsiteX95" fmla="*/ 0 w 3851276"/>
              <a:gd name="connsiteY95" fmla="*/ 136880 h 2457451"/>
              <a:gd name="connsiteX96" fmla="*/ 136718 w 3851276"/>
              <a:gd name="connsiteY96" fmla="*/ 0 h 2457451"/>
              <a:gd name="connsiteX0" fmla="*/ 3137694 w 3851276"/>
              <a:gd name="connsiteY0" fmla="*/ 2254250 h 2457451"/>
              <a:gd name="connsiteX1" fmla="*/ 3282951 w 3851276"/>
              <a:gd name="connsiteY1" fmla="*/ 2108200 h 2457451"/>
              <a:gd name="connsiteX2" fmla="*/ 3137694 w 3851276"/>
              <a:gd name="connsiteY2" fmla="*/ 2254250 h 2457451"/>
              <a:gd name="connsiteX3" fmla="*/ 3137695 w 3851276"/>
              <a:gd name="connsiteY3" fmla="*/ 1879600 h 2457451"/>
              <a:gd name="connsiteX4" fmla="*/ 2909888 w 3851276"/>
              <a:gd name="connsiteY4" fmla="*/ 2107407 h 2457451"/>
              <a:gd name="connsiteX5" fmla="*/ 3137695 w 3851276"/>
              <a:gd name="connsiteY5" fmla="*/ 2335214 h 2457451"/>
              <a:gd name="connsiteX6" fmla="*/ 3365502 w 3851276"/>
              <a:gd name="connsiteY6" fmla="*/ 2107407 h 2457451"/>
              <a:gd name="connsiteX7" fmla="*/ 3137695 w 3851276"/>
              <a:gd name="connsiteY7" fmla="*/ 1879600 h 2457451"/>
              <a:gd name="connsiteX8" fmla="*/ 826295 w 3851276"/>
              <a:gd name="connsiteY8" fmla="*/ 1879600 h 2457451"/>
              <a:gd name="connsiteX9" fmla="*/ 598488 w 3851276"/>
              <a:gd name="connsiteY9" fmla="*/ 2107407 h 2457451"/>
              <a:gd name="connsiteX10" fmla="*/ 826295 w 3851276"/>
              <a:gd name="connsiteY10" fmla="*/ 2335214 h 2457451"/>
              <a:gd name="connsiteX11" fmla="*/ 1054102 w 3851276"/>
              <a:gd name="connsiteY11" fmla="*/ 2107407 h 2457451"/>
              <a:gd name="connsiteX12" fmla="*/ 826295 w 3851276"/>
              <a:gd name="connsiteY12" fmla="*/ 1879600 h 2457451"/>
              <a:gd name="connsiteX13" fmla="*/ 3136900 w 3851276"/>
              <a:gd name="connsiteY13" fmla="*/ 1757363 h 2457451"/>
              <a:gd name="connsiteX14" fmla="*/ 3486150 w 3851276"/>
              <a:gd name="connsiteY14" fmla="*/ 2107407 h 2457451"/>
              <a:gd name="connsiteX15" fmla="*/ 3136900 w 3851276"/>
              <a:gd name="connsiteY15" fmla="*/ 2457451 h 2457451"/>
              <a:gd name="connsiteX16" fmla="*/ 2787650 w 3851276"/>
              <a:gd name="connsiteY16" fmla="*/ 2107407 h 2457451"/>
              <a:gd name="connsiteX17" fmla="*/ 3136900 w 3851276"/>
              <a:gd name="connsiteY17" fmla="*/ 1757363 h 2457451"/>
              <a:gd name="connsiteX18" fmla="*/ 825500 w 3851276"/>
              <a:gd name="connsiteY18" fmla="*/ 1757363 h 2457451"/>
              <a:gd name="connsiteX19" fmla="*/ 1174750 w 3851276"/>
              <a:gd name="connsiteY19" fmla="*/ 2107407 h 2457451"/>
              <a:gd name="connsiteX20" fmla="*/ 825500 w 3851276"/>
              <a:gd name="connsiteY20" fmla="*/ 2457451 h 2457451"/>
              <a:gd name="connsiteX21" fmla="*/ 476250 w 3851276"/>
              <a:gd name="connsiteY21" fmla="*/ 2107407 h 2457451"/>
              <a:gd name="connsiteX22" fmla="*/ 825500 w 3851276"/>
              <a:gd name="connsiteY22" fmla="*/ 1757363 h 2457451"/>
              <a:gd name="connsiteX23" fmla="*/ 2397125 w 3851276"/>
              <a:gd name="connsiteY23" fmla="*/ 532797 h 2457451"/>
              <a:gd name="connsiteX24" fmla="*/ 2397125 w 3851276"/>
              <a:gd name="connsiteY24" fmla="*/ 613672 h 2457451"/>
              <a:gd name="connsiteX25" fmla="*/ 2397125 w 3851276"/>
              <a:gd name="connsiteY25" fmla="*/ 2001484 h 2457451"/>
              <a:gd name="connsiteX26" fmla="*/ 2394079 w 3851276"/>
              <a:gd name="connsiteY26" fmla="*/ 2016729 h 2457451"/>
              <a:gd name="connsiteX27" fmla="*/ 2399520 w 3851276"/>
              <a:gd name="connsiteY27" fmla="*/ 2016729 h 2457451"/>
              <a:gd name="connsiteX28" fmla="*/ 2639583 w 3851276"/>
              <a:gd name="connsiteY28" fmla="*/ 2016729 h 2457451"/>
              <a:gd name="connsiteX29" fmla="*/ 2651731 w 3851276"/>
              <a:gd name="connsiteY29" fmla="*/ 2004566 h 2457451"/>
              <a:gd name="connsiteX30" fmla="*/ 3137623 w 3851276"/>
              <a:gd name="connsiteY30" fmla="*/ 1587970 h 2457451"/>
              <a:gd name="connsiteX31" fmla="*/ 3623514 w 3851276"/>
              <a:gd name="connsiteY31" fmla="*/ 2004566 h 2457451"/>
              <a:gd name="connsiteX32" fmla="*/ 3635662 w 3851276"/>
              <a:gd name="connsiteY32" fmla="*/ 2016729 h 2457451"/>
              <a:gd name="connsiteX33" fmla="*/ 3714619 w 3851276"/>
              <a:gd name="connsiteY33" fmla="*/ 2016729 h 2457451"/>
              <a:gd name="connsiteX34" fmla="*/ 3729803 w 3851276"/>
              <a:gd name="connsiteY34" fmla="*/ 2001525 h 2457451"/>
              <a:gd name="connsiteX35" fmla="*/ 3729803 w 3851276"/>
              <a:gd name="connsiteY35" fmla="*/ 1274763 h 2457451"/>
              <a:gd name="connsiteX36" fmla="*/ 3726766 w 3851276"/>
              <a:gd name="connsiteY36" fmla="*/ 1265641 h 2457451"/>
              <a:gd name="connsiteX37" fmla="*/ 3626551 w 3851276"/>
              <a:gd name="connsiteY37" fmla="*/ 1147048 h 2457451"/>
              <a:gd name="connsiteX38" fmla="*/ 2915934 w 3851276"/>
              <a:gd name="connsiteY38" fmla="*/ 1147048 h 2457451"/>
              <a:gd name="connsiteX39" fmla="*/ 2779277 w 3851276"/>
              <a:gd name="connsiteY39" fmla="*/ 1013250 h 2457451"/>
              <a:gd name="connsiteX40" fmla="*/ 2779277 w 3851276"/>
              <a:gd name="connsiteY40" fmla="*/ 532797 h 2457451"/>
              <a:gd name="connsiteX41" fmla="*/ 2402829 w 3851276"/>
              <a:gd name="connsiteY41" fmla="*/ 532797 h 2457451"/>
              <a:gd name="connsiteX42" fmla="*/ 2397125 w 3851276"/>
              <a:gd name="connsiteY42" fmla="*/ 532797 h 2457451"/>
              <a:gd name="connsiteX43" fmla="*/ 2900363 w 3851276"/>
              <a:gd name="connsiteY43" fmla="*/ 531813 h 2457451"/>
              <a:gd name="connsiteX44" fmla="*/ 2900363 w 3851276"/>
              <a:gd name="connsiteY44" fmla="*/ 1013336 h 2457451"/>
              <a:gd name="connsiteX45" fmla="*/ 2915545 w 3851276"/>
              <a:gd name="connsiteY45" fmla="*/ 1025526 h 2457451"/>
              <a:gd name="connsiteX46" fmla="*/ 3525838 w 3851276"/>
              <a:gd name="connsiteY46" fmla="*/ 1025526 h 2457451"/>
              <a:gd name="connsiteX47" fmla="*/ 3115940 w 3851276"/>
              <a:gd name="connsiteY47" fmla="*/ 537908 h 2457451"/>
              <a:gd name="connsiteX48" fmla="*/ 3106831 w 3851276"/>
              <a:gd name="connsiteY48" fmla="*/ 531813 h 2457451"/>
              <a:gd name="connsiteX49" fmla="*/ 2900363 w 3851276"/>
              <a:gd name="connsiteY49" fmla="*/ 531813 h 2457451"/>
              <a:gd name="connsiteX50" fmla="*/ 135842 w 3851276"/>
              <a:gd name="connsiteY50" fmla="*/ 122238 h 2457451"/>
              <a:gd name="connsiteX51" fmla="*/ 120650 w 3851276"/>
              <a:gd name="connsiteY51" fmla="*/ 137438 h 2457451"/>
              <a:gd name="connsiteX52" fmla="*/ 120650 w 3851276"/>
              <a:gd name="connsiteY52" fmla="*/ 2000926 h 2457451"/>
              <a:gd name="connsiteX53" fmla="*/ 135842 w 3851276"/>
              <a:gd name="connsiteY53" fmla="*/ 2016126 h 2457451"/>
              <a:gd name="connsiteX54" fmla="*/ 327263 w 3851276"/>
              <a:gd name="connsiteY54" fmla="*/ 2016126 h 2457451"/>
              <a:gd name="connsiteX55" fmla="*/ 339416 w 3851276"/>
              <a:gd name="connsiteY55" fmla="*/ 2003966 h 2457451"/>
              <a:gd name="connsiteX56" fmla="*/ 825563 w 3851276"/>
              <a:gd name="connsiteY56" fmla="*/ 1587493 h 2457451"/>
              <a:gd name="connsiteX57" fmla="*/ 1308671 w 3851276"/>
              <a:gd name="connsiteY57" fmla="*/ 2003966 h 2457451"/>
              <a:gd name="connsiteX58" fmla="*/ 1323864 w 3851276"/>
              <a:gd name="connsiteY58" fmla="*/ 2016126 h 2457451"/>
              <a:gd name="connsiteX59" fmla="*/ 2259696 w 3851276"/>
              <a:gd name="connsiteY59" fmla="*/ 2016126 h 2457451"/>
              <a:gd name="connsiteX60" fmla="*/ 2274888 w 3851276"/>
              <a:gd name="connsiteY60" fmla="*/ 2000926 h 2457451"/>
              <a:gd name="connsiteX61" fmla="*/ 2274888 w 3851276"/>
              <a:gd name="connsiteY61" fmla="*/ 137438 h 2457451"/>
              <a:gd name="connsiteX62" fmla="*/ 2259696 w 3851276"/>
              <a:gd name="connsiteY62" fmla="*/ 122238 h 2457451"/>
              <a:gd name="connsiteX63" fmla="*/ 135842 w 3851276"/>
              <a:gd name="connsiteY63" fmla="*/ 122238 h 2457451"/>
              <a:gd name="connsiteX64" fmla="*/ 136718 w 3851276"/>
              <a:gd name="connsiteY64" fmla="*/ 0 h 2457451"/>
              <a:gd name="connsiteX65" fmla="*/ 2260407 w 3851276"/>
              <a:gd name="connsiteY65" fmla="*/ 0 h 2457451"/>
              <a:gd name="connsiteX66" fmla="*/ 2397125 w 3851276"/>
              <a:gd name="connsiteY66" fmla="*/ 136880 h 2457451"/>
              <a:gd name="connsiteX67" fmla="*/ 2397125 w 3851276"/>
              <a:gd name="connsiteY67" fmla="*/ 306281 h 2457451"/>
              <a:gd name="connsiteX68" fmla="*/ 2397125 w 3851276"/>
              <a:gd name="connsiteY68" fmla="*/ 411163 h 2457451"/>
              <a:gd name="connsiteX69" fmla="*/ 2426638 w 3851276"/>
              <a:gd name="connsiteY69" fmla="*/ 411163 h 2457451"/>
              <a:gd name="connsiteX70" fmla="*/ 3107254 w 3851276"/>
              <a:gd name="connsiteY70" fmla="*/ 411163 h 2457451"/>
              <a:gd name="connsiteX71" fmla="*/ 3210506 w 3851276"/>
              <a:gd name="connsiteY71" fmla="*/ 459817 h 2457451"/>
              <a:gd name="connsiteX72" fmla="*/ 3684251 w 3851276"/>
              <a:gd name="connsiteY72" fmla="*/ 1025414 h 2457451"/>
              <a:gd name="connsiteX73" fmla="*/ 3687288 w 3851276"/>
              <a:gd name="connsiteY73" fmla="*/ 1025414 h 2457451"/>
              <a:gd name="connsiteX74" fmla="*/ 3687288 w 3851276"/>
              <a:gd name="connsiteY74" fmla="*/ 1031496 h 2457451"/>
              <a:gd name="connsiteX75" fmla="*/ 3817871 w 3851276"/>
              <a:gd name="connsiteY75" fmla="*/ 1186579 h 2457451"/>
              <a:gd name="connsiteX76" fmla="*/ 3851276 w 3851276"/>
              <a:gd name="connsiteY76" fmla="*/ 1274763 h 2457451"/>
              <a:gd name="connsiteX77" fmla="*/ 3851276 w 3851276"/>
              <a:gd name="connsiteY77" fmla="*/ 2001525 h 2457451"/>
              <a:gd name="connsiteX78" fmla="*/ 3714619 w 3851276"/>
              <a:gd name="connsiteY78" fmla="*/ 2138363 h 2457451"/>
              <a:gd name="connsiteX79" fmla="*/ 3635662 w 3851276"/>
              <a:gd name="connsiteY79" fmla="*/ 2138363 h 2457451"/>
              <a:gd name="connsiteX80" fmla="*/ 3502041 w 3851276"/>
              <a:gd name="connsiteY80" fmla="*/ 2022811 h 2457451"/>
              <a:gd name="connsiteX81" fmla="*/ 3137623 w 3851276"/>
              <a:gd name="connsiteY81" fmla="*/ 1709604 h 2457451"/>
              <a:gd name="connsiteX82" fmla="*/ 2773204 w 3851276"/>
              <a:gd name="connsiteY82" fmla="*/ 2022811 h 2457451"/>
              <a:gd name="connsiteX83" fmla="*/ 2639583 w 3851276"/>
              <a:gd name="connsiteY83" fmla="*/ 2138363 h 2457451"/>
              <a:gd name="connsiteX84" fmla="*/ 2281238 w 3851276"/>
              <a:gd name="connsiteY84" fmla="*/ 2138363 h 2457451"/>
              <a:gd name="connsiteX85" fmla="*/ 2281238 w 3851276"/>
              <a:gd name="connsiteY85" fmla="*/ 2134192 h 2457451"/>
              <a:gd name="connsiteX86" fmla="*/ 2260407 w 3851276"/>
              <a:gd name="connsiteY86" fmla="*/ 2138363 h 2457451"/>
              <a:gd name="connsiteX87" fmla="*/ 1324647 w 3851276"/>
              <a:gd name="connsiteY87" fmla="*/ 2138363 h 2457451"/>
              <a:gd name="connsiteX88" fmla="*/ 1190967 w 3851276"/>
              <a:gd name="connsiteY88" fmla="*/ 2022776 h 2457451"/>
              <a:gd name="connsiteX89" fmla="*/ 826386 w 3851276"/>
              <a:gd name="connsiteY89" fmla="*/ 1709474 h 2457451"/>
              <a:gd name="connsiteX90" fmla="*/ 461804 w 3851276"/>
              <a:gd name="connsiteY90" fmla="*/ 2022776 h 2457451"/>
              <a:gd name="connsiteX91" fmla="*/ 328124 w 3851276"/>
              <a:gd name="connsiteY91" fmla="*/ 2138363 h 2457451"/>
              <a:gd name="connsiteX92" fmla="*/ 136718 w 3851276"/>
              <a:gd name="connsiteY92" fmla="*/ 2138363 h 2457451"/>
              <a:gd name="connsiteX93" fmla="*/ 0 w 3851276"/>
              <a:gd name="connsiteY93" fmla="*/ 2001484 h 2457451"/>
              <a:gd name="connsiteX94" fmla="*/ 0 w 3851276"/>
              <a:gd name="connsiteY94" fmla="*/ 136880 h 2457451"/>
              <a:gd name="connsiteX95" fmla="*/ 136718 w 3851276"/>
              <a:gd name="connsiteY95" fmla="*/ 0 h 2457451"/>
              <a:gd name="connsiteX0" fmla="*/ 3137695 w 3851276"/>
              <a:gd name="connsiteY0" fmla="*/ 1879600 h 2457451"/>
              <a:gd name="connsiteX1" fmla="*/ 2909888 w 3851276"/>
              <a:gd name="connsiteY1" fmla="*/ 2107407 h 2457451"/>
              <a:gd name="connsiteX2" fmla="*/ 3137695 w 3851276"/>
              <a:gd name="connsiteY2" fmla="*/ 2335214 h 2457451"/>
              <a:gd name="connsiteX3" fmla="*/ 3365502 w 3851276"/>
              <a:gd name="connsiteY3" fmla="*/ 2107407 h 2457451"/>
              <a:gd name="connsiteX4" fmla="*/ 3137695 w 3851276"/>
              <a:gd name="connsiteY4" fmla="*/ 1879600 h 2457451"/>
              <a:gd name="connsiteX5" fmla="*/ 826295 w 3851276"/>
              <a:gd name="connsiteY5" fmla="*/ 1879600 h 2457451"/>
              <a:gd name="connsiteX6" fmla="*/ 598488 w 3851276"/>
              <a:gd name="connsiteY6" fmla="*/ 2107407 h 2457451"/>
              <a:gd name="connsiteX7" fmla="*/ 826295 w 3851276"/>
              <a:gd name="connsiteY7" fmla="*/ 2335214 h 2457451"/>
              <a:gd name="connsiteX8" fmla="*/ 1054102 w 3851276"/>
              <a:gd name="connsiteY8" fmla="*/ 2107407 h 2457451"/>
              <a:gd name="connsiteX9" fmla="*/ 826295 w 3851276"/>
              <a:gd name="connsiteY9" fmla="*/ 1879600 h 2457451"/>
              <a:gd name="connsiteX10" fmla="*/ 3136900 w 3851276"/>
              <a:gd name="connsiteY10" fmla="*/ 1757363 h 2457451"/>
              <a:gd name="connsiteX11" fmla="*/ 3486150 w 3851276"/>
              <a:gd name="connsiteY11" fmla="*/ 2107407 h 2457451"/>
              <a:gd name="connsiteX12" fmla="*/ 3136900 w 3851276"/>
              <a:gd name="connsiteY12" fmla="*/ 2457451 h 2457451"/>
              <a:gd name="connsiteX13" fmla="*/ 2787650 w 3851276"/>
              <a:gd name="connsiteY13" fmla="*/ 2107407 h 2457451"/>
              <a:gd name="connsiteX14" fmla="*/ 3136900 w 3851276"/>
              <a:gd name="connsiteY14" fmla="*/ 1757363 h 2457451"/>
              <a:gd name="connsiteX15" fmla="*/ 825500 w 3851276"/>
              <a:gd name="connsiteY15" fmla="*/ 1757363 h 2457451"/>
              <a:gd name="connsiteX16" fmla="*/ 1174750 w 3851276"/>
              <a:gd name="connsiteY16" fmla="*/ 2107407 h 2457451"/>
              <a:gd name="connsiteX17" fmla="*/ 825500 w 3851276"/>
              <a:gd name="connsiteY17" fmla="*/ 2457451 h 2457451"/>
              <a:gd name="connsiteX18" fmla="*/ 476250 w 3851276"/>
              <a:gd name="connsiteY18" fmla="*/ 2107407 h 2457451"/>
              <a:gd name="connsiteX19" fmla="*/ 825500 w 3851276"/>
              <a:gd name="connsiteY19" fmla="*/ 1757363 h 2457451"/>
              <a:gd name="connsiteX20" fmla="*/ 2397125 w 3851276"/>
              <a:gd name="connsiteY20" fmla="*/ 532797 h 2457451"/>
              <a:gd name="connsiteX21" fmla="*/ 2397125 w 3851276"/>
              <a:gd name="connsiteY21" fmla="*/ 613672 h 2457451"/>
              <a:gd name="connsiteX22" fmla="*/ 2397125 w 3851276"/>
              <a:gd name="connsiteY22" fmla="*/ 2001484 h 2457451"/>
              <a:gd name="connsiteX23" fmla="*/ 2394079 w 3851276"/>
              <a:gd name="connsiteY23" fmla="*/ 2016729 h 2457451"/>
              <a:gd name="connsiteX24" fmla="*/ 2399520 w 3851276"/>
              <a:gd name="connsiteY24" fmla="*/ 2016729 h 2457451"/>
              <a:gd name="connsiteX25" fmla="*/ 2639583 w 3851276"/>
              <a:gd name="connsiteY25" fmla="*/ 2016729 h 2457451"/>
              <a:gd name="connsiteX26" fmla="*/ 2651731 w 3851276"/>
              <a:gd name="connsiteY26" fmla="*/ 2004566 h 2457451"/>
              <a:gd name="connsiteX27" fmla="*/ 3137623 w 3851276"/>
              <a:gd name="connsiteY27" fmla="*/ 1587970 h 2457451"/>
              <a:gd name="connsiteX28" fmla="*/ 3623514 w 3851276"/>
              <a:gd name="connsiteY28" fmla="*/ 2004566 h 2457451"/>
              <a:gd name="connsiteX29" fmla="*/ 3635662 w 3851276"/>
              <a:gd name="connsiteY29" fmla="*/ 2016729 h 2457451"/>
              <a:gd name="connsiteX30" fmla="*/ 3714619 w 3851276"/>
              <a:gd name="connsiteY30" fmla="*/ 2016729 h 2457451"/>
              <a:gd name="connsiteX31" fmla="*/ 3729803 w 3851276"/>
              <a:gd name="connsiteY31" fmla="*/ 2001525 h 2457451"/>
              <a:gd name="connsiteX32" fmla="*/ 3729803 w 3851276"/>
              <a:gd name="connsiteY32" fmla="*/ 1274763 h 2457451"/>
              <a:gd name="connsiteX33" fmla="*/ 3726766 w 3851276"/>
              <a:gd name="connsiteY33" fmla="*/ 1265641 h 2457451"/>
              <a:gd name="connsiteX34" fmla="*/ 3626551 w 3851276"/>
              <a:gd name="connsiteY34" fmla="*/ 1147048 h 2457451"/>
              <a:gd name="connsiteX35" fmla="*/ 2915934 w 3851276"/>
              <a:gd name="connsiteY35" fmla="*/ 1147048 h 2457451"/>
              <a:gd name="connsiteX36" fmla="*/ 2779277 w 3851276"/>
              <a:gd name="connsiteY36" fmla="*/ 1013250 h 2457451"/>
              <a:gd name="connsiteX37" fmla="*/ 2779277 w 3851276"/>
              <a:gd name="connsiteY37" fmla="*/ 532797 h 2457451"/>
              <a:gd name="connsiteX38" fmla="*/ 2402829 w 3851276"/>
              <a:gd name="connsiteY38" fmla="*/ 532797 h 2457451"/>
              <a:gd name="connsiteX39" fmla="*/ 2397125 w 3851276"/>
              <a:gd name="connsiteY39" fmla="*/ 532797 h 2457451"/>
              <a:gd name="connsiteX40" fmla="*/ 2900363 w 3851276"/>
              <a:gd name="connsiteY40" fmla="*/ 531813 h 2457451"/>
              <a:gd name="connsiteX41" fmla="*/ 2900363 w 3851276"/>
              <a:gd name="connsiteY41" fmla="*/ 1013336 h 2457451"/>
              <a:gd name="connsiteX42" fmla="*/ 2915545 w 3851276"/>
              <a:gd name="connsiteY42" fmla="*/ 1025526 h 2457451"/>
              <a:gd name="connsiteX43" fmla="*/ 3525838 w 3851276"/>
              <a:gd name="connsiteY43" fmla="*/ 1025526 h 2457451"/>
              <a:gd name="connsiteX44" fmla="*/ 3115940 w 3851276"/>
              <a:gd name="connsiteY44" fmla="*/ 537908 h 2457451"/>
              <a:gd name="connsiteX45" fmla="*/ 3106831 w 3851276"/>
              <a:gd name="connsiteY45" fmla="*/ 531813 h 2457451"/>
              <a:gd name="connsiteX46" fmla="*/ 2900363 w 3851276"/>
              <a:gd name="connsiteY46" fmla="*/ 531813 h 2457451"/>
              <a:gd name="connsiteX47" fmla="*/ 135842 w 3851276"/>
              <a:gd name="connsiteY47" fmla="*/ 122238 h 2457451"/>
              <a:gd name="connsiteX48" fmla="*/ 120650 w 3851276"/>
              <a:gd name="connsiteY48" fmla="*/ 137438 h 2457451"/>
              <a:gd name="connsiteX49" fmla="*/ 120650 w 3851276"/>
              <a:gd name="connsiteY49" fmla="*/ 2000926 h 2457451"/>
              <a:gd name="connsiteX50" fmla="*/ 135842 w 3851276"/>
              <a:gd name="connsiteY50" fmla="*/ 2016126 h 2457451"/>
              <a:gd name="connsiteX51" fmla="*/ 327263 w 3851276"/>
              <a:gd name="connsiteY51" fmla="*/ 2016126 h 2457451"/>
              <a:gd name="connsiteX52" fmla="*/ 339416 w 3851276"/>
              <a:gd name="connsiteY52" fmla="*/ 2003966 h 2457451"/>
              <a:gd name="connsiteX53" fmla="*/ 825563 w 3851276"/>
              <a:gd name="connsiteY53" fmla="*/ 1587493 h 2457451"/>
              <a:gd name="connsiteX54" fmla="*/ 1308671 w 3851276"/>
              <a:gd name="connsiteY54" fmla="*/ 2003966 h 2457451"/>
              <a:gd name="connsiteX55" fmla="*/ 1323864 w 3851276"/>
              <a:gd name="connsiteY55" fmla="*/ 2016126 h 2457451"/>
              <a:gd name="connsiteX56" fmla="*/ 2259696 w 3851276"/>
              <a:gd name="connsiteY56" fmla="*/ 2016126 h 2457451"/>
              <a:gd name="connsiteX57" fmla="*/ 2274888 w 3851276"/>
              <a:gd name="connsiteY57" fmla="*/ 2000926 h 2457451"/>
              <a:gd name="connsiteX58" fmla="*/ 2274888 w 3851276"/>
              <a:gd name="connsiteY58" fmla="*/ 137438 h 2457451"/>
              <a:gd name="connsiteX59" fmla="*/ 2259696 w 3851276"/>
              <a:gd name="connsiteY59" fmla="*/ 122238 h 2457451"/>
              <a:gd name="connsiteX60" fmla="*/ 135842 w 3851276"/>
              <a:gd name="connsiteY60" fmla="*/ 122238 h 2457451"/>
              <a:gd name="connsiteX61" fmla="*/ 136718 w 3851276"/>
              <a:gd name="connsiteY61" fmla="*/ 0 h 2457451"/>
              <a:gd name="connsiteX62" fmla="*/ 2260407 w 3851276"/>
              <a:gd name="connsiteY62" fmla="*/ 0 h 2457451"/>
              <a:gd name="connsiteX63" fmla="*/ 2397125 w 3851276"/>
              <a:gd name="connsiteY63" fmla="*/ 136880 h 2457451"/>
              <a:gd name="connsiteX64" fmla="*/ 2397125 w 3851276"/>
              <a:gd name="connsiteY64" fmla="*/ 306281 h 2457451"/>
              <a:gd name="connsiteX65" fmla="*/ 2397125 w 3851276"/>
              <a:gd name="connsiteY65" fmla="*/ 411163 h 2457451"/>
              <a:gd name="connsiteX66" fmla="*/ 2426638 w 3851276"/>
              <a:gd name="connsiteY66" fmla="*/ 411163 h 2457451"/>
              <a:gd name="connsiteX67" fmla="*/ 3107254 w 3851276"/>
              <a:gd name="connsiteY67" fmla="*/ 411163 h 2457451"/>
              <a:gd name="connsiteX68" fmla="*/ 3210506 w 3851276"/>
              <a:gd name="connsiteY68" fmla="*/ 459817 h 2457451"/>
              <a:gd name="connsiteX69" fmla="*/ 3684251 w 3851276"/>
              <a:gd name="connsiteY69" fmla="*/ 1025414 h 2457451"/>
              <a:gd name="connsiteX70" fmla="*/ 3687288 w 3851276"/>
              <a:gd name="connsiteY70" fmla="*/ 1025414 h 2457451"/>
              <a:gd name="connsiteX71" fmla="*/ 3687288 w 3851276"/>
              <a:gd name="connsiteY71" fmla="*/ 1031496 h 2457451"/>
              <a:gd name="connsiteX72" fmla="*/ 3817871 w 3851276"/>
              <a:gd name="connsiteY72" fmla="*/ 1186579 h 2457451"/>
              <a:gd name="connsiteX73" fmla="*/ 3851276 w 3851276"/>
              <a:gd name="connsiteY73" fmla="*/ 1274763 h 2457451"/>
              <a:gd name="connsiteX74" fmla="*/ 3851276 w 3851276"/>
              <a:gd name="connsiteY74" fmla="*/ 2001525 h 2457451"/>
              <a:gd name="connsiteX75" fmla="*/ 3714619 w 3851276"/>
              <a:gd name="connsiteY75" fmla="*/ 2138363 h 2457451"/>
              <a:gd name="connsiteX76" fmla="*/ 3635662 w 3851276"/>
              <a:gd name="connsiteY76" fmla="*/ 2138363 h 2457451"/>
              <a:gd name="connsiteX77" fmla="*/ 3502041 w 3851276"/>
              <a:gd name="connsiteY77" fmla="*/ 2022811 h 2457451"/>
              <a:gd name="connsiteX78" fmla="*/ 3137623 w 3851276"/>
              <a:gd name="connsiteY78" fmla="*/ 1709604 h 2457451"/>
              <a:gd name="connsiteX79" fmla="*/ 2773204 w 3851276"/>
              <a:gd name="connsiteY79" fmla="*/ 2022811 h 2457451"/>
              <a:gd name="connsiteX80" fmla="*/ 2639583 w 3851276"/>
              <a:gd name="connsiteY80" fmla="*/ 2138363 h 2457451"/>
              <a:gd name="connsiteX81" fmla="*/ 2281238 w 3851276"/>
              <a:gd name="connsiteY81" fmla="*/ 2138363 h 2457451"/>
              <a:gd name="connsiteX82" fmla="*/ 2281238 w 3851276"/>
              <a:gd name="connsiteY82" fmla="*/ 2134192 h 2457451"/>
              <a:gd name="connsiteX83" fmla="*/ 2260407 w 3851276"/>
              <a:gd name="connsiteY83" fmla="*/ 2138363 h 2457451"/>
              <a:gd name="connsiteX84" fmla="*/ 1324647 w 3851276"/>
              <a:gd name="connsiteY84" fmla="*/ 2138363 h 2457451"/>
              <a:gd name="connsiteX85" fmla="*/ 1190967 w 3851276"/>
              <a:gd name="connsiteY85" fmla="*/ 2022776 h 2457451"/>
              <a:gd name="connsiteX86" fmla="*/ 826386 w 3851276"/>
              <a:gd name="connsiteY86" fmla="*/ 1709474 h 2457451"/>
              <a:gd name="connsiteX87" fmla="*/ 461804 w 3851276"/>
              <a:gd name="connsiteY87" fmla="*/ 2022776 h 2457451"/>
              <a:gd name="connsiteX88" fmla="*/ 328124 w 3851276"/>
              <a:gd name="connsiteY88" fmla="*/ 2138363 h 2457451"/>
              <a:gd name="connsiteX89" fmla="*/ 136718 w 3851276"/>
              <a:gd name="connsiteY89" fmla="*/ 2138363 h 2457451"/>
              <a:gd name="connsiteX90" fmla="*/ 0 w 3851276"/>
              <a:gd name="connsiteY90" fmla="*/ 2001484 h 2457451"/>
              <a:gd name="connsiteX91" fmla="*/ 0 w 3851276"/>
              <a:gd name="connsiteY91" fmla="*/ 136880 h 2457451"/>
              <a:gd name="connsiteX92" fmla="*/ 136718 w 3851276"/>
              <a:gd name="connsiteY92" fmla="*/ 0 h 245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3851276" h="2457451">
                <a:moveTo>
                  <a:pt x="3137695" y="1879600"/>
                </a:moveTo>
                <a:cubicBezTo>
                  <a:pt x="3011881" y="1879600"/>
                  <a:pt x="2909888" y="1981593"/>
                  <a:pt x="2909888" y="2107407"/>
                </a:cubicBezTo>
                <a:cubicBezTo>
                  <a:pt x="2909888" y="2233221"/>
                  <a:pt x="3011881" y="2335214"/>
                  <a:pt x="3137695" y="2335214"/>
                </a:cubicBezTo>
                <a:cubicBezTo>
                  <a:pt x="3263509" y="2335214"/>
                  <a:pt x="3365502" y="2233221"/>
                  <a:pt x="3365502" y="2107407"/>
                </a:cubicBezTo>
                <a:cubicBezTo>
                  <a:pt x="3365502" y="1981593"/>
                  <a:pt x="3263509" y="1879600"/>
                  <a:pt x="3137695" y="1879600"/>
                </a:cubicBezTo>
                <a:close/>
                <a:moveTo>
                  <a:pt x="826295" y="1879600"/>
                </a:moveTo>
                <a:cubicBezTo>
                  <a:pt x="700481" y="1879600"/>
                  <a:pt x="598488" y="1981593"/>
                  <a:pt x="598488" y="2107407"/>
                </a:cubicBezTo>
                <a:cubicBezTo>
                  <a:pt x="598488" y="2233221"/>
                  <a:pt x="700481" y="2335214"/>
                  <a:pt x="826295" y="2335214"/>
                </a:cubicBezTo>
                <a:cubicBezTo>
                  <a:pt x="952109" y="2335214"/>
                  <a:pt x="1054102" y="2233221"/>
                  <a:pt x="1054102" y="2107407"/>
                </a:cubicBezTo>
                <a:cubicBezTo>
                  <a:pt x="1054102" y="1981593"/>
                  <a:pt x="952109" y="1879600"/>
                  <a:pt x="826295" y="1879600"/>
                </a:cubicBezTo>
                <a:close/>
                <a:moveTo>
                  <a:pt x="3136900" y="1757363"/>
                </a:moveTo>
                <a:cubicBezTo>
                  <a:pt x="3329785" y="1757363"/>
                  <a:pt x="3486150" y="1914083"/>
                  <a:pt x="3486150" y="2107407"/>
                </a:cubicBezTo>
                <a:cubicBezTo>
                  <a:pt x="3486150" y="2300731"/>
                  <a:pt x="3329785" y="2457451"/>
                  <a:pt x="3136900" y="2457451"/>
                </a:cubicBezTo>
                <a:cubicBezTo>
                  <a:pt x="2944015" y="2457451"/>
                  <a:pt x="2787650" y="2300731"/>
                  <a:pt x="2787650" y="2107407"/>
                </a:cubicBezTo>
                <a:cubicBezTo>
                  <a:pt x="2787650" y="1914083"/>
                  <a:pt x="2944015" y="1757363"/>
                  <a:pt x="3136900" y="1757363"/>
                </a:cubicBezTo>
                <a:close/>
                <a:moveTo>
                  <a:pt x="825500" y="1757363"/>
                </a:moveTo>
                <a:cubicBezTo>
                  <a:pt x="1018385" y="1757363"/>
                  <a:pt x="1174750" y="1914083"/>
                  <a:pt x="1174750" y="2107407"/>
                </a:cubicBezTo>
                <a:cubicBezTo>
                  <a:pt x="1174750" y="2300731"/>
                  <a:pt x="1018385" y="2457451"/>
                  <a:pt x="825500" y="2457451"/>
                </a:cubicBezTo>
                <a:cubicBezTo>
                  <a:pt x="632615" y="2457451"/>
                  <a:pt x="476250" y="2300731"/>
                  <a:pt x="476250" y="2107407"/>
                </a:cubicBezTo>
                <a:cubicBezTo>
                  <a:pt x="476250" y="1914083"/>
                  <a:pt x="632615" y="1757363"/>
                  <a:pt x="825500" y="1757363"/>
                </a:cubicBezTo>
                <a:close/>
                <a:moveTo>
                  <a:pt x="2397125" y="532797"/>
                </a:moveTo>
                <a:lnTo>
                  <a:pt x="2397125" y="613672"/>
                </a:lnTo>
                <a:lnTo>
                  <a:pt x="2397125" y="2001484"/>
                </a:lnTo>
                <a:lnTo>
                  <a:pt x="2394079" y="2016729"/>
                </a:lnTo>
                <a:lnTo>
                  <a:pt x="2399520" y="2016729"/>
                </a:lnTo>
                <a:lnTo>
                  <a:pt x="2639583" y="2016729"/>
                </a:lnTo>
                <a:cubicBezTo>
                  <a:pt x="2645657" y="2016729"/>
                  <a:pt x="2651731" y="2010648"/>
                  <a:pt x="2651731" y="2004566"/>
                </a:cubicBezTo>
                <a:cubicBezTo>
                  <a:pt x="2685136" y="1761298"/>
                  <a:pt x="2885566" y="1587970"/>
                  <a:pt x="3137623" y="1587970"/>
                </a:cubicBezTo>
                <a:cubicBezTo>
                  <a:pt x="3389679" y="1587970"/>
                  <a:pt x="3590109" y="1761298"/>
                  <a:pt x="3623514" y="2004566"/>
                </a:cubicBezTo>
                <a:cubicBezTo>
                  <a:pt x="3623514" y="2010648"/>
                  <a:pt x="3629588" y="2016729"/>
                  <a:pt x="3635662" y="2016729"/>
                </a:cubicBezTo>
                <a:lnTo>
                  <a:pt x="3714619" y="2016729"/>
                </a:lnTo>
                <a:cubicBezTo>
                  <a:pt x="3723730" y="2016729"/>
                  <a:pt x="3729803" y="2010648"/>
                  <a:pt x="3729803" y="2001525"/>
                </a:cubicBezTo>
                <a:lnTo>
                  <a:pt x="3729803" y="1274763"/>
                </a:lnTo>
                <a:cubicBezTo>
                  <a:pt x="3729803" y="1271722"/>
                  <a:pt x="3726766" y="1268681"/>
                  <a:pt x="3726766" y="1265641"/>
                </a:cubicBezTo>
                <a:lnTo>
                  <a:pt x="3626551" y="1147048"/>
                </a:lnTo>
                <a:lnTo>
                  <a:pt x="2915934" y="1147048"/>
                </a:lnTo>
                <a:cubicBezTo>
                  <a:pt x="2840014" y="1147048"/>
                  <a:pt x="2779277" y="1086231"/>
                  <a:pt x="2779277" y="1013250"/>
                </a:cubicBezTo>
                <a:lnTo>
                  <a:pt x="2779277" y="532797"/>
                </a:lnTo>
                <a:lnTo>
                  <a:pt x="2402829" y="532797"/>
                </a:lnTo>
                <a:lnTo>
                  <a:pt x="2397125" y="532797"/>
                </a:lnTo>
                <a:close/>
                <a:moveTo>
                  <a:pt x="2900363" y="531813"/>
                </a:moveTo>
                <a:lnTo>
                  <a:pt x="2900363" y="1013336"/>
                </a:lnTo>
                <a:cubicBezTo>
                  <a:pt x="2900363" y="1019431"/>
                  <a:pt x="2906436" y="1025526"/>
                  <a:pt x="2915545" y="1025526"/>
                </a:cubicBezTo>
                <a:lnTo>
                  <a:pt x="3525838" y="1025526"/>
                </a:lnTo>
                <a:lnTo>
                  <a:pt x="3115940" y="537908"/>
                </a:lnTo>
                <a:cubicBezTo>
                  <a:pt x="3115940" y="534861"/>
                  <a:pt x="3109867" y="531813"/>
                  <a:pt x="3106831" y="531813"/>
                </a:cubicBezTo>
                <a:lnTo>
                  <a:pt x="2900363" y="531813"/>
                </a:lnTo>
                <a:close/>
                <a:moveTo>
                  <a:pt x="135842" y="122238"/>
                </a:moveTo>
                <a:cubicBezTo>
                  <a:pt x="126727" y="122238"/>
                  <a:pt x="120650" y="128318"/>
                  <a:pt x="120650" y="137438"/>
                </a:cubicBezTo>
                <a:lnTo>
                  <a:pt x="120650" y="2000926"/>
                </a:lnTo>
                <a:cubicBezTo>
                  <a:pt x="120650" y="2010046"/>
                  <a:pt x="126727" y="2016126"/>
                  <a:pt x="135842" y="2016126"/>
                </a:cubicBezTo>
                <a:lnTo>
                  <a:pt x="327263" y="2016126"/>
                </a:lnTo>
                <a:cubicBezTo>
                  <a:pt x="333339" y="2016126"/>
                  <a:pt x="339416" y="2010046"/>
                  <a:pt x="339416" y="2003966"/>
                </a:cubicBezTo>
                <a:cubicBezTo>
                  <a:pt x="372839" y="1760771"/>
                  <a:pt x="570336" y="1587493"/>
                  <a:pt x="825563" y="1587493"/>
                </a:cubicBezTo>
                <a:cubicBezTo>
                  <a:pt x="1077752" y="1587493"/>
                  <a:pt x="1278287" y="1760771"/>
                  <a:pt x="1308671" y="2003966"/>
                </a:cubicBezTo>
                <a:cubicBezTo>
                  <a:pt x="1311710" y="2010046"/>
                  <a:pt x="1317787" y="2016126"/>
                  <a:pt x="1323864" y="2016126"/>
                </a:cubicBezTo>
                <a:lnTo>
                  <a:pt x="2259696" y="2016126"/>
                </a:lnTo>
                <a:cubicBezTo>
                  <a:pt x="2268811" y="2016126"/>
                  <a:pt x="2274888" y="2010046"/>
                  <a:pt x="2274888" y="2000926"/>
                </a:cubicBezTo>
                <a:lnTo>
                  <a:pt x="2274888" y="137438"/>
                </a:lnTo>
                <a:cubicBezTo>
                  <a:pt x="2274888" y="128318"/>
                  <a:pt x="2268811" y="122238"/>
                  <a:pt x="2259696" y="122238"/>
                </a:cubicBezTo>
                <a:lnTo>
                  <a:pt x="135842" y="122238"/>
                </a:lnTo>
                <a:close/>
                <a:moveTo>
                  <a:pt x="136718" y="0"/>
                </a:moveTo>
                <a:lnTo>
                  <a:pt x="2260407" y="0"/>
                </a:lnTo>
                <a:cubicBezTo>
                  <a:pt x="2336362" y="0"/>
                  <a:pt x="2397125" y="60835"/>
                  <a:pt x="2397125" y="136880"/>
                </a:cubicBezTo>
                <a:lnTo>
                  <a:pt x="2397125" y="306281"/>
                </a:lnTo>
                <a:lnTo>
                  <a:pt x="2397125" y="411163"/>
                </a:lnTo>
                <a:lnTo>
                  <a:pt x="2426638" y="411163"/>
                </a:lnTo>
                <a:lnTo>
                  <a:pt x="3107254" y="411163"/>
                </a:lnTo>
                <a:cubicBezTo>
                  <a:pt x="3146733" y="411163"/>
                  <a:pt x="3186212" y="429408"/>
                  <a:pt x="3210506" y="459817"/>
                </a:cubicBezTo>
                <a:lnTo>
                  <a:pt x="3684251" y="1025414"/>
                </a:lnTo>
                <a:lnTo>
                  <a:pt x="3687288" y="1025414"/>
                </a:lnTo>
                <a:lnTo>
                  <a:pt x="3687288" y="1031496"/>
                </a:lnTo>
                <a:lnTo>
                  <a:pt x="3817871" y="1186579"/>
                </a:lnTo>
                <a:cubicBezTo>
                  <a:pt x="3839129" y="1210905"/>
                  <a:pt x="3851276" y="1241314"/>
                  <a:pt x="3851276" y="1274763"/>
                </a:cubicBezTo>
                <a:lnTo>
                  <a:pt x="3851276" y="2001525"/>
                </a:lnTo>
                <a:cubicBezTo>
                  <a:pt x="3851276" y="2077546"/>
                  <a:pt x="3790540" y="2138363"/>
                  <a:pt x="3714619" y="2138363"/>
                </a:cubicBezTo>
                <a:lnTo>
                  <a:pt x="3635662" y="2138363"/>
                </a:lnTo>
                <a:cubicBezTo>
                  <a:pt x="3568852" y="2138363"/>
                  <a:pt x="3511152" y="2086669"/>
                  <a:pt x="3502041" y="2022811"/>
                </a:cubicBezTo>
                <a:cubicBezTo>
                  <a:pt x="3477747" y="1834279"/>
                  <a:pt x="3331979" y="1709604"/>
                  <a:pt x="3137623" y="1709604"/>
                </a:cubicBezTo>
                <a:cubicBezTo>
                  <a:pt x="2943266" y="1709604"/>
                  <a:pt x="2797498" y="1834279"/>
                  <a:pt x="2773204" y="2022811"/>
                </a:cubicBezTo>
                <a:cubicBezTo>
                  <a:pt x="2764093" y="2086669"/>
                  <a:pt x="2706394" y="2138363"/>
                  <a:pt x="2639583" y="2138363"/>
                </a:cubicBezTo>
                <a:lnTo>
                  <a:pt x="2281238" y="2138363"/>
                </a:lnTo>
                <a:lnTo>
                  <a:pt x="2281238" y="2134192"/>
                </a:lnTo>
                <a:lnTo>
                  <a:pt x="2260407" y="2138363"/>
                </a:lnTo>
                <a:lnTo>
                  <a:pt x="1324647" y="2138363"/>
                </a:lnTo>
                <a:cubicBezTo>
                  <a:pt x="1257807" y="2138363"/>
                  <a:pt x="1200082" y="2086653"/>
                  <a:pt x="1190967" y="2022776"/>
                </a:cubicBezTo>
                <a:cubicBezTo>
                  <a:pt x="1166662" y="1834186"/>
                  <a:pt x="1020829" y="1709474"/>
                  <a:pt x="826386" y="1709474"/>
                </a:cubicBezTo>
                <a:cubicBezTo>
                  <a:pt x="631942" y="1709474"/>
                  <a:pt x="486109" y="1834186"/>
                  <a:pt x="461804" y="2022776"/>
                </a:cubicBezTo>
                <a:cubicBezTo>
                  <a:pt x="452689" y="2086653"/>
                  <a:pt x="394964" y="2138363"/>
                  <a:pt x="328124" y="2138363"/>
                </a:cubicBezTo>
                <a:lnTo>
                  <a:pt x="136718" y="2138363"/>
                </a:lnTo>
                <a:cubicBezTo>
                  <a:pt x="60764" y="2138363"/>
                  <a:pt x="0" y="2077528"/>
                  <a:pt x="0" y="2001484"/>
                </a:cubicBezTo>
                <a:lnTo>
                  <a:pt x="0" y="136880"/>
                </a:lnTo>
                <a:cubicBezTo>
                  <a:pt x="0" y="60835"/>
                  <a:pt x="60764" y="0"/>
                  <a:pt x="136718" y="0"/>
                </a:cubicBezTo>
                <a:close/>
              </a:path>
            </a:pathLst>
          </a:custGeom>
          <a:solidFill>
            <a:schemeClr val="bg1"/>
          </a:solidFill>
          <a:ln>
            <a:solidFill>
              <a:schemeClr val="accent4">
                <a:lumMod val="40000"/>
                <a:lumOff val="60000"/>
              </a:schemeClr>
            </a:solid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389" name="Freeform 73">
            <a:extLst>
              <a:ext uri="{FF2B5EF4-FFF2-40B4-BE49-F238E27FC236}">
                <a16:creationId xmlns:a16="http://schemas.microsoft.com/office/drawing/2014/main" id="{A90577ED-DD5E-40C5-BC6C-616ED5B49A17}"/>
              </a:ext>
            </a:extLst>
          </p:cNvPr>
          <p:cNvSpPr>
            <a:spLocks noChangeArrowheads="1"/>
          </p:cNvSpPr>
          <p:nvPr/>
        </p:nvSpPr>
        <p:spPr bwMode="auto">
          <a:xfrm flipH="1">
            <a:off x="1362480" y="3250391"/>
            <a:ext cx="234296" cy="149501"/>
          </a:xfrm>
          <a:custGeom>
            <a:avLst/>
            <a:gdLst>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26294 w 3851276"/>
              <a:gd name="connsiteY5" fmla="*/ 2082800 h 2457451"/>
              <a:gd name="connsiteX6" fmla="*/ 801687 w 3851276"/>
              <a:gd name="connsiteY6" fmla="*/ 2107407 h 2457451"/>
              <a:gd name="connsiteX7" fmla="*/ 826294 w 3851276"/>
              <a:gd name="connsiteY7" fmla="*/ 2132014 h 2457451"/>
              <a:gd name="connsiteX8" fmla="*/ 850901 w 3851276"/>
              <a:gd name="connsiteY8" fmla="*/ 2107407 h 2457451"/>
              <a:gd name="connsiteX9" fmla="*/ 826294 w 3851276"/>
              <a:gd name="connsiteY9" fmla="*/ 2082800 h 2457451"/>
              <a:gd name="connsiteX10" fmla="*/ 3137694 w 3851276"/>
              <a:gd name="connsiteY10" fmla="*/ 1962150 h 2457451"/>
              <a:gd name="connsiteX11" fmla="*/ 3282951 w 3851276"/>
              <a:gd name="connsiteY11" fmla="*/ 2108200 h 2457451"/>
              <a:gd name="connsiteX12" fmla="*/ 3137694 w 3851276"/>
              <a:gd name="connsiteY12" fmla="*/ 2254250 h 2457451"/>
              <a:gd name="connsiteX13" fmla="*/ 2992437 w 3851276"/>
              <a:gd name="connsiteY13" fmla="*/ 2108200 h 2457451"/>
              <a:gd name="connsiteX14" fmla="*/ 3137694 w 3851276"/>
              <a:gd name="connsiteY14" fmla="*/ 1962150 h 2457451"/>
              <a:gd name="connsiteX15" fmla="*/ 826294 w 3851276"/>
              <a:gd name="connsiteY15" fmla="*/ 1962150 h 2457451"/>
              <a:gd name="connsiteX16" fmla="*/ 971551 w 3851276"/>
              <a:gd name="connsiteY16" fmla="*/ 2108200 h 2457451"/>
              <a:gd name="connsiteX17" fmla="*/ 826294 w 3851276"/>
              <a:gd name="connsiteY17" fmla="*/ 2254250 h 2457451"/>
              <a:gd name="connsiteX18" fmla="*/ 681037 w 3851276"/>
              <a:gd name="connsiteY18" fmla="*/ 2108200 h 2457451"/>
              <a:gd name="connsiteX19" fmla="*/ 826294 w 3851276"/>
              <a:gd name="connsiteY19" fmla="*/ 1962150 h 2457451"/>
              <a:gd name="connsiteX20" fmla="*/ 3137695 w 3851276"/>
              <a:gd name="connsiteY20" fmla="*/ 1879600 h 2457451"/>
              <a:gd name="connsiteX21" fmla="*/ 2909888 w 3851276"/>
              <a:gd name="connsiteY21" fmla="*/ 2107407 h 2457451"/>
              <a:gd name="connsiteX22" fmla="*/ 3137695 w 3851276"/>
              <a:gd name="connsiteY22" fmla="*/ 2335214 h 2457451"/>
              <a:gd name="connsiteX23" fmla="*/ 3365502 w 3851276"/>
              <a:gd name="connsiteY23" fmla="*/ 2107407 h 2457451"/>
              <a:gd name="connsiteX24" fmla="*/ 3137695 w 3851276"/>
              <a:gd name="connsiteY24" fmla="*/ 1879600 h 2457451"/>
              <a:gd name="connsiteX25" fmla="*/ 826295 w 3851276"/>
              <a:gd name="connsiteY25" fmla="*/ 1879600 h 2457451"/>
              <a:gd name="connsiteX26" fmla="*/ 598488 w 3851276"/>
              <a:gd name="connsiteY26" fmla="*/ 2107407 h 2457451"/>
              <a:gd name="connsiteX27" fmla="*/ 826295 w 3851276"/>
              <a:gd name="connsiteY27" fmla="*/ 2335214 h 2457451"/>
              <a:gd name="connsiteX28" fmla="*/ 1054102 w 3851276"/>
              <a:gd name="connsiteY28" fmla="*/ 2107407 h 2457451"/>
              <a:gd name="connsiteX29" fmla="*/ 826295 w 3851276"/>
              <a:gd name="connsiteY29" fmla="*/ 1879600 h 2457451"/>
              <a:gd name="connsiteX30" fmla="*/ 3136900 w 3851276"/>
              <a:gd name="connsiteY30" fmla="*/ 1757363 h 2457451"/>
              <a:gd name="connsiteX31" fmla="*/ 3486150 w 3851276"/>
              <a:gd name="connsiteY31" fmla="*/ 2107407 h 2457451"/>
              <a:gd name="connsiteX32" fmla="*/ 3136900 w 3851276"/>
              <a:gd name="connsiteY32" fmla="*/ 2457451 h 2457451"/>
              <a:gd name="connsiteX33" fmla="*/ 2787650 w 3851276"/>
              <a:gd name="connsiteY33" fmla="*/ 2107407 h 2457451"/>
              <a:gd name="connsiteX34" fmla="*/ 3136900 w 3851276"/>
              <a:gd name="connsiteY34" fmla="*/ 1757363 h 2457451"/>
              <a:gd name="connsiteX35" fmla="*/ 825500 w 3851276"/>
              <a:gd name="connsiteY35" fmla="*/ 1757363 h 2457451"/>
              <a:gd name="connsiteX36" fmla="*/ 1174750 w 3851276"/>
              <a:gd name="connsiteY36" fmla="*/ 2107407 h 2457451"/>
              <a:gd name="connsiteX37" fmla="*/ 825500 w 3851276"/>
              <a:gd name="connsiteY37" fmla="*/ 2457451 h 2457451"/>
              <a:gd name="connsiteX38" fmla="*/ 476250 w 3851276"/>
              <a:gd name="connsiteY38" fmla="*/ 2107407 h 2457451"/>
              <a:gd name="connsiteX39" fmla="*/ 825500 w 3851276"/>
              <a:gd name="connsiteY39" fmla="*/ 1757363 h 2457451"/>
              <a:gd name="connsiteX40" fmla="*/ 2397125 w 3851276"/>
              <a:gd name="connsiteY40" fmla="*/ 532797 h 2457451"/>
              <a:gd name="connsiteX41" fmla="*/ 2397125 w 3851276"/>
              <a:gd name="connsiteY41" fmla="*/ 613672 h 2457451"/>
              <a:gd name="connsiteX42" fmla="*/ 2397125 w 3851276"/>
              <a:gd name="connsiteY42" fmla="*/ 2001484 h 2457451"/>
              <a:gd name="connsiteX43" fmla="*/ 2394079 w 3851276"/>
              <a:gd name="connsiteY43" fmla="*/ 2016729 h 2457451"/>
              <a:gd name="connsiteX44" fmla="*/ 2399520 w 3851276"/>
              <a:gd name="connsiteY44" fmla="*/ 2016729 h 2457451"/>
              <a:gd name="connsiteX45" fmla="*/ 2639583 w 3851276"/>
              <a:gd name="connsiteY45" fmla="*/ 2016729 h 2457451"/>
              <a:gd name="connsiteX46" fmla="*/ 2651731 w 3851276"/>
              <a:gd name="connsiteY46" fmla="*/ 2004566 h 2457451"/>
              <a:gd name="connsiteX47" fmla="*/ 3137623 w 3851276"/>
              <a:gd name="connsiteY47" fmla="*/ 1587970 h 2457451"/>
              <a:gd name="connsiteX48" fmla="*/ 3623514 w 3851276"/>
              <a:gd name="connsiteY48" fmla="*/ 2004566 h 2457451"/>
              <a:gd name="connsiteX49" fmla="*/ 3635662 w 3851276"/>
              <a:gd name="connsiteY49" fmla="*/ 2016729 h 2457451"/>
              <a:gd name="connsiteX50" fmla="*/ 3714619 w 3851276"/>
              <a:gd name="connsiteY50" fmla="*/ 2016729 h 2457451"/>
              <a:gd name="connsiteX51" fmla="*/ 3729803 w 3851276"/>
              <a:gd name="connsiteY51" fmla="*/ 2001525 h 2457451"/>
              <a:gd name="connsiteX52" fmla="*/ 3729803 w 3851276"/>
              <a:gd name="connsiteY52" fmla="*/ 1274763 h 2457451"/>
              <a:gd name="connsiteX53" fmla="*/ 3726766 w 3851276"/>
              <a:gd name="connsiteY53" fmla="*/ 1265641 h 2457451"/>
              <a:gd name="connsiteX54" fmla="*/ 3626551 w 3851276"/>
              <a:gd name="connsiteY54" fmla="*/ 1147048 h 2457451"/>
              <a:gd name="connsiteX55" fmla="*/ 2915934 w 3851276"/>
              <a:gd name="connsiteY55" fmla="*/ 1147048 h 2457451"/>
              <a:gd name="connsiteX56" fmla="*/ 2779277 w 3851276"/>
              <a:gd name="connsiteY56" fmla="*/ 1013250 h 2457451"/>
              <a:gd name="connsiteX57" fmla="*/ 2779277 w 3851276"/>
              <a:gd name="connsiteY57" fmla="*/ 532797 h 2457451"/>
              <a:gd name="connsiteX58" fmla="*/ 2402829 w 3851276"/>
              <a:gd name="connsiteY58" fmla="*/ 532797 h 2457451"/>
              <a:gd name="connsiteX59" fmla="*/ 2900363 w 3851276"/>
              <a:gd name="connsiteY59" fmla="*/ 531813 h 2457451"/>
              <a:gd name="connsiteX60" fmla="*/ 2900363 w 3851276"/>
              <a:gd name="connsiteY60" fmla="*/ 1013336 h 2457451"/>
              <a:gd name="connsiteX61" fmla="*/ 2915545 w 3851276"/>
              <a:gd name="connsiteY61" fmla="*/ 1025526 h 2457451"/>
              <a:gd name="connsiteX62" fmla="*/ 3525838 w 3851276"/>
              <a:gd name="connsiteY62" fmla="*/ 1025526 h 2457451"/>
              <a:gd name="connsiteX63" fmla="*/ 3115940 w 3851276"/>
              <a:gd name="connsiteY63" fmla="*/ 537908 h 2457451"/>
              <a:gd name="connsiteX64" fmla="*/ 3106831 w 3851276"/>
              <a:gd name="connsiteY64" fmla="*/ 531813 h 2457451"/>
              <a:gd name="connsiteX65" fmla="*/ 135842 w 3851276"/>
              <a:gd name="connsiteY65" fmla="*/ 122238 h 2457451"/>
              <a:gd name="connsiteX66" fmla="*/ 120650 w 3851276"/>
              <a:gd name="connsiteY66" fmla="*/ 137438 h 2457451"/>
              <a:gd name="connsiteX67" fmla="*/ 120650 w 3851276"/>
              <a:gd name="connsiteY67" fmla="*/ 2000926 h 2457451"/>
              <a:gd name="connsiteX68" fmla="*/ 135842 w 3851276"/>
              <a:gd name="connsiteY68" fmla="*/ 2016126 h 2457451"/>
              <a:gd name="connsiteX69" fmla="*/ 327263 w 3851276"/>
              <a:gd name="connsiteY69" fmla="*/ 2016126 h 2457451"/>
              <a:gd name="connsiteX70" fmla="*/ 339416 w 3851276"/>
              <a:gd name="connsiteY70" fmla="*/ 2003966 h 2457451"/>
              <a:gd name="connsiteX71" fmla="*/ 825563 w 3851276"/>
              <a:gd name="connsiteY71" fmla="*/ 1587493 h 2457451"/>
              <a:gd name="connsiteX72" fmla="*/ 1308671 w 3851276"/>
              <a:gd name="connsiteY72" fmla="*/ 2003966 h 2457451"/>
              <a:gd name="connsiteX73" fmla="*/ 1323864 w 3851276"/>
              <a:gd name="connsiteY73" fmla="*/ 2016126 h 2457451"/>
              <a:gd name="connsiteX74" fmla="*/ 2259696 w 3851276"/>
              <a:gd name="connsiteY74" fmla="*/ 2016126 h 2457451"/>
              <a:gd name="connsiteX75" fmla="*/ 2274888 w 3851276"/>
              <a:gd name="connsiteY75" fmla="*/ 2000926 h 2457451"/>
              <a:gd name="connsiteX76" fmla="*/ 2274888 w 3851276"/>
              <a:gd name="connsiteY76" fmla="*/ 137438 h 2457451"/>
              <a:gd name="connsiteX77" fmla="*/ 2259696 w 3851276"/>
              <a:gd name="connsiteY77" fmla="*/ 122238 h 2457451"/>
              <a:gd name="connsiteX78" fmla="*/ 135842 w 3851276"/>
              <a:gd name="connsiteY78" fmla="*/ 122238 h 2457451"/>
              <a:gd name="connsiteX79" fmla="*/ 136718 w 3851276"/>
              <a:gd name="connsiteY79" fmla="*/ 0 h 2457451"/>
              <a:gd name="connsiteX80" fmla="*/ 2260407 w 3851276"/>
              <a:gd name="connsiteY80" fmla="*/ 0 h 2457451"/>
              <a:gd name="connsiteX81" fmla="*/ 2397125 w 3851276"/>
              <a:gd name="connsiteY81" fmla="*/ 136880 h 2457451"/>
              <a:gd name="connsiteX82" fmla="*/ 2397125 w 3851276"/>
              <a:gd name="connsiteY82" fmla="*/ 306281 h 2457451"/>
              <a:gd name="connsiteX83" fmla="*/ 2397125 w 3851276"/>
              <a:gd name="connsiteY83" fmla="*/ 411163 h 2457451"/>
              <a:gd name="connsiteX84" fmla="*/ 2426638 w 3851276"/>
              <a:gd name="connsiteY84" fmla="*/ 411163 h 2457451"/>
              <a:gd name="connsiteX85" fmla="*/ 3107254 w 3851276"/>
              <a:gd name="connsiteY85" fmla="*/ 411163 h 2457451"/>
              <a:gd name="connsiteX86" fmla="*/ 3210506 w 3851276"/>
              <a:gd name="connsiteY86" fmla="*/ 459817 h 2457451"/>
              <a:gd name="connsiteX87" fmla="*/ 3684251 w 3851276"/>
              <a:gd name="connsiteY87" fmla="*/ 1025414 h 2457451"/>
              <a:gd name="connsiteX88" fmla="*/ 3687288 w 3851276"/>
              <a:gd name="connsiteY88" fmla="*/ 1025414 h 2457451"/>
              <a:gd name="connsiteX89" fmla="*/ 3687288 w 3851276"/>
              <a:gd name="connsiteY89" fmla="*/ 1031496 h 2457451"/>
              <a:gd name="connsiteX90" fmla="*/ 3817871 w 3851276"/>
              <a:gd name="connsiteY90" fmla="*/ 1186579 h 2457451"/>
              <a:gd name="connsiteX91" fmla="*/ 3851276 w 3851276"/>
              <a:gd name="connsiteY91" fmla="*/ 1274763 h 2457451"/>
              <a:gd name="connsiteX92" fmla="*/ 3851276 w 3851276"/>
              <a:gd name="connsiteY92" fmla="*/ 2001525 h 2457451"/>
              <a:gd name="connsiteX93" fmla="*/ 3714619 w 3851276"/>
              <a:gd name="connsiteY93" fmla="*/ 2138363 h 2457451"/>
              <a:gd name="connsiteX94" fmla="*/ 3635662 w 3851276"/>
              <a:gd name="connsiteY94" fmla="*/ 2138363 h 2457451"/>
              <a:gd name="connsiteX95" fmla="*/ 3502041 w 3851276"/>
              <a:gd name="connsiteY95" fmla="*/ 2022811 h 2457451"/>
              <a:gd name="connsiteX96" fmla="*/ 3137623 w 3851276"/>
              <a:gd name="connsiteY96" fmla="*/ 1709604 h 2457451"/>
              <a:gd name="connsiteX97" fmla="*/ 2773204 w 3851276"/>
              <a:gd name="connsiteY97" fmla="*/ 2022811 h 2457451"/>
              <a:gd name="connsiteX98" fmla="*/ 2639583 w 3851276"/>
              <a:gd name="connsiteY98" fmla="*/ 2138363 h 2457451"/>
              <a:gd name="connsiteX99" fmla="*/ 2281238 w 3851276"/>
              <a:gd name="connsiteY99" fmla="*/ 2138363 h 2457451"/>
              <a:gd name="connsiteX100" fmla="*/ 2281238 w 3851276"/>
              <a:gd name="connsiteY100" fmla="*/ 2134192 h 2457451"/>
              <a:gd name="connsiteX101" fmla="*/ 2260407 w 3851276"/>
              <a:gd name="connsiteY101" fmla="*/ 2138363 h 2457451"/>
              <a:gd name="connsiteX102" fmla="*/ 1324647 w 3851276"/>
              <a:gd name="connsiteY102" fmla="*/ 2138363 h 2457451"/>
              <a:gd name="connsiteX103" fmla="*/ 1190967 w 3851276"/>
              <a:gd name="connsiteY103" fmla="*/ 2022776 h 2457451"/>
              <a:gd name="connsiteX104" fmla="*/ 826386 w 3851276"/>
              <a:gd name="connsiteY104" fmla="*/ 1709474 h 2457451"/>
              <a:gd name="connsiteX105" fmla="*/ 461804 w 3851276"/>
              <a:gd name="connsiteY105" fmla="*/ 2022776 h 2457451"/>
              <a:gd name="connsiteX106" fmla="*/ 328124 w 3851276"/>
              <a:gd name="connsiteY106" fmla="*/ 2138363 h 2457451"/>
              <a:gd name="connsiteX107" fmla="*/ 136718 w 3851276"/>
              <a:gd name="connsiteY107" fmla="*/ 2138363 h 2457451"/>
              <a:gd name="connsiteX108" fmla="*/ 0 w 3851276"/>
              <a:gd name="connsiteY108" fmla="*/ 2001484 h 2457451"/>
              <a:gd name="connsiteX109" fmla="*/ 0 w 3851276"/>
              <a:gd name="connsiteY109" fmla="*/ 136880 h 2457451"/>
              <a:gd name="connsiteX110" fmla="*/ 136718 w 3851276"/>
              <a:gd name="connsiteY110"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50901 w 3851276"/>
              <a:gd name="connsiteY5" fmla="*/ 2107407 h 2457451"/>
              <a:gd name="connsiteX6" fmla="*/ 801687 w 3851276"/>
              <a:gd name="connsiteY6" fmla="*/ 2107407 h 2457451"/>
              <a:gd name="connsiteX7" fmla="*/ 826294 w 3851276"/>
              <a:gd name="connsiteY7" fmla="*/ 2132014 h 2457451"/>
              <a:gd name="connsiteX8" fmla="*/ 850901 w 3851276"/>
              <a:gd name="connsiteY8" fmla="*/ 2107407 h 2457451"/>
              <a:gd name="connsiteX9" fmla="*/ 3137694 w 3851276"/>
              <a:gd name="connsiteY9" fmla="*/ 1962150 h 2457451"/>
              <a:gd name="connsiteX10" fmla="*/ 3282951 w 3851276"/>
              <a:gd name="connsiteY10" fmla="*/ 2108200 h 2457451"/>
              <a:gd name="connsiteX11" fmla="*/ 3137694 w 3851276"/>
              <a:gd name="connsiteY11" fmla="*/ 2254250 h 2457451"/>
              <a:gd name="connsiteX12" fmla="*/ 2992437 w 3851276"/>
              <a:gd name="connsiteY12" fmla="*/ 2108200 h 2457451"/>
              <a:gd name="connsiteX13" fmla="*/ 3137694 w 3851276"/>
              <a:gd name="connsiteY13" fmla="*/ 1962150 h 2457451"/>
              <a:gd name="connsiteX14" fmla="*/ 826294 w 3851276"/>
              <a:gd name="connsiteY14" fmla="*/ 1962150 h 2457451"/>
              <a:gd name="connsiteX15" fmla="*/ 971551 w 3851276"/>
              <a:gd name="connsiteY15" fmla="*/ 2108200 h 2457451"/>
              <a:gd name="connsiteX16" fmla="*/ 826294 w 3851276"/>
              <a:gd name="connsiteY16" fmla="*/ 2254250 h 2457451"/>
              <a:gd name="connsiteX17" fmla="*/ 681037 w 3851276"/>
              <a:gd name="connsiteY17" fmla="*/ 2108200 h 2457451"/>
              <a:gd name="connsiteX18" fmla="*/ 826294 w 3851276"/>
              <a:gd name="connsiteY18" fmla="*/ 1962150 h 2457451"/>
              <a:gd name="connsiteX19" fmla="*/ 3137695 w 3851276"/>
              <a:gd name="connsiteY19" fmla="*/ 1879600 h 2457451"/>
              <a:gd name="connsiteX20" fmla="*/ 2909888 w 3851276"/>
              <a:gd name="connsiteY20" fmla="*/ 2107407 h 2457451"/>
              <a:gd name="connsiteX21" fmla="*/ 3137695 w 3851276"/>
              <a:gd name="connsiteY21" fmla="*/ 2335214 h 2457451"/>
              <a:gd name="connsiteX22" fmla="*/ 3365502 w 3851276"/>
              <a:gd name="connsiteY22" fmla="*/ 2107407 h 2457451"/>
              <a:gd name="connsiteX23" fmla="*/ 3137695 w 3851276"/>
              <a:gd name="connsiteY23" fmla="*/ 1879600 h 2457451"/>
              <a:gd name="connsiteX24" fmla="*/ 826295 w 3851276"/>
              <a:gd name="connsiteY24" fmla="*/ 1879600 h 2457451"/>
              <a:gd name="connsiteX25" fmla="*/ 598488 w 3851276"/>
              <a:gd name="connsiteY25" fmla="*/ 2107407 h 2457451"/>
              <a:gd name="connsiteX26" fmla="*/ 826295 w 3851276"/>
              <a:gd name="connsiteY26" fmla="*/ 2335214 h 2457451"/>
              <a:gd name="connsiteX27" fmla="*/ 1054102 w 3851276"/>
              <a:gd name="connsiteY27" fmla="*/ 2107407 h 2457451"/>
              <a:gd name="connsiteX28" fmla="*/ 826295 w 3851276"/>
              <a:gd name="connsiteY28" fmla="*/ 1879600 h 2457451"/>
              <a:gd name="connsiteX29" fmla="*/ 3136900 w 3851276"/>
              <a:gd name="connsiteY29" fmla="*/ 1757363 h 2457451"/>
              <a:gd name="connsiteX30" fmla="*/ 3486150 w 3851276"/>
              <a:gd name="connsiteY30" fmla="*/ 2107407 h 2457451"/>
              <a:gd name="connsiteX31" fmla="*/ 3136900 w 3851276"/>
              <a:gd name="connsiteY31" fmla="*/ 2457451 h 2457451"/>
              <a:gd name="connsiteX32" fmla="*/ 2787650 w 3851276"/>
              <a:gd name="connsiteY32" fmla="*/ 2107407 h 2457451"/>
              <a:gd name="connsiteX33" fmla="*/ 3136900 w 3851276"/>
              <a:gd name="connsiteY33" fmla="*/ 1757363 h 2457451"/>
              <a:gd name="connsiteX34" fmla="*/ 825500 w 3851276"/>
              <a:gd name="connsiteY34" fmla="*/ 1757363 h 2457451"/>
              <a:gd name="connsiteX35" fmla="*/ 1174750 w 3851276"/>
              <a:gd name="connsiteY35" fmla="*/ 2107407 h 2457451"/>
              <a:gd name="connsiteX36" fmla="*/ 825500 w 3851276"/>
              <a:gd name="connsiteY36" fmla="*/ 2457451 h 2457451"/>
              <a:gd name="connsiteX37" fmla="*/ 476250 w 3851276"/>
              <a:gd name="connsiteY37" fmla="*/ 2107407 h 2457451"/>
              <a:gd name="connsiteX38" fmla="*/ 825500 w 3851276"/>
              <a:gd name="connsiteY38" fmla="*/ 1757363 h 2457451"/>
              <a:gd name="connsiteX39" fmla="*/ 2397125 w 3851276"/>
              <a:gd name="connsiteY39" fmla="*/ 532797 h 2457451"/>
              <a:gd name="connsiteX40" fmla="*/ 2397125 w 3851276"/>
              <a:gd name="connsiteY40" fmla="*/ 613672 h 2457451"/>
              <a:gd name="connsiteX41" fmla="*/ 2397125 w 3851276"/>
              <a:gd name="connsiteY41" fmla="*/ 2001484 h 2457451"/>
              <a:gd name="connsiteX42" fmla="*/ 2394079 w 3851276"/>
              <a:gd name="connsiteY42" fmla="*/ 2016729 h 2457451"/>
              <a:gd name="connsiteX43" fmla="*/ 2399520 w 3851276"/>
              <a:gd name="connsiteY43" fmla="*/ 2016729 h 2457451"/>
              <a:gd name="connsiteX44" fmla="*/ 2639583 w 3851276"/>
              <a:gd name="connsiteY44" fmla="*/ 2016729 h 2457451"/>
              <a:gd name="connsiteX45" fmla="*/ 2651731 w 3851276"/>
              <a:gd name="connsiteY45" fmla="*/ 2004566 h 2457451"/>
              <a:gd name="connsiteX46" fmla="*/ 3137623 w 3851276"/>
              <a:gd name="connsiteY46" fmla="*/ 1587970 h 2457451"/>
              <a:gd name="connsiteX47" fmla="*/ 3623514 w 3851276"/>
              <a:gd name="connsiteY47" fmla="*/ 2004566 h 2457451"/>
              <a:gd name="connsiteX48" fmla="*/ 3635662 w 3851276"/>
              <a:gd name="connsiteY48" fmla="*/ 2016729 h 2457451"/>
              <a:gd name="connsiteX49" fmla="*/ 3714619 w 3851276"/>
              <a:gd name="connsiteY49" fmla="*/ 2016729 h 2457451"/>
              <a:gd name="connsiteX50" fmla="*/ 3729803 w 3851276"/>
              <a:gd name="connsiteY50" fmla="*/ 2001525 h 2457451"/>
              <a:gd name="connsiteX51" fmla="*/ 3729803 w 3851276"/>
              <a:gd name="connsiteY51" fmla="*/ 1274763 h 2457451"/>
              <a:gd name="connsiteX52" fmla="*/ 3726766 w 3851276"/>
              <a:gd name="connsiteY52" fmla="*/ 1265641 h 2457451"/>
              <a:gd name="connsiteX53" fmla="*/ 3626551 w 3851276"/>
              <a:gd name="connsiteY53" fmla="*/ 1147048 h 2457451"/>
              <a:gd name="connsiteX54" fmla="*/ 2915934 w 3851276"/>
              <a:gd name="connsiteY54" fmla="*/ 1147048 h 2457451"/>
              <a:gd name="connsiteX55" fmla="*/ 2779277 w 3851276"/>
              <a:gd name="connsiteY55" fmla="*/ 1013250 h 2457451"/>
              <a:gd name="connsiteX56" fmla="*/ 2779277 w 3851276"/>
              <a:gd name="connsiteY56" fmla="*/ 532797 h 2457451"/>
              <a:gd name="connsiteX57" fmla="*/ 2402829 w 3851276"/>
              <a:gd name="connsiteY57" fmla="*/ 532797 h 2457451"/>
              <a:gd name="connsiteX58" fmla="*/ 2397125 w 3851276"/>
              <a:gd name="connsiteY58" fmla="*/ 532797 h 2457451"/>
              <a:gd name="connsiteX59" fmla="*/ 2900363 w 3851276"/>
              <a:gd name="connsiteY59" fmla="*/ 531813 h 2457451"/>
              <a:gd name="connsiteX60" fmla="*/ 2900363 w 3851276"/>
              <a:gd name="connsiteY60" fmla="*/ 1013336 h 2457451"/>
              <a:gd name="connsiteX61" fmla="*/ 2915545 w 3851276"/>
              <a:gd name="connsiteY61" fmla="*/ 1025526 h 2457451"/>
              <a:gd name="connsiteX62" fmla="*/ 3525838 w 3851276"/>
              <a:gd name="connsiteY62" fmla="*/ 1025526 h 2457451"/>
              <a:gd name="connsiteX63" fmla="*/ 3115940 w 3851276"/>
              <a:gd name="connsiteY63" fmla="*/ 537908 h 2457451"/>
              <a:gd name="connsiteX64" fmla="*/ 3106831 w 3851276"/>
              <a:gd name="connsiteY64" fmla="*/ 531813 h 2457451"/>
              <a:gd name="connsiteX65" fmla="*/ 2900363 w 3851276"/>
              <a:gd name="connsiteY65" fmla="*/ 531813 h 2457451"/>
              <a:gd name="connsiteX66" fmla="*/ 135842 w 3851276"/>
              <a:gd name="connsiteY66" fmla="*/ 122238 h 2457451"/>
              <a:gd name="connsiteX67" fmla="*/ 120650 w 3851276"/>
              <a:gd name="connsiteY67" fmla="*/ 137438 h 2457451"/>
              <a:gd name="connsiteX68" fmla="*/ 120650 w 3851276"/>
              <a:gd name="connsiteY68" fmla="*/ 2000926 h 2457451"/>
              <a:gd name="connsiteX69" fmla="*/ 135842 w 3851276"/>
              <a:gd name="connsiteY69" fmla="*/ 2016126 h 2457451"/>
              <a:gd name="connsiteX70" fmla="*/ 327263 w 3851276"/>
              <a:gd name="connsiteY70" fmla="*/ 2016126 h 2457451"/>
              <a:gd name="connsiteX71" fmla="*/ 339416 w 3851276"/>
              <a:gd name="connsiteY71" fmla="*/ 2003966 h 2457451"/>
              <a:gd name="connsiteX72" fmla="*/ 825563 w 3851276"/>
              <a:gd name="connsiteY72" fmla="*/ 1587493 h 2457451"/>
              <a:gd name="connsiteX73" fmla="*/ 1308671 w 3851276"/>
              <a:gd name="connsiteY73" fmla="*/ 2003966 h 2457451"/>
              <a:gd name="connsiteX74" fmla="*/ 1323864 w 3851276"/>
              <a:gd name="connsiteY74" fmla="*/ 2016126 h 2457451"/>
              <a:gd name="connsiteX75" fmla="*/ 2259696 w 3851276"/>
              <a:gd name="connsiteY75" fmla="*/ 2016126 h 2457451"/>
              <a:gd name="connsiteX76" fmla="*/ 2274888 w 3851276"/>
              <a:gd name="connsiteY76" fmla="*/ 2000926 h 2457451"/>
              <a:gd name="connsiteX77" fmla="*/ 2274888 w 3851276"/>
              <a:gd name="connsiteY77" fmla="*/ 137438 h 2457451"/>
              <a:gd name="connsiteX78" fmla="*/ 2259696 w 3851276"/>
              <a:gd name="connsiteY78" fmla="*/ 122238 h 2457451"/>
              <a:gd name="connsiteX79" fmla="*/ 135842 w 3851276"/>
              <a:gd name="connsiteY79" fmla="*/ 122238 h 2457451"/>
              <a:gd name="connsiteX80" fmla="*/ 136718 w 3851276"/>
              <a:gd name="connsiteY80" fmla="*/ 0 h 2457451"/>
              <a:gd name="connsiteX81" fmla="*/ 2260407 w 3851276"/>
              <a:gd name="connsiteY81" fmla="*/ 0 h 2457451"/>
              <a:gd name="connsiteX82" fmla="*/ 2397125 w 3851276"/>
              <a:gd name="connsiteY82" fmla="*/ 136880 h 2457451"/>
              <a:gd name="connsiteX83" fmla="*/ 2397125 w 3851276"/>
              <a:gd name="connsiteY83" fmla="*/ 306281 h 2457451"/>
              <a:gd name="connsiteX84" fmla="*/ 2397125 w 3851276"/>
              <a:gd name="connsiteY84" fmla="*/ 411163 h 2457451"/>
              <a:gd name="connsiteX85" fmla="*/ 2426638 w 3851276"/>
              <a:gd name="connsiteY85" fmla="*/ 411163 h 2457451"/>
              <a:gd name="connsiteX86" fmla="*/ 3107254 w 3851276"/>
              <a:gd name="connsiteY86" fmla="*/ 411163 h 2457451"/>
              <a:gd name="connsiteX87" fmla="*/ 3210506 w 3851276"/>
              <a:gd name="connsiteY87" fmla="*/ 459817 h 2457451"/>
              <a:gd name="connsiteX88" fmla="*/ 3684251 w 3851276"/>
              <a:gd name="connsiteY88" fmla="*/ 1025414 h 2457451"/>
              <a:gd name="connsiteX89" fmla="*/ 3687288 w 3851276"/>
              <a:gd name="connsiteY89" fmla="*/ 1025414 h 2457451"/>
              <a:gd name="connsiteX90" fmla="*/ 3687288 w 3851276"/>
              <a:gd name="connsiteY90" fmla="*/ 1031496 h 2457451"/>
              <a:gd name="connsiteX91" fmla="*/ 3817871 w 3851276"/>
              <a:gd name="connsiteY91" fmla="*/ 1186579 h 2457451"/>
              <a:gd name="connsiteX92" fmla="*/ 3851276 w 3851276"/>
              <a:gd name="connsiteY92" fmla="*/ 1274763 h 2457451"/>
              <a:gd name="connsiteX93" fmla="*/ 3851276 w 3851276"/>
              <a:gd name="connsiteY93" fmla="*/ 2001525 h 2457451"/>
              <a:gd name="connsiteX94" fmla="*/ 3714619 w 3851276"/>
              <a:gd name="connsiteY94" fmla="*/ 2138363 h 2457451"/>
              <a:gd name="connsiteX95" fmla="*/ 3635662 w 3851276"/>
              <a:gd name="connsiteY95" fmla="*/ 2138363 h 2457451"/>
              <a:gd name="connsiteX96" fmla="*/ 3502041 w 3851276"/>
              <a:gd name="connsiteY96" fmla="*/ 2022811 h 2457451"/>
              <a:gd name="connsiteX97" fmla="*/ 3137623 w 3851276"/>
              <a:gd name="connsiteY97" fmla="*/ 1709604 h 2457451"/>
              <a:gd name="connsiteX98" fmla="*/ 2773204 w 3851276"/>
              <a:gd name="connsiteY98" fmla="*/ 2022811 h 2457451"/>
              <a:gd name="connsiteX99" fmla="*/ 2639583 w 3851276"/>
              <a:gd name="connsiteY99" fmla="*/ 2138363 h 2457451"/>
              <a:gd name="connsiteX100" fmla="*/ 2281238 w 3851276"/>
              <a:gd name="connsiteY100" fmla="*/ 2138363 h 2457451"/>
              <a:gd name="connsiteX101" fmla="*/ 2281238 w 3851276"/>
              <a:gd name="connsiteY101" fmla="*/ 2134192 h 2457451"/>
              <a:gd name="connsiteX102" fmla="*/ 2260407 w 3851276"/>
              <a:gd name="connsiteY102" fmla="*/ 2138363 h 2457451"/>
              <a:gd name="connsiteX103" fmla="*/ 1324647 w 3851276"/>
              <a:gd name="connsiteY103" fmla="*/ 2138363 h 2457451"/>
              <a:gd name="connsiteX104" fmla="*/ 1190967 w 3851276"/>
              <a:gd name="connsiteY104" fmla="*/ 2022776 h 2457451"/>
              <a:gd name="connsiteX105" fmla="*/ 826386 w 3851276"/>
              <a:gd name="connsiteY105" fmla="*/ 1709474 h 2457451"/>
              <a:gd name="connsiteX106" fmla="*/ 461804 w 3851276"/>
              <a:gd name="connsiteY106" fmla="*/ 2022776 h 2457451"/>
              <a:gd name="connsiteX107" fmla="*/ 328124 w 3851276"/>
              <a:gd name="connsiteY107" fmla="*/ 2138363 h 2457451"/>
              <a:gd name="connsiteX108" fmla="*/ 136718 w 3851276"/>
              <a:gd name="connsiteY108" fmla="*/ 2138363 h 2457451"/>
              <a:gd name="connsiteX109" fmla="*/ 0 w 3851276"/>
              <a:gd name="connsiteY109" fmla="*/ 2001484 h 2457451"/>
              <a:gd name="connsiteX110" fmla="*/ 0 w 3851276"/>
              <a:gd name="connsiteY110" fmla="*/ 136880 h 2457451"/>
              <a:gd name="connsiteX111" fmla="*/ 136718 w 3851276"/>
              <a:gd name="connsiteY111"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26294 w 3851276"/>
              <a:gd name="connsiteY5" fmla="*/ 2132014 h 2457451"/>
              <a:gd name="connsiteX6" fmla="*/ 801687 w 3851276"/>
              <a:gd name="connsiteY6" fmla="*/ 2107407 h 2457451"/>
              <a:gd name="connsiteX7" fmla="*/ 826294 w 3851276"/>
              <a:gd name="connsiteY7" fmla="*/ 2132014 h 2457451"/>
              <a:gd name="connsiteX8" fmla="*/ 3137694 w 3851276"/>
              <a:gd name="connsiteY8" fmla="*/ 1962150 h 2457451"/>
              <a:gd name="connsiteX9" fmla="*/ 3282951 w 3851276"/>
              <a:gd name="connsiteY9" fmla="*/ 2108200 h 2457451"/>
              <a:gd name="connsiteX10" fmla="*/ 3137694 w 3851276"/>
              <a:gd name="connsiteY10" fmla="*/ 2254250 h 2457451"/>
              <a:gd name="connsiteX11" fmla="*/ 2992437 w 3851276"/>
              <a:gd name="connsiteY11" fmla="*/ 2108200 h 2457451"/>
              <a:gd name="connsiteX12" fmla="*/ 3137694 w 3851276"/>
              <a:gd name="connsiteY12" fmla="*/ 1962150 h 2457451"/>
              <a:gd name="connsiteX13" fmla="*/ 826294 w 3851276"/>
              <a:gd name="connsiteY13" fmla="*/ 1962150 h 2457451"/>
              <a:gd name="connsiteX14" fmla="*/ 971551 w 3851276"/>
              <a:gd name="connsiteY14" fmla="*/ 2108200 h 2457451"/>
              <a:gd name="connsiteX15" fmla="*/ 826294 w 3851276"/>
              <a:gd name="connsiteY15" fmla="*/ 2254250 h 2457451"/>
              <a:gd name="connsiteX16" fmla="*/ 681037 w 3851276"/>
              <a:gd name="connsiteY16" fmla="*/ 2108200 h 2457451"/>
              <a:gd name="connsiteX17" fmla="*/ 826294 w 3851276"/>
              <a:gd name="connsiteY17" fmla="*/ 1962150 h 2457451"/>
              <a:gd name="connsiteX18" fmla="*/ 3137695 w 3851276"/>
              <a:gd name="connsiteY18" fmla="*/ 1879600 h 2457451"/>
              <a:gd name="connsiteX19" fmla="*/ 2909888 w 3851276"/>
              <a:gd name="connsiteY19" fmla="*/ 2107407 h 2457451"/>
              <a:gd name="connsiteX20" fmla="*/ 3137695 w 3851276"/>
              <a:gd name="connsiteY20" fmla="*/ 2335214 h 2457451"/>
              <a:gd name="connsiteX21" fmla="*/ 3365502 w 3851276"/>
              <a:gd name="connsiteY21" fmla="*/ 2107407 h 2457451"/>
              <a:gd name="connsiteX22" fmla="*/ 3137695 w 3851276"/>
              <a:gd name="connsiteY22" fmla="*/ 1879600 h 2457451"/>
              <a:gd name="connsiteX23" fmla="*/ 826295 w 3851276"/>
              <a:gd name="connsiteY23" fmla="*/ 1879600 h 2457451"/>
              <a:gd name="connsiteX24" fmla="*/ 598488 w 3851276"/>
              <a:gd name="connsiteY24" fmla="*/ 2107407 h 2457451"/>
              <a:gd name="connsiteX25" fmla="*/ 826295 w 3851276"/>
              <a:gd name="connsiteY25" fmla="*/ 2335214 h 2457451"/>
              <a:gd name="connsiteX26" fmla="*/ 1054102 w 3851276"/>
              <a:gd name="connsiteY26" fmla="*/ 2107407 h 2457451"/>
              <a:gd name="connsiteX27" fmla="*/ 826295 w 3851276"/>
              <a:gd name="connsiteY27" fmla="*/ 1879600 h 2457451"/>
              <a:gd name="connsiteX28" fmla="*/ 3136900 w 3851276"/>
              <a:gd name="connsiteY28" fmla="*/ 1757363 h 2457451"/>
              <a:gd name="connsiteX29" fmla="*/ 3486150 w 3851276"/>
              <a:gd name="connsiteY29" fmla="*/ 2107407 h 2457451"/>
              <a:gd name="connsiteX30" fmla="*/ 3136900 w 3851276"/>
              <a:gd name="connsiteY30" fmla="*/ 2457451 h 2457451"/>
              <a:gd name="connsiteX31" fmla="*/ 2787650 w 3851276"/>
              <a:gd name="connsiteY31" fmla="*/ 2107407 h 2457451"/>
              <a:gd name="connsiteX32" fmla="*/ 3136900 w 3851276"/>
              <a:gd name="connsiteY32" fmla="*/ 1757363 h 2457451"/>
              <a:gd name="connsiteX33" fmla="*/ 825500 w 3851276"/>
              <a:gd name="connsiteY33" fmla="*/ 1757363 h 2457451"/>
              <a:gd name="connsiteX34" fmla="*/ 1174750 w 3851276"/>
              <a:gd name="connsiteY34" fmla="*/ 2107407 h 2457451"/>
              <a:gd name="connsiteX35" fmla="*/ 825500 w 3851276"/>
              <a:gd name="connsiteY35" fmla="*/ 2457451 h 2457451"/>
              <a:gd name="connsiteX36" fmla="*/ 476250 w 3851276"/>
              <a:gd name="connsiteY36" fmla="*/ 2107407 h 2457451"/>
              <a:gd name="connsiteX37" fmla="*/ 825500 w 3851276"/>
              <a:gd name="connsiteY37" fmla="*/ 1757363 h 2457451"/>
              <a:gd name="connsiteX38" fmla="*/ 2397125 w 3851276"/>
              <a:gd name="connsiteY38" fmla="*/ 532797 h 2457451"/>
              <a:gd name="connsiteX39" fmla="*/ 2397125 w 3851276"/>
              <a:gd name="connsiteY39" fmla="*/ 613672 h 2457451"/>
              <a:gd name="connsiteX40" fmla="*/ 2397125 w 3851276"/>
              <a:gd name="connsiteY40" fmla="*/ 2001484 h 2457451"/>
              <a:gd name="connsiteX41" fmla="*/ 2394079 w 3851276"/>
              <a:gd name="connsiteY41" fmla="*/ 2016729 h 2457451"/>
              <a:gd name="connsiteX42" fmla="*/ 2399520 w 3851276"/>
              <a:gd name="connsiteY42" fmla="*/ 2016729 h 2457451"/>
              <a:gd name="connsiteX43" fmla="*/ 2639583 w 3851276"/>
              <a:gd name="connsiteY43" fmla="*/ 2016729 h 2457451"/>
              <a:gd name="connsiteX44" fmla="*/ 2651731 w 3851276"/>
              <a:gd name="connsiteY44" fmla="*/ 2004566 h 2457451"/>
              <a:gd name="connsiteX45" fmla="*/ 3137623 w 3851276"/>
              <a:gd name="connsiteY45" fmla="*/ 1587970 h 2457451"/>
              <a:gd name="connsiteX46" fmla="*/ 3623514 w 3851276"/>
              <a:gd name="connsiteY46" fmla="*/ 2004566 h 2457451"/>
              <a:gd name="connsiteX47" fmla="*/ 3635662 w 3851276"/>
              <a:gd name="connsiteY47" fmla="*/ 2016729 h 2457451"/>
              <a:gd name="connsiteX48" fmla="*/ 3714619 w 3851276"/>
              <a:gd name="connsiteY48" fmla="*/ 2016729 h 2457451"/>
              <a:gd name="connsiteX49" fmla="*/ 3729803 w 3851276"/>
              <a:gd name="connsiteY49" fmla="*/ 2001525 h 2457451"/>
              <a:gd name="connsiteX50" fmla="*/ 3729803 w 3851276"/>
              <a:gd name="connsiteY50" fmla="*/ 1274763 h 2457451"/>
              <a:gd name="connsiteX51" fmla="*/ 3726766 w 3851276"/>
              <a:gd name="connsiteY51" fmla="*/ 1265641 h 2457451"/>
              <a:gd name="connsiteX52" fmla="*/ 3626551 w 3851276"/>
              <a:gd name="connsiteY52" fmla="*/ 1147048 h 2457451"/>
              <a:gd name="connsiteX53" fmla="*/ 2915934 w 3851276"/>
              <a:gd name="connsiteY53" fmla="*/ 1147048 h 2457451"/>
              <a:gd name="connsiteX54" fmla="*/ 2779277 w 3851276"/>
              <a:gd name="connsiteY54" fmla="*/ 1013250 h 2457451"/>
              <a:gd name="connsiteX55" fmla="*/ 2779277 w 3851276"/>
              <a:gd name="connsiteY55" fmla="*/ 532797 h 2457451"/>
              <a:gd name="connsiteX56" fmla="*/ 2402829 w 3851276"/>
              <a:gd name="connsiteY56" fmla="*/ 532797 h 2457451"/>
              <a:gd name="connsiteX57" fmla="*/ 2397125 w 3851276"/>
              <a:gd name="connsiteY57" fmla="*/ 532797 h 2457451"/>
              <a:gd name="connsiteX58" fmla="*/ 2900363 w 3851276"/>
              <a:gd name="connsiteY58" fmla="*/ 531813 h 2457451"/>
              <a:gd name="connsiteX59" fmla="*/ 2900363 w 3851276"/>
              <a:gd name="connsiteY59" fmla="*/ 1013336 h 2457451"/>
              <a:gd name="connsiteX60" fmla="*/ 2915545 w 3851276"/>
              <a:gd name="connsiteY60" fmla="*/ 1025526 h 2457451"/>
              <a:gd name="connsiteX61" fmla="*/ 3525838 w 3851276"/>
              <a:gd name="connsiteY61" fmla="*/ 1025526 h 2457451"/>
              <a:gd name="connsiteX62" fmla="*/ 3115940 w 3851276"/>
              <a:gd name="connsiteY62" fmla="*/ 537908 h 2457451"/>
              <a:gd name="connsiteX63" fmla="*/ 3106831 w 3851276"/>
              <a:gd name="connsiteY63" fmla="*/ 531813 h 2457451"/>
              <a:gd name="connsiteX64" fmla="*/ 2900363 w 3851276"/>
              <a:gd name="connsiteY64" fmla="*/ 531813 h 2457451"/>
              <a:gd name="connsiteX65" fmla="*/ 135842 w 3851276"/>
              <a:gd name="connsiteY65" fmla="*/ 122238 h 2457451"/>
              <a:gd name="connsiteX66" fmla="*/ 120650 w 3851276"/>
              <a:gd name="connsiteY66" fmla="*/ 137438 h 2457451"/>
              <a:gd name="connsiteX67" fmla="*/ 120650 w 3851276"/>
              <a:gd name="connsiteY67" fmla="*/ 2000926 h 2457451"/>
              <a:gd name="connsiteX68" fmla="*/ 135842 w 3851276"/>
              <a:gd name="connsiteY68" fmla="*/ 2016126 h 2457451"/>
              <a:gd name="connsiteX69" fmla="*/ 327263 w 3851276"/>
              <a:gd name="connsiteY69" fmla="*/ 2016126 h 2457451"/>
              <a:gd name="connsiteX70" fmla="*/ 339416 w 3851276"/>
              <a:gd name="connsiteY70" fmla="*/ 2003966 h 2457451"/>
              <a:gd name="connsiteX71" fmla="*/ 825563 w 3851276"/>
              <a:gd name="connsiteY71" fmla="*/ 1587493 h 2457451"/>
              <a:gd name="connsiteX72" fmla="*/ 1308671 w 3851276"/>
              <a:gd name="connsiteY72" fmla="*/ 2003966 h 2457451"/>
              <a:gd name="connsiteX73" fmla="*/ 1323864 w 3851276"/>
              <a:gd name="connsiteY73" fmla="*/ 2016126 h 2457451"/>
              <a:gd name="connsiteX74" fmla="*/ 2259696 w 3851276"/>
              <a:gd name="connsiteY74" fmla="*/ 2016126 h 2457451"/>
              <a:gd name="connsiteX75" fmla="*/ 2274888 w 3851276"/>
              <a:gd name="connsiteY75" fmla="*/ 2000926 h 2457451"/>
              <a:gd name="connsiteX76" fmla="*/ 2274888 w 3851276"/>
              <a:gd name="connsiteY76" fmla="*/ 137438 h 2457451"/>
              <a:gd name="connsiteX77" fmla="*/ 2259696 w 3851276"/>
              <a:gd name="connsiteY77" fmla="*/ 122238 h 2457451"/>
              <a:gd name="connsiteX78" fmla="*/ 135842 w 3851276"/>
              <a:gd name="connsiteY78" fmla="*/ 122238 h 2457451"/>
              <a:gd name="connsiteX79" fmla="*/ 136718 w 3851276"/>
              <a:gd name="connsiteY79" fmla="*/ 0 h 2457451"/>
              <a:gd name="connsiteX80" fmla="*/ 2260407 w 3851276"/>
              <a:gd name="connsiteY80" fmla="*/ 0 h 2457451"/>
              <a:gd name="connsiteX81" fmla="*/ 2397125 w 3851276"/>
              <a:gd name="connsiteY81" fmla="*/ 136880 h 2457451"/>
              <a:gd name="connsiteX82" fmla="*/ 2397125 w 3851276"/>
              <a:gd name="connsiteY82" fmla="*/ 306281 h 2457451"/>
              <a:gd name="connsiteX83" fmla="*/ 2397125 w 3851276"/>
              <a:gd name="connsiteY83" fmla="*/ 411163 h 2457451"/>
              <a:gd name="connsiteX84" fmla="*/ 2426638 w 3851276"/>
              <a:gd name="connsiteY84" fmla="*/ 411163 h 2457451"/>
              <a:gd name="connsiteX85" fmla="*/ 3107254 w 3851276"/>
              <a:gd name="connsiteY85" fmla="*/ 411163 h 2457451"/>
              <a:gd name="connsiteX86" fmla="*/ 3210506 w 3851276"/>
              <a:gd name="connsiteY86" fmla="*/ 459817 h 2457451"/>
              <a:gd name="connsiteX87" fmla="*/ 3684251 w 3851276"/>
              <a:gd name="connsiteY87" fmla="*/ 1025414 h 2457451"/>
              <a:gd name="connsiteX88" fmla="*/ 3687288 w 3851276"/>
              <a:gd name="connsiteY88" fmla="*/ 1025414 h 2457451"/>
              <a:gd name="connsiteX89" fmla="*/ 3687288 w 3851276"/>
              <a:gd name="connsiteY89" fmla="*/ 1031496 h 2457451"/>
              <a:gd name="connsiteX90" fmla="*/ 3817871 w 3851276"/>
              <a:gd name="connsiteY90" fmla="*/ 1186579 h 2457451"/>
              <a:gd name="connsiteX91" fmla="*/ 3851276 w 3851276"/>
              <a:gd name="connsiteY91" fmla="*/ 1274763 h 2457451"/>
              <a:gd name="connsiteX92" fmla="*/ 3851276 w 3851276"/>
              <a:gd name="connsiteY92" fmla="*/ 2001525 h 2457451"/>
              <a:gd name="connsiteX93" fmla="*/ 3714619 w 3851276"/>
              <a:gd name="connsiteY93" fmla="*/ 2138363 h 2457451"/>
              <a:gd name="connsiteX94" fmla="*/ 3635662 w 3851276"/>
              <a:gd name="connsiteY94" fmla="*/ 2138363 h 2457451"/>
              <a:gd name="connsiteX95" fmla="*/ 3502041 w 3851276"/>
              <a:gd name="connsiteY95" fmla="*/ 2022811 h 2457451"/>
              <a:gd name="connsiteX96" fmla="*/ 3137623 w 3851276"/>
              <a:gd name="connsiteY96" fmla="*/ 1709604 h 2457451"/>
              <a:gd name="connsiteX97" fmla="*/ 2773204 w 3851276"/>
              <a:gd name="connsiteY97" fmla="*/ 2022811 h 2457451"/>
              <a:gd name="connsiteX98" fmla="*/ 2639583 w 3851276"/>
              <a:gd name="connsiteY98" fmla="*/ 2138363 h 2457451"/>
              <a:gd name="connsiteX99" fmla="*/ 2281238 w 3851276"/>
              <a:gd name="connsiteY99" fmla="*/ 2138363 h 2457451"/>
              <a:gd name="connsiteX100" fmla="*/ 2281238 w 3851276"/>
              <a:gd name="connsiteY100" fmla="*/ 2134192 h 2457451"/>
              <a:gd name="connsiteX101" fmla="*/ 2260407 w 3851276"/>
              <a:gd name="connsiteY101" fmla="*/ 2138363 h 2457451"/>
              <a:gd name="connsiteX102" fmla="*/ 1324647 w 3851276"/>
              <a:gd name="connsiteY102" fmla="*/ 2138363 h 2457451"/>
              <a:gd name="connsiteX103" fmla="*/ 1190967 w 3851276"/>
              <a:gd name="connsiteY103" fmla="*/ 2022776 h 2457451"/>
              <a:gd name="connsiteX104" fmla="*/ 826386 w 3851276"/>
              <a:gd name="connsiteY104" fmla="*/ 1709474 h 2457451"/>
              <a:gd name="connsiteX105" fmla="*/ 461804 w 3851276"/>
              <a:gd name="connsiteY105" fmla="*/ 2022776 h 2457451"/>
              <a:gd name="connsiteX106" fmla="*/ 328124 w 3851276"/>
              <a:gd name="connsiteY106" fmla="*/ 2138363 h 2457451"/>
              <a:gd name="connsiteX107" fmla="*/ 136718 w 3851276"/>
              <a:gd name="connsiteY107" fmla="*/ 2138363 h 2457451"/>
              <a:gd name="connsiteX108" fmla="*/ 0 w 3851276"/>
              <a:gd name="connsiteY108" fmla="*/ 2001484 h 2457451"/>
              <a:gd name="connsiteX109" fmla="*/ 0 w 3851276"/>
              <a:gd name="connsiteY109" fmla="*/ 136880 h 2457451"/>
              <a:gd name="connsiteX110" fmla="*/ 136718 w 3851276"/>
              <a:gd name="connsiteY110"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826294 w 3851276"/>
              <a:gd name="connsiteY10" fmla="*/ 1962150 h 2457451"/>
              <a:gd name="connsiteX11" fmla="*/ 971551 w 3851276"/>
              <a:gd name="connsiteY11" fmla="*/ 2108200 h 2457451"/>
              <a:gd name="connsiteX12" fmla="*/ 826294 w 3851276"/>
              <a:gd name="connsiteY12" fmla="*/ 2254250 h 2457451"/>
              <a:gd name="connsiteX13" fmla="*/ 681037 w 3851276"/>
              <a:gd name="connsiteY13" fmla="*/ 2108200 h 2457451"/>
              <a:gd name="connsiteX14" fmla="*/ 826294 w 3851276"/>
              <a:gd name="connsiteY14" fmla="*/ 1962150 h 2457451"/>
              <a:gd name="connsiteX15" fmla="*/ 3137695 w 3851276"/>
              <a:gd name="connsiteY15" fmla="*/ 1879600 h 2457451"/>
              <a:gd name="connsiteX16" fmla="*/ 2909888 w 3851276"/>
              <a:gd name="connsiteY16" fmla="*/ 2107407 h 2457451"/>
              <a:gd name="connsiteX17" fmla="*/ 3137695 w 3851276"/>
              <a:gd name="connsiteY17" fmla="*/ 2335214 h 2457451"/>
              <a:gd name="connsiteX18" fmla="*/ 3365502 w 3851276"/>
              <a:gd name="connsiteY18" fmla="*/ 2107407 h 2457451"/>
              <a:gd name="connsiteX19" fmla="*/ 3137695 w 3851276"/>
              <a:gd name="connsiteY19" fmla="*/ 1879600 h 2457451"/>
              <a:gd name="connsiteX20" fmla="*/ 826295 w 3851276"/>
              <a:gd name="connsiteY20" fmla="*/ 1879600 h 2457451"/>
              <a:gd name="connsiteX21" fmla="*/ 598488 w 3851276"/>
              <a:gd name="connsiteY21" fmla="*/ 2107407 h 2457451"/>
              <a:gd name="connsiteX22" fmla="*/ 826295 w 3851276"/>
              <a:gd name="connsiteY22" fmla="*/ 2335214 h 2457451"/>
              <a:gd name="connsiteX23" fmla="*/ 1054102 w 3851276"/>
              <a:gd name="connsiteY23" fmla="*/ 2107407 h 2457451"/>
              <a:gd name="connsiteX24" fmla="*/ 826295 w 3851276"/>
              <a:gd name="connsiteY24" fmla="*/ 1879600 h 2457451"/>
              <a:gd name="connsiteX25" fmla="*/ 3136900 w 3851276"/>
              <a:gd name="connsiteY25" fmla="*/ 1757363 h 2457451"/>
              <a:gd name="connsiteX26" fmla="*/ 3486150 w 3851276"/>
              <a:gd name="connsiteY26" fmla="*/ 2107407 h 2457451"/>
              <a:gd name="connsiteX27" fmla="*/ 3136900 w 3851276"/>
              <a:gd name="connsiteY27" fmla="*/ 2457451 h 2457451"/>
              <a:gd name="connsiteX28" fmla="*/ 2787650 w 3851276"/>
              <a:gd name="connsiteY28" fmla="*/ 2107407 h 2457451"/>
              <a:gd name="connsiteX29" fmla="*/ 3136900 w 3851276"/>
              <a:gd name="connsiteY29" fmla="*/ 1757363 h 2457451"/>
              <a:gd name="connsiteX30" fmla="*/ 825500 w 3851276"/>
              <a:gd name="connsiteY30" fmla="*/ 1757363 h 2457451"/>
              <a:gd name="connsiteX31" fmla="*/ 1174750 w 3851276"/>
              <a:gd name="connsiteY31" fmla="*/ 2107407 h 2457451"/>
              <a:gd name="connsiteX32" fmla="*/ 825500 w 3851276"/>
              <a:gd name="connsiteY32" fmla="*/ 2457451 h 2457451"/>
              <a:gd name="connsiteX33" fmla="*/ 476250 w 3851276"/>
              <a:gd name="connsiteY33" fmla="*/ 2107407 h 2457451"/>
              <a:gd name="connsiteX34" fmla="*/ 825500 w 3851276"/>
              <a:gd name="connsiteY34" fmla="*/ 1757363 h 2457451"/>
              <a:gd name="connsiteX35" fmla="*/ 2397125 w 3851276"/>
              <a:gd name="connsiteY35" fmla="*/ 532797 h 2457451"/>
              <a:gd name="connsiteX36" fmla="*/ 2397125 w 3851276"/>
              <a:gd name="connsiteY36" fmla="*/ 613672 h 2457451"/>
              <a:gd name="connsiteX37" fmla="*/ 2397125 w 3851276"/>
              <a:gd name="connsiteY37" fmla="*/ 2001484 h 2457451"/>
              <a:gd name="connsiteX38" fmla="*/ 2394079 w 3851276"/>
              <a:gd name="connsiteY38" fmla="*/ 2016729 h 2457451"/>
              <a:gd name="connsiteX39" fmla="*/ 2399520 w 3851276"/>
              <a:gd name="connsiteY39" fmla="*/ 2016729 h 2457451"/>
              <a:gd name="connsiteX40" fmla="*/ 2639583 w 3851276"/>
              <a:gd name="connsiteY40" fmla="*/ 2016729 h 2457451"/>
              <a:gd name="connsiteX41" fmla="*/ 2651731 w 3851276"/>
              <a:gd name="connsiteY41" fmla="*/ 2004566 h 2457451"/>
              <a:gd name="connsiteX42" fmla="*/ 3137623 w 3851276"/>
              <a:gd name="connsiteY42" fmla="*/ 1587970 h 2457451"/>
              <a:gd name="connsiteX43" fmla="*/ 3623514 w 3851276"/>
              <a:gd name="connsiteY43" fmla="*/ 2004566 h 2457451"/>
              <a:gd name="connsiteX44" fmla="*/ 3635662 w 3851276"/>
              <a:gd name="connsiteY44" fmla="*/ 2016729 h 2457451"/>
              <a:gd name="connsiteX45" fmla="*/ 3714619 w 3851276"/>
              <a:gd name="connsiteY45" fmla="*/ 2016729 h 2457451"/>
              <a:gd name="connsiteX46" fmla="*/ 3729803 w 3851276"/>
              <a:gd name="connsiteY46" fmla="*/ 2001525 h 2457451"/>
              <a:gd name="connsiteX47" fmla="*/ 3729803 w 3851276"/>
              <a:gd name="connsiteY47" fmla="*/ 1274763 h 2457451"/>
              <a:gd name="connsiteX48" fmla="*/ 3726766 w 3851276"/>
              <a:gd name="connsiteY48" fmla="*/ 1265641 h 2457451"/>
              <a:gd name="connsiteX49" fmla="*/ 3626551 w 3851276"/>
              <a:gd name="connsiteY49" fmla="*/ 1147048 h 2457451"/>
              <a:gd name="connsiteX50" fmla="*/ 2915934 w 3851276"/>
              <a:gd name="connsiteY50" fmla="*/ 1147048 h 2457451"/>
              <a:gd name="connsiteX51" fmla="*/ 2779277 w 3851276"/>
              <a:gd name="connsiteY51" fmla="*/ 1013250 h 2457451"/>
              <a:gd name="connsiteX52" fmla="*/ 2779277 w 3851276"/>
              <a:gd name="connsiteY52" fmla="*/ 532797 h 2457451"/>
              <a:gd name="connsiteX53" fmla="*/ 2402829 w 3851276"/>
              <a:gd name="connsiteY53" fmla="*/ 532797 h 2457451"/>
              <a:gd name="connsiteX54" fmla="*/ 2397125 w 3851276"/>
              <a:gd name="connsiteY54" fmla="*/ 532797 h 2457451"/>
              <a:gd name="connsiteX55" fmla="*/ 2900363 w 3851276"/>
              <a:gd name="connsiteY55" fmla="*/ 531813 h 2457451"/>
              <a:gd name="connsiteX56" fmla="*/ 2900363 w 3851276"/>
              <a:gd name="connsiteY56" fmla="*/ 1013336 h 2457451"/>
              <a:gd name="connsiteX57" fmla="*/ 2915545 w 3851276"/>
              <a:gd name="connsiteY57" fmla="*/ 1025526 h 2457451"/>
              <a:gd name="connsiteX58" fmla="*/ 3525838 w 3851276"/>
              <a:gd name="connsiteY58" fmla="*/ 1025526 h 2457451"/>
              <a:gd name="connsiteX59" fmla="*/ 3115940 w 3851276"/>
              <a:gd name="connsiteY59" fmla="*/ 537908 h 2457451"/>
              <a:gd name="connsiteX60" fmla="*/ 3106831 w 3851276"/>
              <a:gd name="connsiteY60" fmla="*/ 531813 h 2457451"/>
              <a:gd name="connsiteX61" fmla="*/ 2900363 w 3851276"/>
              <a:gd name="connsiteY61" fmla="*/ 531813 h 2457451"/>
              <a:gd name="connsiteX62" fmla="*/ 135842 w 3851276"/>
              <a:gd name="connsiteY62" fmla="*/ 122238 h 2457451"/>
              <a:gd name="connsiteX63" fmla="*/ 120650 w 3851276"/>
              <a:gd name="connsiteY63" fmla="*/ 137438 h 2457451"/>
              <a:gd name="connsiteX64" fmla="*/ 120650 w 3851276"/>
              <a:gd name="connsiteY64" fmla="*/ 2000926 h 2457451"/>
              <a:gd name="connsiteX65" fmla="*/ 135842 w 3851276"/>
              <a:gd name="connsiteY65" fmla="*/ 2016126 h 2457451"/>
              <a:gd name="connsiteX66" fmla="*/ 327263 w 3851276"/>
              <a:gd name="connsiteY66" fmla="*/ 2016126 h 2457451"/>
              <a:gd name="connsiteX67" fmla="*/ 339416 w 3851276"/>
              <a:gd name="connsiteY67" fmla="*/ 2003966 h 2457451"/>
              <a:gd name="connsiteX68" fmla="*/ 825563 w 3851276"/>
              <a:gd name="connsiteY68" fmla="*/ 1587493 h 2457451"/>
              <a:gd name="connsiteX69" fmla="*/ 1308671 w 3851276"/>
              <a:gd name="connsiteY69" fmla="*/ 2003966 h 2457451"/>
              <a:gd name="connsiteX70" fmla="*/ 1323864 w 3851276"/>
              <a:gd name="connsiteY70" fmla="*/ 2016126 h 2457451"/>
              <a:gd name="connsiteX71" fmla="*/ 2259696 w 3851276"/>
              <a:gd name="connsiteY71" fmla="*/ 2016126 h 2457451"/>
              <a:gd name="connsiteX72" fmla="*/ 2274888 w 3851276"/>
              <a:gd name="connsiteY72" fmla="*/ 2000926 h 2457451"/>
              <a:gd name="connsiteX73" fmla="*/ 2274888 w 3851276"/>
              <a:gd name="connsiteY73" fmla="*/ 137438 h 2457451"/>
              <a:gd name="connsiteX74" fmla="*/ 2259696 w 3851276"/>
              <a:gd name="connsiteY74" fmla="*/ 122238 h 2457451"/>
              <a:gd name="connsiteX75" fmla="*/ 135842 w 3851276"/>
              <a:gd name="connsiteY75" fmla="*/ 122238 h 2457451"/>
              <a:gd name="connsiteX76" fmla="*/ 136718 w 3851276"/>
              <a:gd name="connsiteY76" fmla="*/ 0 h 2457451"/>
              <a:gd name="connsiteX77" fmla="*/ 2260407 w 3851276"/>
              <a:gd name="connsiteY77" fmla="*/ 0 h 2457451"/>
              <a:gd name="connsiteX78" fmla="*/ 2397125 w 3851276"/>
              <a:gd name="connsiteY78" fmla="*/ 136880 h 2457451"/>
              <a:gd name="connsiteX79" fmla="*/ 2397125 w 3851276"/>
              <a:gd name="connsiteY79" fmla="*/ 306281 h 2457451"/>
              <a:gd name="connsiteX80" fmla="*/ 2397125 w 3851276"/>
              <a:gd name="connsiteY80" fmla="*/ 411163 h 2457451"/>
              <a:gd name="connsiteX81" fmla="*/ 2426638 w 3851276"/>
              <a:gd name="connsiteY81" fmla="*/ 411163 h 2457451"/>
              <a:gd name="connsiteX82" fmla="*/ 3107254 w 3851276"/>
              <a:gd name="connsiteY82" fmla="*/ 411163 h 2457451"/>
              <a:gd name="connsiteX83" fmla="*/ 3210506 w 3851276"/>
              <a:gd name="connsiteY83" fmla="*/ 459817 h 2457451"/>
              <a:gd name="connsiteX84" fmla="*/ 3684251 w 3851276"/>
              <a:gd name="connsiteY84" fmla="*/ 1025414 h 2457451"/>
              <a:gd name="connsiteX85" fmla="*/ 3687288 w 3851276"/>
              <a:gd name="connsiteY85" fmla="*/ 1025414 h 2457451"/>
              <a:gd name="connsiteX86" fmla="*/ 3687288 w 3851276"/>
              <a:gd name="connsiteY86" fmla="*/ 1031496 h 2457451"/>
              <a:gd name="connsiteX87" fmla="*/ 3817871 w 3851276"/>
              <a:gd name="connsiteY87" fmla="*/ 1186579 h 2457451"/>
              <a:gd name="connsiteX88" fmla="*/ 3851276 w 3851276"/>
              <a:gd name="connsiteY88" fmla="*/ 1274763 h 2457451"/>
              <a:gd name="connsiteX89" fmla="*/ 3851276 w 3851276"/>
              <a:gd name="connsiteY89" fmla="*/ 2001525 h 2457451"/>
              <a:gd name="connsiteX90" fmla="*/ 3714619 w 3851276"/>
              <a:gd name="connsiteY90" fmla="*/ 2138363 h 2457451"/>
              <a:gd name="connsiteX91" fmla="*/ 3635662 w 3851276"/>
              <a:gd name="connsiteY91" fmla="*/ 2138363 h 2457451"/>
              <a:gd name="connsiteX92" fmla="*/ 3502041 w 3851276"/>
              <a:gd name="connsiteY92" fmla="*/ 2022811 h 2457451"/>
              <a:gd name="connsiteX93" fmla="*/ 3137623 w 3851276"/>
              <a:gd name="connsiteY93" fmla="*/ 1709604 h 2457451"/>
              <a:gd name="connsiteX94" fmla="*/ 2773204 w 3851276"/>
              <a:gd name="connsiteY94" fmla="*/ 2022811 h 2457451"/>
              <a:gd name="connsiteX95" fmla="*/ 2639583 w 3851276"/>
              <a:gd name="connsiteY95" fmla="*/ 2138363 h 2457451"/>
              <a:gd name="connsiteX96" fmla="*/ 2281238 w 3851276"/>
              <a:gd name="connsiteY96" fmla="*/ 2138363 h 2457451"/>
              <a:gd name="connsiteX97" fmla="*/ 2281238 w 3851276"/>
              <a:gd name="connsiteY97" fmla="*/ 2134192 h 2457451"/>
              <a:gd name="connsiteX98" fmla="*/ 2260407 w 3851276"/>
              <a:gd name="connsiteY98" fmla="*/ 2138363 h 2457451"/>
              <a:gd name="connsiteX99" fmla="*/ 1324647 w 3851276"/>
              <a:gd name="connsiteY99" fmla="*/ 2138363 h 2457451"/>
              <a:gd name="connsiteX100" fmla="*/ 1190967 w 3851276"/>
              <a:gd name="connsiteY100" fmla="*/ 2022776 h 2457451"/>
              <a:gd name="connsiteX101" fmla="*/ 826386 w 3851276"/>
              <a:gd name="connsiteY101" fmla="*/ 1709474 h 2457451"/>
              <a:gd name="connsiteX102" fmla="*/ 461804 w 3851276"/>
              <a:gd name="connsiteY102" fmla="*/ 2022776 h 2457451"/>
              <a:gd name="connsiteX103" fmla="*/ 328124 w 3851276"/>
              <a:gd name="connsiteY103" fmla="*/ 2138363 h 2457451"/>
              <a:gd name="connsiteX104" fmla="*/ 136718 w 3851276"/>
              <a:gd name="connsiteY104" fmla="*/ 2138363 h 2457451"/>
              <a:gd name="connsiteX105" fmla="*/ 0 w 3851276"/>
              <a:gd name="connsiteY105" fmla="*/ 2001484 h 2457451"/>
              <a:gd name="connsiteX106" fmla="*/ 0 w 3851276"/>
              <a:gd name="connsiteY106" fmla="*/ 136880 h 2457451"/>
              <a:gd name="connsiteX107" fmla="*/ 136718 w 3851276"/>
              <a:gd name="connsiteY107"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681037 w 3851276"/>
              <a:gd name="connsiteY10" fmla="*/ 2108200 h 2457451"/>
              <a:gd name="connsiteX11" fmla="*/ 971551 w 3851276"/>
              <a:gd name="connsiteY11" fmla="*/ 2108200 h 2457451"/>
              <a:gd name="connsiteX12" fmla="*/ 826294 w 3851276"/>
              <a:gd name="connsiteY12" fmla="*/ 2254250 h 2457451"/>
              <a:gd name="connsiteX13" fmla="*/ 681037 w 3851276"/>
              <a:gd name="connsiteY13" fmla="*/ 2108200 h 2457451"/>
              <a:gd name="connsiteX14" fmla="*/ 3137695 w 3851276"/>
              <a:gd name="connsiteY14" fmla="*/ 1879600 h 2457451"/>
              <a:gd name="connsiteX15" fmla="*/ 2909888 w 3851276"/>
              <a:gd name="connsiteY15" fmla="*/ 2107407 h 2457451"/>
              <a:gd name="connsiteX16" fmla="*/ 3137695 w 3851276"/>
              <a:gd name="connsiteY16" fmla="*/ 2335214 h 2457451"/>
              <a:gd name="connsiteX17" fmla="*/ 3365502 w 3851276"/>
              <a:gd name="connsiteY17" fmla="*/ 2107407 h 2457451"/>
              <a:gd name="connsiteX18" fmla="*/ 3137695 w 3851276"/>
              <a:gd name="connsiteY18" fmla="*/ 1879600 h 2457451"/>
              <a:gd name="connsiteX19" fmla="*/ 826295 w 3851276"/>
              <a:gd name="connsiteY19" fmla="*/ 1879600 h 2457451"/>
              <a:gd name="connsiteX20" fmla="*/ 598488 w 3851276"/>
              <a:gd name="connsiteY20" fmla="*/ 2107407 h 2457451"/>
              <a:gd name="connsiteX21" fmla="*/ 826295 w 3851276"/>
              <a:gd name="connsiteY21" fmla="*/ 2335214 h 2457451"/>
              <a:gd name="connsiteX22" fmla="*/ 1054102 w 3851276"/>
              <a:gd name="connsiteY22" fmla="*/ 2107407 h 2457451"/>
              <a:gd name="connsiteX23" fmla="*/ 826295 w 3851276"/>
              <a:gd name="connsiteY23" fmla="*/ 1879600 h 2457451"/>
              <a:gd name="connsiteX24" fmla="*/ 3136900 w 3851276"/>
              <a:gd name="connsiteY24" fmla="*/ 1757363 h 2457451"/>
              <a:gd name="connsiteX25" fmla="*/ 3486150 w 3851276"/>
              <a:gd name="connsiteY25" fmla="*/ 2107407 h 2457451"/>
              <a:gd name="connsiteX26" fmla="*/ 3136900 w 3851276"/>
              <a:gd name="connsiteY26" fmla="*/ 2457451 h 2457451"/>
              <a:gd name="connsiteX27" fmla="*/ 2787650 w 3851276"/>
              <a:gd name="connsiteY27" fmla="*/ 2107407 h 2457451"/>
              <a:gd name="connsiteX28" fmla="*/ 3136900 w 3851276"/>
              <a:gd name="connsiteY28" fmla="*/ 1757363 h 2457451"/>
              <a:gd name="connsiteX29" fmla="*/ 825500 w 3851276"/>
              <a:gd name="connsiteY29" fmla="*/ 1757363 h 2457451"/>
              <a:gd name="connsiteX30" fmla="*/ 1174750 w 3851276"/>
              <a:gd name="connsiteY30" fmla="*/ 2107407 h 2457451"/>
              <a:gd name="connsiteX31" fmla="*/ 825500 w 3851276"/>
              <a:gd name="connsiteY31" fmla="*/ 2457451 h 2457451"/>
              <a:gd name="connsiteX32" fmla="*/ 476250 w 3851276"/>
              <a:gd name="connsiteY32" fmla="*/ 2107407 h 2457451"/>
              <a:gd name="connsiteX33" fmla="*/ 825500 w 3851276"/>
              <a:gd name="connsiteY33" fmla="*/ 1757363 h 2457451"/>
              <a:gd name="connsiteX34" fmla="*/ 2397125 w 3851276"/>
              <a:gd name="connsiteY34" fmla="*/ 532797 h 2457451"/>
              <a:gd name="connsiteX35" fmla="*/ 2397125 w 3851276"/>
              <a:gd name="connsiteY35" fmla="*/ 613672 h 2457451"/>
              <a:gd name="connsiteX36" fmla="*/ 2397125 w 3851276"/>
              <a:gd name="connsiteY36" fmla="*/ 2001484 h 2457451"/>
              <a:gd name="connsiteX37" fmla="*/ 2394079 w 3851276"/>
              <a:gd name="connsiteY37" fmla="*/ 2016729 h 2457451"/>
              <a:gd name="connsiteX38" fmla="*/ 2399520 w 3851276"/>
              <a:gd name="connsiteY38" fmla="*/ 2016729 h 2457451"/>
              <a:gd name="connsiteX39" fmla="*/ 2639583 w 3851276"/>
              <a:gd name="connsiteY39" fmla="*/ 2016729 h 2457451"/>
              <a:gd name="connsiteX40" fmla="*/ 2651731 w 3851276"/>
              <a:gd name="connsiteY40" fmla="*/ 2004566 h 2457451"/>
              <a:gd name="connsiteX41" fmla="*/ 3137623 w 3851276"/>
              <a:gd name="connsiteY41" fmla="*/ 1587970 h 2457451"/>
              <a:gd name="connsiteX42" fmla="*/ 3623514 w 3851276"/>
              <a:gd name="connsiteY42" fmla="*/ 2004566 h 2457451"/>
              <a:gd name="connsiteX43" fmla="*/ 3635662 w 3851276"/>
              <a:gd name="connsiteY43" fmla="*/ 2016729 h 2457451"/>
              <a:gd name="connsiteX44" fmla="*/ 3714619 w 3851276"/>
              <a:gd name="connsiteY44" fmla="*/ 2016729 h 2457451"/>
              <a:gd name="connsiteX45" fmla="*/ 3729803 w 3851276"/>
              <a:gd name="connsiteY45" fmla="*/ 2001525 h 2457451"/>
              <a:gd name="connsiteX46" fmla="*/ 3729803 w 3851276"/>
              <a:gd name="connsiteY46" fmla="*/ 1274763 h 2457451"/>
              <a:gd name="connsiteX47" fmla="*/ 3726766 w 3851276"/>
              <a:gd name="connsiteY47" fmla="*/ 1265641 h 2457451"/>
              <a:gd name="connsiteX48" fmla="*/ 3626551 w 3851276"/>
              <a:gd name="connsiteY48" fmla="*/ 1147048 h 2457451"/>
              <a:gd name="connsiteX49" fmla="*/ 2915934 w 3851276"/>
              <a:gd name="connsiteY49" fmla="*/ 1147048 h 2457451"/>
              <a:gd name="connsiteX50" fmla="*/ 2779277 w 3851276"/>
              <a:gd name="connsiteY50" fmla="*/ 1013250 h 2457451"/>
              <a:gd name="connsiteX51" fmla="*/ 2779277 w 3851276"/>
              <a:gd name="connsiteY51" fmla="*/ 532797 h 2457451"/>
              <a:gd name="connsiteX52" fmla="*/ 2402829 w 3851276"/>
              <a:gd name="connsiteY52" fmla="*/ 532797 h 2457451"/>
              <a:gd name="connsiteX53" fmla="*/ 2397125 w 3851276"/>
              <a:gd name="connsiteY53" fmla="*/ 532797 h 2457451"/>
              <a:gd name="connsiteX54" fmla="*/ 2900363 w 3851276"/>
              <a:gd name="connsiteY54" fmla="*/ 531813 h 2457451"/>
              <a:gd name="connsiteX55" fmla="*/ 2900363 w 3851276"/>
              <a:gd name="connsiteY55" fmla="*/ 1013336 h 2457451"/>
              <a:gd name="connsiteX56" fmla="*/ 2915545 w 3851276"/>
              <a:gd name="connsiteY56" fmla="*/ 1025526 h 2457451"/>
              <a:gd name="connsiteX57" fmla="*/ 3525838 w 3851276"/>
              <a:gd name="connsiteY57" fmla="*/ 1025526 h 2457451"/>
              <a:gd name="connsiteX58" fmla="*/ 3115940 w 3851276"/>
              <a:gd name="connsiteY58" fmla="*/ 537908 h 2457451"/>
              <a:gd name="connsiteX59" fmla="*/ 3106831 w 3851276"/>
              <a:gd name="connsiteY59" fmla="*/ 531813 h 2457451"/>
              <a:gd name="connsiteX60" fmla="*/ 2900363 w 3851276"/>
              <a:gd name="connsiteY60" fmla="*/ 531813 h 2457451"/>
              <a:gd name="connsiteX61" fmla="*/ 135842 w 3851276"/>
              <a:gd name="connsiteY61" fmla="*/ 122238 h 2457451"/>
              <a:gd name="connsiteX62" fmla="*/ 120650 w 3851276"/>
              <a:gd name="connsiteY62" fmla="*/ 137438 h 2457451"/>
              <a:gd name="connsiteX63" fmla="*/ 120650 w 3851276"/>
              <a:gd name="connsiteY63" fmla="*/ 2000926 h 2457451"/>
              <a:gd name="connsiteX64" fmla="*/ 135842 w 3851276"/>
              <a:gd name="connsiteY64" fmla="*/ 2016126 h 2457451"/>
              <a:gd name="connsiteX65" fmla="*/ 327263 w 3851276"/>
              <a:gd name="connsiteY65" fmla="*/ 2016126 h 2457451"/>
              <a:gd name="connsiteX66" fmla="*/ 339416 w 3851276"/>
              <a:gd name="connsiteY66" fmla="*/ 2003966 h 2457451"/>
              <a:gd name="connsiteX67" fmla="*/ 825563 w 3851276"/>
              <a:gd name="connsiteY67" fmla="*/ 1587493 h 2457451"/>
              <a:gd name="connsiteX68" fmla="*/ 1308671 w 3851276"/>
              <a:gd name="connsiteY68" fmla="*/ 2003966 h 2457451"/>
              <a:gd name="connsiteX69" fmla="*/ 1323864 w 3851276"/>
              <a:gd name="connsiteY69" fmla="*/ 2016126 h 2457451"/>
              <a:gd name="connsiteX70" fmla="*/ 2259696 w 3851276"/>
              <a:gd name="connsiteY70" fmla="*/ 2016126 h 2457451"/>
              <a:gd name="connsiteX71" fmla="*/ 2274888 w 3851276"/>
              <a:gd name="connsiteY71" fmla="*/ 2000926 h 2457451"/>
              <a:gd name="connsiteX72" fmla="*/ 2274888 w 3851276"/>
              <a:gd name="connsiteY72" fmla="*/ 137438 h 2457451"/>
              <a:gd name="connsiteX73" fmla="*/ 2259696 w 3851276"/>
              <a:gd name="connsiteY73" fmla="*/ 122238 h 2457451"/>
              <a:gd name="connsiteX74" fmla="*/ 135842 w 3851276"/>
              <a:gd name="connsiteY74" fmla="*/ 122238 h 2457451"/>
              <a:gd name="connsiteX75" fmla="*/ 136718 w 3851276"/>
              <a:gd name="connsiteY75" fmla="*/ 0 h 2457451"/>
              <a:gd name="connsiteX76" fmla="*/ 2260407 w 3851276"/>
              <a:gd name="connsiteY76" fmla="*/ 0 h 2457451"/>
              <a:gd name="connsiteX77" fmla="*/ 2397125 w 3851276"/>
              <a:gd name="connsiteY77" fmla="*/ 136880 h 2457451"/>
              <a:gd name="connsiteX78" fmla="*/ 2397125 w 3851276"/>
              <a:gd name="connsiteY78" fmla="*/ 306281 h 2457451"/>
              <a:gd name="connsiteX79" fmla="*/ 2397125 w 3851276"/>
              <a:gd name="connsiteY79" fmla="*/ 411163 h 2457451"/>
              <a:gd name="connsiteX80" fmla="*/ 2426638 w 3851276"/>
              <a:gd name="connsiteY80" fmla="*/ 411163 h 2457451"/>
              <a:gd name="connsiteX81" fmla="*/ 3107254 w 3851276"/>
              <a:gd name="connsiteY81" fmla="*/ 411163 h 2457451"/>
              <a:gd name="connsiteX82" fmla="*/ 3210506 w 3851276"/>
              <a:gd name="connsiteY82" fmla="*/ 459817 h 2457451"/>
              <a:gd name="connsiteX83" fmla="*/ 3684251 w 3851276"/>
              <a:gd name="connsiteY83" fmla="*/ 1025414 h 2457451"/>
              <a:gd name="connsiteX84" fmla="*/ 3687288 w 3851276"/>
              <a:gd name="connsiteY84" fmla="*/ 1025414 h 2457451"/>
              <a:gd name="connsiteX85" fmla="*/ 3687288 w 3851276"/>
              <a:gd name="connsiteY85" fmla="*/ 1031496 h 2457451"/>
              <a:gd name="connsiteX86" fmla="*/ 3817871 w 3851276"/>
              <a:gd name="connsiteY86" fmla="*/ 1186579 h 2457451"/>
              <a:gd name="connsiteX87" fmla="*/ 3851276 w 3851276"/>
              <a:gd name="connsiteY87" fmla="*/ 1274763 h 2457451"/>
              <a:gd name="connsiteX88" fmla="*/ 3851276 w 3851276"/>
              <a:gd name="connsiteY88" fmla="*/ 2001525 h 2457451"/>
              <a:gd name="connsiteX89" fmla="*/ 3714619 w 3851276"/>
              <a:gd name="connsiteY89" fmla="*/ 2138363 h 2457451"/>
              <a:gd name="connsiteX90" fmla="*/ 3635662 w 3851276"/>
              <a:gd name="connsiteY90" fmla="*/ 2138363 h 2457451"/>
              <a:gd name="connsiteX91" fmla="*/ 3502041 w 3851276"/>
              <a:gd name="connsiteY91" fmla="*/ 2022811 h 2457451"/>
              <a:gd name="connsiteX92" fmla="*/ 3137623 w 3851276"/>
              <a:gd name="connsiteY92" fmla="*/ 1709604 h 2457451"/>
              <a:gd name="connsiteX93" fmla="*/ 2773204 w 3851276"/>
              <a:gd name="connsiteY93" fmla="*/ 2022811 h 2457451"/>
              <a:gd name="connsiteX94" fmla="*/ 2639583 w 3851276"/>
              <a:gd name="connsiteY94" fmla="*/ 2138363 h 2457451"/>
              <a:gd name="connsiteX95" fmla="*/ 2281238 w 3851276"/>
              <a:gd name="connsiteY95" fmla="*/ 2138363 h 2457451"/>
              <a:gd name="connsiteX96" fmla="*/ 2281238 w 3851276"/>
              <a:gd name="connsiteY96" fmla="*/ 2134192 h 2457451"/>
              <a:gd name="connsiteX97" fmla="*/ 2260407 w 3851276"/>
              <a:gd name="connsiteY97" fmla="*/ 2138363 h 2457451"/>
              <a:gd name="connsiteX98" fmla="*/ 1324647 w 3851276"/>
              <a:gd name="connsiteY98" fmla="*/ 2138363 h 2457451"/>
              <a:gd name="connsiteX99" fmla="*/ 1190967 w 3851276"/>
              <a:gd name="connsiteY99" fmla="*/ 2022776 h 2457451"/>
              <a:gd name="connsiteX100" fmla="*/ 826386 w 3851276"/>
              <a:gd name="connsiteY100" fmla="*/ 1709474 h 2457451"/>
              <a:gd name="connsiteX101" fmla="*/ 461804 w 3851276"/>
              <a:gd name="connsiteY101" fmla="*/ 2022776 h 2457451"/>
              <a:gd name="connsiteX102" fmla="*/ 328124 w 3851276"/>
              <a:gd name="connsiteY102" fmla="*/ 2138363 h 2457451"/>
              <a:gd name="connsiteX103" fmla="*/ 136718 w 3851276"/>
              <a:gd name="connsiteY103" fmla="*/ 2138363 h 2457451"/>
              <a:gd name="connsiteX104" fmla="*/ 0 w 3851276"/>
              <a:gd name="connsiteY104" fmla="*/ 2001484 h 2457451"/>
              <a:gd name="connsiteX105" fmla="*/ 0 w 3851276"/>
              <a:gd name="connsiteY105" fmla="*/ 136880 h 2457451"/>
              <a:gd name="connsiteX106" fmla="*/ 136718 w 3851276"/>
              <a:gd name="connsiteY106"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826294 w 3851276"/>
              <a:gd name="connsiteY10" fmla="*/ 2254250 h 2457451"/>
              <a:gd name="connsiteX11" fmla="*/ 971551 w 3851276"/>
              <a:gd name="connsiteY11" fmla="*/ 2108200 h 2457451"/>
              <a:gd name="connsiteX12" fmla="*/ 826294 w 3851276"/>
              <a:gd name="connsiteY12" fmla="*/ 2254250 h 2457451"/>
              <a:gd name="connsiteX13" fmla="*/ 3137695 w 3851276"/>
              <a:gd name="connsiteY13" fmla="*/ 1879600 h 2457451"/>
              <a:gd name="connsiteX14" fmla="*/ 2909888 w 3851276"/>
              <a:gd name="connsiteY14" fmla="*/ 2107407 h 2457451"/>
              <a:gd name="connsiteX15" fmla="*/ 3137695 w 3851276"/>
              <a:gd name="connsiteY15" fmla="*/ 2335214 h 2457451"/>
              <a:gd name="connsiteX16" fmla="*/ 3365502 w 3851276"/>
              <a:gd name="connsiteY16" fmla="*/ 2107407 h 2457451"/>
              <a:gd name="connsiteX17" fmla="*/ 3137695 w 3851276"/>
              <a:gd name="connsiteY17" fmla="*/ 1879600 h 2457451"/>
              <a:gd name="connsiteX18" fmla="*/ 826295 w 3851276"/>
              <a:gd name="connsiteY18" fmla="*/ 1879600 h 2457451"/>
              <a:gd name="connsiteX19" fmla="*/ 598488 w 3851276"/>
              <a:gd name="connsiteY19" fmla="*/ 2107407 h 2457451"/>
              <a:gd name="connsiteX20" fmla="*/ 826295 w 3851276"/>
              <a:gd name="connsiteY20" fmla="*/ 2335214 h 2457451"/>
              <a:gd name="connsiteX21" fmla="*/ 1054102 w 3851276"/>
              <a:gd name="connsiteY21" fmla="*/ 2107407 h 2457451"/>
              <a:gd name="connsiteX22" fmla="*/ 826295 w 3851276"/>
              <a:gd name="connsiteY22" fmla="*/ 1879600 h 2457451"/>
              <a:gd name="connsiteX23" fmla="*/ 3136900 w 3851276"/>
              <a:gd name="connsiteY23" fmla="*/ 1757363 h 2457451"/>
              <a:gd name="connsiteX24" fmla="*/ 3486150 w 3851276"/>
              <a:gd name="connsiteY24" fmla="*/ 2107407 h 2457451"/>
              <a:gd name="connsiteX25" fmla="*/ 3136900 w 3851276"/>
              <a:gd name="connsiteY25" fmla="*/ 2457451 h 2457451"/>
              <a:gd name="connsiteX26" fmla="*/ 2787650 w 3851276"/>
              <a:gd name="connsiteY26" fmla="*/ 2107407 h 2457451"/>
              <a:gd name="connsiteX27" fmla="*/ 3136900 w 3851276"/>
              <a:gd name="connsiteY27" fmla="*/ 1757363 h 2457451"/>
              <a:gd name="connsiteX28" fmla="*/ 825500 w 3851276"/>
              <a:gd name="connsiteY28" fmla="*/ 1757363 h 2457451"/>
              <a:gd name="connsiteX29" fmla="*/ 1174750 w 3851276"/>
              <a:gd name="connsiteY29" fmla="*/ 2107407 h 2457451"/>
              <a:gd name="connsiteX30" fmla="*/ 825500 w 3851276"/>
              <a:gd name="connsiteY30" fmla="*/ 2457451 h 2457451"/>
              <a:gd name="connsiteX31" fmla="*/ 476250 w 3851276"/>
              <a:gd name="connsiteY31" fmla="*/ 2107407 h 2457451"/>
              <a:gd name="connsiteX32" fmla="*/ 825500 w 3851276"/>
              <a:gd name="connsiteY32" fmla="*/ 1757363 h 2457451"/>
              <a:gd name="connsiteX33" fmla="*/ 2397125 w 3851276"/>
              <a:gd name="connsiteY33" fmla="*/ 532797 h 2457451"/>
              <a:gd name="connsiteX34" fmla="*/ 2397125 w 3851276"/>
              <a:gd name="connsiteY34" fmla="*/ 613672 h 2457451"/>
              <a:gd name="connsiteX35" fmla="*/ 2397125 w 3851276"/>
              <a:gd name="connsiteY35" fmla="*/ 2001484 h 2457451"/>
              <a:gd name="connsiteX36" fmla="*/ 2394079 w 3851276"/>
              <a:gd name="connsiteY36" fmla="*/ 2016729 h 2457451"/>
              <a:gd name="connsiteX37" fmla="*/ 2399520 w 3851276"/>
              <a:gd name="connsiteY37" fmla="*/ 2016729 h 2457451"/>
              <a:gd name="connsiteX38" fmla="*/ 2639583 w 3851276"/>
              <a:gd name="connsiteY38" fmla="*/ 2016729 h 2457451"/>
              <a:gd name="connsiteX39" fmla="*/ 2651731 w 3851276"/>
              <a:gd name="connsiteY39" fmla="*/ 2004566 h 2457451"/>
              <a:gd name="connsiteX40" fmla="*/ 3137623 w 3851276"/>
              <a:gd name="connsiteY40" fmla="*/ 1587970 h 2457451"/>
              <a:gd name="connsiteX41" fmla="*/ 3623514 w 3851276"/>
              <a:gd name="connsiteY41" fmla="*/ 2004566 h 2457451"/>
              <a:gd name="connsiteX42" fmla="*/ 3635662 w 3851276"/>
              <a:gd name="connsiteY42" fmla="*/ 2016729 h 2457451"/>
              <a:gd name="connsiteX43" fmla="*/ 3714619 w 3851276"/>
              <a:gd name="connsiteY43" fmla="*/ 2016729 h 2457451"/>
              <a:gd name="connsiteX44" fmla="*/ 3729803 w 3851276"/>
              <a:gd name="connsiteY44" fmla="*/ 2001525 h 2457451"/>
              <a:gd name="connsiteX45" fmla="*/ 3729803 w 3851276"/>
              <a:gd name="connsiteY45" fmla="*/ 1274763 h 2457451"/>
              <a:gd name="connsiteX46" fmla="*/ 3726766 w 3851276"/>
              <a:gd name="connsiteY46" fmla="*/ 1265641 h 2457451"/>
              <a:gd name="connsiteX47" fmla="*/ 3626551 w 3851276"/>
              <a:gd name="connsiteY47" fmla="*/ 1147048 h 2457451"/>
              <a:gd name="connsiteX48" fmla="*/ 2915934 w 3851276"/>
              <a:gd name="connsiteY48" fmla="*/ 1147048 h 2457451"/>
              <a:gd name="connsiteX49" fmla="*/ 2779277 w 3851276"/>
              <a:gd name="connsiteY49" fmla="*/ 1013250 h 2457451"/>
              <a:gd name="connsiteX50" fmla="*/ 2779277 w 3851276"/>
              <a:gd name="connsiteY50" fmla="*/ 532797 h 2457451"/>
              <a:gd name="connsiteX51" fmla="*/ 2402829 w 3851276"/>
              <a:gd name="connsiteY51" fmla="*/ 532797 h 2457451"/>
              <a:gd name="connsiteX52" fmla="*/ 2397125 w 3851276"/>
              <a:gd name="connsiteY52" fmla="*/ 532797 h 2457451"/>
              <a:gd name="connsiteX53" fmla="*/ 2900363 w 3851276"/>
              <a:gd name="connsiteY53" fmla="*/ 531813 h 2457451"/>
              <a:gd name="connsiteX54" fmla="*/ 2900363 w 3851276"/>
              <a:gd name="connsiteY54" fmla="*/ 1013336 h 2457451"/>
              <a:gd name="connsiteX55" fmla="*/ 2915545 w 3851276"/>
              <a:gd name="connsiteY55" fmla="*/ 1025526 h 2457451"/>
              <a:gd name="connsiteX56" fmla="*/ 3525838 w 3851276"/>
              <a:gd name="connsiteY56" fmla="*/ 1025526 h 2457451"/>
              <a:gd name="connsiteX57" fmla="*/ 3115940 w 3851276"/>
              <a:gd name="connsiteY57" fmla="*/ 537908 h 2457451"/>
              <a:gd name="connsiteX58" fmla="*/ 3106831 w 3851276"/>
              <a:gd name="connsiteY58" fmla="*/ 531813 h 2457451"/>
              <a:gd name="connsiteX59" fmla="*/ 2900363 w 3851276"/>
              <a:gd name="connsiteY59" fmla="*/ 531813 h 2457451"/>
              <a:gd name="connsiteX60" fmla="*/ 135842 w 3851276"/>
              <a:gd name="connsiteY60" fmla="*/ 122238 h 2457451"/>
              <a:gd name="connsiteX61" fmla="*/ 120650 w 3851276"/>
              <a:gd name="connsiteY61" fmla="*/ 137438 h 2457451"/>
              <a:gd name="connsiteX62" fmla="*/ 120650 w 3851276"/>
              <a:gd name="connsiteY62" fmla="*/ 2000926 h 2457451"/>
              <a:gd name="connsiteX63" fmla="*/ 135842 w 3851276"/>
              <a:gd name="connsiteY63" fmla="*/ 2016126 h 2457451"/>
              <a:gd name="connsiteX64" fmla="*/ 327263 w 3851276"/>
              <a:gd name="connsiteY64" fmla="*/ 2016126 h 2457451"/>
              <a:gd name="connsiteX65" fmla="*/ 339416 w 3851276"/>
              <a:gd name="connsiteY65" fmla="*/ 2003966 h 2457451"/>
              <a:gd name="connsiteX66" fmla="*/ 825563 w 3851276"/>
              <a:gd name="connsiteY66" fmla="*/ 1587493 h 2457451"/>
              <a:gd name="connsiteX67" fmla="*/ 1308671 w 3851276"/>
              <a:gd name="connsiteY67" fmla="*/ 2003966 h 2457451"/>
              <a:gd name="connsiteX68" fmla="*/ 1323864 w 3851276"/>
              <a:gd name="connsiteY68" fmla="*/ 2016126 h 2457451"/>
              <a:gd name="connsiteX69" fmla="*/ 2259696 w 3851276"/>
              <a:gd name="connsiteY69" fmla="*/ 2016126 h 2457451"/>
              <a:gd name="connsiteX70" fmla="*/ 2274888 w 3851276"/>
              <a:gd name="connsiteY70" fmla="*/ 2000926 h 2457451"/>
              <a:gd name="connsiteX71" fmla="*/ 2274888 w 3851276"/>
              <a:gd name="connsiteY71" fmla="*/ 137438 h 2457451"/>
              <a:gd name="connsiteX72" fmla="*/ 2259696 w 3851276"/>
              <a:gd name="connsiteY72" fmla="*/ 122238 h 2457451"/>
              <a:gd name="connsiteX73" fmla="*/ 135842 w 3851276"/>
              <a:gd name="connsiteY73" fmla="*/ 122238 h 2457451"/>
              <a:gd name="connsiteX74" fmla="*/ 136718 w 3851276"/>
              <a:gd name="connsiteY74" fmla="*/ 0 h 2457451"/>
              <a:gd name="connsiteX75" fmla="*/ 2260407 w 3851276"/>
              <a:gd name="connsiteY75" fmla="*/ 0 h 2457451"/>
              <a:gd name="connsiteX76" fmla="*/ 2397125 w 3851276"/>
              <a:gd name="connsiteY76" fmla="*/ 136880 h 2457451"/>
              <a:gd name="connsiteX77" fmla="*/ 2397125 w 3851276"/>
              <a:gd name="connsiteY77" fmla="*/ 306281 h 2457451"/>
              <a:gd name="connsiteX78" fmla="*/ 2397125 w 3851276"/>
              <a:gd name="connsiteY78" fmla="*/ 411163 h 2457451"/>
              <a:gd name="connsiteX79" fmla="*/ 2426638 w 3851276"/>
              <a:gd name="connsiteY79" fmla="*/ 411163 h 2457451"/>
              <a:gd name="connsiteX80" fmla="*/ 3107254 w 3851276"/>
              <a:gd name="connsiteY80" fmla="*/ 411163 h 2457451"/>
              <a:gd name="connsiteX81" fmla="*/ 3210506 w 3851276"/>
              <a:gd name="connsiteY81" fmla="*/ 459817 h 2457451"/>
              <a:gd name="connsiteX82" fmla="*/ 3684251 w 3851276"/>
              <a:gd name="connsiteY82" fmla="*/ 1025414 h 2457451"/>
              <a:gd name="connsiteX83" fmla="*/ 3687288 w 3851276"/>
              <a:gd name="connsiteY83" fmla="*/ 1025414 h 2457451"/>
              <a:gd name="connsiteX84" fmla="*/ 3687288 w 3851276"/>
              <a:gd name="connsiteY84" fmla="*/ 1031496 h 2457451"/>
              <a:gd name="connsiteX85" fmla="*/ 3817871 w 3851276"/>
              <a:gd name="connsiteY85" fmla="*/ 1186579 h 2457451"/>
              <a:gd name="connsiteX86" fmla="*/ 3851276 w 3851276"/>
              <a:gd name="connsiteY86" fmla="*/ 1274763 h 2457451"/>
              <a:gd name="connsiteX87" fmla="*/ 3851276 w 3851276"/>
              <a:gd name="connsiteY87" fmla="*/ 2001525 h 2457451"/>
              <a:gd name="connsiteX88" fmla="*/ 3714619 w 3851276"/>
              <a:gd name="connsiteY88" fmla="*/ 2138363 h 2457451"/>
              <a:gd name="connsiteX89" fmla="*/ 3635662 w 3851276"/>
              <a:gd name="connsiteY89" fmla="*/ 2138363 h 2457451"/>
              <a:gd name="connsiteX90" fmla="*/ 3502041 w 3851276"/>
              <a:gd name="connsiteY90" fmla="*/ 2022811 h 2457451"/>
              <a:gd name="connsiteX91" fmla="*/ 3137623 w 3851276"/>
              <a:gd name="connsiteY91" fmla="*/ 1709604 h 2457451"/>
              <a:gd name="connsiteX92" fmla="*/ 2773204 w 3851276"/>
              <a:gd name="connsiteY92" fmla="*/ 2022811 h 2457451"/>
              <a:gd name="connsiteX93" fmla="*/ 2639583 w 3851276"/>
              <a:gd name="connsiteY93" fmla="*/ 2138363 h 2457451"/>
              <a:gd name="connsiteX94" fmla="*/ 2281238 w 3851276"/>
              <a:gd name="connsiteY94" fmla="*/ 2138363 h 2457451"/>
              <a:gd name="connsiteX95" fmla="*/ 2281238 w 3851276"/>
              <a:gd name="connsiteY95" fmla="*/ 2134192 h 2457451"/>
              <a:gd name="connsiteX96" fmla="*/ 2260407 w 3851276"/>
              <a:gd name="connsiteY96" fmla="*/ 2138363 h 2457451"/>
              <a:gd name="connsiteX97" fmla="*/ 1324647 w 3851276"/>
              <a:gd name="connsiteY97" fmla="*/ 2138363 h 2457451"/>
              <a:gd name="connsiteX98" fmla="*/ 1190967 w 3851276"/>
              <a:gd name="connsiteY98" fmla="*/ 2022776 h 2457451"/>
              <a:gd name="connsiteX99" fmla="*/ 826386 w 3851276"/>
              <a:gd name="connsiteY99" fmla="*/ 1709474 h 2457451"/>
              <a:gd name="connsiteX100" fmla="*/ 461804 w 3851276"/>
              <a:gd name="connsiteY100" fmla="*/ 2022776 h 2457451"/>
              <a:gd name="connsiteX101" fmla="*/ 328124 w 3851276"/>
              <a:gd name="connsiteY101" fmla="*/ 2138363 h 2457451"/>
              <a:gd name="connsiteX102" fmla="*/ 136718 w 3851276"/>
              <a:gd name="connsiteY102" fmla="*/ 2138363 h 2457451"/>
              <a:gd name="connsiteX103" fmla="*/ 0 w 3851276"/>
              <a:gd name="connsiteY103" fmla="*/ 2001484 h 2457451"/>
              <a:gd name="connsiteX104" fmla="*/ 0 w 3851276"/>
              <a:gd name="connsiteY104" fmla="*/ 136880 h 2457451"/>
              <a:gd name="connsiteX105" fmla="*/ 136718 w 3851276"/>
              <a:gd name="connsiteY105"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3137695 w 3851276"/>
              <a:gd name="connsiteY10" fmla="*/ 1879600 h 2457451"/>
              <a:gd name="connsiteX11" fmla="*/ 2909888 w 3851276"/>
              <a:gd name="connsiteY11" fmla="*/ 2107407 h 2457451"/>
              <a:gd name="connsiteX12" fmla="*/ 3137695 w 3851276"/>
              <a:gd name="connsiteY12" fmla="*/ 2335214 h 2457451"/>
              <a:gd name="connsiteX13" fmla="*/ 3365502 w 3851276"/>
              <a:gd name="connsiteY13" fmla="*/ 2107407 h 2457451"/>
              <a:gd name="connsiteX14" fmla="*/ 3137695 w 3851276"/>
              <a:gd name="connsiteY14" fmla="*/ 1879600 h 2457451"/>
              <a:gd name="connsiteX15" fmla="*/ 826295 w 3851276"/>
              <a:gd name="connsiteY15" fmla="*/ 1879600 h 2457451"/>
              <a:gd name="connsiteX16" fmla="*/ 598488 w 3851276"/>
              <a:gd name="connsiteY16" fmla="*/ 2107407 h 2457451"/>
              <a:gd name="connsiteX17" fmla="*/ 826295 w 3851276"/>
              <a:gd name="connsiteY17" fmla="*/ 2335214 h 2457451"/>
              <a:gd name="connsiteX18" fmla="*/ 1054102 w 3851276"/>
              <a:gd name="connsiteY18" fmla="*/ 2107407 h 2457451"/>
              <a:gd name="connsiteX19" fmla="*/ 826295 w 3851276"/>
              <a:gd name="connsiteY19" fmla="*/ 1879600 h 2457451"/>
              <a:gd name="connsiteX20" fmla="*/ 3136900 w 3851276"/>
              <a:gd name="connsiteY20" fmla="*/ 1757363 h 2457451"/>
              <a:gd name="connsiteX21" fmla="*/ 3486150 w 3851276"/>
              <a:gd name="connsiteY21" fmla="*/ 2107407 h 2457451"/>
              <a:gd name="connsiteX22" fmla="*/ 3136900 w 3851276"/>
              <a:gd name="connsiteY22" fmla="*/ 2457451 h 2457451"/>
              <a:gd name="connsiteX23" fmla="*/ 2787650 w 3851276"/>
              <a:gd name="connsiteY23" fmla="*/ 2107407 h 2457451"/>
              <a:gd name="connsiteX24" fmla="*/ 3136900 w 3851276"/>
              <a:gd name="connsiteY24" fmla="*/ 1757363 h 2457451"/>
              <a:gd name="connsiteX25" fmla="*/ 825500 w 3851276"/>
              <a:gd name="connsiteY25" fmla="*/ 1757363 h 2457451"/>
              <a:gd name="connsiteX26" fmla="*/ 1174750 w 3851276"/>
              <a:gd name="connsiteY26" fmla="*/ 2107407 h 2457451"/>
              <a:gd name="connsiteX27" fmla="*/ 825500 w 3851276"/>
              <a:gd name="connsiteY27" fmla="*/ 2457451 h 2457451"/>
              <a:gd name="connsiteX28" fmla="*/ 476250 w 3851276"/>
              <a:gd name="connsiteY28" fmla="*/ 2107407 h 2457451"/>
              <a:gd name="connsiteX29" fmla="*/ 825500 w 3851276"/>
              <a:gd name="connsiteY29" fmla="*/ 1757363 h 2457451"/>
              <a:gd name="connsiteX30" fmla="*/ 2397125 w 3851276"/>
              <a:gd name="connsiteY30" fmla="*/ 532797 h 2457451"/>
              <a:gd name="connsiteX31" fmla="*/ 2397125 w 3851276"/>
              <a:gd name="connsiteY31" fmla="*/ 613672 h 2457451"/>
              <a:gd name="connsiteX32" fmla="*/ 2397125 w 3851276"/>
              <a:gd name="connsiteY32" fmla="*/ 2001484 h 2457451"/>
              <a:gd name="connsiteX33" fmla="*/ 2394079 w 3851276"/>
              <a:gd name="connsiteY33" fmla="*/ 2016729 h 2457451"/>
              <a:gd name="connsiteX34" fmla="*/ 2399520 w 3851276"/>
              <a:gd name="connsiteY34" fmla="*/ 2016729 h 2457451"/>
              <a:gd name="connsiteX35" fmla="*/ 2639583 w 3851276"/>
              <a:gd name="connsiteY35" fmla="*/ 2016729 h 2457451"/>
              <a:gd name="connsiteX36" fmla="*/ 2651731 w 3851276"/>
              <a:gd name="connsiteY36" fmla="*/ 2004566 h 2457451"/>
              <a:gd name="connsiteX37" fmla="*/ 3137623 w 3851276"/>
              <a:gd name="connsiteY37" fmla="*/ 1587970 h 2457451"/>
              <a:gd name="connsiteX38" fmla="*/ 3623514 w 3851276"/>
              <a:gd name="connsiteY38" fmla="*/ 2004566 h 2457451"/>
              <a:gd name="connsiteX39" fmla="*/ 3635662 w 3851276"/>
              <a:gd name="connsiteY39" fmla="*/ 2016729 h 2457451"/>
              <a:gd name="connsiteX40" fmla="*/ 3714619 w 3851276"/>
              <a:gd name="connsiteY40" fmla="*/ 2016729 h 2457451"/>
              <a:gd name="connsiteX41" fmla="*/ 3729803 w 3851276"/>
              <a:gd name="connsiteY41" fmla="*/ 2001525 h 2457451"/>
              <a:gd name="connsiteX42" fmla="*/ 3729803 w 3851276"/>
              <a:gd name="connsiteY42" fmla="*/ 1274763 h 2457451"/>
              <a:gd name="connsiteX43" fmla="*/ 3726766 w 3851276"/>
              <a:gd name="connsiteY43" fmla="*/ 1265641 h 2457451"/>
              <a:gd name="connsiteX44" fmla="*/ 3626551 w 3851276"/>
              <a:gd name="connsiteY44" fmla="*/ 1147048 h 2457451"/>
              <a:gd name="connsiteX45" fmla="*/ 2915934 w 3851276"/>
              <a:gd name="connsiteY45" fmla="*/ 1147048 h 2457451"/>
              <a:gd name="connsiteX46" fmla="*/ 2779277 w 3851276"/>
              <a:gd name="connsiteY46" fmla="*/ 1013250 h 2457451"/>
              <a:gd name="connsiteX47" fmla="*/ 2779277 w 3851276"/>
              <a:gd name="connsiteY47" fmla="*/ 532797 h 2457451"/>
              <a:gd name="connsiteX48" fmla="*/ 2402829 w 3851276"/>
              <a:gd name="connsiteY48" fmla="*/ 532797 h 2457451"/>
              <a:gd name="connsiteX49" fmla="*/ 2397125 w 3851276"/>
              <a:gd name="connsiteY49" fmla="*/ 532797 h 2457451"/>
              <a:gd name="connsiteX50" fmla="*/ 2900363 w 3851276"/>
              <a:gd name="connsiteY50" fmla="*/ 531813 h 2457451"/>
              <a:gd name="connsiteX51" fmla="*/ 2900363 w 3851276"/>
              <a:gd name="connsiteY51" fmla="*/ 1013336 h 2457451"/>
              <a:gd name="connsiteX52" fmla="*/ 2915545 w 3851276"/>
              <a:gd name="connsiteY52" fmla="*/ 1025526 h 2457451"/>
              <a:gd name="connsiteX53" fmla="*/ 3525838 w 3851276"/>
              <a:gd name="connsiteY53" fmla="*/ 1025526 h 2457451"/>
              <a:gd name="connsiteX54" fmla="*/ 3115940 w 3851276"/>
              <a:gd name="connsiteY54" fmla="*/ 537908 h 2457451"/>
              <a:gd name="connsiteX55" fmla="*/ 3106831 w 3851276"/>
              <a:gd name="connsiteY55" fmla="*/ 531813 h 2457451"/>
              <a:gd name="connsiteX56" fmla="*/ 2900363 w 3851276"/>
              <a:gd name="connsiteY56" fmla="*/ 531813 h 2457451"/>
              <a:gd name="connsiteX57" fmla="*/ 135842 w 3851276"/>
              <a:gd name="connsiteY57" fmla="*/ 122238 h 2457451"/>
              <a:gd name="connsiteX58" fmla="*/ 120650 w 3851276"/>
              <a:gd name="connsiteY58" fmla="*/ 137438 h 2457451"/>
              <a:gd name="connsiteX59" fmla="*/ 120650 w 3851276"/>
              <a:gd name="connsiteY59" fmla="*/ 2000926 h 2457451"/>
              <a:gd name="connsiteX60" fmla="*/ 135842 w 3851276"/>
              <a:gd name="connsiteY60" fmla="*/ 2016126 h 2457451"/>
              <a:gd name="connsiteX61" fmla="*/ 327263 w 3851276"/>
              <a:gd name="connsiteY61" fmla="*/ 2016126 h 2457451"/>
              <a:gd name="connsiteX62" fmla="*/ 339416 w 3851276"/>
              <a:gd name="connsiteY62" fmla="*/ 2003966 h 2457451"/>
              <a:gd name="connsiteX63" fmla="*/ 825563 w 3851276"/>
              <a:gd name="connsiteY63" fmla="*/ 1587493 h 2457451"/>
              <a:gd name="connsiteX64" fmla="*/ 1308671 w 3851276"/>
              <a:gd name="connsiteY64" fmla="*/ 2003966 h 2457451"/>
              <a:gd name="connsiteX65" fmla="*/ 1323864 w 3851276"/>
              <a:gd name="connsiteY65" fmla="*/ 2016126 h 2457451"/>
              <a:gd name="connsiteX66" fmla="*/ 2259696 w 3851276"/>
              <a:gd name="connsiteY66" fmla="*/ 2016126 h 2457451"/>
              <a:gd name="connsiteX67" fmla="*/ 2274888 w 3851276"/>
              <a:gd name="connsiteY67" fmla="*/ 2000926 h 2457451"/>
              <a:gd name="connsiteX68" fmla="*/ 2274888 w 3851276"/>
              <a:gd name="connsiteY68" fmla="*/ 137438 h 2457451"/>
              <a:gd name="connsiteX69" fmla="*/ 2259696 w 3851276"/>
              <a:gd name="connsiteY69" fmla="*/ 122238 h 2457451"/>
              <a:gd name="connsiteX70" fmla="*/ 135842 w 3851276"/>
              <a:gd name="connsiteY70" fmla="*/ 122238 h 2457451"/>
              <a:gd name="connsiteX71" fmla="*/ 136718 w 3851276"/>
              <a:gd name="connsiteY71" fmla="*/ 0 h 2457451"/>
              <a:gd name="connsiteX72" fmla="*/ 2260407 w 3851276"/>
              <a:gd name="connsiteY72" fmla="*/ 0 h 2457451"/>
              <a:gd name="connsiteX73" fmla="*/ 2397125 w 3851276"/>
              <a:gd name="connsiteY73" fmla="*/ 136880 h 2457451"/>
              <a:gd name="connsiteX74" fmla="*/ 2397125 w 3851276"/>
              <a:gd name="connsiteY74" fmla="*/ 306281 h 2457451"/>
              <a:gd name="connsiteX75" fmla="*/ 2397125 w 3851276"/>
              <a:gd name="connsiteY75" fmla="*/ 411163 h 2457451"/>
              <a:gd name="connsiteX76" fmla="*/ 2426638 w 3851276"/>
              <a:gd name="connsiteY76" fmla="*/ 411163 h 2457451"/>
              <a:gd name="connsiteX77" fmla="*/ 3107254 w 3851276"/>
              <a:gd name="connsiteY77" fmla="*/ 411163 h 2457451"/>
              <a:gd name="connsiteX78" fmla="*/ 3210506 w 3851276"/>
              <a:gd name="connsiteY78" fmla="*/ 459817 h 2457451"/>
              <a:gd name="connsiteX79" fmla="*/ 3684251 w 3851276"/>
              <a:gd name="connsiteY79" fmla="*/ 1025414 h 2457451"/>
              <a:gd name="connsiteX80" fmla="*/ 3687288 w 3851276"/>
              <a:gd name="connsiteY80" fmla="*/ 1025414 h 2457451"/>
              <a:gd name="connsiteX81" fmla="*/ 3687288 w 3851276"/>
              <a:gd name="connsiteY81" fmla="*/ 1031496 h 2457451"/>
              <a:gd name="connsiteX82" fmla="*/ 3817871 w 3851276"/>
              <a:gd name="connsiteY82" fmla="*/ 1186579 h 2457451"/>
              <a:gd name="connsiteX83" fmla="*/ 3851276 w 3851276"/>
              <a:gd name="connsiteY83" fmla="*/ 1274763 h 2457451"/>
              <a:gd name="connsiteX84" fmla="*/ 3851276 w 3851276"/>
              <a:gd name="connsiteY84" fmla="*/ 2001525 h 2457451"/>
              <a:gd name="connsiteX85" fmla="*/ 3714619 w 3851276"/>
              <a:gd name="connsiteY85" fmla="*/ 2138363 h 2457451"/>
              <a:gd name="connsiteX86" fmla="*/ 3635662 w 3851276"/>
              <a:gd name="connsiteY86" fmla="*/ 2138363 h 2457451"/>
              <a:gd name="connsiteX87" fmla="*/ 3502041 w 3851276"/>
              <a:gd name="connsiteY87" fmla="*/ 2022811 h 2457451"/>
              <a:gd name="connsiteX88" fmla="*/ 3137623 w 3851276"/>
              <a:gd name="connsiteY88" fmla="*/ 1709604 h 2457451"/>
              <a:gd name="connsiteX89" fmla="*/ 2773204 w 3851276"/>
              <a:gd name="connsiteY89" fmla="*/ 2022811 h 2457451"/>
              <a:gd name="connsiteX90" fmla="*/ 2639583 w 3851276"/>
              <a:gd name="connsiteY90" fmla="*/ 2138363 h 2457451"/>
              <a:gd name="connsiteX91" fmla="*/ 2281238 w 3851276"/>
              <a:gd name="connsiteY91" fmla="*/ 2138363 h 2457451"/>
              <a:gd name="connsiteX92" fmla="*/ 2281238 w 3851276"/>
              <a:gd name="connsiteY92" fmla="*/ 2134192 h 2457451"/>
              <a:gd name="connsiteX93" fmla="*/ 2260407 w 3851276"/>
              <a:gd name="connsiteY93" fmla="*/ 2138363 h 2457451"/>
              <a:gd name="connsiteX94" fmla="*/ 1324647 w 3851276"/>
              <a:gd name="connsiteY94" fmla="*/ 2138363 h 2457451"/>
              <a:gd name="connsiteX95" fmla="*/ 1190967 w 3851276"/>
              <a:gd name="connsiteY95" fmla="*/ 2022776 h 2457451"/>
              <a:gd name="connsiteX96" fmla="*/ 826386 w 3851276"/>
              <a:gd name="connsiteY96" fmla="*/ 1709474 h 2457451"/>
              <a:gd name="connsiteX97" fmla="*/ 461804 w 3851276"/>
              <a:gd name="connsiteY97" fmla="*/ 2022776 h 2457451"/>
              <a:gd name="connsiteX98" fmla="*/ 328124 w 3851276"/>
              <a:gd name="connsiteY98" fmla="*/ 2138363 h 2457451"/>
              <a:gd name="connsiteX99" fmla="*/ 136718 w 3851276"/>
              <a:gd name="connsiteY99" fmla="*/ 2138363 h 2457451"/>
              <a:gd name="connsiteX100" fmla="*/ 0 w 3851276"/>
              <a:gd name="connsiteY100" fmla="*/ 2001484 h 2457451"/>
              <a:gd name="connsiteX101" fmla="*/ 0 w 3851276"/>
              <a:gd name="connsiteY101" fmla="*/ 136880 h 2457451"/>
              <a:gd name="connsiteX102" fmla="*/ 136718 w 3851276"/>
              <a:gd name="connsiteY102"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2992437 w 3851276"/>
              <a:gd name="connsiteY5" fmla="*/ 210820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5 w 3851276"/>
              <a:gd name="connsiteY9" fmla="*/ 1879600 h 2457451"/>
              <a:gd name="connsiteX10" fmla="*/ 2909888 w 3851276"/>
              <a:gd name="connsiteY10" fmla="*/ 2107407 h 2457451"/>
              <a:gd name="connsiteX11" fmla="*/ 3137695 w 3851276"/>
              <a:gd name="connsiteY11" fmla="*/ 2335214 h 2457451"/>
              <a:gd name="connsiteX12" fmla="*/ 3365502 w 3851276"/>
              <a:gd name="connsiteY12" fmla="*/ 2107407 h 2457451"/>
              <a:gd name="connsiteX13" fmla="*/ 3137695 w 3851276"/>
              <a:gd name="connsiteY13" fmla="*/ 1879600 h 2457451"/>
              <a:gd name="connsiteX14" fmla="*/ 826295 w 3851276"/>
              <a:gd name="connsiteY14" fmla="*/ 1879600 h 2457451"/>
              <a:gd name="connsiteX15" fmla="*/ 598488 w 3851276"/>
              <a:gd name="connsiteY15" fmla="*/ 2107407 h 2457451"/>
              <a:gd name="connsiteX16" fmla="*/ 826295 w 3851276"/>
              <a:gd name="connsiteY16" fmla="*/ 2335214 h 2457451"/>
              <a:gd name="connsiteX17" fmla="*/ 1054102 w 3851276"/>
              <a:gd name="connsiteY17" fmla="*/ 2107407 h 2457451"/>
              <a:gd name="connsiteX18" fmla="*/ 826295 w 3851276"/>
              <a:gd name="connsiteY18" fmla="*/ 1879600 h 2457451"/>
              <a:gd name="connsiteX19" fmla="*/ 3136900 w 3851276"/>
              <a:gd name="connsiteY19" fmla="*/ 1757363 h 2457451"/>
              <a:gd name="connsiteX20" fmla="*/ 3486150 w 3851276"/>
              <a:gd name="connsiteY20" fmla="*/ 2107407 h 2457451"/>
              <a:gd name="connsiteX21" fmla="*/ 3136900 w 3851276"/>
              <a:gd name="connsiteY21" fmla="*/ 2457451 h 2457451"/>
              <a:gd name="connsiteX22" fmla="*/ 2787650 w 3851276"/>
              <a:gd name="connsiteY22" fmla="*/ 2107407 h 2457451"/>
              <a:gd name="connsiteX23" fmla="*/ 3136900 w 3851276"/>
              <a:gd name="connsiteY23" fmla="*/ 1757363 h 2457451"/>
              <a:gd name="connsiteX24" fmla="*/ 825500 w 3851276"/>
              <a:gd name="connsiteY24" fmla="*/ 1757363 h 2457451"/>
              <a:gd name="connsiteX25" fmla="*/ 1174750 w 3851276"/>
              <a:gd name="connsiteY25" fmla="*/ 2107407 h 2457451"/>
              <a:gd name="connsiteX26" fmla="*/ 825500 w 3851276"/>
              <a:gd name="connsiteY26" fmla="*/ 2457451 h 2457451"/>
              <a:gd name="connsiteX27" fmla="*/ 476250 w 3851276"/>
              <a:gd name="connsiteY27" fmla="*/ 2107407 h 2457451"/>
              <a:gd name="connsiteX28" fmla="*/ 825500 w 3851276"/>
              <a:gd name="connsiteY28" fmla="*/ 1757363 h 2457451"/>
              <a:gd name="connsiteX29" fmla="*/ 2397125 w 3851276"/>
              <a:gd name="connsiteY29" fmla="*/ 532797 h 2457451"/>
              <a:gd name="connsiteX30" fmla="*/ 2397125 w 3851276"/>
              <a:gd name="connsiteY30" fmla="*/ 613672 h 2457451"/>
              <a:gd name="connsiteX31" fmla="*/ 2397125 w 3851276"/>
              <a:gd name="connsiteY31" fmla="*/ 2001484 h 2457451"/>
              <a:gd name="connsiteX32" fmla="*/ 2394079 w 3851276"/>
              <a:gd name="connsiteY32" fmla="*/ 2016729 h 2457451"/>
              <a:gd name="connsiteX33" fmla="*/ 2399520 w 3851276"/>
              <a:gd name="connsiteY33" fmla="*/ 2016729 h 2457451"/>
              <a:gd name="connsiteX34" fmla="*/ 2639583 w 3851276"/>
              <a:gd name="connsiteY34" fmla="*/ 2016729 h 2457451"/>
              <a:gd name="connsiteX35" fmla="*/ 2651731 w 3851276"/>
              <a:gd name="connsiteY35" fmla="*/ 2004566 h 2457451"/>
              <a:gd name="connsiteX36" fmla="*/ 3137623 w 3851276"/>
              <a:gd name="connsiteY36" fmla="*/ 1587970 h 2457451"/>
              <a:gd name="connsiteX37" fmla="*/ 3623514 w 3851276"/>
              <a:gd name="connsiteY37" fmla="*/ 2004566 h 2457451"/>
              <a:gd name="connsiteX38" fmla="*/ 3635662 w 3851276"/>
              <a:gd name="connsiteY38" fmla="*/ 2016729 h 2457451"/>
              <a:gd name="connsiteX39" fmla="*/ 3714619 w 3851276"/>
              <a:gd name="connsiteY39" fmla="*/ 2016729 h 2457451"/>
              <a:gd name="connsiteX40" fmla="*/ 3729803 w 3851276"/>
              <a:gd name="connsiteY40" fmla="*/ 2001525 h 2457451"/>
              <a:gd name="connsiteX41" fmla="*/ 3729803 w 3851276"/>
              <a:gd name="connsiteY41" fmla="*/ 1274763 h 2457451"/>
              <a:gd name="connsiteX42" fmla="*/ 3726766 w 3851276"/>
              <a:gd name="connsiteY42" fmla="*/ 1265641 h 2457451"/>
              <a:gd name="connsiteX43" fmla="*/ 3626551 w 3851276"/>
              <a:gd name="connsiteY43" fmla="*/ 1147048 h 2457451"/>
              <a:gd name="connsiteX44" fmla="*/ 2915934 w 3851276"/>
              <a:gd name="connsiteY44" fmla="*/ 1147048 h 2457451"/>
              <a:gd name="connsiteX45" fmla="*/ 2779277 w 3851276"/>
              <a:gd name="connsiteY45" fmla="*/ 1013250 h 2457451"/>
              <a:gd name="connsiteX46" fmla="*/ 2779277 w 3851276"/>
              <a:gd name="connsiteY46" fmla="*/ 532797 h 2457451"/>
              <a:gd name="connsiteX47" fmla="*/ 2402829 w 3851276"/>
              <a:gd name="connsiteY47" fmla="*/ 532797 h 2457451"/>
              <a:gd name="connsiteX48" fmla="*/ 2397125 w 3851276"/>
              <a:gd name="connsiteY48" fmla="*/ 532797 h 2457451"/>
              <a:gd name="connsiteX49" fmla="*/ 2900363 w 3851276"/>
              <a:gd name="connsiteY49" fmla="*/ 531813 h 2457451"/>
              <a:gd name="connsiteX50" fmla="*/ 2900363 w 3851276"/>
              <a:gd name="connsiteY50" fmla="*/ 1013336 h 2457451"/>
              <a:gd name="connsiteX51" fmla="*/ 2915545 w 3851276"/>
              <a:gd name="connsiteY51" fmla="*/ 1025526 h 2457451"/>
              <a:gd name="connsiteX52" fmla="*/ 3525838 w 3851276"/>
              <a:gd name="connsiteY52" fmla="*/ 1025526 h 2457451"/>
              <a:gd name="connsiteX53" fmla="*/ 3115940 w 3851276"/>
              <a:gd name="connsiteY53" fmla="*/ 537908 h 2457451"/>
              <a:gd name="connsiteX54" fmla="*/ 3106831 w 3851276"/>
              <a:gd name="connsiteY54" fmla="*/ 531813 h 2457451"/>
              <a:gd name="connsiteX55" fmla="*/ 2900363 w 3851276"/>
              <a:gd name="connsiteY55" fmla="*/ 531813 h 2457451"/>
              <a:gd name="connsiteX56" fmla="*/ 135842 w 3851276"/>
              <a:gd name="connsiteY56" fmla="*/ 122238 h 2457451"/>
              <a:gd name="connsiteX57" fmla="*/ 120650 w 3851276"/>
              <a:gd name="connsiteY57" fmla="*/ 137438 h 2457451"/>
              <a:gd name="connsiteX58" fmla="*/ 120650 w 3851276"/>
              <a:gd name="connsiteY58" fmla="*/ 2000926 h 2457451"/>
              <a:gd name="connsiteX59" fmla="*/ 135842 w 3851276"/>
              <a:gd name="connsiteY59" fmla="*/ 2016126 h 2457451"/>
              <a:gd name="connsiteX60" fmla="*/ 327263 w 3851276"/>
              <a:gd name="connsiteY60" fmla="*/ 2016126 h 2457451"/>
              <a:gd name="connsiteX61" fmla="*/ 339416 w 3851276"/>
              <a:gd name="connsiteY61" fmla="*/ 2003966 h 2457451"/>
              <a:gd name="connsiteX62" fmla="*/ 825563 w 3851276"/>
              <a:gd name="connsiteY62" fmla="*/ 1587493 h 2457451"/>
              <a:gd name="connsiteX63" fmla="*/ 1308671 w 3851276"/>
              <a:gd name="connsiteY63" fmla="*/ 2003966 h 2457451"/>
              <a:gd name="connsiteX64" fmla="*/ 1323864 w 3851276"/>
              <a:gd name="connsiteY64" fmla="*/ 2016126 h 2457451"/>
              <a:gd name="connsiteX65" fmla="*/ 2259696 w 3851276"/>
              <a:gd name="connsiteY65" fmla="*/ 2016126 h 2457451"/>
              <a:gd name="connsiteX66" fmla="*/ 2274888 w 3851276"/>
              <a:gd name="connsiteY66" fmla="*/ 2000926 h 2457451"/>
              <a:gd name="connsiteX67" fmla="*/ 2274888 w 3851276"/>
              <a:gd name="connsiteY67" fmla="*/ 137438 h 2457451"/>
              <a:gd name="connsiteX68" fmla="*/ 2259696 w 3851276"/>
              <a:gd name="connsiteY68" fmla="*/ 122238 h 2457451"/>
              <a:gd name="connsiteX69" fmla="*/ 135842 w 3851276"/>
              <a:gd name="connsiteY69" fmla="*/ 122238 h 2457451"/>
              <a:gd name="connsiteX70" fmla="*/ 136718 w 3851276"/>
              <a:gd name="connsiteY70" fmla="*/ 0 h 2457451"/>
              <a:gd name="connsiteX71" fmla="*/ 2260407 w 3851276"/>
              <a:gd name="connsiteY71" fmla="*/ 0 h 2457451"/>
              <a:gd name="connsiteX72" fmla="*/ 2397125 w 3851276"/>
              <a:gd name="connsiteY72" fmla="*/ 136880 h 2457451"/>
              <a:gd name="connsiteX73" fmla="*/ 2397125 w 3851276"/>
              <a:gd name="connsiteY73" fmla="*/ 306281 h 2457451"/>
              <a:gd name="connsiteX74" fmla="*/ 2397125 w 3851276"/>
              <a:gd name="connsiteY74" fmla="*/ 411163 h 2457451"/>
              <a:gd name="connsiteX75" fmla="*/ 2426638 w 3851276"/>
              <a:gd name="connsiteY75" fmla="*/ 411163 h 2457451"/>
              <a:gd name="connsiteX76" fmla="*/ 3107254 w 3851276"/>
              <a:gd name="connsiteY76" fmla="*/ 411163 h 2457451"/>
              <a:gd name="connsiteX77" fmla="*/ 3210506 w 3851276"/>
              <a:gd name="connsiteY77" fmla="*/ 459817 h 2457451"/>
              <a:gd name="connsiteX78" fmla="*/ 3684251 w 3851276"/>
              <a:gd name="connsiteY78" fmla="*/ 1025414 h 2457451"/>
              <a:gd name="connsiteX79" fmla="*/ 3687288 w 3851276"/>
              <a:gd name="connsiteY79" fmla="*/ 1025414 h 2457451"/>
              <a:gd name="connsiteX80" fmla="*/ 3687288 w 3851276"/>
              <a:gd name="connsiteY80" fmla="*/ 1031496 h 2457451"/>
              <a:gd name="connsiteX81" fmla="*/ 3817871 w 3851276"/>
              <a:gd name="connsiteY81" fmla="*/ 1186579 h 2457451"/>
              <a:gd name="connsiteX82" fmla="*/ 3851276 w 3851276"/>
              <a:gd name="connsiteY82" fmla="*/ 1274763 h 2457451"/>
              <a:gd name="connsiteX83" fmla="*/ 3851276 w 3851276"/>
              <a:gd name="connsiteY83" fmla="*/ 2001525 h 2457451"/>
              <a:gd name="connsiteX84" fmla="*/ 3714619 w 3851276"/>
              <a:gd name="connsiteY84" fmla="*/ 2138363 h 2457451"/>
              <a:gd name="connsiteX85" fmla="*/ 3635662 w 3851276"/>
              <a:gd name="connsiteY85" fmla="*/ 2138363 h 2457451"/>
              <a:gd name="connsiteX86" fmla="*/ 3502041 w 3851276"/>
              <a:gd name="connsiteY86" fmla="*/ 2022811 h 2457451"/>
              <a:gd name="connsiteX87" fmla="*/ 3137623 w 3851276"/>
              <a:gd name="connsiteY87" fmla="*/ 1709604 h 2457451"/>
              <a:gd name="connsiteX88" fmla="*/ 2773204 w 3851276"/>
              <a:gd name="connsiteY88" fmla="*/ 2022811 h 2457451"/>
              <a:gd name="connsiteX89" fmla="*/ 2639583 w 3851276"/>
              <a:gd name="connsiteY89" fmla="*/ 2138363 h 2457451"/>
              <a:gd name="connsiteX90" fmla="*/ 2281238 w 3851276"/>
              <a:gd name="connsiteY90" fmla="*/ 2138363 h 2457451"/>
              <a:gd name="connsiteX91" fmla="*/ 2281238 w 3851276"/>
              <a:gd name="connsiteY91" fmla="*/ 2134192 h 2457451"/>
              <a:gd name="connsiteX92" fmla="*/ 2260407 w 3851276"/>
              <a:gd name="connsiteY92" fmla="*/ 2138363 h 2457451"/>
              <a:gd name="connsiteX93" fmla="*/ 1324647 w 3851276"/>
              <a:gd name="connsiteY93" fmla="*/ 2138363 h 2457451"/>
              <a:gd name="connsiteX94" fmla="*/ 1190967 w 3851276"/>
              <a:gd name="connsiteY94" fmla="*/ 2022776 h 2457451"/>
              <a:gd name="connsiteX95" fmla="*/ 826386 w 3851276"/>
              <a:gd name="connsiteY95" fmla="*/ 1709474 h 2457451"/>
              <a:gd name="connsiteX96" fmla="*/ 461804 w 3851276"/>
              <a:gd name="connsiteY96" fmla="*/ 2022776 h 2457451"/>
              <a:gd name="connsiteX97" fmla="*/ 328124 w 3851276"/>
              <a:gd name="connsiteY97" fmla="*/ 2138363 h 2457451"/>
              <a:gd name="connsiteX98" fmla="*/ 136718 w 3851276"/>
              <a:gd name="connsiteY98" fmla="*/ 2138363 h 2457451"/>
              <a:gd name="connsiteX99" fmla="*/ 0 w 3851276"/>
              <a:gd name="connsiteY99" fmla="*/ 2001484 h 2457451"/>
              <a:gd name="connsiteX100" fmla="*/ 0 w 3851276"/>
              <a:gd name="connsiteY100" fmla="*/ 136880 h 2457451"/>
              <a:gd name="connsiteX101" fmla="*/ 136718 w 3851276"/>
              <a:gd name="connsiteY101" fmla="*/ 0 h 2457451"/>
              <a:gd name="connsiteX0" fmla="*/ 3162301 w 3851276"/>
              <a:gd name="connsiteY0" fmla="*/ 2107407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2992437 w 3851276"/>
              <a:gd name="connsiteY4" fmla="*/ 2108200 h 2457451"/>
              <a:gd name="connsiteX5" fmla="*/ 3282951 w 3851276"/>
              <a:gd name="connsiteY5" fmla="*/ 2108200 h 2457451"/>
              <a:gd name="connsiteX6" fmla="*/ 3137694 w 3851276"/>
              <a:gd name="connsiteY6" fmla="*/ 2254250 h 2457451"/>
              <a:gd name="connsiteX7" fmla="*/ 2992437 w 3851276"/>
              <a:gd name="connsiteY7" fmla="*/ 2108200 h 2457451"/>
              <a:gd name="connsiteX8" fmla="*/ 3137695 w 3851276"/>
              <a:gd name="connsiteY8" fmla="*/ 1879600 h 2457451"/>
              <a:gd name="connsiteX9" fmla="*/ 2909888 w 3851276"/>
              <a:gd name="connsiteY9" fmla="*/ 2107407 h 2457451"/>
              <a:gd name="connsiteX10" fmla="*/ 3137695 w 3851276"/>
              <a:gd name="connsiteY10" fmla="*/ 2335214 h 2457451"/>
              <a:gd name="connsiteX11" fmla="*/ 3365502 w 3851276"/>
              <a:gd name="connsiteY11" fmla="*/ 2107407 h 2457451"/>
              <a:gd name="connsiteX12" fmla="*/ 3137695 w 3851276"/>
              <a:gd name="connsiteY12" fmla="*/ 1879600 h 2457451"/>
              <a:gd name="connsiteX13" fmla="*/ 826295 w 3851276"/>
              <a:gd name="connsiteY13" fmla="*/ 1879600 h 2457451"/>
              <a:gd name="connsiteX14" fmla="*/ 598488 w 3851276"/>
              <a:gd name="connsiteY14" fmla="*/ 2107407 h 2457451"/>
              <a:gd name="connsiteX15" fmla="*/ 826295 w 3851276"/>
              <a:gd name="connsiteY15" fmla="*/ 2335214 h 2457451"/>
              <a:gd name="connsiteX16" fmla="*/ 1054102 w 3851276"/>
              <a:gd name="connsiteY16" fmla="*/ 2107407 h 2457451"/>
              <a:gd name="connsiteX17" fmla="*/ 826295 w 3851276"/>
              <a:gd name="connsiteY17" fmla="*/ 1879600 h 2457451"/>
              <a:gd name="connsiteX18" fmla="*/ 3136900 w 3851276"/>
              <a:gd name="connsiteY18" fmla="*/ 1757363 h 2457451"/>
              <a:gd name="connsiteX19" fmla="*/ 3486150 w 3851276"/>
              <a:gd name="connsiteY19" fmla="*/ 2107407 h 2457451"/>
              <a:gd name="connsiteX20" fmla="*/ 3136900 w 3851276"/>
              <a:gd name="connsiteY20" fmla="*/ 2457451 h 2457451"/>
              <a:gd name="connsiteX21" fmla="*/ 2787650 w 3851276"/>
              <a:gd name="connsiteY21" fmla="*/ 2107407 h 2457451"/>
              <a:gd name="connsiteX22" fmla="*/ 3136900 w 3851276"/>
              <a:gd name="connsiteY22" fmla="*/ 1757363 h 2457451"/>
              <a:gd name="connsiteX23" fmla="*/ 825500 w 3851276"/>
              <a:gd name="connsiteY23" fmla="*/ 1757363 h 2457451"/>
              <a:gd name="connsiteX24" fmla="*/ 1174750 w 3851276"/>
              <a:gd name="connsiteY24" fmla="*/ 2107407 h 2457451"/>
              <a:gd name="connsiteX25" fmla="*/ 825500 w 3851276"/>
              <a:gd name="connsiteY25" fmla="*/ 2457451 h 2457451"/>
              <a:gd name="connsiteX26" fmla="*/ 476250 w 3851276"/>
              <a:gd name="connsiteY26" fmla="*/ 2107407 h 2457451"/>
              <a:gd name="connsiteX27" fmla="*/ 825500 w 3851276"/>
              <a:gd name="connsiteY27" fmla="*/ 1757363 h 2457451"/>
              <a:gd name="connsiteX28" fmla="*/ 2397125 w 3851276"/>
              <a:gd name="connsiteY28" fmla="*/ 532797 h 2457451"/>
              <a:gd name="connsiteX29" fmla="*/ 2397125 w 3851276"/>
              <a:gd name="connsiteY29" fmla="*/ 613672 h 2457451"/>
              <a:gd name="connsiteX30" fmla="*/ 2397125 w 3851276"/>
              <a:gd name="connsiteY30" fmla="*/ 2001484 h 2457451"/>
              <a:gd name="connsiteX31" fmla="*/ 2394079 w 3851276"/>
              <a:gd name="connsiteY31" fmla="*/ 2016729 h 2457451"/>
              <a:gd name="connsiteX32" fmla="*/ 2399520 w 3851276"/>
              <a:gd name="connsiteY32" fmla="*/ 2016729 h 2457451"/>
              <a:gd name="connsiteX33" fmla="*/ 2639583 w 3851276"/>
              <a:gd name="connsiteY33" fmla="*/ 2016729 h 2457451"/>
              <a:gd name="connsiteX34" fmla="*/ 2651731 w 3851276"/>
              <a:gd name="connsiteY34" fmla="*/ 2004566 h 2457451"/>
              <a:gd name="connsiteX35" fmla="*/ 3137623 w 3851276"/>
              <a:gd name="connsiteY35" fmla="*/ 1587970 h 2457451"/>
              <a:gd name="connsiteX36" fmla="*/ 3623514 w 3851276"/>
              <a:gd name="connsiteY36" fmla="*/ 2004566 h 2457451"/>
              <a:gd name="connsiteX37" fmla="*/ 3635662 w 3851276"/>
              <a:gd name="connsiteY37" fmla="*/ 2016729 h 2457451"/>
              <a:gd name="connsiteX38" fmla="*/ 3714619 w 3851276"/>
              <a:gd name="connsiteY38" fmla="*/ 2016729 h 2457451"/>
              <a:gd name="connsiteX39" fmla="*/ 3729803 w 3851276"/>
              <a:gd name="connsiteY39" fmla="*/ 2001525 h 2457451"/>
              <a:gd name="connsiteX40" fmla="*/ 3729803 w 3851276"/>
              <a:gd name="connsiteY40" fmla="*/ 1274763 h 2457451"/>
              <a:gd name="connsiteX41" fmla="*/ 3726766 w 3851276"/>
              <a:gd name="connsiteY41" fmla="*/ 1265641 h 2457451"/>
              <a:gd name="connsiteX42" fmla="*/ 3626551 w 3851276"/>
              <a:gd name="connsiteY42" fmla="*/ 1147048 h 2457451"/>
              <a:gd name="connsiteX43" fmla="*/ 2915934 w 3851276"/>
              <a:gd name="connsiteY43" fmla="*/ 1147048 h 2457451"/>
              <a:gd name="connsiteX44" fmla="*/ 2779277 w 3851276"/>
              <a:gd name="connsiteY44" fmla="*/ 1013250 h 2457451"/>
              <a:gd name="connsiteX45" fmla="*/ 2779277 w 3851276"/>
              <a:gd name="connsiteY45" fmla="*/ 532797 h 2457451"/>
              <a:gd name="connsiteX46" fmla="*/ 2402829 w 3851276"/>
              <a:gd name="connsiteY46" fmla="*/ 532797 h 2457451"/>
              <a:gd name="connsiteX47" fmla="*/ 2397125 w 3851276"/>
              <a:gd name="connsiteY47" fmla="*/ 532797 h 2457451"/>
              <a:gd name="connsiteX48" fmla="*/ 2900363 w 3851276"/>
              <a:gd name="connsiteY48" fmla="*/ 531813 h 2457451"/>
              <a:gd name="connsiteX49" fmla="*/ 2900363 w 3851276"/>
              <a:gd name="connsiteY49" fmla="*/ 1013336 h 2457451"/>
              <a:gd name="connsiteX50" fmla="*/ 2915545 w 3851276"/>
              <a:gd name="connsiteY50" fmla="*/ 1025526 h 2457451"/>
              <a:gd name="connsiteX51" fmla="*/ 3525838 w 3851276"/>
              <a:gd name="connsiteY51" fmla="*/ 1025526 h 2457451"/>
              <a:gd name="connsiteX52" fmla="*/ 3115940 w 3851276"/>
              <a:gd name="connsiteY52" fmla="*/ 537908 h 2457451"/>
              <a:gd name="connsiteX53" fmla="*/ 3106831 w 3851276"/>
              <a:gd name="connsiteY53" fmla="*/ 531813 h 2457451"/>
              <a:gd name="connsiteX54" fmla="*/ 2900363 w 3851276"/>
              <a:gd name="connsiteY54" fmla="*/ 531813 h 2457451"/>
              <a:gd name="connsiteX55" fmla="*/ 135842 w 3851276"/>
              <a:gd name="connsiteY55" fmla="*/ 122238 h 2457451"/>
              <a:gd name="connsiteX56" fmla="*/ 120650 w 3851276"/>
              <a:gd name="connsiteY56" fmla="*/ 137438 h 2457451"/>
              <a:gd name="connsiteX57" fmla="*/ 120650 w 3851276"/>
              <a:gd name="connsiteY57" fmla="*/ 2000926 h 2457451"/>
              <a:gd name="connsiteX58" fmla="*/ 135842 w 3851276"/>
              <a:gd name="connsiteY58" fmla="*/ 2016126 h 2457451"/>
              <a:gd name="connsiteX59" fmla="*/ 327263 w 3851276"/>
              <a:gd name="connsiteY59" fmla="*/ 2016126 h 2457451"/>
              <a:gd name="connsiteX60" fmla="*/ 339416 w 3851276"/>
              <a:gd name="connsiteY60" fmla="*/ 2003966 h 2457451"/>
              <a:gd name="connsiteX61" fmla="*/ 825563 w 3851276"/>
              <a:gd name="connsiteY61" fmla="*/ 1587493 h 2457451"/>
              <a:gd name="connsiteX62" fmla="*/ 1308671 w 3851276"/>
              <a:gd name="connsiteY62" fmla="*/ 2003966 h 2457451"/>
              <a:gd name="connsiteX63" fmla="*/ 1323864 w 3851276"/>
              <a:gd name="connsiteY63" fmla="*/ 2016126 h 2457451"/>
              <a:gd name="connsiteX64" fmla="*/ 2259696 w 3851276"/>
              <a:gd name="connsiteY64" fmla="*/ 2016126 h 2457451"/>
              <a:gd name="connsiteX65" fmla="*/ 2274888 w 3851276"/>
              <a:gd name="connsiteY65" fmla="*/ 2000926 h 2457451"/>
              <a:gd name="connsiteX66" fmla="*/ 2274888 w 3851276"/>
              <a:gd name="connsiteY66" fmla="*/ 137438 h 2457451"/>
              <a:gd name="connsiteX67" fmla="*/ 2259696 w 3851276"/>
              <a:gd name="connsiteY67" fmla="*/ 122238 h 2457451"/>
              <a:gd name="connsiteX68" fmla="*/ 135842 w 3851276"/>
              <a:gd name="connsiteY68" fmla="*/ 122238 h 2457451"/>
              <a:gd name="connsiteX69" fmla="*/ 136718 w 3851276"/>
              <a:gd name="connsiteY69" fmla="*/ 0 h 2457451"/>
              <a:gd name="connsiteX70" fmla="*/ 2260407 w 3851276"/>
              <a:gd name="connsiteY70" fmla="*/ 0 h 2457451"/>
              <a:gd name="connsiteX71" fmla="*/ 2397125 w 3851276"/>
              <a:gd name="connsiteY71" fmla="*/ 136880 h 2457451"/>
              <a:gd name="connsiteX72" fmla="*/ 2397125 w 3851276"/>
              <a:gd name="connsiteY72" fmla="*/ 306281 h 2457451"/>
              <a:gd name="connsiteX73" fmla="*/ 2397125 w 3851276"/>
              <a:gd name="connsiteY73" fmla="*/ 411163 h 2457451"/>
              <a:gd name="connsiteX74" fmla="*/ 2426638 w 3851276"/>
              <a:gd name="connsiteY74" fmla="*/ 411163 h 2457451"/>
              <a:gd name="connsiteX75" fmla="*/ 3107254 w 3851276"/>
              <a:gd name="connsiteY75" fmla="*/ 411163 h 2457451"/>
              <a:gd name="connsiteX76" fmla="*/ 3210506 w 3851276"/>
              <a:gd name="connsiteY76" fmla="*/ 459817 h 2457451"/>
              <a:gd name="connsiteX77" fmla="*/ 3684251 w 3851276"/>
              <a:gd name="connsiteY77" fmla="*/ 1025414 h 2457451"/>
              <a:gd name="connsiteX78" fmla="*/ 3687288 w 3851276"/>
              <a:gd name="connsiteY78" fmla="*/ 1025414 h 2457451"/>
              <a:gd name="connsiteX79" fmla="*/ 3687288 w 3851276"/>
              <a:gd name="connsiteY79" fmla="*/ 1031496 h 2457451"/>
              <a:gd name="connsiteX80" fmla="*/ 3817871 w 3851276"/>
              <a:gd name="connsiteY80" fmla="*/ 1186579 h 2457451"/>
              <a:gd name="connsiteX81" fmla="*/ 3851276 w 3851276"/>
              <a:gd name="connsiteY81" fmla="*/ 1274763 h 2457451"/>
              <a:gd name="connsiteX82" fmla="*/ 3851276 w 3851276"/>
              <a:gd name="connsiteY82" fmla="*/ 2001525 h 2457451"/>
              <a:gd name="connsiteX83" fmla="*/ 3714619 w 3851276"/>
              <a:gd name="connsiteY83" fmla="*/ 2138363 h 2457451"/>
              <a:gd name="connsiteX84" fmla="*/ 3635662 w 3851276"/>
              <a:gd name="connsiteY84" fmla="*/ 2138363 h 2457451"/>
              <a:gd name="connsiteX85" fmla="*/ 3502041 w 3851276"/>
              <a:gd name="connsiteY85" fmla="*/ 2022811 h 2457451"/>
              <a:gd name="connsiteX86" fmla="*/ 3137623 w 3851276"/>
              <a:gd name="connsiteY86" fmla="*/ 1709604 h 2457451"/>
              <a:gd name="connsiteX87" fmla="*/ 2773204 w 3851276"/>
              <a:gd name="connsiteY87" fmla="*/ 2022811 h 2457451"/>
              <a:gd name="connsiteX88" fmla="*/ 2639583 w 3851276"/>
              <a:gd name="connsiteY88" fmla="*/ 2138363 h 2457451"/>
              <a:gd name="connsiteX89" fmla="*/ 2281238 w 3851276"/>
              <a:gd name="connsiteY89" fmla="*/ 2138363 h 2457451"/>
              <a:gd name="connsiteX90" fmla="*/ 2281238 w 3851276"/>
              <a:gd name="connsiteY90" fmla="*/ 2134192 h 2457451"/>
              <a:gd name="connsiteX91" fmla="*/ 2260407 w 3851276"/>
              <a:gd name="connsiteY91" fmla="*/ 2138363 h 2457451"/>
              <a:gd name="connsiteX92" fmla="*/ 1324647 w 3851276"/>
              <a:gd name="connsiteY92" fmla="*/ 2138363 h 2457451"/>
              <a:gd name="connsiteX93" fmla="*/ 1190967 w 3851276"/>
              <a:gd name="connsiteY93" fmla="*/ 2022776 h 2457451"/>
              <a:gd name="connsiteX94" fmla="*/ 826386 w 3851276"/>
              <a:gd name="connsiteY94" fmla="*/ 1709474 h 2457451"/>
              <a:gd name="connsiteX95" fmla="*/ 461804 w 3851276"/>
              <a:gd name="connsiteY95" fmla="*/ 2022776 h 2457451"/>
              <a:gd name="connsiteX96" fmla="*/ 328124 w 3851276"/>
              <a:gd name="connsiteY96" fmla="*/ 2138363 h 2457451"/>
              <a:gd name="connsiteX97" fmla="*/ 136718 w 3851276"/>
              <a:gd name="connsiteY97" fmla="*/ 2138363 h 2457451"/>
              <a:gd name="connsiteX98" fmla="*/ 0 w 3851276"/>
              <a:gd name="connsiteY98" fmla="*/ 2001484 h 2457451"/>
              <a:gd name="connsiteX99" fmla="*/ 0 w 3851276"/>
              <a:gd name="connsiteY99" fmla="*/ 136880 h 2457451"/>
              <a:gd name="connsiteX100" fmla="*/ 136718 w 3851276"/>
              <a:gd name="connsiteY100" fmla="*/ 0 h 2457451"/>
              <a:gd name="connsiteX0" fmla="*/ 3137694 w 3851276"/>
              <a:gd name="connsiteY0" fmla="*/ 2132014 h 2457451"/>
              <a:gd name="connsiteX1" fmla="*/ 3113087 w 3851276"/>
              <a:gd name="connsiteY1" fmla="*/ 2107407 h 2457451"/>
              <a:gd name="connsiteX2" fmla="*/ 3137694 w 3851276"/>
              <a:gd name="connsiteY2" fmla="*/ 2132014 h 2457451"/>
              <a:gd name="connsiteX3" fmla="*/ 2992437 w 3851276"/>
              <a:gd name="connsiteY3" fmla="*/ 2108200 h 2457451"/>
              <a:gd name="connsiteX4" fmla="*/ 3282951 w 3851276"/>
              <a:gd name="connsiteY4" fmla="*/ 2108200 h 2457451"/>
              <a:gd name="connsiteX5" fmla="*/ 3137694 w 3851276"/>
              <a:gd name="connsiteY5" fmla="*/ 2254250 h 2457451"/>
              <a:gd name="connsiteX6" fmla="*/ 2992437 w 3851276"/>
              <a:gd name="connsiteY6" fmla="*/ 2108200 h 2457451"/>
              <a:gd name="connsiteX7" fmla="*/ 3137695 w 3851276"/>
              <a:gd name="connsiteY7" fmla="*/ 1879600 h 2457451"/>
              <a:gd name="connsiteX8" fmla="*/ 2909888 w 3851276"/>
              <a:gd name="connsiteY8" fmla="*/ 2107407 h 2457451"/>
              <a:gd name="connsiteX9" fmla="*/ 3137695 w 3851276"/>
              <a:gd name="connsiteY9" fmla="*/ 2335214 h 2457451"/>
              <a:gd name="connsiteX10" fmla="*/ 3365502 w 3851276"/>
              <a:gd name="connsiteY10" fmla="*/ 2107407 h 2457451"/>
              <a:gd name="connsiteX11" fmla="*/ 3137695 w 3851276"/>
              <a:gd name="connsiteY11" fmla="*/ 1879600 h 2457451"/>
              <a:gd name="connsiteX12" fmla="*/ 826295 w 3851276"/>
              <a:gd name="connsiteY12" fmla="*/ 1879600 h 2457451"/>
              <a:gd name="connsiteX13" fmla="*/ 598488 w 3851276"/>
              <a:gd name="connsiteY13" fmla="*/ 2107407 h 2457451"/>
              <a:gd name="connsiteX14" fmla="*/ 826295 w 3851276"/>
              <a:gd name="connsiteY14" fmla="*/ 2335214 h 2457451"/>
              <a:gd name="connsiteX15" fmla="*/ 1054102 w 3851276"/>
              <a:gd name="connsiteY15" fmla="*/ 2107407 h 2457451"/>
              <a:gd name="connsiteX16" fmla="*/ 826295 w 3851276"/>
              <a:gd name="connsiteY16" fmla="*/ 1879600 h 2457451"/>
              <a:gd name="connsiteX17" fmla="*/ 3136900 w 3851276"/>
              <a:gd name="connsiteY17" fmla="*/ 1757363 h 2457451"/>
              <a:gd name="connsiteX18" fmla="*/ 3486150 w 3851276"/>
              <a:gd name="connsiteY18" fmla="*/ 2107407 h 2457451"/>
              <a:gd name="connsiteX19" fmla="*/ 3136900 w 3851276"/>
              <a:gd name="connsiteY19" fmla="*/ 2457451 h 2457451"/>
              <a:gd name="connsiteX20" fmla="*/ 2787650 w 3851276"/>
              <a:gd name="connsiteY20" fmla="*/ 2107407 h 2457451"/>
              <a:gd name="connsiteX21" fmla="*/ 3136900 w 3851276"/>
              <a:gd name="connsiteY21" fmla="*/ 1757363 h 2457451"/>
              <a:gd name="connsiteX22" fmla="*/ 825500 w 3851276"/>
              <a:gd name="connsiteY22" fmla="*/ 1757363 h 2457451"/>
              <a:gd name="connsiteX23" fmla="*/ 1174750 w 3851276"/>
              <a:gd name="connsiteY23" fmla="*/ 2107407 h 2457451"/>
              <a:gd name="connsiteX24" fmla="*/ 825500 w 3851276"/>
              <a:gd name="connsiteY24" fmla="*/ 2457451 h 2457451"/>
              <a:gd name="connsiteX25" fmla="*/ 476250 w 3851276"/>
              <a:gd name="connsiteY25" fmla="*/ 2107407 h 2457451"/>
              <a:gd name="connsiteX26" fmla="*/ 825500 w 3851276"/>
              <a:gd name="connsiteY26" fmla="*/ 1757363 h 2457451"/>
              <a:gd name="connsiteX27" fmla="*/ 2397125 w 3851276"/>
              <a:gd name="connsiteY27" fmla="*/ 532797 h 2457451"/>
              <a:gd name="connsiteX28" fmla="*/ 2397125 w 3851276"/>
              <a:gd name="connsiteY28" fmla="*/ 613672 h 2457451"/>
              <a:gd name="connsiteX29" fmla="*/ 2397125 w 3851276"/>
              <a:gd name="connsiteY29" fmla="*/ 2001484 h 2457451"/>
              <a:gd name="connsiteX30" fmla="*/ 2394079 w 3851276"/>
              <a:gd name="connsiteY30" fmla="*/ 2016729 h 2457451"/>
              <a:gd name="connsiteX31" fmla="*/ 2399520 w 3851276"/>
              <a:gd name="connsiteY31" fmla="*/ 2016729 h 2457451"/>
              <a:gd name="connsiteX32" fmla="*/ 2639583 w 3851276"/>
              <a:gd name="connsiteY32" fmla="*/ 2016729 h 2457451"/>
              <a:gd name="connsiteX33" fmla="*/ 2651731 w 3851276"/>
              <a:gd name="connsiteY33" fmla="*/ 2004566 h 2457451"/>
              <a:gd name="connsiteX34" fmla="*/ 3137623 w 3851276"/>
              <a:gd name="connsiteY34" fmla="*/ 1587970 h 2457451"/>
              <a:gd name="connsiteX35" fmla="*/ 3623514 w 3851276"/>
              <a:gd name="connsiteY35" fmla="*/ 2004566 h 2457451"/>
              <a:gd name="connsiteX36" fmla="*/ 3635662 w 3851276"/>
              <a:gd name="connsiteY36" fmla="*/ 2016729 h 2457451"/>
              <a:gd name="connsiteX37" fmla="*/ 3714619 w 3851276"/>
              <a:gd name="connsiteY37" fmla="*/ 2016729 h 2457451"/>
              <a:gd name="connsiteX38" fmla="*/ 3729803 w 3851276"/>
              <a:gd name="connsiteY38" fmla="*/ 2001525 h 2457451"/>
              <a:gd name="connsiteX39" fmla="*/ 3729803 w 3851276"/>
              <a:gd name="connsiteY39" fmla="*/ 1274763 h 2457451"/>
              <a:gd name="connsiteX40" fmla="*/ 3726766 w 3851276"/>
              <a:gd name="connsiteY40" fmla="*/ 1265641 h 2457451"/>
              <a:gd name="connsiteX41" fmla="*/ 3626551 w 3851276"/>
              <a:gd name="connsiteY41" fmla="*/ 1147048 h 2457451"/>
              <a:gd name="connsiteX42" fmla="*/ 2915934 w 3851276"/>
              <a:gd name="connsiteY42" fmla="*/ 1147048 h 2457451"/>
              <a:gd name="connsiteX43" fmla="*/ 2779277 w 3851276"/>
              <a:gd name="connsiteY43" fmla="*/ 1013250 h 2457451"/>
              <a:gd name="connsiteX44" fmla="*/ 2779277 w 3851276"/>
              <a:gd name="connsiteY44" fmla="*/ 532797 h 2457451"/>
              <a:gd name="connsiteX45" fmla="*/ 2402829 w 3851276"/>
              <a:gd name="connsiteY45" fmla="*/ 532797 h 2457451"/>
              <a:gd name="connsiteX46" fmla="*/ 2397125 w 3851276"/>
              <a:gd name="connsiteY46" fmla="*/ 532797 h 2457451"/>
              <a:gd name="connsiteX47" fmla="*/ 2900363 w 3851276"/>
              <a:gd name="connsiteY47" fmla="*/ 531813 h 2457451"/>
              <a:gd name="connsiteX48" fmla="*/ 2900363 w 3851276"/>
              <a:gd name="connsiteY48" fmla="*/ 1013336 h 2457451"/>
              <a:gd name="connsiteX49" fmla="*/ 2915545 w 3851276"/>
              <a:gd name="connsiteY49" fmla="*/ 1025526 h 2457451"/>
              <a:gd name="connsiteX50" fmla="*/ 3525838 w 3851276"/>
              <a:gd name="connsiteY50" fmla="*/ 1025526 h 2457451"/>
              <a:gd name="connsiteX51" fmla="*/ 3115940 w 3851276"/>
              <a:gd name="connsiteY51" fmla="*/ 537908 h 2457451"/>
              <a:gd name="connsiteX52" fmla="*/ 3106831 w 3851276"/>
              <a:gd name="connsiteY52" fmla="*/ 531813 h 2457451"/>
              <a:gd name="connsiteX53" fmla="*/ 2900363 w 3851276"/>
              <a:gd name="connsiteY53" fmla="*/ 531813 h 2457451"/>
              <a:gd name="connsiteX54" fmla="*/ 135842 w 3851276"/>
              <a:gd name="connsiteY54" fmla="*/ 122238 h 2457451"/>
              <a:gd name="connsiteX55" fmla="*/ 120650 w 3851276"/>
              <a:gd name="connsiteY55" fmla="*/ 137438 h 2457451"/>
              <a:gd name="connsiteX56" fmla="*/ 120650 w 3851276"/>
              <a:gd name="connsiteY56" fmla="*/ 2000926 h 2457451"/>
              <a:gd name="connsiteX57" fmla="*/ 135842 w 3851276"/>
              <a:gd name="connsiteY57" fmla="*/ 2016126 h 2457451"/>
              <a:gd name="connsiteX58" fmla="*/ 327263 w 3851276"/>
              <a:gd name="connsiteY58" fmla="*/ 2016126 h 2457451"/>
              <a:gd name="connsiteX59" fmla="*/ 339416 w 3851276"/>
              <a:gd name="connsiteY59" fmla="*/ 2003966 h 2457451"/>
              <a:gd name="connsiteX60" fmla="*/ 825563 w 3851276"/>
              <a:gd name="connsiteY60" fmla="*/ 1587493 h 2457451"/>
              <a:gd name="connsiteX61" fmla="*/ 1308671 w 3851276"/>
              <a:gd name="connsiteY61" fmla="*/ 2003966 h 2457451"/>
              <a:gd name="connsiteX62" fmla="*/ 1323864 w 3851276"/>
              <a:gd name="connsiteY62" fmla="*/ 2016126 h 2457451"/>
              <a:gd name="connsiteX63" fmla="*/ 2259696 w 3851276"/>
              <a:gd name="connsiteY63" fmla="*/ 2016126 h 2457451"/>
              <a:gd name="connsiteX64" fmla="*/ 2274888 w 3851276"/>
              <a:gd name="connsiteY64" fmla="*/ 2000926 h 2457451"/>
              <a:gd name="connsiteX65" fmla="*/ 2274888 w 3851276"/>
              <a:gd name="connsiteY65" fmla="*/ 137438 h 2457451"/>
              <a:gd name="connsiteX66" fmla="*/ 2259696 w 3851276"/>
              <a:gd name="connsiteY66" fmla="*/ 122238 h 2457451"/>
              <a:gd name="connsiteX67" fmla="*/ 135842 w 3851276"/>
              <a:gd name="connsiteY67" fmla="*/ 122238 h 2457451"/>
              <a:gd name="connsiteX68" fmla="*/ 136718 w 3851276"/>
              <a:gd name="connsiteY68" fmla="*/ 0 h 2457451"/>
              <a:gd name="connsiteX69" fmla="*/ 2260407 w 3851276"/>
              <a:gd name="connsiteY69" fmla="*/ 0 h 2457451"/>
              <a:gd name="connsiteX70" fmla="*/ 2397125 w 3851276"/>
              <a:gd name="connsiteY70" fmla="*/ 136880 h 2457451"/>
              <a:gd name="connsiteX71" fmla="*/ 2397125 w 3851276"/>
              <a:gd name="connsiteY71" fmla="*/ 306281 h 2457451"/>
              <a:gd name="connsiteX72" fmla="*/ 2397125 w 3851276"/>
              <a:gd name="connsiteY72" fmla="*/ 411163 h 2457451"/>
              <a:gd name="connsiteX73" fmla="*/ 2426638 w 3851276"/>
              <a:gd name="connsiteY73" fmla="*/ 411163 h 2457451"/>
              <a:gd name="connsiteX74" fmla="*/ 3107254 w 3851276"/>
              <a:gd name="connsiteY74" fmla="*/ 411163 h 2457451"/>
              <a:gd name="connsiteX75" fmla="*/ 3210506 w 3851276"/>
              <a:gd name="connsiteY75" fmla="*/ 459817 h 2457451"/>
              <a:gd name="connsiteX76" fmla="*/ 3684251 w 3851276"/>
              <a:gd name="connsiteY76" fmla="*/ 1025414 h 2457451"/>
              <a:gd name="connsiteX77" fmla="*/ 3687288 w 3851276"/>
              <a:gd name="connsiteY77" fmla="*/ 1025414 h 2457451"/>
              <a:gd name="connsiteX78" fmla="*/ 3687288 w 3851276"/>
              <a:gd name="connsiteY78" fmla="*/ 1031496 h 2457451"/>
              <a:gd name="connsiteX79" fmla="*/ 3817871 w 3851276"/>
              <a:gd name="connsiteY79" fmla="*/ 1186579 h 2457451"/>
              <a:gd name="connsiteX80" fmla="*/ 3851276 w 3851276"/>
              <a:gd name="connsiteY80" fmla="*/ 1274763 h 2457451"/>
              <a:gd name="connsiteX81" fmla="*/ 3851276 w 3851276"/>
              <a:gd name="connsiteY81" fmla="*/ 2001525 h 2457451"/>
              <a:gd name="connsiteX82" fmla="*/ 3714619 w 3851276"/>
              <a:gd name="connsiteY82" fmla="*/ 2138363 h 2457451"/>
              <a:gd name="connsiteX83" fmla="*/ 3635662 w 3851276"/>
              <a:gd name="connsiteY83" fmla="*/ 2138363 h 2457451"/>
              <a:gd name="connsiteX84" fmla="*/ 3502041 w 3851276"/>
              <a:gd name="connsiteY84" fmla="*/ 2022811 h 2457451"/>
              <a:gd name="connsiteX85" fmla="*/ 3137623 w 3851276"/>
              <a:gd name="connsiteY85" fmla="*/ 1709604 h 2457451"/>
              <a:gd name="connsiteX86" fmla="*/ 2773204 w 3851276"/>
              <a:gd name="connsiteY86" fmla="*/ 2022811 h 2457451"/>
              <a:gd name="connsiteX87" fmla="*/ 2639583 w 3851276"/>
              <a:gd name="connsiteY87" fmla="*/ 2138363 h 2457451"/>
              <a:gd name="connsiteX88" fmla="*/ 2281238 w 3851276"/>
              <a:gd name="connsiteY88" fmla="*/ 2138363 h 2457451"/>
              <a:gd name="connsiteX89" fmla="*/ 2281238 w 3851276"/>
              <a:gd name="connsiteY89" fmla="*/ 2134192 h 2457451"/>
              <a:gd name="connsiteX90" fmla="*/ 2260407 w 3851276"/>
              <a:gd name="connsiteY90" fmla="*/ 2138363 h 2457451"/>
              <a:gd name="connsiteX91" fmla="*/ 1324647 w 3851276"/>
              <a:gd name="connsiteY91" fmla="*/ 2138363 h 2457451"/>
              <a:gd name="connsiteX92" fmla="*/ 1190967 w 3851276"/>
              <a:gd name="connsiteY92" fmla="*/ 2022776 h 2457451"/>
              <a:gd name="connsiteX93" fmla="*/ 826386 w 3851276"/>
              <a:gd name="connsiteY93" fmla="*/ 1709474 h 2457451"/>
              <a:gd name="connsiteX94" fmla="*/ 461804 w 3851276"/>
              <a:gd name="connsiteY94" fmla="*/ 2022776 h 2457451"/>
              <a:gd name="connsiteX95" fmla="*/ 328124 w 3851276"/>
              <a:gd name="connsiteY95" fmla="*/ 2138363 h 2457451"/>
              <a:gd name="connsiteX96" fmla="*/ 136718 w 3851276"/>
              <a:gd name="connsiteY96" fmla="*/ 2138363 h 2457451"/>
              <a:gd name="connsiteX97" fmla="*/ 0 w 3851276"/>
              <a:gd name="connsiteY97" fmla="*/ 2001484 h 2457451"/>
              <a:gd name="connsiteX98" fmla="*/ 0 w 3851276"/>
              <a:gd name="connsiteY98" fmla="*/ 136880 h 2457451"/>
              <a:gd name="connsiteX99" fmla="*/ 136718 w 3851276"/>
              <a:gd name="connsiteY99" fmla="*/ 0 h 2457451"/>
              <a:gd name="connsiteX0" fmla="*/ 2992437 w 3851276"/>
              <a:gd name="connsiteY0" fmla="*/ 2108200 h 2457451"/>
              <a:gd name="connsiteX1" fmla="*/ 3282951 w 3851276"/>
              <a:gd name="connsiteY1" fmla="*/ 2108200 h 2457451"/>
              <a:gd name="connsiteX2" fmla="*/ 3137694 w 3851276"/>
              <a:gd name="connsiteY2" fmla="*/ 2254250 h 2457451"/>
              <a:gd name="connsiteX3" fmla="*/ 2992437 w 3851276"/>
              <a:gd name="connsiteY3" fmla="*/ 2108200 h 2457451"/>
              <a:gd name="connsiteX4" fmla="*/ 3137695 w 3851276"/>
              <a:gd name="connsiteY4" fmla="*/ 1879600 h 2457451"/>
              <a:gd name="connsiteX5" fmla="*/ 2909888 w 3851276"/>
              <a:gd name="connsiteY5" fmla="*/ 2107407 h 2457451"/>
              <a:gd name="connsiteX6" fmla="*/ 3137695 w 3851276"/>
              <a:gd name="connsiteY6" fmla="*/ 2335214 h 2457451"/>
              <a:gd name="connsiteX7" fmla="*/ 3365502 w 3851276"/>
              <a:gd name="connsiteY7" fmla="*/ 2107407 h 2457451"/>
              <a:gd name="connsiteX8" fmla="*/ 3137695 w 3851276"/>
              <a:gd name="connsiteY8" fmla="*/ 1879600 h 2457451"/>
              <a:gd name="connsiteX9" fmla="*/ 826295 w 3851276"/>
              <a:gd name="connsiteY9" fmla="*/ 1879600 h 2457451"/>
              <a:gd name="connsiteX10" fmla="*/ 598488 w 3851276"/>
              <a:gd name="connsiteY10" fmla="*/ 2107407 h 2457451"/>
              <a:gd name="connsiteX11" fmla="*/ 826295 w 3851276"/>
              <a:gd name="connsiteY11" fmla="*/ 2335214 h 2457451"/>
              <a:gd name="connsiteX12" fmla="*/ 1054102 w 3851276"/>
              <a:gd name="connsiteY12" fmla="*/ 2107407 h 2457451"/>
              <a:gd name="connsiteX13" fmla="*/ 826295 w 3851276"/>
              <a:gd name="connsiteY13" fmla="*/ 1879600 h 2457451"/>
              <a:gd name="connsiteX14" fmla="*/ 3136900 w 3851276"/>
              <a:gd name="connsiteY14" fmla="*/ 1757363 h 2457451"/>
              <a:gd name="connsiteX15" fmla="*/ 3486150 w 3851276"/>
              <a:gd name="connsiteY15" fmla="*/ 2107407 h 2457451"/>
              <a:gd name="connsiteX16" fmla="*/ 3136900 w 3851276"/>
              <a:gd name="connsiteY16" fmla="*/ 2457451 h 2457451"/>
              <a:gd name="connsiteX17" fmla="*/ 2787650 w 3851276"/>
              <a:gd name="connsiteY17" fmla="*/ 2107407 h 2457451"/>
              <a:gd name="connsiteX18" fmla="*/ 3136900 w 3851276"/>
              <a:gd name="connsiteY18" fmla="*/ 1757363 h 2457451"/>
              <a:gd name="connsiteX19" fmla="*/ 825500 w 3851276"/>
              <a:gd name="connsiteY19" fmla="*/ 1757363 h 2457451"/>
              <a:gd name="connsiteX20" fmla="*/ 1174750 w 3851276"/>
              <a:gd name="connsiteY20" fmla="*/ 2107407 h 2457451"/>
              <a:gd name="connsiteX21" fmla="*/ 825500 w 3851276"/>
              <a:gd name="connsiteY21" fmla="*/ 2457451 h 2457451"/>
              <a:gd name="connsiteX22" fmla="*/ 476250 w 3851276"/>
              <a:gd name="connsiteY22" fmla="*/ 2107407 h 2457451"/>
              <a:gd name="connsiteX23" fmla="*/ 825500 w 3851276"/>
              <a:gd name="connsiteY23" fmla="*/ 1757363 h 2457451"/>
              <a:gd name="connsiteX24" fmla="*/ 2397125 w 3851276"/>
              <a:gd name="connsiteY24" fmla="*/ 532797 h 2457451"/>
              <a:gd name="connsiteX25" fmla="*/ 2397125 w 3851276"/>
              <a:gd name="connsiteY25" fmla="*/ 613672 h 2457451"/>
              <a:gd name="connsiteX26" fmla="*/ 2397125 w 3851276"/>
              <a:gd name="connsiteY26" fmla="*/ 2001484 h 2457451"/>
              <a:gd name="connsiteX27" fmla="*/ 2394079 w 3851276"/>
              <a:gd name="connsiteY27" fmla="*/ 2016729 h 2457451"/>
              <a:gd name="connsiteX28" fmla="*/ 2399520 w 3851276"/>
              <a:gd name="connsiteY28" fmla="*/ 2016729 h 2457451"/>
              <a:gd name="connsiteX29" fmla="*/ 2639583 w 3851276"/>
              <a:gd name="connsiteY29" fmla="*/ 2016729 h 2457451"/>
              <a:gd name="connsiteX30" fmla="*/ 2651731 w 3851276"/>
              <a:gd name="connsiteY30" fmla="*/ 2004566 h 2457451"/>
              <a:gd name="connsiteX31" fmla="*/ 3137623 w 3851276"/>
              <a:gd name="connsiteY31" fmla="*/ 1587970 h 2457451"/>
              <a:gd name="connsiteX32" fmla="*/ 3623514 w 3851276"/>
              <a:gd name="connsiteY32" fmla="*/ 2004566 h 2457451"/>
              <a:gd name="connsiteX33" fmla="*/ 3635662 w 3851276"/>
              <a:gd name="connsiteY33" fmla="*/ 2016729 h 2457451"/>
              <a:gd name="connsiteX34" fmla="*/ 3714619 w 3851276"/>
              <a:gd name="connsiteY34" fmla="*/ 2016729 h 2457451"/>
              <a:gd name="connsiteX35" fmla="*/ 3729803 w 3851276"/>
              <a:gd name="connsiteY35" fmla="*/ 2001525 h 2457451"/>
              <a:gd name="connsiteX36" fmla="*/ 3729803 w 3851276"/>
              <a:gd name="connsiteY36" fmla="*/ 1274763 h 2457451"/>
              <a:gd name="connsiteX37" fmla="*/ 3726766 w 3851276"/>
              <a:gd name="connsiteY37" fmla="*/ 1265641 h 2457451"/>
              <a:gd name="connsiteX38" fmla="*/ 3626551 w 3851276"/>
              <a:gd name="connsiteY38" fmla="*/ 1147048 h 2457451"/>
              <a:gd name="connsiteX39" fmla="*/ 2915934 w 3851276"/>
              <a:gd name="connsiteY39" fmla="*/ 1147048 h 2457451"/>
              <a:gd name="connsiteX40" fmla="*/ 2779277 w 3851276"/>
              <a:gd name="connsiteY40" fmla="*/ 1013250 h 2457451"/>
              <a:gd name="connsiteX41" fmla="*/ 2779277 w 3851276"/>
              <a:gd name="connsiteY41" fmla="*/ 532797 h 2457451"/>
              <a:gd name="connsiteX42" fmla="*/ 2402829 w 3851276"/>
              <a:gd name="connsiteY42" fmla="*/ 532797 h 2457451"/>
              <a:gd name="connsiteX43" fmla="*/ 2397125 w 3851276"/>
              <a:gd name="connsiteY43" fmla="*/ 532797 h 2457451"/>
              <a:gd name="connsiteX44" fmla="*/ 2900363 w 3851276"/>
              <a:gd name="connsiteY44" fmla="*/ 531813 h 2457451"/>
              <a:gd name="connsiteX45" fmla="*/ 2900363 w 3851276"/>
              <a:gd name="connsiteY45" fmla="*/ 1013336 h 2457451"/>
              <a:gd name="connsiteX46" fmla="*/ 2915545 w 3851276"/>
              <a:gd name="connsiteY46" fmla="*/ 1025526 h 2457451"/>
              <a:gd name="connsiteX47" fmla="*/ 3525838 w 3851276"/>
              <a:gd name="connsiteY47" fmla="*/ 1025526 h 2457451"/>
              <a:gd name="connsiteX48" fmla="*/ 3115940 w 3851276"/>
              <a:gd name="connsiteY48" fmla="*/ 537908 h 2457451"/>
              <a:gd name="connsiteX49" fmla="*/ 3106831 w 3851276"/>
              <a:gd name="connsiteY49" fmla="*/ 531813 h 2457451"/>
              <a:gd name="connsiteX50" fmla="*/ 2900363 w 3851276"/>
              <a:gd name="connsiteY50" fmla="*/ 531813 h 2457451"/>
              <a:gd name="connsiteX51" fmla="*/ 135842 w 3851276"/>
              <a:gd name="connsiteY51" fmla="*/ 122238 h 2457451"/>
              <a:gd name="connsiteX52" fmla="*/ 120650 w 3851276"/>
              <a:gd name="connsiteY52" fmla="*/ 137438 h 2457451"/>
              <a:gd name="connsiteX53" fmla="*/ 120650 w 3851276"/>
              <a:gd name="connsiteY53" fmla="*/ 2000926 h 2457451"/>
              <a:gd name="connsiteX54" fmla="*/ 135842 w 3851276"/>
              <a:gd name="connsiteY54" fmla="*/ 2016126 h 2457451"/>
              <a:gd name="connsiteX55" fmla="*/ 327263 w 3851276"/>
              <a:gd name="connsiteY55" fmla="*/ 2016126 h 2457451"/>
              <a:gd name="connsiteX56" fmla="*/ 339416 w 3851276"/>
              <a:gd name="connsiteY56" fmla="*/ 2003966 h 2457451"/>
              <a:gd name="connsiteX57" fmla="*/ 825563 w 3851276"/>
              <a:gd name="connsiteY57" fmla="*/ 1587493 h 2457451"/>
              <a:gd name="connsiteX58" fmla="*/ 1308671 w 3851276"/>
              <a:gd name="connsiteY58" fmla="*/ 2003966 h 2457451"/>
              <a:gd name="connsiteX59" fmla="*/ 1323864 w 3851276"/>
              <a:gd name="connsiteY59" fmla="*/ 2016126 h 2457451"/>
              <a:gd name="connsiteX60" fmla="*/ 2259696 w 3851276"/>
              <a:gd name="connsiteY60" fmla="*/ 2016126 h 2457451"/>
              <a:gd name="connsiteX61" fmla="*/ 2274888 w 3851276"/>
              <a:gd name="connsiteY61" fmla="*/ 2000926 h 2457451"/>
              <a:gd name="connsiteX62" fmla="*/ 2274888 w 3851276"/>
              <a:gd name="connsiteY62" fmla="*/ 137438 h 2457451"/>
              <a:gd name="connsiteX63" fmla="*/ 2259696 w 3851276"/>
              <a:gd name="connsiteY63" fmla="*/ 122238 h 2457451"/>
              <a:gd name="connsiteX64" fmla="*/ 135842 w 3851276"/>
              <a:gd name="connsiteY64" fmla="*/ 122238 h 2457451"/>
              <a:gd name="connsiteX65" fmla="*/ 136718 w 3851276"/>
              <a:gd name="connsiteY65" fmla="*/ 0 h 2457451"/>
              <a:gd name="connsiteX66" fmla="*/ 2260407 w 3851276"/>
              <a:gd name="connsiteY66" fmla="*/ 0 h 2457451"/>
              <a:gd name="connsiteX67" fmla="*/ 2397125 w 3851276"/>
              <a:gd name="connsiteY67" fmla="*/ 136880 h 2457451"/>
              <a:gd name="connsiteX68" fmla="*/ 2397125 w 3851276"/>
              <a:gd name="connsiteY68" fmla="*/ 306281 h 2457451"/>
              <a:gd name="connsiteX69" fmla="*/ 2397125 w 3851276"/>
              <a:gd name="connsiteY69" fmla="*/ 411163 h 2457451"/>
              <a:gd name="connsiteX70" fmla="*/ 2426638 w 3851276"/>
              <a:gd name="connsiteY70" fmla="*/ 411163 h 2457451"/>
              <a:gd name="connsiteX71" fmla="*/ 3107254 w 3851276"/>
              <a:gd name="connsiteY71" fmla="*/ 411163 h 2457451"/>
              <a:gd name="connsiteX72" fmla="*/ 3210506 w 3851276"/>
              <a:gd name="connsiteY72" fmla="*/ 459817 h 2457451"/>
              <a:gd name="connsiteX73" fmla="*/ 3684251 w 3851276"/>
              <a:gd name="connsiteY73" fmla="*/ 1025414 h 2457451"/>
              <a:gd name="connsiteX74" fmla="*/ 3687288 w 3851276"/>
              <a:gd name="connsiteY74" fmla="*/ 1025414 h 2457451"/>
              <a:gd name="connsiteX75" fmla="*/ 3687288 w 3851276"/>
              <a:gd name="connsiteY75" fmla="*/ 1031496 h 2457451"/>
              <a:gd name="connsiteX76" fmla="*/ 3817871 w 3851276"/>
              <a:gd name="connsiteY76" fmla="*/ 1186579 h 2457451"/>
              <a:gd name="connsiteX77" fmla="*/ 3851276 w 3851276"/>
              <a:gd name="connsiteY77" fmla="*/ 1274763 h 2457451"/>
              <a:gd name="connsiteX78" fmla="*/ 3851276 w 3851276"/>
              <a:gd name="connsiteY78" fmla="*/ 2001525 h 2457451"/>
              <a:gd name="connsiteX79" fmla="*/ 3714619 w 3851276"/>
              <a:gd name="connsiteY79" fmla="*/ 2138363 h 2457451"/>
              <a:gd name="connsiteX80" fmla="*/ 3635662 w 3851276"/>
              <a:gd name="connsiteY80" fmla="*/ 2138363 h 2457451"/>
              <a:gd name="connsiteX81" fmla="*/ 3502041 w 3851276"/>
              <a:gd name="connsiteY81" fmla="*/ 2022811 h 2457451"/>
              <a:gd name="connsiteX82" fmla="*/ 3137623 w 3851276"/>
              <a:gd name="connsiteY82" fmla="*/ 1709604 h 2457451"/>
              <a:gd name="connsiteX83" fmla="*/ 2773204 w 3851276"/>
              <a:gd name="connsiteY83" fmla="*/ 2022811 h 2457451"/>
              <a:gd name="connsiteX84" fmla="*/ 2639583 w 3851276"/>
              <a:gd name="connsiteY84" fmla="*/ 2138363 h 2457451"/>
              <a:gd name="connsiteX85" fmla="*/ 2281238 w 3851276"/>
              <a:gd name="connsiteY85" fmla="*/ 2138363 h 2457451"/>
              <a:gd name="connsiteX86" fmla="*/ 2281238 w 3851276"/>
              <a:gd name="connsiteY86" fmla="*/ 2134192 h 2457451"/>
              <a:gd name="connsiteX87" fmla="*/ 2260407 w 3851276"/>
              <a:gd name="connsiteY87" fmla="*/ 2138363 h 2457451"/>
              <a:gd name="connsiteX88" fmla="*/ 1324647 w 3851276"/>
              <a:gd name="connsiteY88" fmla="*/ 2138363 h 2457451"/>
              <a:gd name="connsiteX89" fmla="*/ 1190967 w 3851276"/>
              <a:gd name="connsiteY89" fmla="*/ 2022776 h 2457451"/>
              <a:gd name="connsiteX90" fmla="*/ 826386 w 3851276"/>
              <a:gd name="connsiteY90" fmla="*/ 1709474 h 2457451"/>
              <a:gd name="connsiteX91" fmla="*/ 461804 w 3851276"/>
              <a:gd name="connsiteY91" fmla="*/ 2022776 h 2457451"/>
              <a:gd name="connsiteX92" fmla="*/ 328124 w 3851276"/>
              <a:gd name="connsiteY92" fmla="*/ 2138363 h 2457451"/>
              <a:gd name="connsiteX93" fmla="*/ 136718 w 3851276"/>
              <a:gd name="connsiteY93" fmla="*/ 2138363 h 2457451"/>
              <a:gd name="connsiteX94" fmla="*/ 0 w 3851276"/>
              <a:gd name="connsiteY94" fmla="*/ 2001484 h 2457451"/>
              <a:gd name="connsiteX95" fmla="*/ 0 w 3851276"/>
              <a:gd name="connsiteY95" fmla="*/ 136880 h 2457451"/>
              <a:gd name="connsiteX96" fmla="*/ 136718 w 3851276"/>
              <a:gd name="connsiteY96" fmla="*/ 0 h 2457451"/>
              <a:gd name="connsiteX0" fmla="*/ 3137694 w 3851276"/>
              <a:gd name="connsiteY0" fmla="*/ 2254250 h 2457451"/>
              <a:gd name="connsiteX1" fmla="*/ 3282951 w 3851276"/>
              <a:gd name="connsiteY1" fmla="*/ 2108200 h 2457451"/>
              <a:gd name="connsiteX2" fmla="*/ 3137694 w 3851276"/>
              <a:gd name="connsiteY2" fmla="*/ 2254250 h 2457451"/>
              <a:gd name="connsiteX3" fmla="*/ 3137695 w 3851276"/>
              <a:gd name="connsiteY3" fmla="*/ 1879600 h 2457451"/>
              <a:gd name="connsiteX4" fmla="*/ 2909888 w 3851276"/>
              <a:gd name="connsiteY4" fmla="*/ 2107407 h 2457451"/>
              <a:gd name="connsiteX5" fmla="*/ 3137695 w 3851276"/>
              <a:gd name="connsiteY5" fmla="*/ 2335214 h 2457451"/>
              <a:gd name="connsiteX6" fmla="*/ 3365502 w 3851276"/>
              <a:gd name="connsiteY6" fmla="*/ 2107407 h 2457451"/>
              <a:gd name="connsiteX7" fmla="*/ 3137695 w 3851276"/>
              <a:gd name="connsiteY7" fmla="*/ 1879600 h 2457451"/>
              <a:gd name="connsiteX8" fmla="*/ 826295 w 3851276"/>
              <a:gd name="connsiteY8" fmla="*/ 1879600 h 2457451"/>
              <a:gd name="connsiteX9" fmla="*/ 598488 w 3851276"/>
              <a:gd name="connsiteY9" fmla="*/ 2107407 h 2457451"/>
              <a:gd name="connsiteX10" fmla="*/ 826295 w 3851276"/>
              <a:gd name="connsiteY10" fmla="*/ 2335214 h 2457451"/>
              <a:gd name="connsiteX11" fmla="*/ 1054102 w 3851276"/>
              <a:gd name="connsiteY11" fmla="*/ 2107407 h 2457451"/>
              <a:gd name="connsiteX12" fmla="*/ 826295 w 3851276"/>
              <a:gd name="connsiteY12" fmla="*/ 1879600 h 2457451"/>
              <a:gd name="connsiteX13" fmla="*/ 3136900 w 3851276"/>
              <a:gd name="connsiteY13" fmla="*/ 1757363 h 2457451"/>
              <a:gd name="connsiteX14" fmla="*/ 3486150 w 3851276"/>
              <a:gd name="connsiteY14" fmla="*/ 2107407 h 2457451"/>
              <a:gd name="connsiteX15" fmla="*/ 3136900 w 3851276"/>
              <a:gd name="connsiteY15" fmla="*/ 2457451 h 2457451"/>
              <a:gd name="connsiteX16" fmla="*/ 2787650 w 3851276"/>
              <a:gd name="connsiteY16" fmla="*/ 2107407 h 2457451"/>
              <a:gd name="connsiteX17" fmla="*/ 3136900 w 3851276"/>
              <a:gd name="connsiteY17" fmla="*/ 1757363 h 2457451"/>
              <a:gd name="connsiteX18" fmla="*/ 825500 w 3851276"/>
              <a:gd name="connsiteY18" fmla="*/ 1757363 h 2457451"/>
              <a:gd name="connsiteX19" fmla="*/ 1174750 w 3851276"/>
              <a:gd name="connsiteY19" fmla="*/ 2107407 h 2457451"/>
              <a:gd name="connsiteX20" fmla="*/ 825500 w 3851276"/>
              <a:gd name="connsiteY20" fmla="*/ 2457451 h 2457451"/>
              <a:gd name="connsiteX21" fmla="*/ 476250 w 3851276"/>
              <a:gd name="connsiteY21" fmla="*/ 2107407 h 2457451"/>
              <a:gd name="connsiteX22" fmla="*/ 825500 w 3851276"/>
              <a:gd name="connsiteY22" fmla="*/ 1757363 h 2457451"/>
              <a:gd name="connsiteX23" fmla="*/ 2397125 w 3851276"/>
              <a:gd name="connsiteY23" fmla="*/ 532797 h 2457451"/>
              <a:gd name="connsiteX24" fmla="*/ 2397125 w 3851276"/>
              <a:gd name="connsiteY24" fmla="*/ 613672 h 2457451"/>
              <a:gd name="connsiteX25" fmla="*/ 2397125 w 3851276"/>
              <a:gd name="connsiteY25" fmla="*/ 2001484 h 2457451"/>
              <a:gd name="connsiteX26" fmla="*/ 2394079 w 3851276"/>
              <a:gd name="connsiteY26" fmla="*/ 2016729 h 2457451"/>
              <a:gd name="connsiteX27" fmla="*/ 2399520 w 3851276"/>
              <a:gd name="connsiteY27" fmla="*/ 2016729 h 2457451"/>
              <a:gd name="connsiteX28" fmla="*/ 2639583 w 3851276"/>
              <a:gd name="connsiteY28" fmla="*/ 2016729 h 2457451"/>
              <a:gd name="connsiteX29" fmla="*/ 2651731 w 3851276"/>
              <a:gd name="connsiteY29" fmla="*/ 2004566 h 2457451"/>
              <a:gd name="connsiteX30" fmla="*/ 3137623 w 3851276"/>
              <a:gd name="connsiteY30" fmla="*/ 1587970 h 2457451"/>
              <a:gd name="connsiteX31" fmla="*/ 3623514 w 3851276"/>
              <a:gd name="connsiteY31" fmla="*/ 2004566 h 2457451"/>
              <a:gd name="connsiteX32" fmla="*/ 3635662 w 3851276"/>
              <a:gd name="connsiteY32" fmla="*/ 2016729 h 2457451"/>
              <a:gd name="connsiteX33" fmla="*/ 3714619 w 3851276"/>
              <a:gd name="connsiteY33" fmla="*/ 2016729 h 2457451"/>
              <a:gd name="connsiteX34" fmla="*/ 3729803 w 3851276"/>
              <a:gd name="connsiteY34" fmla="*/ 2001525 h 2457451"/>
              <a:gd name="connsiteX35" fmla="*/ 3729803 w 3851276"/>
              <a:gd name="connsiteY35" fmla="*/ 1274763 h 2457451"/>
              <a:gd name="connsiteX36" fmla="*/ 3726766 w 3851276"/>
              <a:gd name="connsiteY36" fmla="*/ 1265641 h 2457451"/>
              <a:gd name="connsiteX37" fmla="*/ 3626551 w 3851276"/>
              <a:gd name="connsiteY37" fmla="*/ 1147048 h 2457451"/>
              <a:gd name="connsiteX38" fmla="*/ 2915934 w 3851276"/>
              <a:gd name="connsiteY38" fmla="*/ 1147048 h 2457451"/>
              <a:gd name="connsiteX39" fmla="*/ 2779277 w 3851276"/>
              <a:gd name="connsiteY39" fmla="*/ 1013250 h 2457451"/>
              <a:gd name="connsiteX40" fmla="*/ 2779277 w 3851276"/>
              <a:gd name="connsiteY40" fmla="*/ 532797 h 2457451"/>
              <a:gd name="connsiteX41" fmla="*/ 2402829 w 3851276"/>
              <a:gd name="connsiteY41" fmla="*/ 532797 h 2457451"/>
              <a:gd name="connsiteX42" fmla="*/ 2397125 w 3851276"/>
              <a:gd name="connsiteY42" fmla="*/ 532797 h 2457451"/>
              <a:gd name="connsiteX43" fmla="*/ 2900363 w 3851276"/>
              <a:gd name="connsiteY43" fmla="*/ 531813 h 2457451"/>
              <a:gd name="connsiteX44" fmla="*/ 2900363 w 3851276"/>
              <a:gd name="connsiteY44" fmla="*/ 1013336 h 2457451"/>
              <a:gd name="connsiteX45" fmla="*/ 2915545 w 3851276"/>
              <a:gd name="connsiteY45" fmla="*/ 1025526 h 2457451"/>
              <a:gd name="connsiteX46" fmla="*/ 3525838 w 3851276"/>
              <a:gd name="connsiteY46" fmla="*/ 1025526 h 2457451"/>
              <a:gd name="connsiteX47" fmla="*/ 3115940 w 3851276"/>
              <a:gd name="connsiteY47" fmla="*/ 537908 h 2457451"/>
              <a:gd name="connsiteX48" fmla="*/ 3106831 w 3851276"/>
              <a:gd name="connsiteY48" fmla="*/ 531813 h 2457451"/>
              <a:gd name="connsiteX49" fmla="*/ 2900363 w 3851276"/>
              <a:gd name="connsiteY49" fmla="*/ 531813 h 2457451"/>
              <a:gd name="connsiteX50" fmla="*/ 135842 w 3851276"/>
              <a:gd name="connsiteY50" fmla="*/ 122238 h 2457451"/>
              <a:gd name="connsiteX51" fmla="*/ 120650 w 3851276"/>
              <a:gd name="connsiteY51" fmla="*/ 137438 h 2457451"/>
              <a:gd name="connsiteX52" fmla="*/ 120650 w 3851276"/>
              <a:gd name="connsiteY52" fmla="*/ 2000926 h 2457451"/>
              <a:gd name="connsiteX53" fmla="*/ 135842 w 3851276"/>
              <a:gd name="connsiteY53" fmla="*/ 2016126 h 2457451"/>
              <a:gd name="connsiteX54" fmla="*/ 327263 w 3851276"/>
              <a:gd name="connsiteY54" fmla="*/ 2016126 h 2457451"/>
              <a:gd name="connsiteX55" fmla="*/ 339416 w 3851276"/>
              <a:gd name="connsiteY55" fmla="*/ 2003966 h 2457451"/>
              <a:gd name="connsiteX56" fmla="*/ 825563 w 3851276"/>
              <a:gd name="connsiteY56" fmla="*/ 1587493 h 2457451"/>
              <a:gd name="connsiteX57" fmla="*/ 1308671 w 3851276"/>
              <a:gd name="connsiteY57" fmla="*/ 2003966 h 2457451"/>
              <a:gd name="connsiteX58" fmla="*/ 1323864 w 3851276"/>
              <a:gd name="connsiteY58" fmla="*/ 2016126 h 2457451"/>
              <a:gd name="connsiteX59" fmla="*/ 2259696 w 3851276"/>
              <a:gd name="connsiteY59" fmla="*/ 2016126 h 2457451"/>
              <a:gd name="connsiteX60" fmla="*/ 2274888 w 3851276"/>
              <a:gd name="connsiteY60" fmla="*/ 2000926 h 2457451"/>
              <a:gd name="connsiteX61" fmla="*/ 2274888 w 3851276"/>
              <a:gd name="connsiteY61" fmla="*/ 137438 h 2457451"/>
              <a:gd name="connsiteX62" fmla="*/ 2259696 w 3851276"/>
              <a:gd name="connsiteY62" fmla="*/ 122238 h 2457451"/>
              <a:gd name="connsiteX63" fmla="*/ 135842 w 3851276"/>
              <a:gd name="connsiteY63" fmla="*/ 122238 h 2457451"/>
              <a:gd name="connsiteX64" fmla="*/ 136718 w 3851276"/>
              <a:gd name="connsiteY64" fmla="*/ 0 h 2457451"/>
              <a:gd name="connsiteX65" fmla="*/ 2260407 w 3851276"/>
              <a:gd name="connsiteY65" fmla="*/ 0 h 2457451"/>
              <a:gd name="connsiteX66" fmla="*/ 2397125 w 3851276"/>
              <a:gd name="connsiteY66" fmla="*/ 136880 h 2457451"/>
              <a:gd name="connsiteX67" fmla="*/ 2397125 w 3851276"/>
              <a:gd name="connsiteY67" fmla="*/ 306281 h 2457451"/>
              <a:gd name="connsiteX68" fmla="*/ 2397125 w 3851276"/>
              <a:gd name="connsiteY68" fmla="*/ 411163 h 2457451"/>
              <a:gd name="connsiteX69" fmla="*/ 2426638 w 3851276"/>
              <a:gd name="connsiteY69" fmla="*/ 411163 h 2457451"/>
              <a:gd name="connsiteX70" fmla="*/ 3107254 w 3851276"/>
              <a:gd name="connsiteY70" fmla="*/ 411163 h 2457451"/>
              <a:gd name="connsiteX71" fmla="*/ 3210506 w 3851276"/>
              <a:gd name="connsiteY71" fmla="*/ 459817 h 2457451"/>
              <a:gd name="connsiteX72" fmla="*/ 3684251 w 3851276"/>
              <a:gd name="connsiteY72" fmla="*/ 1025414 h 2457451"/>
              <a:gd name="connsiteX73" fmla="*/ 3687288 w 3851276"/>
              <a:gd name="connsiteY73" fmla="*/ 1025414 h 2457451"/>
              <a:gd name="connsiteX74" fmla="*/ 3687288 w 3851276"/>
              <a:gd name="connsiteY74" fmla="*/ 1031496 h 2457451"/>
              <a:gd name="connsiteX75" fmla="*/ 3817871 w 3851276"/>
              <a:gd name="connsiteY75" fmla="*/ 1186579 h 2457451"/>
              <a:gd name="connsiteX76" fmla="*/ 3851276 w 3851276"/>
              <a:gd name="connsiteY76" fmla="*/ 1274763 h 2457451"/>
              <a:gd name="connsiteX77" fmla="*/ 3851276 w 3851276"/>
              <a:gd name="connsiteY77" fmla="*/ 2001525 h 2457451"/>
              <a:gd name="connsiteX78" fmla="*/ 3714619 w 3851276"/>
              <a:gd name="connsiteY78" fmla="*/ 2138363 h 2457451"/>
              <a:gd name="connsiteX79" fmla="*/ 3635662 w 3851276"/>
              <a:gd name="connsiteY79" fmla="*/ 2138363 h 2457451"/>
              <a:gd name="connsiteX80" fmla="*/ 3502041 w 3851276"/>
              <a:gd name="connsiteY80" fmla="*/ 2022811 h 2457451"/>
              <a:gd name="connsiteX81" fmla="*/ 3137623 w 3851276"/>
              <a:gd name="connsiteY81" fmla="*/ 1709604 h 2457451"/>
              <a:gd name="connsiteX82" fmla="*/ 2773204 w 3851276"/>
              <a:gd name="connsiteY82" fmla="*/ 2022811 h 2457451"/>
              <a:gd name="connsiteX83" fmla="*/ 2639583 w 3851276"/>
              <a:gd name="connsiteY83" fmla="*/ 2138363 h 2457451"/>
              <a:gd name="connsiteX84" fmla="*/ 2281238 w 3851276"/>
              <a:gd name="connsiteY84" fmla="*/ 2138363 h 2457451"/>
              <a:gd name="connsiteX85" fmla="*/ 2281238 w 3851276"/>
              <a:gd name="connsiteY85" fmla="*/ 2134192 h 2457451"/>
              <a:gd name="connsiteX86" fmla="*/ 2260407 w 3851276"/>
              <a:gd name="connsiteY86" fmla="*/ 2138363 h 2457451"/>
              <a:gd name="connsiteX87" fmla="*/ 1324647 w 3851276"/>
              <a:gd name="connsiteY87" fmla="*/ 2138363 h 2457451"/>
              <a:gd name="connsiteX88" fmla="*/ 1190967 w 3851276"/>
              <a:gd name="connsiteY88" fmla="*/ 2022776 h 2457451"/>
              <a:gd name="connsiteX89" fmla="*/ 826386 w 3851276"/>
              <a:gd name="connsiteY89" fmla="*/ 1709474 h 2457451"/>
              <a:gd name="connsiteX90" fmla="*/ 461804 w 3851276"/>
              <a:gd name="connsiteY90" fmla="*/ 2022776 h 2457451"/>
              <a:gd name="connsiteX91" fmla="*/ 328124 w 3851276"/>
              <a:gd name="connsiteY91" fmla="*/ 2138363 h 2457451"/>
              <a:gd name="connsiteX92" fmla="*/ 136718 w 3851276"/>
              <a:gd name="connsiteY92" fmla="*/ 2138363 h 2457451"/>
              <a:gd name="connsiteX93" fmla="*/ 0 w 3851276"/>
              <a:gd name="connsiteY93" fmla="*/ 2001484 h 2457451"/>
              <a:gd name="connsiteX94" fmla="*/ 0 w 3851276"/>
              <a:gd name="connsiteY94" fmla="*/ 136880 h 2457451"/>
              <a:gd name="connsiteX95" fmla="*/ 136718 w 3851276"/>
              <a:gd name="connsiteY95" fmla="*/ 0 h 2457451"/>
              <a:gd name="connsiteX0" fmla="*/ 3137695 w 3851276"/>
              <a:gd name="connsiteY0" fmla="*/ 1879600 h 2457451"/>
              <a:gd name="connsiteX1" fmla="*/ 2909888 w 3851276"/>
              <a:gd name="connsiteY1" fmla="*/ 2107407 h 2457451"/>
              <a:gd name="connsiteX2" fmla="*/ 3137695 w 3851276"/>
              <a:gd name="connsiteY2" fmla="*/ 2335214 h 2457451"/>
              <a:gd name="connsiteX3" fmla="*/ 3365502 w 3851276"/>
              <a:gd name="connsiteY3" fmla="*/ 2107407 h 2457451"/>
              <a:gd name="connsiteX4" fmla="*/ 3137695 w 3851276"/>
              <a:gd name="connsiteY4" fmla="*/ 1879600 h 2457451"/>
              <a:gd name="connsiteX5" fmla="*/ 826295 w 3851276"/>
              <a:gd name="connsiteY5" fmla="*/ 1879600 h 2457451"/>
              <a:gd name="connsiteX6" fmla="*/ 598488 w 3851276"/>
              <a:gd name="connsiteY6" fmla="*/ 2107407 h 2457451"/>
              <a:gd name="connsiteX7" fmla="*/ 826295 w 3851276"/>
              <a:gd name="connsiteY7" fmla="*/ 2335214 h 2457451"/>
              <a:gd name="connsiteX8" fmla="*/ 1054102 w 3851276"/>
              <a:gd name="connsiteY8" fmla="*/ 2107407 h 2457451"/>
              <a:gd name="connsiteX9" fmla="*/ 826295 w 3851276"/>
              <a:gd name="connsiteY9" fmla="*/ 1879600 h 2457451"/>
              <a:gd name="connsiteX10" fmla="*/ 3136900 w 3851276"/>
              <a:gd name="connsiteY10" fmla="*/ 1757363 h 2457451"/>
              <a:gd name="connsiteX11" fmla="*/ 3486150 w 3851276"/>
              <a:gd name="connsiteY11" fmla="*/ 2107407 h 2457451"/>
              <a:gd name="connsiteX12" fmla="*/ 3136900 w 3851276"/>
              <a:gd name="connsiteY12" fmla="*/ 2457451 h 2457451"/>
              <a:gd name="connsiteX13" fmla="*/ 2787650 w 3851276"/>
              <a:gd name="connsiteY13" fmla="*/ 2107407 h 2457451"/>
              <a:gd name="connsiteX14" fmla="*/ 3136900 w 3851276"/>
              <a:gd name="connsiteY14" fmla="*/ 1757363 h 2457451"/>
              <a:gd name="connsiteX15" fmla="*/ 825500 w 3851276"/>
              <a:gd name="connsiteY15" fmla="*/ 1757363 h 2457451"/>
              <a:gd name="connsiteX16" fmla="*/ 1174750 w 3851276"/>
              <a:gd name="connsiteY16" fmla="*/ 2107407 h 2457451"/>
              <a:gd name="connsiteX17" fmla="*/ 825500 w 3851276"/>
              <a:gd name="connsiteY17" fmla="*/ 2457451 h 2457451"/>
              <a:gd name="connsiteX18" fmla="*/ 476250 w 3851276"/>
              <a:gd name="connsiteY18" fmla="*/ 2107407 h 2457451"/>
              <a:gd name="connsiteX19" fmla="*/ 825500 w 3851276"/>
              <a:gd name="connsiteY19" fmla="*/ 1757363 h 2457451"/>
              <a:gd name="connsiteX20" fmla="*/ 2397125 w 3851276"/>
              <a:gd name="connsiteY20" fmla="*/ 532797 h 2457451"/>
              <a:gd name="connsiteX21" fmla="*/ 2397125 w 3851276"/>
              <a:gd name="connsiteY21" fmla="*/ 613672 h 2457451"/>
              <a:gd name="connsiteX22" fmla="*/ 2397125 w 3851276"/>
              <a:gd name="connsiteY22" fmla="*/ 2001484 h 2457451"/>
              <a:gd name="connsiteX23" fmla="*/ 2394079 w 3851276"/>
              <a:gd name="connsiteY23" fmla="*/ 2016729 h 2457451"/>
              <a:gd name="connsiteX24" fmla="*/ 2399520 w 3851276"/>
              <a:gd name="connsiteY24" fmla="*/ 2016729 h 2457451"/>
              <a:gd name="connsiteX25" fmla="*/ 2639583 w 3851276"/>
              <a:gd name="connsiteY25" fmla="*/ 2016729 h 2457451"/>
              <a:gd name="connsiteX26" fmla="*/ 2651731 w 3851276"/>
              <a:gd name="connsiteY26" fmla="*/ 2004566 h 2457451"/>
              <a:gd name="connsiteX27" fmla="*/ 3137623 w 3851276"/>
              <a:gd name="connsiteY27" fmla="*/ 1587970 h 2457451"/>
              <a:gd name="connsiteX28" fmla="*/ 3623514 w 3851276"/>
              <a:gd name="connsiteY28" fmla="*/ 2004566 h 2457451"/>
              <a:gd name="connsiteX29" fmla="*/ 3635662 w 3851276"/>
              <a:gd name="connsiteY29" fmla="*/ 2016729 h 2457451"/>
              <a:gd name="connsiteX30" fmla="*/ 3714619 w 3851276"/>
              <a:gd name="connsiteY30" fmla="*/ 2016729 h 2457451"/>
              <a:gd name="connsiteX31" fmla="*/ 3729803 w 3851276"/>
              <a:gd name="connsiteY31" fmla="*/ 2001525 h 2457451"/>
              <a:gd name="connsiteX32" fmla="*/ 3729803 w 3851276"/>
              <a:gd name="connsiteY32" fmla="*/ 1274763 h 2457451"/>
              <a:gd name="connsiteX33" fmla="*/ 3726766 w 3851276"/>
              <a:gd name="connsiteY33" fmla="*/ 1265641 h 2457451"/>
              <a:gd name="connsiteX34" fmla="*/ 3626551 w 3851276"/>
              <a:gd name="connsiteY34" fmla="*/ 1147048 h 2457451"/>
              <a:gd name="connsiteX35" fmla="*/ 2915934 w 3851276"/>
              <a:gd name="connsiteY35" fmla="*/ 1147048 h 2457451"/>
              <a:gd name="connsiteX36" fmla="*/ 2779277 w 3851276"/>
              <a:gd name="connsiteY36" fmla="*/ 1013250 h 2457451"/>
              <a:gd name="connsiteX37" fmla="*/ 2779277 w 3851276"/>
              <a:gd name="connsiteY37" fmla="*/ 532797 h 2457451"/>
              <a:gd name="connsiteX38" fmla="*/ 2402829 w 3851276"/>
              <a:gd name="connsiteY38" fmla="*/ 532797 h 2457451"/>
              <a:gd name="connsiteX39" fmla="*/ 2397125 w 3851276"/>
              <a:gd name="connsiteY39" fmla="*/ 532797 h 2457451"/>
              <a:gd name="connsiteX40" fmla="*/ 2900363 w 3851276"/>
              <a:gd name="connsiteY40" fmla="*/ 531813 h 2457451"/>
              <a:gd name="connsiteX41" fmla="*/ 2900363 w 3851276"/>
              <a:gd name="connsiteY41" fmla="*/ 1013336 h 2457451"/>
              <a:gd name="connsiteX42" fmla="*/ 2915545 w 3851276"/>
              <a:gd name="connsiteY42" fmla="*/ 1025526 h 2457451"/>
              <a:gd name="connsiteX43" fmla="*/ 3525838 w 3851276"/>
              <a:gd name="connsiteY43" fmla="*/ 1025526 h 2457451"/>
              <a:gd name="connsiteX44" fmla="*/ 3115940 w 3851276"/>
              <a:gd name="connsiteY44" fmla="*/ 537908 h 2457451"/>
              <a:gd name="connsiteX45" fmla="*/ 3106831 w 3851276"/>
              <a:gd name="connsiteY45" fmla="*/ 531813 h 2457451"/>
              <a:gd name="connsiteX46" fmla="*/ 2900363 w 3851276"/>
              <a:gd name="connsiteY46" fmla="*/ 531813 h 2457451"/>
              <a:gd name="connsiteX47" fmla="*/ 135842 w 3851276"/>
              <a:gd name="connsiteY47" fmla="*/ 122238 h 2457451"/>
              <a:gd name="connsiteX48" fmla="*/ 120650 w 3851276"/>
              <a:gd name="connsiteY48" fmla="*/ 137438 h 2457451"/>
              <a:gd name="connsiteX49" fmla="*/ 120650 w 3851276"/>
              <a:gd name="connsiteY49" fmla="*/ 2000926 h 2457451"/>
              <a:gd name="connsiteX50" fmla="*/ 135842 w 3851276"/>
              <a:gd name="connsiteY50" fmla="*/ 2016126 h 2457451"/>
              <a:gd name="connsiteX51" fmla="*/ 327263 w 3851276"/>
              <a:gd name="connsiteY51" fmla="*/ 2016126 h 2457451"/>
              <a:gd name="connsiteX52" fmla="*/ 339416 w 3851276"/>
              <a:gd name="connsiteY52" fmla="*/ 2003966 h 2457451"/>
              <a:gd name="connsiteX53" fmla="*/ 825563 w 3851276"/>
              <a:gd name="connsiteY53" fmla="*/ 1587493 h 2457451"/>
              <a:gd name="connsiteX54" fmla="*/ 1308671 w 3851276"/>
              <a:gd name="connsiteY54" fmla="*/ 2003966 h 2457451"/>
              <a:gd name="connsiteX55" fmla="*/ 1323864 w 3851276"/>
              <a:gd name="connsiteY55" fmla="*/ 2016126 h 2457451"/>
              <a:gd name="connsiteX56" fmla="*/ 2259696 w 3851276"/>
              <a:gd name="connsiteY56" fmla="*/ 2016126 h 2457451"/>
              <a:gd name="connsiteX57" fmla="*/ 2274888 w 3851276"/>
              <a:gd name="connsiteY57" fmla="*/ 2000926 h 2457451"/>
              <a:gd name="connsiteX58" fmla="*/ 2274888 w 3851276"/>
              <a:gd name="connsiteY58" fmla="*/ 137438 h 2457451"/>
              <a:gd name="connsiteX59" fmla="*/ 2259696 w 3851276"/>
              <a:gd name="connsiteY59" fmla="*/ 122238 h 2457451"/>
              <a:gd name="connsiteX60" fmla="*/ 135842 w 3851276"/>
              <a:gd name="connsiteY60" fmla="*/ 122238 h 2457451"/>
              <a:gd name="connsiteX61" fmla="*/ 136718 w 3851276"/>
              <a:gd name="connsiteY61" fmla="*/ 0 h 2457451"/>
              <a:gd name="connsiteX62" fmla="*/ 2260407 w 3851276"/>
              <a:gd name="connsiteY62" fmla="*/ 0 h 2457451"/>
              <a:gd name="connsiteX63" fmla="*/ 2397125 w 3851276"/>
              <a:gd name="connsiteY63" fmla="*/ 136880 h 2457451"/>
              <a:gd name="connsiteX64" fmla="*/ 2397125 w 3851276"/>
              <a:gd name="connsiteY64" fmla="*/ 306281 h 2457451"/>
              <a:gd name="connsiteX65" fmla="*/ 2397125 w 3851276"/>
              <a:gd name="connsiteY65" fmla="*/ 411163 h 2457451"/>
              <a:gd name="connsiteX66" fmla="*/ 2426638 w 3851276"/>
              <a:gd name="connsiteY66" fmla="*/ 411163 h 2457451"/>
              <a:gd name="connsiteX67" fmla="*/ 3107254 w 3851276"/>
              <a:gd name="connsiteY67" fmla="*/ 411163 h 2457451"/>
              <a:gd name="connsiteX68" fmla="*/ 3210506 w 3851276"/>
              <a:gd name="connsiteY68" fmla="*/ 459817 h 2457451"/>
              <a:gd name="connsiteX69" fmla="*/ 3684251 w 3851276"/>
              <a:gd name="connsiteY69" fmla="*/ 1025414 h 2457451"/>
              <a:gd name="connsiteX70" fmla="*/ 3687288 w 3851276"/>
              <a:gd name="connsiteY70" fmla="*/ 1025414 h 2457451"/>
              <a:gd name="connsiteX71" fmla="*/ 3687288 w 3851276"/>
              <a:gd name="connsiteY71" fmla="*/ 1031496 h 2457451"/>
              <a:gd name="connsiteX72" fmla="*/ 3817871 w 3851276"/>
              <a:gd name="connsiteY72" fmla="*/ 1186579 h 2457451"/>
              <a:gd name="connsiteX73" fmla="*/ 3851276 w 3851276"/>
              <a:gd name="connsiteY73" fmla="*/ 1274763 h 2457451"/>
              <a:gd name="connsiteX74" fmla="*/ 3851276 w 3851276"/>
              <a:gd name="connsiteY74" fmla="*/ 2001525 h 2457451"/>
              <a:gd name="connsiteX75" fmla="*/ 3714619 w 3851276"/>
              <a:gd name="connsiteY75" fmla="*/ 2138363 h 2457451"/>
              <a:gd name="connsiteX76" fmla="*/ 3635662 w 3851276"/>
              <a:gd name="connsiteY76" fmla="*/ 2138363 h 2457451"/>
              <a:gd name="connsiteX77" fmla="*/ 3502041 w 3851276"/>
              <a:gd name="connsiteY77" fmla="*/ 2022811 h 2457451"/>
              <a:gd name="connsiteX78" fmla="*/ 3137623 w 3851276"/>
              <a:gd name="connsiteY78" fmla="*/ 1709604 h 2457451"/>
              <a:gd name="connsiteX79" fmla="*/ 2773204 w 3851276"/>
              <a:gd name="connsiteY79" fmla="*/ 2022811 h 2457451"/>
              <a:gd name="connsiteX80" fmla="*/ 2639583 w 3851276"/>
              <a:gd name="connsiteY80" fmla="*/ 2138363 h 2457451"/>
              <a:gd name="connsiteX81" fmla="*/ 2281238 w 3851276"/>
              <a:gd name="connsiteY81" fmla="*/ 2138363 h 2457451"/>
              <a:gd name="connsiteX82" fmla="*/ 2281238 w 3851276"/>
              <a:gd name="connsiteY82" fmla="*/ 2134192 h 2457451"/>
              <a:gd name="connsiteX83" fmla="*/ 2260407 w 3851276"/>
              <a:gd name="connsiteY83" fmla="*/ 2138363 h 2457451"/>
              <a:gd name="connsiteX84" fmla="*/ 1324647 w 3851276"/>
              <a:gd name="connsiteY84" fmla="*/ 2138363 h 2457451"/>
              <a:gd name="connsiteX85" fmla="*/ 1190967 w 3851276"/>
              <a:gd name="connsiteY85" fmla="*/ 2022776 h 2457451"/>
              <a:gd name="connsiteX86" fmla="*/ 826386 w 3851276"/>
              <a:gd name="connsiteY86" fmla="*/ 1709474 h 2457451"/>
              <a:gd name="connsiteX87" fmla="*/ 461804 w 3851276"/>
              <a:gd name="connsiteY87" fmla="*/ 2022776 h 2457451"/>
              <a:gd name="connsiteX88" fmla="*/ 328124 w 3851276"/>
              <a:gd name="connsiteY88" fmla="*/ 2138363 h 2457451"/>
              <a:gd name="connsiteX89" fmla="*/ 136718 w 3851276"/>
              <a:gd name="connsiteY89" fmla="*/ 2138363 h 2457451"/>
              <a:gd name="connsiteX90" fmla="*/ 0 w 3851276"/>
              <a:gd name="connsiteY90" fmla="*/ 2001484 h 2457451"/>
              <a:gd name="connsiteX91" fmla="*/ 0 w 3851276"/>
              <a:gd name="connsiteY91" fmla="*/ 136880 h 2457451"/>
              <a:gd name="connsiteX92" fmla="*/ 136718 w 3851276"/>
              <a:gd name="connsiteY92" fmla="*/ 0 h 245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3851276" h="2457451">
                <a:moveTo>
                  <a:pt x="3137695" y="1879600"/>
                </a:moveTo>
                <a:cubicBezTo>
                  <a:pt x="3011881" y="1879600"/>
                  <a:pt x="2909888" y="1981593"/>
                  <a:pt x="2909888" y="2107407"/>
                </a:cubicBezTo>
                <a:cubicBezTo>
                  <a:pt x="2909888" y="2233221"/>
                  <a:pt x="3011881" y="2335214"/>
                  <a:pt x="3137695" y="2335214"/>
                </a:cubicBezTo>
                <a:cubicBezTo>
                  <a:pt x="3263509" y="2335214"/>
                  <a:pt x="3365502" y="2233221"/>
                  <a:pt x="3365502" y="2107407"/>
                </a:cubicBezTo>
                <a:cubicBezTo>
                  <a:pt x="3365502" y="1981593"/>
                  <a:pt x="3263509" y="1879600"/>
                  <a:pt x="3137695" y="1879600"/>
                </a:cubicBezTo>
                <a:close/>
                <a:moveTo>
                  <a:pt x="826295" y="1879600"/>
                </a:moveTo>
                <a:cubicBezTo>
                  <a:pt x="700481" y="1879600"/>
                  <a:pt x="598488" y="1981593"/>
                  <a:pt x="598488" y="2107407"/>
                </a:cubicBezTo>
                <a:cubicBezTo>
                  <a:pt x="598488" y="2233221"/>
                  <a:pt x="700481" y="2335214"/>
                  <a:pt x="826295" y="2335214"/>
                </a:cubicBezTo>
                <a:cubicBezTo>
                  <a:pt x="952109" y="2335214"/>
                  <a:pt x="1054102" y="2233221"/>
                  <a:pt x="1054102" y="2107407"/>
                </a:cubicBezTo>
                <a:cubicBezTo>
                  <a:pt x="1054102" y="1981593"/>
                  <a:pt x="952109" y="1879600"/>
                  <a:pt x="826295" y="1879600"/>
                </a:cubicBezTo>
                <a:close/>
                <a:moveTo>
                  <a:pt x="3136900" y="1757363"/>
                </a:moveTo>
                <a:cubicBezTo>
                  <a:pt x="3329785" y="1757363"/>
                  <a:pt x="3486150" y="1914083"/>
                  <a:pt x="3486150" y="2107407"/>
                </a:cubicBezTo>
                <a:cubicBezTo>
                  <a:pt x="3486150" y="2300731"/>
                  <a:pt x="3329785" y="2457451"/>
                  <a:pt x="3136900" y="2457451"/>
                </a:cubicBezTo>
                <a:cubicBezTo>
                  <a:pt x="2944015" y="2457451"/>
                  <a:pt x="2787650" y="2300731"/>
                  <a:pt x="2787650" y="2107407"/>
                </a:cubicBezTo>
                <a:cubicBezTo>
                  <a:pt x="2787650" y="1914083"/>
                  <a:pt x="2944015" y="1757363"/>
                  <a:pt x="3136900" y="1757363"/>
                </a:cubicBezTo>
                <a:close/>
                <a:moveTo>
                  <a:pt x="825500" y="1757363"/>
                </a:moveTo>
                <a:cubicBezTo>
                  <a:pt x="1018385" y="1757363"/>
                  <a:pt x="1174750" y="1914083"/>
                  <a:pt x="1174750" y="2107407"/>
                </a:cubicBezTo>
                <a:cubicBezTo>
                  <a:pt x="1174750" y="2300731"/>
                  <a:pt x="1018385" y="2457451"/>
                  <a:pt x="825500" y="2457451"/>
                </a:cubicBezTo>
                <a:cubicBezTo>
                  <a:pt x="632615" y="2457451"/>
                  <a:pt x="476250" y="2300731"/>
                  <a:pt x="476250" y="2107407"/>
                </a:cubicBezTo>
                <a:cubicBezTo>
                  <a:pt x="476250" y="1914083"/>
                  <a:pt x="632615" y="1757363"/>
                  <a:pt x="825500" y="1757363"/>
                </a:cubicBezTo>
                <a:close/>
                <a:moveTo>
                  <a:pt x="2397125" y="532797"/>
                </a:moveTo>
                <a:lnTo>
                  <a:pt x="2397125" y="613672"/>
                </a:lnTo>
                <a:lnTo>
                  <a:pt x="2397125" y="2001484"/>
                </a:lnTo>
                <a:lnTo>
                  <a:pt x="2394079" y="2016729"/>
                </a:lnTo>
                <a:lnTo>
                  <a:pt x="2399520" y="2016729"/>
                </a:lnTo>
                <a:lnTo>
                  <a:pt x="2639583" y="2016729"/>
                </a:lnTo>
                <a:cubicBezTo>
                  <a:pt x="2645657" y="2016729"/>
                  <a:pt x="2651731" y="2010648"/>
                  <a:pt x="2651731" y="2004566"/>
                </a:cubicBezTo>
                <a:cubicBezTo>
                  <a:pt x="2685136" y="1761298"/>
                  <a:pt x="2885566" y="1587970"/>
                  <a:pt x="3137623" y="1587970"/>
                </a:cubicBezTo>
                <a:cubicBezTo>
                  <a:pt x="3389679" y="1587970"/>
                  <a:pt x="3590109" y="1761298"/>
                  <a:pt x="3623514" y="2004566"/>
                </a:cubicBezTo>
                <a:cubicBezTo>
                  <a:pt x="3623514" y="2010648"/>
                  <a:pt x="3629588" y="2016729"/>
                  <a:pt x="3635662" y="2016729"/>
                </a:cubicBezTo>
                <a:lnTo>
                  <a:pt x="3714619" y="2016729"/>
                </a:lnTo>
                <a:cubicBezTo>
                  <a:pt x="3723730" y="2016729"/>
                  <a:pt x="3729803" y="2010648"/>
                  <a:pt x="3729803" y="2001525"/>
                </a:cubicBezTo>
                <a:lnTo>
                  <a:pt x="3729803" y="1274763"/>
                </a:lnTo>
                <a:cubicBezTo>
                  <a:pt x="3729803" y="1271722"/>
                  <a:pt x="3726766" y="1268681"/>
                  <a:pt x="3726766" y="1265641"/>
                </a:cubicBezTo>
                <a:lnTo>
                  <a:pt x="3626551" y="1147048"/>
                </a:lnTo>
                <a:lnTo>
                  <a:pt x="2915934" y="1147048"/>
                </a:lnTo>
                <a:cubicBezTo>
                  <a:pt x="2840014" y="1147048"/>
                  <a:pt x="2779277" y="1086231"/>
                  <a:pt x="2779277" y="1013250"/>
                </a:cubicBezTo>
                <a:lnTo>
                  <a:pt x="2779277" y="532797"/>
                </a:lnTo>
                <a:lnTo>
                  <a:pt x="2402829" y="532797"/>
                </a:lnTo>
                <a:lnTo>
                  <a:pt x="2397125" y="532797"/>
                </a:lnTo>
                <a:close/>
                <a:moveTo>
                  <a:pt x="2900363" y="531813"/>
                </a:moveTo>
                <a:lnTo>
                  <a:pt x="2900363" y="1013336"/>
                </a:lnTo>
                <a:cubicBezTo>
                  <a:pt x="2900363" y="1019431"/>
                  <a:pt x="2906436" y="1025526"/>
                  <a:pt x="2915545" y="1025526"/>
                </a:cubicBezTo>
                <a:lnTo>
                  <a:pt x="3525838" y="1025526"/>
                </a:lnTo>
                <a:lnTo>
                  <a:pt x="3115940" y="537908"/>
                </a:lnTo>
                <a:cubicBezTo>
                  <a:pt x="3115940" y="534861"/>
                  <a:pt x="3109867" y="531813"/>
                  <a:pt x="3106831" y="531813"/>
                </a:cubicBezTo>
                <a:lnTo>
                  <a:pt x="2900363" y="531813"/>
                </a:lnTo>
                <a:close/>
                <a:moveTo>
                  <a:pt x="135842" y="122238"/>
                </a:moveTo>
                <a:cubicBezTo>
                  <a:pt x="126727" y="122238"/>
                  <a:pt x="120650" y="128318"/>
                  <a:pt x="120650" y="137438"/>
                </a:cubicBezTo>
                <a:lnTo>
                  <a:pt x="120650" y="2000926"/>
                </a:lnTo>
                <a:cubicBezTo>
                  <a:pt x="120650" y="2010046"/>
                  <a:pt x="126727" y="2016126"/>
                  <a:pt x="135842" y="2016126"/>
                </a:cubicBezTo>
                <a:lnTo>
                  <a:pt x="327263" y="2016126"/>
                </a:lnTo>
                <a:cubicBezTo>
                  <a:pt x="333339" y="2016126"/>
                  <a:pt x="339416" y="2010046"/>
                  <a:pt x="339416" y="2003966"/>
                </a:cubicBezTo>
                <a:cubicBezTo>
                  <a:pt x="372839" y="1760771"/>
                  <a:pt x="570336" y="1587493"/>
                  <a:pt x="825563" y="1587493"/>
                </a:cubicBezTo>
                <a:cubicBezTo>
                  <a:pt x="1077752" y="1587493"/>
                  <a:pt x="1278287" y="1760771"/>
                  <a:pt x="1308671" y="2003966"/>
                </a:cubicBezTo>
                <a:cubicBezTo>
                  <a:pt x="1311710" y="2010046"/>
                  <a:pt x="1317787" y="2016126"/>
                  <a:pt x="1323864" y="2016126"/>
                </a:cubicBezTo>
                <a:lnTo>
                  <a:pt x="2259696" y="2016126"/>
                </a:lnTo>
                <a:cubicBezTo>
                  <a:pt x="2268811" y="2016126"/>
                  <a:pt x="2274888" y="2010046"/>
                  <a:pt x="2274888" y="2000926"/>
                </a:cubicBezTo>
                <a:lnTo>
                  <a:pt x="2274888" y="137438"/>
                </a:lnTo>
                <a:cubicBezTo>
                  <a:pt x="2274888" y="128318"/>
                  <a:pt x="2268811" y="122238"/>
                  <a:pt x="2259696" y="122238"/>
                </a:cubicBezTo>
                <a:lnTo>
                  <a:pt x="135842" y="122238"/>
                </a:lnTo>
                <a:close/>
                <a:moveTo>
                  <a:pt x="136718" y="0"/>
                </a:moveTo>
                <a:lnTo>
                  <a:pt x="2260407" y="0"/>
                </a:lnTo>
                <a:cubicBezTo>
                  <a:pt x="2336362" y="0"/>
                  <a:pt x="2397125" y="60835"/>
                  <a:pt x="2397125" y="136880"/>
                </a:cubicBezTo>
                <a:lnTo>
                  <a:pt x="2397125" y="306281"/>
                </a:lnTo>
                <a:lnTo>
                  <a:pt x="2397125" y="411163"/>
                </a:lnTo>
                <a:lnTo>
                  <a:pt x="2426638" y="411163"/>
                </a:lnTo>
                <a:lnTo>
                  <a:pt x="3107254" y="411163"/>
                </a:lnTo>
                <a:cubicBezTo>
                  <a:pt x="3146733" y="411163"/>
                  <a:pt x="3186212" y="429408"/>
                  <a:pt x="3210506" y="459817"/>
                </a:cubicBezTo>
                <a:lnTo>
                  <a:pt x="3684251" y="1025414"/>
                </a:lnTo>
                <a:lnTo>
                  <a:pt x="3687288" y="1025414"/>
                </a:lnTo>
                <a:lnTo>
                  <a:pt x="3687288" y="1031496"/>
                </a:lnTo>
                <a:lnTo>
                  <a:pt x="3817871" y="1186579"/>
                </a:lnTo>
                <a:cubicBezTo>
                  <a:pt x="3839129" y="1210905"/>
                  <a:pt x="3851276" y="1241314"/>
                  <a:pt x="3851276" y="1274763"/>
                </a:cubicBezTo>
                <a:lnTo>
                  <a:pt x="3851276" y="2001525"/>
                </a:lnTo>
                <a:cubicBezTo>
                  <a:pt x="3851276" y="2077546"/>
                  <a:pt x="3790540" y="2138363"/>
                  <a:pt x="3714619" y="2138363"/>
                </a:cubicBezTo>
                <a:lnTo>
                  <a:pt x="3635662" y="2138363"/>
                </a:lnTo>
                <a:cubicBezTo>
                  <a:pt x="3568852" y="2138363"/>
                  <a:pt x="3511152" y="2086669"/>
                  <a:pt x="3502041" y="2022811"/>
                </a:cubicBezTo>
                <a:cubicBezTo>
                  <a:pt x="3477747" y="1834279"/>
                  <a:pt x="3331979" y="1709604"/>
                  <a:pt x="3137623" y="1709604"/>
                </a:cubicBezTo>
                <a:cubicBezTo>
                  <a:pt x="2943266" y="1709604"/>
                  <a:pt x="2797498" y="1834279"/>
                  <a:pt x="2773204" y="2022811"/>
                </a:cubicBezTo>
                <a:cubicBezTo>
                  <a:pt x="2764093" y="2086669"/>
                  <a:pt x="2706394" y="2138363"/>
                  <a:pt x="2639583" y="2138363"/>
                </a:cubicBezTo>
                <a:lnTo>
                  <a:pt x="2281238" y="2138363"/>
                </a:lnTo>
                <a:lnTo>
                  <a:pt x="2281238" y="2134192"/>
                </a:lnTo>
                <a:lnTo>
                  <a:pt x="2260407" y="2138363"/>
                </a:lnTo>
                <a:lnTo>
                  <a:pt x="1324647" y="2138363"/>
                </a:lnTo>
                <a:cubicBezTo>
                  <a:pt x="1257807" y="2138363"/>
                  <a:pt x="1200082" y="2086653"/>
                  <a:pt x="1190967" y="2022776"/>
                </a:cubicBezTo>
                <a:cubicBezTo>
                  <a:pt x="1166662" y="1834186"/>
                  <a:pt x="1020829" y="1709474"/>
                  <a:pt x="826386" y="1709474"/>
                </a:cubicBezTo>
                <a:cubicBezTo>
                  <a:pt x="631942" y="1709474"/>
                  <a:pt x="486109" y="1834186"/>
                  <a:pt x="461804" y="2022776"/>
                </a:cubicBezTo>
                <a:cubicBezTo>
                  <a:pt x="452689" y="2086653"/>
                  <a:pt x="394964" y="2138363"/>
                  <a:pt x="328124" y="2138363"/>
                </a:cubicBezTo>
                <a:lnTo>
                  <a:pt x="136718" y="2138363"/>
                </a:lnTo>
                <a:cubicBezTo>
                  <a:pt x="60764" y="2138363"/>
                  <a:pt x="0" y="2077528"/>
                  <a:pt x="0" y="2001484"/>
                </a:cubicBezTo>
                <a:lnTo>
                  <a:pt x="0" y="136880"/>
                </a:lnTo>
                <a:cubicBezTo>
                  <a:pt x="0" y="60835"/>
                  <a:pt x="60764" y="0"/>
                  <a:pt x="136718" y="0"/>
                </a:cubicBezTo>
                <a:close/>
              </a:path>
            </a:pathLst>
          </a:custGeom>
          <a:solidFill>
            <a:schemeClr val="bg1"/>
          </a:solidFill>
          <a:ln>
            <a:solidFill>
              <a:schemeClr val="accent4">
                <a:lumMod val="40000"/>
                <a:lumOff val="60000"/>
              </a:schemeClr>
            </a:solid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390" name="Freeform 98">
            <a:extLst>
              <a:ext uri="{FF2B5EF4-FFF2-40B4-BE49-F238E27FC236}">
                <a16:creationId xmlns:a16="http://schemas.microsoft.com/office/drawing/2014/main" id="{98A118BD-0453-4860-981A-044416ACC268}"/>
              </a:ext>
            </a:extLst>
          </p:cNvPr>
          <p:cNvSpPr>
            <a:spLocks/>
          </p:cNvSpPr>
          <p:nvPr/>
        </p:nvSpPr>
        <p:spPr bwMode="auto">
          <a:xfrm>
            <a:off x="7260814" y="4904967"/>
            <a:ext cx="467331" cy="324328"/>
          </a:xfrm>
          <a:custGeom>
            <a:avLst/>
            <a:gdLst>
              <a:gd name="connsiteX0" fmla="*/ 2457773 w 3856662"/>
              <a:gd name="connsiteY0" fmla="*/ 1636713 h 2676525"/>
              <a:gd name="connsiteX1" fmla="*/ 2457773 w 3856662"/>
              <a:gd name="connsiteY1" fmla="*/ 1703593 h 2676525"/>
              <a:gd name="connsiteX2" fmla="*/ 2397012 w 3856662"/>
              <a:gd name="connsiteY2" fmla="*/ 1764394 h 2676525"/>
              <a:gd name="connsiteX3" fmla="*/ 176213 w 3856662"/>
              <a:gd name="connsiteY3" fmla="*/ 1764394 h 2676525"/>
              <a:gd name="connsiteX4" fmla="*/ 176213 w 3856662"/>
              <a:gd name="connsiteY4" fmla="*/ 1901194 h 2676525"/>
              <a:gd name="connsiteX5" fmla="*/ 425332 w 3856662"/>
              <a:gd name="connsiteY5" fmla="*/ 2518316 h 2676525"/>
              <a:gd name="connsiteX6" fmla="*/ 941796 w 3856662"/>
              <a:gd name="connsiteY6" fmla="*/ 2481836 h 2676525"/>
              <a:gd name="connsiteX7" fmla="*/ 1230409 w 3856662"/>
              <a:gd name="connsiteY7" fmla="*/ 2481836 h 2676525"/>
              <a:gd name="connsiteX8" fmla="*/ 1692189 w 3856662"/>
              <a:gd name="connsiteY8" fmla="*/ 2484876 h 2676525"/>
              <a:gd name="connsiteX9" fmla="*/ 1980802 w 3856662"/>
              <a:gd name="connsiteY9" fmla="*/ 2481836 h 2676525"/>
              <a:gd name="connsiteX10" fmla="*/ 2205616 w 3856662"/>
              <a:gd name="connsiteY10" fmla="*/ 2424076 h 2676525"/>
              <a:gd name="connsiteX11" fmla="*/ 2439544 w 3856662"/>
              <a:gd name="connsiteY11" fmla="*/ 2484876 h 2676525"/>
              <a:gd name="connsiteX12" fmla="*/ 2728157 w 3856662"/>
              <a:gd name="connsiteY12" fmla="*/ 2481836 h 2676525"/>
              <a:gd name="connsiteX13" fmla="*/ 3238546 w 3856662"/>
              <a:gd name="connsiteY13" fmla="*/ 2515276 h 2676525"/>
              <a:gd name="connsiteX14" fmla="*/ 3697288 w 3856662"/>
              <a:gd name="connsiteY14" fmla="*/ 1636713 h 2676525"/>
              <a:gd name="connsiteX15" fmla="*/ 2457773 w 3856662"/>
              <a:gd name="connsiteY15" fmla="*/ 1636713 h 2676525"/>
              <a:gd name="connsiteX16" fmla="*/ 1336004 w 3856662"/>
              <a:gd name="connsiteY16" fmla="*/ 1217111 h 2676525"/>
              <a:gd name="connsiteX17" fmla="*/ 1336004 w 3856662"/>
              <a:gd name="connsiteY17" fmla="*/ 1621882 h 2676525"/>
              <a:gd name="connsiteX18" fmla="*/ 1327549 w 3856662"/>
              <a:gd name="connsiteY18" fmla="*/ 1642240 h 2676525"/>
              <a:gd name="connsiteX19" fmla="*/ 1398698 w 3856662"/>
              <a:gd name="connsiteY19" fmla="*/ 1642240 h 2676525"/>
              <a:gd name="connsiteX20" fmla="*/ 2335640 w 3856662"/>
              <a:gd name="connsiteY20" fmla="*/ 1642240 h 2676525"/>
              <a:gd name="connsiteX21" fmla="*/ 2335640 w 3856662"/>
              <a:gd name="connsiteY21" fmla="*/ 1575315 h 2676525"/>
              <a:gd name="connsiteX22" fmla="*/ 2335885 w 3856662"/>
              <a:gd name="connsiteY22" fmla="*/ 1574725 h 2676525"/>
              <a:gd name="connsiteX23" fmla="*/ 2335885 w 3856662"/>
              <a:gd name="connsiteY23" fmla="*/ 1550632 h 2676525"/>
              <a:gd name="connsiteX24" fmla="*/ 2335885 w 3856662"/>
              <a:gd name="connsiteY24" fmla="*/ 1217111 h 2676525"/>
              <a:gd name="connsiteX25" fmla="*/ 1336004 w 3856662"/>
              <a:gd name="connsiteY25" fmla="*/ 1217111 h 2676525"/>
              <a:gd name="connsiteX26" fmla="*/ 528638 w 3856662"/>
              <a:gd name="connsiteY26" fmla="*/ 1058863 h 2676525"/>
              <a:gd name="connsiteX27" fmla="*/ 528638 w 3856662"/>
              <a:gd name="connsiteY27" fmla="*/ 1128713 h 2676525"/>
              <a:gd name="connsiteX28" fmla="*/ 615951 w 3856662"/>
              <a:gd name="connsiteY28" fmla="*/ 1128713 h 2676525"/>
              <a:gd name="connsiteX29" fmla="*/ 615951 w 3856662"/>
              <a:gd name="connsiteY29" fmla="*/ 1058863 h 2676525"/>
              <a:gd name="connsiteX30" fmla="*/ 2457451 w 3856662"/>
              <a:gd name="connsiteY30" fmla="*/ 1028004 h 2676525"/>
              <a:gd name="connsiteX31" fmla="*/ 2457451 w 3856662"/>
              <a:gd name="connsiteY31" fmla="*/ 1056670 h 2676525"/>
              <a:gd name="connsiteX32" fmla="*/ 2457451 w 3856662"/>
              <a:gd name="connsiteY32" fmla="*/ 1121979 h 2676525"/>
              <a:gd name="connsiteX33" fmla="*/ 2450307 w 3856662"/>
              <a:gd name="connsiteY33" fmla="*/ 1139042 h 2676525"/>
              <a:gd name="connsiteX34" fmla="*/ 2457451 w 3856662"/>
              <a:gd name="connsiteY34" fmla="*/ 1156243 h 2676525"/>
              <a:gd name="connsiteX35" fmla="*/ 2457451 w 3856662"/>
              <a:gd name="connsiteY35" fmla="*/ 1508201 h 2676525"/>
              <a:gd name="connsiteX36" fmla="*/ 2457451 w 3856662"/>
              <a:gd name="connsiteY36" fmla="*/ 1514475 h 2676525"/>
              <a:gd name="connsiteX37" fmla="*/ 2647950 w 3856662"/>
              <a:gd name="connsiteY37" fmla="*/ 1514475 h 2676525"/>
              <a:gd name="connsiteX38" fmla="*/ 3653368 w 3856662"/>
              <a:gd name="connsiteY38" fmla="*/ 1514475 h 2676525"/>
              <a:gd name="connsiteX39" fmla="*/ 3663059 w 3856662"/>
              <a:gd name="connsiteY39" fmla="*/ 1514475 h 2676525"/>
              <a:gd name="connsiteX40" fmla="*/ 3663059 w 3856662"/>
              <a:gd name="connsiteY40" fmla="*/ 1431094 h 2676525"/>
              <a:gd name="connsiteX41" fmla="*/ 3663059 w 3856662"/>
              <a:gd name="connsiteY41" fmla="*/ 1028004 h 2676525"/>
              <a:gd name="connsiteX42" fmla="*/ 2462803 w 3856662"/>
              <a:gd name="connsiteY42" fmla="*/ 1028004 h 2676525"/>
              <a:gd name="connsiteX43" fmla="*/ 467279 w 3856662"/>
              <a:gd name="connsiteY43" fmla="*/ 936625 h 2676525"/>
              <a:gd name="connsiteX44" fmla="*/ 677310 w 3856662"/>
              <a:gd name="connsiteY44" fmla="*/ 936625 h 2676525"/>
              <a:gd name="connsiteX45" fmla="*/ 738188 w 3856662"/>
              <a:gd name="connsiteY45" fmla="*/ 997659 h 2676525"/>
              <a:gd name="connsiteX46" fmla="*/ 738188 w 3856662"/>
              <a:gd name="connsiteY46" fmla="*/ 1189916 h 2676525"/>
              <a:gd name="connsiteX47" fmla="*/ 677310 w 3856662"/>
              <a:gd name="connsiteY47" fmla="*/ 1250950 h 2676525"/>
              <a:gd name="connsiteX48" fmla="*/ 467279 w 3856662"/>
              <a:gd name="connsiteY48" fmla="*/ 1250950 h 2676525"/>
              <a:gd name="connsiteX49" fmla="*/ 406400 w 3856662"/>
              <a:gd name="connsiteY49" fmla="*/ 1189916 h 2676525"/>
              <a:gd name="connsiteX50" fmla="*/ 406400 w 3856662"/>
              <a:gd name="connsiteY50" fmla="*/ 997659 h 2676525"/>
              <a:gd name="connsiteX51" fmla="*/ 467279 w 3856662"/>
              <a:gd name="connsiteY51" fmla="*/ 936625 h 2676525"/>
              <a:gd name="connsiteX52" fmla="*/ 1345484 w 3856662"/>
              <a:gd name="connsiteY52" fmla="*/ 866619 h 2676525"/>
              <a:gd name="connsiteX53" fmla="*/ 1345484 w 3856662"/>
              <a:gd name="connsiteY53" fmla="*/ 1085602 h 2676525"/>
              <a:gd name="connsiteX54" fmla="*/ 1345484 w 3856662"/>
              <a:gd name="connsiteY54" fmla="*/ 1095375 h 2676525"/>
              <a:gd name="connsiteX55" fmla="*/ 1472624 w 3856662"/>
              <a:gd name="connsiteY55" fmla="*/ 1095375 h 2676525"/>
              <a:gd name="connsiteX56" fmla="*/ 1645386 w 3856662"/>
              <a:gd name="connsiteY56" fmla="*/ 1095375 h 2676525"/>
              <a:gd name="connsiteX57" fmla="*/ 1700931 w 3856662"/>
              <a:gd name="connsiteY57" fmla="*/ 1095375 h 2676525"/>
              <a:gd name="connsiteX58" fmla="*/ 1700931 w 3856662"/>
              <a:gd name="connsiteY58" fmla="*/ 1034278 h 2676525"/>
              <a:gd name="connsiteX59" fmla="*/ 1700931 w 3856662"/>
              <a:gd name="connsiteY59" fmla="*/ 866619 h 2676525"/>
              <a:gd name="connsiteX60" fmla="*/ 1345484 w 3856662"/>
              <a:gd name="connsiteY60" fmla="*/ 866619 h 2676525"/>
              <a:gd name="connsiteX61" fmla="*/ 307194 w 3856662"/>
              <a:gd name="connsiteY61" fmla="*/ 730251 h 2676525"/>
              <a:gd name="connsiteX62" fmla="*/ 307194 w 3856662"/>
              <a:gd name="connsiteY62" fmla="*/ 805525 h 2676525"/>
              <a:gd name="connsiteX63" fmla="*/ 307194 w 3856662"/>
              <a:gd name="connsiteY63" fmla="*/ 1445104 h 2676525"/>
              <a:gd name="connsiteX64" fmla="*/ 829457 w 3856662"/>
              <a:gd name="connsiteY64" fmla="*/ 1445104 h 2676525"/>
              <a:gd name="connsiteX65" fmla="*/ 829457 w 3856662"/>
              <a:gd name="connsiteY65" fmla="*/ 733893 h 2676525"/>
              <a:gd name="connsiteX66" fmla="*/ 829457 w 3856662"/>
              <a:gd name="connsiteY66" fmla="*/ 730251 h 2676525"/>
              <a:gd name="connsiteX67" fmla="*/ 716351 w 3856662"/>
              <a:gd name="connsiteY67" fmla="*/ 730251 h 2676525"/>
              <a:gd name="connsiteX68" fmla="*/ 378771 w 3856662"/>
              <a:gd name="connsiteY68" fmla="*/ 730251 h 2676525"/>
              <a:gd name="connsiteX69" fmla="*/ 1345484 w 3856662"/>
              <a:gd name="connsiteY69" fmla="*/ 535972 h 2676525"/>
              <a:gd name="connsiteX70" fmla="*/ 1345484 w 3856662"/>
              <a:gd name="connsiteY70" fmla="*/ 724445 h 2676525"/>
              <a:gd name="connsiteX71" fmla="*/ 1345484 w 3856662"/>
              <a:gd name="connsiteY71" fmla="*/ 744538 h 2676525"/>
              <a:gd name="connsiteX72" fmla="*/ 1406687 w 3856662"/>
              <a:gd name="connsiteY72" fmla="*/ 744538 h 2676525"/>
              <a:gd name="connsiteX73" fmla="*/ 1645244 w 3856662"/>
              <a:gd name="connsiteY73" fmla="*/ 744538 h 2676525"/>
              <a:gd name="connsiteX74" fmla="*/ 1700931 w 3856662"/>
              <a:gd name="connsiteY74" fmla="*/ 744538 h 2676525"/>
              <a:gd name="connsiteX75" fmla="*/ 1700931 w 3856662"/>
              <a:gd name="connsiteY75" fmla="*/ 703016 h 2676525"/>
              <a:gd name="connsiteX76" fmla="*/ 1700931 w 3856662"/>
              <a:gd name="connsiteY76" fmla="*/ 535972 h 2676525"/>
              <a:gd name="connsiteX77" fmla="*/ 1345484 w 3856662"/>
              <a:gd name="connsiteY77" fmla="*/ 535972 h 2676525"/>
              <a:gd name="connsiteX78" fmla="*/ 2451748 w 3856662"/>
              <a:gd name="connsiteY78" fmla="*/ 502583 h 2676525"/>
              <a:gd name="connsiteX79" fmla="*/ 2451748 w 3856662"/>
              <a:gd name="connsiteY79" fmla="*/ 505345 h 2676525"/>
              <a:gd name="connsiteX80" fmla="*/ 2451748 w 3856662"/>
              <a:gd name="connsiteY80" fmla="*/ 894122 h 2676525"/>
              <a:gd name="connsiteX81" fmla="*/ 2451748 w 3856662"/>
              <a:gd name="connsiteY81" fmla="*/ 906463 h 2676525"/>
              <a:gd name="connsiteX82" fmla="*/ 2629719 w 3856662"/>
              <a:gd name="connsiteY82" fmla="*/ 906463 h 2676525"/>
              <a:gd name="connsiteX83" fmla="*/ 3262252 w 3856662"/>
              <a:gd name="connsiteY83" fmla="*/ 906463 h 2676525"/>
              <a:gd name="connsiteX84" fmla="*/ 3365495 w 3856662"/>
              <a:gd name="connsiteY84" fmla="*/ 906463 h 2676525"/>
              <a:gd name="connsiteX85" fmla="*/ 3365495 w 3856662"/>
              <a:gd name="connsiteY85" fmla="*/ 880767 h 2676525"/>
              <a:gd name="connsiteX86" fmla="*/ 3365495 w 3856662"/>
              <a:gd name="connsiteY86" fmla="*/ 502583 h 2676525"/>
              <a:gd name="connsiteX87" fmla="*/ 2455546 w 3856662"/>
              <a:gd name="connsiteY87" fmla="*/ 502583 h 2676525"/>
              <a:gd name="connsiteX88" fmla="*/ 1821363 w 3856662"/>
              <a:gd name="connsiteY88" fmla="*/ 350196 h 2676525"/>
              <a:gd name="connsiteX89" fmla="*/ 1821363 w 3856662"/>
              <a:gd name="connsiteY89" fmla="*/ 468988 h 2676525"/>
              <a:gd name="connsiteX90" fmla="*/ 1821363 w 3856662"/>
              <a:gd name="connsiteY90" fmla="*/ 472536 h 2676525"/>
              <a:gd name="connsiteX91" fmla="*/ 1822451 w 3856662"/>
              <a:gd name="connsiteY91" fmla="*/ 475155 h 2676525"/>
              <a:gd name="connsiteX92" fmla="*/ 1822451 w 3856662"/>
              <a:gd name="connsiteY92" fmla="*/ 785321 h 2676525"/>
              <a:gd name="connsiteX93" fmla="*/ 1821363 w 3856662"/>
              <a:gd name="connsiteY93" fmla="*/ 787941 h 2676525"/>
              <a:gd name="connsiteX94" fmla="*/ 1821363 w 3856662"/>
              <a:gd name="connsiteY94" fmla="*/ 802950 h 2676525"/>
              <a:gd name="connsiteX95" fmla="*/ 1822451 w 3856662"/>
              <a:gd name="connsiteY95" fmla="*/ 805579 h 2676525"/>
              <a:gd name="connsiteX96" fmla="*/ 1822451 w 3856662"/>
              <a:gd name="connsiteY96" fmla="*/ 1077972 h 2676525"/>
              <a:gd name="connsiteX97" fmla="*/ 1822451 w 3856662"/>
              <a:gd name="connsiteY97" fmla="*/ 1095375 h 2676525"/>
              <a:gd name="connsiteX98" fmla="*/ 1923558 w 3856662"/>
              <a:gd name="connsiteY98" fmla="*/ 1095375 h 2676525"/>
              <a:gd name="connsiteX99" fmla="*/ 2281163 w 3856662"/>
              <a:gd name="connsiteY99" fmla="*/ 1095375 h 2676525"/>
              <a:gd name="connsiteX100" fmla="*/ 2335213 w 3856662"/>
              <a:gd name="connsiteY100" fmla="*/ 1095375 h 2676525"/>
              <a:gd name="connsiteX101" fmla="*/ 2335213 w 3856662"/>
              <a:gd name="connsiteY101" fmla="*/ 1070881 h 2676525"/>
              <a:gd name="connsiteX102" fmla="*/ 2335213 w 3856662"/>
              <a:gd name="connsiteY102" fmla="*/ 1033667 h 2676525"/>
              <a:gd name="connsiteX103" fmla="*/ 2331675 w 3856662"/>
              <a:gd name="connsiteY103" fmla="*/ 1025052 h 2676525"/>
              <a:gd name="connsiteX104" fmla="*/ 2331675 w 3856662"/>
              <a:gd name="connsiteY104" fmla="*/ 350196 h 2676525"/>
              <a:gd name="connsiteX105" fmla="*/ 1821363 w 3856662"/>
              <a:gd name="connsiteY105" fmla="*/ 350196 h 2676525"/>
              <a:gd name="connsiteX106" fmla="*/ 1761326 w 3856662"/>
              <a:gd name="connsiteY106" fmla="*/ 228600 h 2676525"/>
              <a:gd name="connsiteX107" fmla="*/ 2391711 w 3856662"/>
              <a:gd name="connsiteY107" fmla="*/ 228600 h 2676525"/>
              <a:gd name="connsiteX108" fmla="*/ 2451748 w 3856662"/>
              <a:gd name="connsiteY108" fmla="*/ 289398 h 2676525"/>
              <a:gd name="connsiteX109" fmla="*/ 2451748 w 3856662"/>
              <a:gd name="connsiteY109" fmla="*/ 381000 h 2676525"/>
              <a:gd name="connsiteX110" fmla="*/ 2584682 w 3856662"/>
              <a:gd name="connsiteY110" fmla="*/ 381000 h 2676525"/>
              <a:gd name="connsiteX111" fmla="*/ 3426293 w 3856662"/>
              <a:gd name="connsiteY111" fmla="*/ 381000 h 2676525"/>
              <a:gd name="connsiteX112" fmla="*/ 3487091 w 3856662"/>
              <a:gd name="connsiteY112" fmla="*/ 441792 h 2676525"/>
              <a:gd name="connsiteX113" fmla="*/ 3487091 w 3856662"/>
              <a:gd name="connsiteY113" fmla="*/ 896588 h 2676525"/>
              <a:gd name="connsiteX114" fmla="*/ 3487091 w 3856662"/>
              <a:gd name="connsiteY114" fmla="*/ 906463 h 2676525"/>
              <a:gd name="connsiteX115" fmla="*/ 3529102 w 3856662"/>
              <a:gd name="connsiteY115" fmla="*/ 906463 h 2676525"/>
              <a:gd name="connsiteX116" fmla="*/ 3723830 w 3856662"/>
              <a:gd name="connsiteY116" fmla="*/ 906463 h 2676525"/>
              <a:gd name="connsiteX117" fmla="*/ 3784601 w 3856662"/>
              <a:gd name="connsiteY117" fmla="*/ 967234 h 2676525"/>
              <a:gd name="connsiteX118" fmla="*/ 3784601 w 3856662"/>
              <a:gd name="connsiteY118" fmla="*/ 1508612 h 2676525"/>
              <a:gd name="connsiteX119" fmla="*/ 3784601 w 3856662"/>
              <a:gd name="connsiteY119" fmla="*/ 1514475 h 2676525"/>
              <a:gd name="connsiteX120" fmla="*/ 3794755 w 3856662"/>
              <a:gd name="connsiteY120" fmla="*/ 1514475 h 2676525"/>
              <a:gd name="connsiteX121" fmla="*/ 3796999 w 3856662"/>
              <a:gd name="connsiteY121" fmla="*/ 1514475 h 2676525"/>
              <a:gd name="connsiteX122" fmla="*/ 3848647 w 3856662"/>
              <a:gd name="connsiteY122" fmla="*/ 1544895 h 2676525"/>
              <a:gd name="connsiteX123" fmla="*/ 3848647 w 3856662"/>
              <a:gd name="connsiteY123" fmla="*/ 1602694 h 2676525"/>
              <a:gd name="connsiteX124" fmla="*/ 3313930 w 3856662"/>
              <a:gd name="connsiteY124" fmla="*/ 2633937 h 2676525"/>
              <a:gd name="connsiteX125" fmla="*/ 3274434 w 3856662"/>
              <a:gd name="connsiteY125" fmla="*/ 2664357 h 2676525"/>
              <a:gd name="connsiteX126" fmla="*/ 3222785 w 3856662"/>
              <a:gd name="connsiteY126" fmla="*/ 2652189 h 2676525"/>
              <a:gd name="connsiteX127" fmla="*/ 2785289 w 3856662"/>
              <a:gd name="connsiteY127" fmla="*/ 2591349 h 2676525"/>
              <a:gd name="connsiteX128" fmla="*/ 2381212 w 3856662"/>
              <a:gd name="connsiteY128" fmla="*/ 2591349 h 2676525"/>
              <a:gd name="connsiteX129" fmla="*/ 2034861 w 3856662"/>
              <a:gd name="connsiteY129" fmla="*/ 2591349 h 2676525"/>
              <a:gd name="connsiteX130" fmla="*/ 1633823 w 3856662"/>
              <a:gd name="connsiteY130" fmla="*/ 2591349 h 2676525"/>
              <a:gd name="connsiteX131" fmla="*/ 1287472 w 3856662"/>
              <a:gd name="connsiteY131" fmla="*/ 2591349 h 2676525"/>
              <a:gd name="connsiteX132" fmla="*/ 886433 w 3856662"/>
              <a:gd name="connsiteY132" fmla="*/ 2591349 h 2676525"/>
              <a:gd name="connsiteX133" fmla="*/ 439823 w 3856662"/>
              <a:gd name="connsiteY133" fmla="*/ 2661315 h 2676525"/>
              <a:gd name="connsiteX134" fmla="*/ 397288 w 3856662"/>
              <a:gd name="connsiteY134" fmla="*/ 2676525 h 2676525"/>
              <a:gd name="connsiteX135" fmla="*/ 379059 w 3856662"/>
              <a:gd name="connsiteY135" fmla="*/ 2673483 h 2676525"/>
              <a:gd name="connsiteX136" fmla="*/ 339563 w 3856662"/>
              <a:gd name="connsiteY136" fmla="*/ 2630895 h 2676525"/>
              <a:gd name="connsiteX137" fmla="*/ 60052 w 3856662"/>
              <a:gd name="connsiteY137" fmla="*/ 1937315 h 2676525"/>
              <a:gd name="connsiteX138" fmla="*/ 53975 w 3856662"/>
              <a:gd name="connsiteY138" fmla="*/ 1912979 h 2676525"/>
              <a:gd name="connsiteX139" fmla="*/ 53975 w 3856662"/>
              <a:gd name="connsiteY139" fmla="*/ 1703080 h 2676525"/>
              <a:gd name="connsiteX140" fmla="*/ 114739 w 3856662"/>
              <a:gd name="connsiteY140" fmla="*/ 1642240 h 2676525"/>
              <a:gd name="connsiteX141" fmla="*/ 1144400 w 3856662"/>
              <a:gd name="connsiteY141" fmla="*/ 1642240 h 2676525"/>
              <a:gd name="connsiteX142" fmla="*/ 1222894 w 3856662"/>
              <a:gd name="connsiteY142" fmla="*/ 1642240 h 2676525"/>
              <a:gd name="connsiteX143" fmla="*/ 1214438 w 3856662"/>
              <a:gd name="connsiteY143" fmla="*/ 1621882 h 2676525"/>
              <a:gd name="connsiteX144" fmla="*/ 1214438 w 3856662"/>
              <a:gd name="connsiteY144" fmla="*/ 1156243 h 2676525"/>
              <a:gd name="connsiteX145" fmla="*/ 1227369 w 3856662"/>
              <a:gd name="connsiteY145" fmla="*/ 1125111 h 2676525"/>
              <a:gd name="connsiteX146" fmla="*/ 1223963 w 3856662"/>
              <a:gd name="connsiteY146" fmla="*/ 1116886 h 2676525"/>
              <a:gd name="connsiteX147" fmla="*/ 1223963 w 3856662"/>
              <a:gd name="connsiteY147" fmla="*/ 805579 h 2676525"/>
              <a:gd name="connsiteX148" fmla="*/ 1228164 w 3856662"/>
              <a:gd name="connsiteY148" fmla="*/ 795431 h 2676525"/>
              <a:gd name="connsiteX149" fmla="*/ 1223963 w 3856662"/>
              <a:gd name="connsiteY149" fmla="*/ 785321 h 2676525"/>
              <a:gd name="connsiteX150" fmla="*/ 1223963 w 3856662"/>
              <a:gd name="connsiteY150" fmla="*/ 475155 h 2676525"/>
              <a:gd name="connsiteX151" fmla="*/ 1284723 w 3856662"/>
              <a:gd name="connsiteY151" fmla="*/ 414338 h 2676525"/>
              <a:gd name="connsiteX152" fmla="*/ 1645244 w 3856662"/>
              <a:gd name="connsiteY152" fmla="*/ 414338 h 2676525"/>
              <a:gd name="connsiteX153" fmla="*/ 1701289 w 3856662"/>
              <a:gd name="connsiteY153" fmla="*/ 414338 h 2676525"/>
              <a:gd name="connsiteX154" fmla="*/ 1701289 w 3856662"/>
              <a:gd name="connsiteY154" fmla="*/ 385733 h 2676525"/>
              <a:gd name="connsiteX155" fmla="*/ 1701289 w 3856662"/>
              <a:gd name="connsiteY155" fmla="*/ 289398 h 2676525"/>
              <a:gd name="connsiteX156" fmla="*/ 1761326 w 3856662"/>
              <a:gd name="connsiteY156" fmla="*/ 228600 h 2676525"/>
              <a:gd name="connsiteX157" fmla="*/ 550069 w 3856662"/>
              <a:gd name="connsiteY157" fmla="*/ 0 h 2676525"/>
              <a:gd name="connsiteX158" fmla="*/ 611188 w 3856662"/>
              <a:gd name="connsiteY158" fmla="*/ 60854 h 2676525"/>
              <a:gd name="connsiteX159" fmla="*/ 611188 w 3856662"/>
              <a:gd name="connsiteY159" fmla="*/ 342988 h 2676525"/>
              <a:gd name="connsiteX160" fmla="*/ 611188 w 3856662"/>
              <a:gd name="connsiteY160" fmla="*/ 381000 h 2676525"/>
              <a:gd name="connsiteX161" fmla="*/ 616883 w 3856662"/>
              <a:gd name="connsiteY161" fmla="*/ 381000 h 2676525"/>
              <a:gd name="connsiteX162" fmla="*/ 680635 w 3856662"/>
              <a:gd name="connsiteY162" fmla="*/ 381000 h 2676525"/>
              <a:gd name="connsiteX163" fmla="*/ 741363 w 3856662"/>
              <a:gd name="connsiteY163" fmla="*/ 441325 h 2676525"/>
              <a:gd name="connsiteX164" fmla="*/ 680635 w 3856662"/>
              <a:gd name="connsiteY164" fmla="*/ 501650 h 2676525"/>
              <a:gd name="connsiteX165" fmla="*/ 611188 w 3856662"/>
              <a:gd name="connsiteY165" fmla="*/ 501650 h 2676525"/>
              <a:gd name="connsiteX166" fmla="*/ 611188 w 3856662"/>
              <a:gd name="connsiteY166" fmla="*/ 520826 h 2676525"/>
              <a:gd name="connsiteX167" fmla="*/ 611188 w 3856662"/>
              <a:gd name="connsiteY167" fmla="*/ 593328 h 2676525"/>
              <a:gd name="connsiteX168" fmla="*/ 611188 w 3856662"/>
              <a:gd name="connsiteY168" fmla="*/ 608013 h 2676525"/>
              <a:gd name="connsiteX169" fmla="*/ 676005 w 3856662"/>
              <a:gd name="connsiteY169" fmla="*/ 608013 h 2676525"/>
              <a:gd name="connsiteX170" fmla="*/ 865192 w 3856662"/>
              <a:gd name="connsiteY170" fmla="*/ 608013 h 2676525"/>
              <a:gd name="connsiteX171" fmla="*/ 890185 w 3856662"/>
              <a:gd name="connsiteY171" fmla="*/ 608013 h 2676525"/>
              <a:gd name="connsiteX172" fmla="*/ 917035 w 3856662"/>
              <a:gd name="connsiteY172" fmla="*/ 608013 h 2676525"/>
              <a:gd name="connsiteX173" fmla="*/ 1039357 w 3856662"/>
              <a:gd name="connsiteY173" fmla="*/ 608013 h 2676525"/>
              <a:gd name="connsiteX174" fmla="*/ 1100138 w 3856662"/>
              <a:gd name="connsiteY174" fmla="*/ 669132 h 2676525"/>
              <a:gd name="connsiteX175" fmla="*/ 1039357 w 3856662"/>
              <a:gd name="connsiteY175" fmla="*/ 730251 h 2676525"/>
              <a:gd name="connsiteX176" fmla="*/ 950913 w 3856662"/>
              <a:gd name="connsiteY176" fmla="*/ 730251 h 2676525"/>
              <a:gd name="connsiteX177" fmla="*/ 950913 w 3856662"/>
              <a:gd name="connsiteY177" fmla="*/ 816242 h 2676525"/>
              <a:gd name="connsiteX178" fmla="*/ 950913 w 3856662"/>
              <a:gd name="connsiteY178" fmla="*/ 1505984 h 2676525"/>
              <a:gd name="connsiteX179" fmla="*/ 890185 w 3856662"/>
              <a:gd name="connsiteY179" fmla="*/ 1566863 h 2676525"/>
              <a:gd name="connsiteX180" fmla="*/ 246466 w 3856662"/>
              <a:gd name="connsiteY180" fmla="*/ 1566863 h 2676525"/>
              <a:gd name="connsiteX181" fmla="*/ 203956 w 3856662"/>
              <a:gd name="connsiteY181" fmla="*/ 1548599 h 2676525"/>
              <a:gd name="connsiteX182" fmla="*/ 185738 w 3856662"/>
              <a:gd name="connsiteY182" fmla="*/ 1505984 h 2676525"/>
              <a:gd name="connsiteX183" fmla="*/ 185738 w 3856662"/>
              <a:gd name="connsiteY183" fmla="*/ 738991 h 2676525"/>
              <a:gd name="connsiteX184" fmla="*/ 185738 w 3856662"/>
              <a:gd name="connsiteY184" fmla="*/ 730251 h 2676525"/>
              <a:gd name="connsiteX185" fmla="*/ 183103 w 3856662"/>
              <a:gd name="connsiteY185" fmla="*/ 730251 h 2676525"/>
              <a:gd name="connsiteX186" fmla="*/ 60781 w 3856662"/>
              <a:gd name="connsiteY186" fmla="*/ 730251 h 2676525"/>
              <a:gd name="connsiteX187" fmla="*/ 0 w 3856662"/>
              <a:gd name="connsiteY187" fmla="*/ 669132 h 2676525"/>
              <a:gd name="connsiteX188" fmla="*/ 60781 w 3856662"/>
              <a:gd name="connsiteY188" fmla="*/ 608013 h 2676525"/>
              <a:gd name="connsiteX189" fmla="*/ 233035 w 3856662"/>
              <a:gd name="connsiteY189" fmla="*/ 608013 h 2676525"/>
              <a:gd name="connsiteX190" fmla="*/ 246466 w 3856662"/>
              <a:gd name="connsiteY190" fmla="*/ 608013 h 2676525"/>
              <a:gd name="connsiteX191" fmla="*/ 383788 w 3856662"/>
              <a:gd name="connsiteY191" fmla="*/ 608013 h 2676525"/>
              <a:gd name="connsiteX192" fmla="*/ 488950 w 3856662"/>
              <a:gd name="connsiteY192" fmla="*/ 608013 h 2676525"/>
              <a:gd name="connsiteX193" fmla="*/ 488950 w 3856662"/>
              <a:gd name="connsiteY193" fmla="*/ 562277 h 2676525"/>
              <a:gd name="connsiteX194" fmla="*/ 488950 w 3856662"/>
              <a:gd name="connsiteY194" fmla="*/ 501650 h 2676525"/>
              <a:gd name="connsiteX195" fmla="*/ 483257 w 3856662"/>
              <a:gd name="connsiteY195" fmla="*/ 501650 h 2676525"/>
              <a:gd name="connsiteX196" fmla="*/ 419504 w 3856662"/>
              <a:gd name="connsiteY196" fmla="*/ 501650 h 2676525"/>
              <a:gd name="connsiteX197" fmla="*/ 358775 w 3856662"/>
              <a:gd name="connsiteY197" fmla="*/ 441325 h 2676525"/>
              <a:gd name="connsiteX198" fmla="*/ 419504 w 3856662"/>
              <a:gd name="connsiteY198" fmla="*/ 381000 h 2676525"/>
              <a:gd name="connsiteX199" fmla="*/ 488950 w 3856662"/>
              <a:gd name="connsiteY199" fmla="*/ 381000 h 2676525"/>
              <a:gd name="connsiteX200" fmla="*/ 488950 w 3856662"/>
              <a:gd name="connsiteY200" fmla="*/ 317583 h 2676525"/>
              <a:gd name="connsiteX201" fmla="*/ 488950 w 3856662"/>
              <a:gd name="connsiteY201" fmla="*/ 60854 h 2676525"/>
              <a:gd name="connsiteX202" fmla="*/ 550069 w 3856662"/>
              <a:gd name="connsiteY202" fmla="*/ 0 h 267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3856662" h="2676525">
                <a:moveTo>
                  <a:pt x="2457773" y="1636713"/>
                </a:moveTo>
                <a:cubicBezTo>
                  <a:pt x="2457773" y="1703593"/>
                  <a:pt x="2457773" y="1703593"/>
                  <a:pt x="2457773" y="1703593"/>
                </a:cubicBezTo>
                <a:cubicBezTo>
                  <a:pt x="2457773" y="1740073"/>
                  <a:pt x="2430430" y="1764394"/>
                  <a:pt x="2397012" y="1764394"/>
                </a:cubicBezTo>
                <a:cubicBezTo>
                  <a:pt x="176213" y="1764394"/>
                  <a:pt x="176213" y="1764394"/>
                  <a:pt x="176213" y="1764394"/>
                </a:cubicBezTo>
                <a:cubicBezTo>
                  <a:pt x="176213" y="1901194"/>
                  <a:pt x="176213" y="1901194"/>
                  <a:pt x="176213" y="1901194"/>
                </a:cubicBezTo>
                <a:cubicBezTo>
                  <a:pt x="322039" y="2256875"/>
                  <a:pt x="391913" y="2430156"/>
                  <a:pt x="425332" y="2518316"/>
                </a:cubicBezTo>
                <a:cubicBezTo>
                  <a:pt x="586347" y="2405836"/>
                  <a:pt x="771667" y="2393676"/>
                  <a:pt x="941796" y="2481836"/>
                </a:cubicBezTo>
                <a:cubicBezTo>
                  <a:pt x="1032937" y="2530476"/>
                  <a:pt x="1142306" y="2530476"/>
                  <a:pt x="1230409" y="2481836"/>
                </a:cubicBezTo>
                <a:cubicBezTo>
                  <a:pt x="1379272" y="2402796"/>
                  <a:pt x="1540288" y="2402796"/>
                  <a:pt x="1692189" y="2484876"/>
                </a:cubicBezTo>
                <a:cubicBezTo>
                  <a:pt x="1780292" y="2530476"/>
                  <a:pt x="1889661" y="2530476"/>
                  <a:pt x="1980802" y="2481836"/>
                </a:cubicBezTo>
                <a:cubicBezTo>
                  <a:pt x="2053715" y="2442316"/>
                  <a:pt x="2129665" y="2424076"/>
                  <a:pt x="2205616" y="2424076"/>
                </a:cubicBezTo>
                <a:cubicBezTo>
                  <a:pt x="2284605" y="2424076"/>
                  <a:pt x="2363594" y="2442316"/>
                  <a:pt x="2439544" y="2484876"/>
                </a:cubicBezTo>
                <a:cubicBezTo>
                  <a:pt x="2530685" y="2530476"/>
                  <a:pt x="2637016" y="2530476"/>
                  <a:pt x="2728157" y="2481836"/>
                </a:cubicBezTo>
                <a:cubicBezTo>
                  <a:pt x="2846640" y="2417996"/>
                  <a:pt x="3028922" y="2378476"/>
                  <a:pt x="3238546" y="2515276"/>
                </a:cubicBezTo>
                <a:cubicBezTo>
                  <a:pt x="3697288" y="1636713"/>
                  <a:pt x="3697288" y="1636713"/>
                  <a:pt x="3697288" y="1636713"/>
                </a:cubicBezTo>
                <a:cubicBezTo>
                  <a:pt x="2457773" y="1636713"/>
                  <a:pt x="2457773" y="1636713"/>
                  <a:pt x="2457773" y="1636713"/>
                </a:cubicBezTo>
                <a:close/>
                <a:moveTo>
                  <a:pt x="1336004" y="1217111"/>
                </a:moveTo>
                <a:cubicBezTo>
                  <a:pt x="1336004" y="1621882"/>
                  <a:pt x="1336004" y="1621882"/>
                  <a:pt x="1336004" y="1621882"/>
                </a:cubicBezTo>
                <a:lnTo>
                  <a:pt x="1327549" y="1642240"/>
                </a:lnTo>
                <a:lnTo>
                  <a:pt x="1398698" y="1642240"/>
                </a:lnTo>
                <a:cubicBezTo>
                  <a:pt x="2335640" y="1642240"/>
                  <a:pt x="2335640" y="1642240"/>
                  <a:pt x="2335640" y="1642240"/>
                </a:cubicBezTo>
                <a:cubicBezTo>
                  <a:pt x="2335640" y="1575315"/>
                  <a:pt x="2335640" y="1575315"/>
                  <a:pt x="2335640" y="1575315"/>
                </a:cubicBezTo>
                <a:lnTo>
                  <a:pt x="2335885" y="1574725"/>
                </a:lnTo>
                <a:lnTo>
                  <a:pt x="2335885" y="1550632"/>
                </a:lnTo>
                <a:cubicBezTo>
                  <a:pt x="2335885" y="1217111"/>
                  <a:pt x="2335885" y="1217111"/>
                  <a:pt x="2335885" y="1217111"/>
                </a:cubicBezTo>
                <a:cubicBezTo>
                  <a:pt x="1336004" y="1217111"/>
                  <a:pt x="1336004" y="1217111"/>
                  <a:pt x="1336004" y="1217111"/>
                </a:cubicBezTo>
                <a:close/>
                <a:moveTo>
                  <a:pt x="528638" y="1058863"/>
                </a:moveTo>
                <a:lnTo>
                  <a:pt x="528638" y="1128713"/>
                </a:lnTo>
                <a:lnTo>
                  <a:pt x="615951" y="1128713"/>
                </a:lnTo>
                <a:lnTo>
                  <a:pt x="615951" y="1058863"/>
                </a:lnTo>
                <a:close/>
                <a:moveTo>
                  <a:pt x="2457451" y="1028004"/>
                </a:moveTo>
                <a:lnTo>
                  <a:pt x="2457451" y="1056670"/>
                </a:lnTo>
                <a:cubicBezTo>
                  <a:pt x="2457451" y="1121979"/>
                  <a:pt x="2457451" y="1121979"/>
                  <a:pt x="2457451" y="1121979"/>
                </a:cubicBezTo>
                <a:lnTo>
                  <a:pt x="2450307" y="1139042"/>
                </a:lnTo>
                <a:lnTo>
                  <a:pt x="2457451" y="1156243"/>
                </a:lnTo>
                <a:cubicBezTo>
                  <a:pt x="2457451" y="1330858"/>
                  <a:pt x="2457451" y="1439992"/>
                  <a:pt x="2457451" y="1508201"/>
                </a:cubicBezTo>
                <a:lnTo>
                  <a:pt x="2457451" y="1514475"/>
                </a:lnTo>
                <a:lnTo>
                  <a:pt x="2647950" y="1514475"/>
                </a:lnTo>
                <a:cubicBezTo>
                  <a:pt x="3222475" y="1514475"/>
                  <a:pt x="3509737" y="1514475"/>
                  <a:pt x="3653368" y="1514475"/>
                </a:cubicBezTo>
                <a:lnTo>
                  <a:pt x="3663059" y="1514475"/>
                </a:lnTo>
                <a:lnTo>
                  <a:pt x="3663059" y="1431094"/>
                </a:lnTo>
                <a:cubicBezTo>
                  <a:pt x="3663059" y="1028004"/>
                  <a:pt x="3663059" y="1028004"/>
                  <a:pt x="3663059" y="1028004"/>
                </a:cubicBezTo>
                <a:cubicBezTo>
                  <a:pt x="2871137" y="1028004"/>
                  <a:pt x="2574167" y="1028004"/>
                  <a:pt x="2462803" y="1028004"/>
                </a:cubicBezTo>
                <a:close/>
                <a:moveTo>
                  <a:pt x="467279" y="936625"/>
                </a:moveTo>
                <a:cubicBezTo>
                  <a:pt x="677310" y="936625"/>
                  <a:pt x="677310" y="936625"/>
                  <a:pt x="677310" y="936625"/>
                </a:cubicBezTo>
                <a:cubicBezTo>
                  <a:pt x="710793" y="936625"/>
                  <a:pt x="738188" y="964090"/>
                  <a:pt x="738188" y="997659"/>
                </a:cubicBezTo>
                <a:cubicBezTo>
                  <a:pt x="738188" y="1189916"/>
                  <a:pt x="738188" y="1189916"/>
                  <a:pt x="738188" y="1189916"/>
                </a:cubicBezTo>
                <a:cubicBezTo>
                  <a:pt x="738188" y="1223485"/>
                  <a:pt x="710793" y="1250950"/>
                  <a:pt x="677310" y="1250950"/>
                </a:cubicBezTo>
                <a:cubicBezTo>
                  <a:pt x="467279" y="1250950"/>
                  <a:pt x="467279" y="1250950"/>
                  <a:pt x="467279" y="1250950"/>
                </a:cubicBezTo>
                <a:cubicBezTo>
                  <a:pt x="433796" y="1250950"/>
                  <a:pt x="406400" y="1223485"/>
                  <a:pt x="406400" y="1189916"/>
                </a:cubicBezTo>
                <a:cubicBezTo>
                  <a:pt x="406400" y="997659"/>
                  <a:pt x="406400" y="997659"/>
                  <a:pt x="406400" y="997659"/>
                </a:cubicBezTo>
                <a:cubicBezTo>
                  <a:pt x="406400" y="964090"/>
                  <a:pt x="433796" y="936625"/>
                  <a:pt x="467279" y="936625"/>
                </a:cubicBezTo>
                <a:close/>
                <a:moveTo>
                  <a:pt x="1345484" y="866619"/>
                </a:moveTo>
                <a:cubicBezTo>
                  <a:pt x="1345484" y="991752"/>
                  <a:pt x="1345484" y="1054319"/>
                  <a:pt x="1345484" y="1085602"/>
                </a:cubicBezTo>
                <a:lnTo>
                  <a:pt x="1345484" y="1095375"/>
                </a:lnTo>
                <a:lnTo>
                  <a:pt x="1472624" y="1095375"/>
                </a:lnTo>
                <a:cubicBezTo>
                  <a:pt x="1534227" y="1095375"/>
                  <a:pt x="1591723" y="1095375"/>
                  <a:pt x="1645386" y="1095375"/>
                </a:cubicBezTo>
                <a:lnTo>
                  <a:pt x="1700931" y="1095375"/>
                </a:lnTo>
                <a:lnTo>
                  <a:pt x="1700931" y="1034278"/>
                </a:lnTo>
                <a:cubicBezTo>
                  <a:pt x="1700931" y="866619"/>
                  <a:pt x="1700931" y="866619"/>
                  <a:pt x="1700931" y="866619"/>
                </a:cubicBezTo>
                <a:cubicBezTo>
                  <a:pt x="1345484" y="866619"/>
                  <a:pt x="1345484" y="866619"/>
                  <a:pt x="1345484" y="866619"/>
                </a:cubicBezTo>
                <a:close/>
                <a:moveTo>
                  <a:pt x="307194" y="730251"/>
                </a:moveTo>
                <a:lnTo>
                  <a:pt x="307194" y="805525"/>
                </a:lnTo>
                <a:cubicBezTo>
                  <a:pt x="307194" y="1445104"/>
                  <a:pt x="307194" y="1445104"/>
                  <a:pt x="307194" y="1445104"/>
                </a:cubicBezTo>
                <a:cubicBezTo>
                  <a:pt x="829457" y="1445104"/>
                  <a:pt x="829457" y="1445104"/>
                  <a:pt x="829457" y="1445104"/>
                </a:cubicBezTo>
                <a:cubicBezTo>
                  <a:pt x="829457" y="1008485"/>
                  <a:pt x="829457" y="817464"/>
                  <a:pt x="829457" y="733893"/>
                </a:cubicBezTo>
                <a:lnTo>
                  <a:pt x="829457" y="730251"/>
                </a:lnTo>
                <a:lnTo>
                  <a:pt x="716351" y="730251"/>
                </a:lnTo>
                <a:cubicBezTo>
                  <a:pt x="575872" y="730251"/>
                  <a:pt x="465495" y="730251"/>
                  <a:pt x="378771" y="730251"/>
                </a:cubicBezTo>
                <a:close/>
                <a:moveTo>
                  <a:pt x="1345484" y="535972"/>
                </a:moveTo>
                <a:cubicBezTo>
                  <a:pt x="1345484" y="629478"/>
                  <a:pt x="1345484" y="687919"/>
                  <a:pt x="1345484" y="724445"/>
                </a:cubicBezTo>
                <a:lnTo>
                  <a:pt x="1345484" y="744538"/>
                </a:lnTo>
                <a:lnTo>
                  <a:pt x="1406687" y="744538"/>
                </a:lnTo>
                <a:cubicBezTo>
                  <a:pt x="1516861" y="744538"/>
                  <a:pt x="1592843" y="744538"/>
                  <a:pt x="1645244" y="744538"/>
                </a:cubicBezTo>
                <a:lnTo>
                  <a:pt x="1700931" y="744538"/>
                </a:lnTo>
                <a:lnTo>
                  <a:pt x="1700931" y="703016"/>
                </a:lnTo>
                <a:cubicBezTo>
                  <a:pt x="1700931" y="535972"/>
                  <a:pt x="1700931" y="535972"/>
                  <a:pt x="1700931" y="535972"/>
                </a:cubicBezTo>
                <a:cubicBezTo>
                  <a:pt x="1345484" y="535972"/>
                  <a:pt x="1345484" y="535972"/>
                  <a:pt x="1345484" y="535972"/>
                </a:cubicBezTo>
                <a:close/>
                <a:moveTo>
                  <a:pt x="2451748" y="502583"/>
                </a:moveTo>
                <a:lnTo>
                  <a:pt x="2451748" y="505345"/>
                </a:lnTo>
                <a:cubicBezTo>
                  <a:pt x="2451748" y="696816"/>
                  <a:pt x="2451748" y="817745"/>
                  <a:pt x="2451748" y="894122"/>
                </a:cubicBezTo>
                <a:lnTo>
                  <a:pt x="2451748" y="906463"/>
                </a:lnTo>
                <a:lnTo>
                  <a:pt x="2629719" y="906463"/>
                </a:lnTo>
                <a:cubicBezTo>
                  <a:pt x="2903247" y="906463"/>
                  <a:pt x="3108393" y="906463"/>
                  <a:pt x="3262252" y="906463"/>
                </a:cubicBezTo>
                <a:lnTo>
                  <a:pt x="3365495" y="906463"/>
                </a:lnTo>
                <a:lnTo>
                  <a:pt x="3365495" y="880767"/>
                </a:lnTo>
                <a:cubicBezTo>
                  <a:pt x="3365495" y="502583"/>
                  <a:pt x="3365495" y="502583"/>
                  <a:pt x="3365495" y="502583"/>
                </a:cubicBezTo>
                <a:cubicBezTo>
                  <a:pt x="2765117" y="502583"/>
                  <a:pt x="2539974" y="502583"/>
                  <a:pt x="2455546" y="502583"/>
                </a:cubicBezTo>
                <a:close/>
                <a:moveTo>
                  <a:pt x="1821363" y="350196"/>
                </a:moveTo>
                <a:cubicBezTo>
                  <a:pt x="1821363" y="392374"/>
                  <a:pt x="1821363" y="431917"/>
                  <a:pt x="1821363" y="468988"/>
                </a:cubicBezTo>
                <a:lnTo>
                  <a:pt x="1821363" y="472536"/>
                </a:lnTo>
                <a:lnTo>
                  <a:pt x="1822451" y="475155"/>
                </a:lnTo>
                <a:cubicBezTo>
                  <a:pt x="1822451" y="785321"/>
                  <a:pt x="1822451" y="785321"/>
                  <a:pt x="1822451" y="785321"/>
                </a:cubicBezTo>
                <a:lnTo>
                  <a:pt x="1821363" y="787941"/>
                </a:lnTo>
                <a:lnTo>
                  <a:pt x="1821363" y="802950"/>
                </a:lnTo>
                <a:lnTo>
                  <a:pt x="1822451" y="805579"/>
                </a:lnTo>
                <a:cubicBezTo>
                  <a:pt x="1822451" y="961232"/>
                  <a:pt x="1822451" y="1039059"/>
                  <a:pt x="1822451" y="1077972"/>
                </a:cubicBezTo>
                <a:lnTo>
                  <a:pt x="1822451" y="1095375"/>
                </a:lnTo>
                <a:lnTo>
                  <a:pt x="1923558" y="1095375"/>
                </a:lnTo>
                <a:cubicBezTo>
                  <a:pt x="2100974" y="1095375"/>
                  <a:pt x="2211859" y="1095375"/>
                  <a:pt x="2281163" y="1095375"/>
                </a:cubicBezTo>
                <a:lnTo>
                  <a:pt x="2335213" y="1095375"/>
                </a:lnTo>
                <a:lnTo>
                  <a:pt x="2335213" y="1070881"/>
                </a:lnTo>
                <a:lnTo>
                  <a:pt x="2335213" y="1033667"/>
                </a:lnTo>
                <a:lnTo>
                  <a:pt x="2331675" y="1025052"/>
                </a:lnTo>
                <a:cubicBezTo>
                  <a:pt x="2331675" y="350196"/>
                  <a:pt x="2331675" y="350196"/>
                  <a:pt x="2331675" y="350196"/>
                </a:cubicBezTo>
                <a:cubicBezTo>
                  <a:pt x="1821363" y="350196"/>
                  <a:pt x="1821363" y="350196"/>
                  <a:pt x="1821363" y="350196"/>
                </a:cubicBezTo>
                <a:close/>
                <a:moveTo>
                  <a:pt x="1761326" y="228600"/>
                </a:moveTo>
                <a:cubicBezTo>
                  <a:pt x="2391711" y="228600"/>
                  <a:pt x="2391711" y="228600"/>
                  <a:pt x="2391711" y="228600"/>
                </a:cubicBezTo>
                <a:cubicBezTo>
                  <a:pt x="2424732" y="228600"/>
                  <a:pt x="2451748" y="255959"/>
                  <a:pt x="2451748" y="289398"/>
                </a:cubicBezTo>
                <a:lnTo>
                  <a:pt x="2451748" y="381000"/>
                </a:lnTo>
                <a:lnTo>
                  <a:pt x="2584682" y="381000"/>
                </a:lnTo>
                <a:cubicBezTo>
                  <a:pt x="3426293" y="381000"/>
                  <a:pt x="3426293" y="381000"/>
                  <a:pt x="3426293" y="381000"/>
                </a:cubicBezTo>
                <a:cubicBezTo>
                  <a:pt x="3459732" y="381000"/>
                  <a:pt x="3487091" y="408356"/>
                  <a:pt x="3487091" y="441792"/>
                </a:cubicBezTo>
                <a:cubicBezTo>
                  <a:pt x="3487091" y="701675"/>
                  <a:pt x="3487091" y="831617"/>
                  <a:pt x="3487091" y="896588"/>
                </a:cubicBezTo>
                <a:lnTo>
                  <a:pt x="3487091" y="906463"/>
                </a:lnTo>
                <a:lnTo>
                  <a:pt x="3529102" y="906463"/>
                </a:lnTo>
                <a:cubicBezTo>
                  <a:pt x="3723830" y="906463"/>
                  <a:pt x="3723830" y="906463"/>
                  <a:pt x="3723830" y="906463"/>
                </a:cubicBezTo>
                <a:cubicBezTo>
                  <a:pt x="3757254" y="906463"/>
                  <a:pt x="3784601" y="933810"/>
                  <a:pt x="3784601" y="967234"/>
                </a:cubicBezTo>
                <a:cubicBezTo>
                  <a:pt x="3784601" y="1379713"/>
                  <a:pt x="3784601" y="1482832"/>
                  <a:pt x="3784601" y="1508612"/>
                </a:cubicBezTo>
                <a:lnTo>
                  <a:pt x="3784601" y="1514475"/>
                </a:lnTo>
                <a:lnTo>
                  <a:pt x="3794755" y="1514475"/>
                </a:lnTo>
                <a:cubicBezTo>
                  <a:pt x="3796999" y="1514475"/>
                  <a:pt x="3796999" y="1514475"/>
                  <a:pt x="3796999" y="1514475"/>
                </a:cubicBezTo>
                <a:cubicBezTo>
                  <a:pt x="3818266" y="1514475"/>
                  <a:pt x="3836495" y="1526643"/>
                  <a:pt x="3848647" y="1544895"/>
                </a:cubicBezTo>
                <a:cubicBezTo>
                  <a:pt x="3857762" y="1563147"/>
                  <a:pt x="3860800" y="1584441"/>
                  <a:pt x="3848647" y="1602694"/>
                </a:cubicBezTo>
                <a:cubicBezTo>
                  <a:pt x="3313930" y="2633937"/>
                  <a:pt x="3313930" y="2633937"/>
                  <a:pt x="3313930" y="2633937"/>
                </a:cubicBezTo>
                <a:cubicBezTo>
                  <a:pt x="3304815" y="2649147"/>
                  <a:pt x="3292663" y="2661315"/>
                  <a:pt x="3274434" y="2664357"/>
                </a:cubicBezTo>
                <a:cubicBezTo>
                  <a:pt x="3256205" y="2667399"/>
                  <a:pt x="3237976" y="2664357"/>
                  <a:pt x="3222785" y="2652189"/>
                </a:cubicBezTo>
                <a:cubicBezTo>
                  <a:pt x="3073915" y="2533550"/>
                  <a:pt x="2928082" y="2515298"/>
                  <a:pt x="2785289" y="2591349"/>
                </a:cubicBezTo>
                <a:cubicBezTo>
                  <a:pt x="2657685" y="2655231"/>
                  <a:pt x="2508815" y="2658273"/>
                  <a:pt x="2381212" y="2591349"/>
                </a:cubicBezTo>
                <a:cubicBezTo>
                  <a:pt x="2265762" y="2530508"/>
                  <a:pt x="2150311" y="2530508"/>
                  <a:pt x="2034861" y="2591349"/>
                </a:cubicBezTo>
                <a:cubicBezTo>
                  <a:pt x="1910296" y="2655231"/>
                  <a:pt x="1761426" y="2658273"/>
                  <a:pt x="1633823" y="2591349"/>
                </a:cubicBezTo>
                <a:cubicBezTo>
                  <a:pt x="1518372" y="2530508"/>
                  <a:pt x="1399884" y="2530508"/>
                  <a:pt x="1287472" y="2591349"/>
                </a:cubicBezTo>
                <a:cubicBezTo>
                  <a:pt x="1162907" y="2655231"/>
                  <a:pt x="1010998" y="2658273"/>
                  <a:pt x="886433" y="2591349"/>
                </a:cubicBezTo>
                <a:cubicBezTo>
                  <a:pt x="691991" y="2490962"/>
                  <a:pt x="537044" y="2573097"/>
                  <a:pt x="439823" y="2661315"/>
                </a:cubicBezTo>
                <a:cubicBezTo>
                  <a:pt x="427670" y="2670441"/>
                  <a:pt x="412479" y="2676525"/>
                  <a:pt x="397288" y="2676525"/>
                </a:cubicBezTo>
                <a:cubicBezTo>
                  <a:pt x="391212" y="2676525"/>
                  <a:pt x="385136" y="2676525"/>
                  <a:pt x="379059" y="2673483"/>
                </a:cubicBezTo>
                <a:cubicBezTo>
                  <a:pt x="357792" y="2667399"/>
                  <a:pt x="345639" y="2652189"/>
                  <a:pt x="339563" y="2630895"/>
                </a:cubicBezTo>
                <a:cubicBezTo>
                  <a:pt x="327410" y="2597433"/>
                  <a:pt x="166387" y="2198929"/>
                  <a:pt x="60052" y="1937315"/>
                </a:cubicBezTo>
                <a:cubicBezTo>
                  <a:pt x="57013" y="1928189"/>
                  <a:pt x="53975" y="1922105"/>
                  <a:pt x="53975" y="1912979"/>
                </a:cubicBezTo>
                <a:cubicBezTo>
                  <a:pt x="53975" y="1703080"/>
                  <a:pt x="53975" y="1703080"/>
                  <a:pt x="53975" y="1703080"/>
                </a:cubicBezTo>
                <a:cubicBezTo>
                  <a:pt x="53975" y="1669618"/>
                  <a:pt x="81319" y="1642240"/>
                  <a:pt x="114739" y="1642240"/>
                </a:cubicBezTo>
                <a:cubicBezTo>
                  <a:pt x="531158" y="1642240"/>
                  <a:pt x="869499" y="1642240"/>
                  <a:pt x="1144400" y="1642240"/>
                </a:cubicBezTo>
                <a:lnTo>
                  <a:pt x="1222894" y="1642240"/>
                </a:lnTo>
                <a:lnTo>
                  <a:pt x="1214438" y="1621882"/>
                </a:lnTo>
                <a:cubicBezTo>
                  <a:pt x="1214438" y="1156243"/>
                  <a:pt x="1214438" y="1156243"/>
                  <a:pt x="1214438" y="1156243"/>
                </a:cubicBezTo>
                <a:lnTo>
                  <a:pt x="1227369" y="1125111"/>
                </a:lnTo>
                <a:lnTo>
                  <a:pt x="1223963" y="1116886"/>
                </a:lnTo>
                <a:cubicBezTo>
                  <a:pt x="1223963" y="805579"/>
                  <a:pt x="1223963" y="805579"/>
                  <a:pt x="1223963" y="805579"/>
                </a:cubicBezTo>
                <a:lnTo>
                  <a:pt x="1228164" y="795431"/>
                </a:lnTo>
                <a:lnTo>
                  <a:pt x="1223963" y="785321"/>
                </a:lnTo>
                <a:cubicBezTo>
                  <a:pt x="1223963" y="475155"/>
                  <a:pt x="1223963" y="475155"/>
                  <a:pt x="1223963" y="475155"/>
                </a:cubicBezTo>
                <a:cubicBezTo>
                  <a:pt x="1223963" y="441706"/>
                  <a:pt x="1251305" y="414338"/>
                  <a:pt x="1284723" y="414338"/>
                </a:cubicBezTo>
                <a:cubicBezTo>
                  <a:pt x="1463586" y="414338"/>
                  <a:pt x="1575376" y="414338"/>
                  <a:pt x="1645244" y="414338"/>
                </a:cubicBezTo>
                <a:lnTo>
                  <a:pt x="1701289" y="414338"/>
                </a:lnTo>
                <a:lnTo>
                  <a:pt x="1701289" y="385733"/>
                </a:lnTo>
                <a:cubicBezTo>
                  <a:pt x="1701289" y="289398"/>
                  <a:pt x="1701289" y="289398"/>
                  <a:pt x="1701289" y="289398"/>
                </a:cubicBezTo>
                <a:cubicBezTo>
                  <a:pt x="1701289" y="255959"/>
                  <a:pt x="1728306" y="228600"/>
                  <a:pt x="1761326" y="228600"/>
                </a:cubicBezTo>
                <a:close/>
                <a:moveTo>
                  <a:pt x="550069" y="0"/>
                </a:moveTo>
                <a:cubicBezTo>
                  <a:pt x="583685" y="0"/>
                  <a:pt x="611188" y="27384"/>
                  <a:pt x="611188" y="60854"/>
                </a:cubicBezTo>
                <a:cubicBezTo>
                  <a:pt x="611188" y="174956"/>
                  <a:pt x="611188" y="267663"/>
                  <a:pt x="611188" y="342988"/>
                </a:cubicBezTo>
                <a:lnTo>
                  <a:pt x="611188" y="381000"/>
                </a:lnTo>
                <a:lnTo>
                  <a:pt x="616883" y="381000"/>
                </a:lnTo>
                <a:cubicBezTo>
                  <a:pt x="680635" y="381000"/>
                  <a:pt x="680635" y="381000"/>
                  <a:pt x="680635" y="381000"/>
                </a:cubicBezTo>
                <a:cubicBezTo>
                  <a:pt x="714036" y="381000"/>
                  <a:pt x="741363" y="408146"/>
                  <a:pt x="741363" y="441325"/>
                </a:cubicBezTo>
                <a:cubicBezTo>
                  <a:pt x="741363" y="474504"/>
                  <a:pt x="714036" y="501650"/>
                  <a:pt x="680635" y="501650"/>
                </a:cubicBezTo>
                <a:lnTo>
                  <a:pt x="611188" y="501650"/>
                </a:lnTo>
                <a:lnTo>
                  <a:pt x="611188" y="520826"/>
                </a:lnTo>
                <a:cubicBezTo>
                  <a:pt x="611188" y="550540"/>
                  <a:pt x="611188" y="574311"/>
                  <a:pt x="611188" y="593328"/>
                </a:cubicBezTo>
                <a:lnTo>
                  <a:pt x="611188" y="608013"/>
                </a:lnTo>
                <a:lnTo>
                  <a:pt x="676005" y="608013"/>
                </a:lnTo>
                <a:cubicBezTo>
                  <a:pt x="754995" y="608013"/>
                  <a:pt x="816813" y="608013"/>
                  <a:pt x="865192" y="608013"/>
                </a:cubicBezTo>
                <a:lnTo>
                  <a:pt x="890185" y="608013"/>
                </a:lnTo>
                <a:lnTo>
                  <a:pt x="917035" y="608013"/>
                </a:lnTo>
                <a:cubicBezTo>
                  <a:pt x="1039357" y="608013"/>
                  <a:pt x="1039357" y="608013"/>
                  <a:pt x="1039357" y="608013"/>
                </a:cubicBezTo>
                <a:cubicBezTo>
                  <a:pt x="1072787" y="608013"/>
                  <a:pt x="1100138" y="632461"/>
                  <a:pt x="1100138" y="669132"/>
                </a:cubicBezTo>
                <a:cubicBezTo>
                  <a:pt x="1100138" y="702748"/>
                  <a:pt x="1072787" y="730251"/>
                  <a:pt x="1039357" y="730251"/>
                </a:cubicBezTo>
                <a:lnTo>
                  <a:pt x="950913" y="730251"/>
                </a:lnTo>
                <a:lnTo>
                  <a:pt x="950913" y="816242"/>
                </a:lnTo>
                <a:cubicBezTo>
                  <a:pt x="950913" y="1505984"/>
                  <a:pt x="950913" y="1505984"/>
                  <a:pt x="950913" y="1505984"/>
                </a:cubicBezTo>
                <a:cubicBezTo>
                  <a:pt x="950913" y="1539467"/>
                  <a:pt x="923586" y="1566863"/>
                  <a:pt x="890185" y="1566863"/>
                </a:cubicBezTo>
                <a:cubicBezTo>
                  <a:pt x="246466" y="1566863"/>
                  <a:pt x="246466" y="1566863"/>
                  <a:pt x="246466" y="1566863"/>
                </a:cubicBezTo>
                <a:cubicBezTo>
                  <a:pt x="231284" y="1566863"/>
                  <a:pt x="213065" y="1560775"/>
                  <a:pt x="203956" y="1548599"/>
                </a:cubicBezTo>
                <a:cubicBezTo>
                  <a:pt x="191811" y="1539467"/>
                  <a:pt x="185738" y="1524248"/>
                  <a:pt x="185738" y="1505984"/>
                </a:cubicBezTo>
                <a:cubicBezTo>
                  <a:pt x="185738" y="1035120"/>
                  <a:pt x="185738" y="829117"/>
                  <a:pt x="185738" y="738991"/>
                </a:cubicBezTo>
                <a:lnTo>
                  <a:pt x="185738" y="730251"/>
                </a:lnTo>
                <a:lnTo>
                  <a:pt x="183103" y="730251"/>
                </a:lnTo>
                <a:cubicBezTo>
                  <a:pt x="60781" y="730251"/>
                  <a:pt x="60781" y="730251"/>
                  <a:pt x="60781" y="730251"/>
                </a:cubicBezTo>
                <a:cubicBezTo>
                  <a:pt x="27351" y="730251"/>
                  <a:pt x="0" y="702748"/>
                  <a:pt x="0" y="669132"/>
                </a:cubicBezTo>
                <a:cubicBezTo>
                  <a:pt x="0" y="632461"/>
                  <a:pt x="27351" y="608013"/>
                  <a:pt x="60781" y="608013"/>
                </a:cubicBezTo>
                <a:cubicBezTo>
                  <a:pt x="121942" y="608013"/>
                  <a:pt x="179280" y="608013"/>
                  <a:pt x="233035" y="608013"/>
                </a:cubicBezTo>
                <a:lnTo>
                  <a:pt x="246466" y="608013"/>
                </a:lnTo>
                <a:lnTo>
                  <a:pt x="383788" y="608013"/>
                </a:lnTo>
                <a:lnTo>
                  <a:pt x="488950" y="608013"/>
                </a:lnTo>
                <a:lnTo>
                  <a:pt x="488950" y="562277"/>
                </a:lnTo>
                <a:lnTo>
                  <a:pt x="488950" y="501650"/>
                </a:lnTo>
                <a:lnTo>
                  <a:pt x="483257" y="501650"/>
                </a:lnTo>
                <a:cubicBezTo>
                  <a:pt x="419504" y="501650"/>
                  <a:pt x="419504" y="501650"/>
                  <a:pt x="419504" y="501650"/>
                </a:cubicBezTo>
                <a:cubicBezTo>
                  <a:pt x="386103" y="501650"/>
                  <a:pt x="358775" y="474504"/>
                  <a:pt x="358775" y="441325"/>
                </a:cubicBezTo>
                <a:cubicBezTo>
                  <a:pt x="358775" y="408146"/>
                  <a:pt x="386103" y="381000"/>
                  <a:pt x="419504" y="381000"/>
                </a:cubicBezTo>
                <a:lnTo>
                  <a:pt x="488950" y="381000"/>
                </a:lnTo>
                <a:lnTo>
                  <a:pt x="488950" y="317583"/>
                </a:lnTo>
                <a:cubicBezTo>
                  <a:pt x="488950" y="60854"/>
                  <a:pt x="488950" y="60854"/>
                  <a:pt x="488950" y="60854"/>
                </a:cubicBezTo>
                <a:cubicBezTo>
                  <a:pt x="488950" y="27384"/>
                  <a:pt x="516454" y="0"/>
                  <a:pt x="550069" y="0"/>
                </a:cubicBezTo>
                <a:close/>
              </a:path>
            </a:pathLst>
          </a:custGeom>
          <a:solidFill>
            <a:srgbClr val="2A4368"/>
          </a:solidFill>
          <a:ln>
            <a:solidFill>
              <a:srgbClr val="2A4368"/>
            </a:solid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391" name="Freeform 98">
            <a:extLst>
              <a:ext uri="{FF2B5EF4-FFF2-40B4-BE49-F238E27FC236}">
                <a16:creationId xmlns:a16="http://schemas.microsoft.com/office/drawing/2014/main" id="{D9BA035E-DF49-4E02-8BEE-9004333FBC59}"/>
              </a:ext>
            </a:extLst>
          </p:cNvPr>
          <p:cNvSpPr>
            <a:spLocks/>
          </p:cNvSpPr>
          <p:nvPr/>
        </p:nvSpPr>
        <p:spPr bwMode="auto">
          <a:xfrm flipH="1">
            <a:off x="3522465" y="2487230"/>
            <a:ext cx="467331" cy="324328"/>
          </a:xfrm>
          <a:custGeom>
            <a:avLst/>
            <a:gdLst>
              <a:gd name="connsiteX0" fmla="*/ 2457773 w 3856662"/>
              <a:gd name="connsiteY0" fmla="*/ 1636713 h 2676525"/>
              <a:gd name="connsiteX1" fmla="*/ 2457773 w 3856662"/>
              <a:gd name="connsiteY1" fmla="*/ 1703593 h 2676525"/>
              <a:gd name="connsiteX2" fmla="*/ 2397012 w 3856662"/>
              <a:gd name="connsiteY2" fmla="*/ 1764394 h 2676525"/>
              <a:gd name="connsiteX3" fmla="*/ 176213 w 3856662"/>
              <a:gd name="connsiteY3" fmla="*/ 1764394 h 2676525"/>
              <a:gd name="connsiteX4" fmla="*/ 176213 w 3856662"/>
              <a:gd name="connsiteY4" fmla="*/ 1901194 h 2676525"/>
              <a:gd name="connsiteX5" fmla="*/ 425332 w 3856662"/>
              <a:gd name="connsiteY5" fmla="*/ 2518316 h 2676525"/>
              <a:gd name="connsiteX6" fmla="*/ 941796 w 3856662"/>
              <a:gd name="connsiteY6" fmla="*/ 2481836 h 2676525"/>
              <a:gd name="connsiteX7" fmla="*/ 1230409 w 3856662"/>
              <a:gd name="connsiteY7" fmla="*/ 2481836 h 2676525"/>
              <a:gd name="connsiteX8" fmla="*/ 1692189 w 3856662"/>
              <a:gd name="connsiteY8" fmla="*/ 2484876 h 2676525"/>
              <a:gd name="connsiteX9" fmla="*/ 1980802 w 3856662"/>
              <a:gd name="connsiteY9" fmla="*/ 2481836 h 2676525"/>
              <a:gd name="connsiteX10" fmla="*/ 2205616 w 3856662"/>
              <a:gd name="connsiteY10" fmla="*/ 2424076 h 2676525"/>
              <a:gd name="connsiteX11" fmla="*/ 2439544 w 3856662"/>
              <a:gd name="connsiteY11" fmla="*/ 2484876 h 2676525"/>
              <a:gd name="connsiteX12" fmla="*/ 2728157 w 3856662"/>
              <a:gd name="connsiteY12" fmla="*/ 2481836 h 2676525"/>
              <a:gd name="connsiteX13" fmla="*/ 3238546 w 3856662"/>
              <a:gd name="connsiteY13" fmla="*/ 2515276 h 2676525"/>
              <a:gd name="connsiteX14" fmla="*/ 3697288 w 3856662"/>
              <a:gd name="connsiteY14" fmla="*/ 1636713 h 2676525"/>
              <a:gd name="connsiteX15" fmla="*/ 2457773 w 3856662"/>
              <a:gd name="connsiteY15" fmla="*/ 1636713 h 2676525"/>
              <a:gd name="connsiteX16" fmla="*/ 1336004 w 3856662"/>
              <a:gd name="connsiteY16" fmla="*/ 1217111 h 2676525"/>
              <a:gd name="connsiteX17" fmla="*/ 1336004 w 3856662"/>
              <a:gd name="connsiteY17" fmla="*/ 1621882 h 2676525"/>
              <a:gd name="connsiteX18" fmla="*/ 1327549 w 3856662"/>
              <a:gd name="connsiteY18" fmla="*/ 1642240 h 2676525"/>
              <a:gd name="connsiteX19" fmla="*/ 1398698 w 3856662"/>
              <a:gd name="connsiteY19" fmla="*/ 1642240 h 2676525"/>
              <a:gd name="connsiteX20" fmla="*/ 2335640 w 3856662"/>
              <a:gd name="connsiteY20" fmla="*/ 1642240 h 2676525"/>
              <a:gd name="connsiteX21" fmla="*/ 2335640 w 3856662"/>
              <a:gd name="connsiteY21" fmla="*/ 1575315 h 2676525"/>
              <a:gd name="connsiteX22" fmla="*/ 2335885 w 3856662"/>
              <a:gd name="connsiteY22" fmla="*/ 1574725 h 2676525"/>
              <a:gd name="connsiteX23" fmla="*/ 2335885 w 3856662"/>
              <a:gd name="connsiteY23" fmla="*/ 1550632 h 2676525"/>
              <a:gd name="connsiteX24" fmla="*/ 2335885 w 3856662"/>
              <a:gd name="connsiteY24" fmla="*/ 1217111 h 2676525"/>
              <a:gd name="connsiteX25" fmla="*/ 1336004 w 3856662"/>
              <a:gd name="connsiteY25" fmla="*/ 1217111 h 2676525"/>
              <a:gd name="connsiteX26" fmla="*/ 528638 w 3856662"/>
              <a:gd name="connsiteY26" fmla="*/ 1058863 h 2676525"/>
              <a:gd name="connsiteX27" fmla="*/ 528638 w 3856662"/>
              <a:gd name="connsiteY27" fmla="*/ 1128713 h 2676525"/>
              <a:gd name="connsiteX28" fmla="*/ 615951 w 3856662"/>
              <a:gd name="connsiteY28" fmla="*/ 1128713 h 2676525"/>
              <a:gd name="connsiteX29" fmla="*/ 615951 w 3856662"/>
              <a:gd name="connsiteY29" fmla="*/ 1058863 h 2676525"/>
              <a:gd name="connsiteX30" fmla="*/ 2457451 w 3856662"/>
              <a:gd name="connsiteY30" fmla="*/ 1028004 h 2676525"/>
              <a:gd name="connsiteX31" fmla="*/ 2457451 w 3856662"/>
              <a:gd name="connsiteY31" fmla="*/ 1056670 h 2676525"/>
              <a:gd name="connsiteX32" fmla="*/ 2457451 w 3856662"/>
              <a:gd name="connsiteY32" fmla="*/ 1121979 h 2676525"/>
              <a:gd name="connsiteX33" fmla="*/ 2450307 w 3856662"/>
              <a:gd name="connsiteY33" fmla="*/ 1139042 h 2676525"/>
              <a:gd name="connsiteX34" fmla="*/ 2457451 w 3856662"/>
              <a:gd name="connsiteY34" fmla="*/ 1156243 h 2676525"/>
              <a:gd name="connsiteX35" fmla="*/ 2457451 w 3856662"/>
              <a:gd name="connsiteY35" fmla="*/ 1508201 h 2676525"/>
              <a:gd name="connsiteX36" fmla="*/ 2457451 w 3856662"/>
              <a:gd name="connsiteY36" fmla="*/ 1514475 h 2676525"/>
              <a:gd name="connsiteX37" fmla="*/ 2647950 w 3856662"/>
              <a:gd name="connsiteY37" fmla="*/ 1514475 h 2676525"/>
              <a:gd name="connsiteX38" fmla="*/ 3653368 w 3856662"/>
              <a:gd name="connsiteY38" fmla="*/ 1514475 h 2676525"/>
              <a:gd name="connsiteX39" fmla="*/ 3663059 w 3856662"/>
              <a:gd name="connsiteY39" fmla="*/ 1514475 h 2676525"/>
              <a:gd name="connsiteX40" fmla="*/ 3663059 w 3856662"/>
              <a:gd name="connsiteY40" fmla="*/ 1431094 h 2676525"/>
              <a:gd name="connsiteX41" fmla="*/ 3663059 w 3856662"/>
              <a:gd name="connsiteY41" fmla="*/ 1028004 h 2676525"/>
              <a:gd name="connsiteX42" fmla="*/ 2462803 w 3856662"/>
              <a:gd name="connsiteY42" fmla="*/ 1028004 h 2676525"/>
              <a:gd name="connsiteX43" fmla="*/ 467279 w 3856662"/>
              <a:gd name="connsiteY43" fmla="*/ 936625 h 2676525"/>
              <a:gd name="connsiteX44" fmla="*/ 677310 w 3856662"/>
              <a:gd name="connsiteY44" fmla="*/ 936625 h 2676525"/>
              <a:gd name="connsiteX45" fmla="*/ 738188 w 3856662"/>
              <a:gd name="connsiteY45" fmla="*/ 997659 h 2676525"/>
              <a:gd name="connsiteX46" fmla="*/ 738188 w 3856662"/>
              <a:gd name="connsiteY46" fmla="*/ 1189916 h 2676525"/>
              <a:gd name="connsiteX47" fmla="*/ 677310 w 3856662"/>
              <a:gd name="connsiteY47" fmla="*/ 1250950 h 2676525"/>
              <a:gd name="connsiteX48" fmla="*/ 467279 w 3856662"/>
              <a:gd name="connsiteY48" fmla="*/ 1250950 h 2676525"/>
              <a:gd name="connsiteX49" fmla="*/ 406400 w 3856662"/>
              <a:gd name="connsiteY49" fmla="*/ 1189916 h 2676525"/>
              <a:gd name="connsiteX50" fmla="*/ 406400 w 3856662"/>
              <a:gd name="connsiteY50" fmla="*/ 997659 h 2676525"/>
              <a:gd name="connsiteX51" fmla="*/ 467279 w 3856662"/>
              <a:gd name="connsiteY51" fmla="*/ 936625 h 2676525"/>
              <a:gd name="connsiteX52" fmla="*/ 1345484 w 3856662"/>
              <a:gd name="connsiteY52" fmla="*/ 866619 h 2676525"/>
              <a:gd name="connsiteX53" fmla="*/ 1345484 w 3856662"/>
              <a:gd name="connsiteY53" fmla="*/ 1085602 h 2676525"/>
              <a:gd name="connsiteX54" fmla="*/ 1345484 w 3856662"/>
              <a:gd name="connsiteY54" fmla="*/ 1095375 h 2676525"/>
              <a:gd name="connsiteX55" fmla="*/ 1472624 w 3856662"/>
              <a:gd name="connsiteY55" fmla="*/ 1095375 h 2676525"/>
              <a:gd name="connsiteX56" fmla="*/ 1645386 w 3856662"/>
              <a:gd name="connsiteY56" fmla="*/ 1095375 h 2676525"/>
              <a:gd name="connsiteX57" fmla="*/ 1700931 w 3856662"/>
              <a:gd name="connsiteY57" fmla="*/ 1095375 h 2676525"/>
              <a:gd name="connsiteX58" fmla="*/ 1700931 w 3856662"/>
              <a:gd name="connsiteY58" fmla="*/ 1034278 h 2676525"/>
              <a:gd name="connsiteX59" fmla="*/ 1700931 w 3856662"/>
              <a:gd name="connsiteY59" fmla="*/ 866619 h 2676525"/>
              <a:gd name="connsiteX60" fmla="*/ 1345484 w 3856662"/>
              <a:gd name="connsiteY60" fmla="*/ 866619 h 2676525"/>
              <a:gd name="connsiteX61" fmla="*/ 307194 w 3856662"/>
              <a:gd name="connsiteY61" fmla="*/ 730251 h 2676525"/>
              <a:gd name="connsiteX62" fmla="*/ 307194 w 3856662"/>
              <a:gd name="connsiteY62" fmla="*/ 805525 h 2676525"/>
              <a:gd name="connsiteX63" fmla="*/ 307194 w 3856662"/>
              <a:gd name="connsiteY63" fmla="*/ 1445104 h 2676525"/>
              <a:gd name="connsiteX64" fmla="*/ 829457 w 3856662"/>
              <a:gd name="connsiteY64" fmla="*/ 1445104 h 2676525"/>
              <a:gd name="connsiteX65" fmla="*/ 829457 w 3856662"/>
              <a:gd name="connsiteY65" fmla="*/ 733893 h 2676525"/>
              <a:gd name="connsiteX66" fmla="*/ 829457 w 3856662"/>
              <a:gd name="connsiteY66" fmla="*/ 730251 h 2676525"/>
              <a:gd name="connsiteX67" fmla="*/ 716351 w 3856662"/>
              <a:gd name="connsiteY67" fmla="*/ 730251 h 2676525"/>
              <a:gd name="connsiteX68" fmla="*/ 378771 w 3856662"/>
              <a:gd name="connsiteY68" fmla="*/ 730251 h 2676525"/>
              <a:gd name="connsiteX69" fmla="*/ 1345484 w 3856662"/>
              <a:gd name="connsiteY69" fmla="*/ 535972 h 2676525"/>
              <a:gd name="connsiteX70" fmla="*/ 1345484 w 3856662"/>
              <a:gd name="connsiteY70" fmla="*/ 724445 h 2676525"/>
              <a:gd name="connsiteX71" fmla="*/ 1345484 w 3856662"/>
              <a:gd name="connsiteY71" fmla="*/ 744538 h 2676525"/>
              <a:gd name="connsiteX72" fmla="*/ 1406687 w 3856662"/>
              <a:gd name="connsiteY72" fmla="*/ 744538 h 2676525"/>
              <a:gd name="connsiteX73" fmla="*/ 1645244 w 3856662"/>
              <a:gd name="connsiteY73" fmla="*/ 744538 h 2676525"/>
              <a:gd name="connsiteX74" fmla="*/ 1700931 w 3856662"/>
              <a:gd name="connsiteY74" fmla="*/ 744538 h 2676525"/>
              <a:gd name="connsiteX75" fmla="*/ 1700931 w 3856662"/>
              <a:gd name="connsiteY75" fmla="*/ 703016 h 2676525"/>
              <a:gd name="connsiteX76" fmla="*/ 1700931 w 3856662"/>
              <a:gd name="connsiteY76" fmla="*/ 535972 h 2676525"/>
              <a:gd name="connsiteX77" fmla="*/ 1345484 w 3856662"/>
              <a:gd name="connsiteY77" fmla="*/ 535972 h 2676525"/>
              <a:gd name="connsiteX78" fmla="*/ 2451748 w 3856662"/>
              <a:gd name="connsiteY78" fmla="*/ 502583 h 2676525"/>
              <a:gd name="connsiteX79" fmla="*/ 2451748 w 3856662"/>
              <a:gd name="connsiteY79" fmla="*/ 505345 h 2676525"/>
              <a:gd name="connsiteX80" fmla="*/ 2451748 w 3856662"/>
              <a:gd name="connsiteY80" fmla="*/ 894122 h 2676525"/>
              <a:gd name="connsiteX81" fmla="*/ 2451748 w 3856662"/>
              <a:gd name="connsiteY81" fmla="*/ 906463 h 2676525"/>
              <a:gd name="connsiteX82" fmla="*/ 2629719 w 3856662"/>
              <a:gd name="connsiteY82" fmla="*/ 906463 h 2676525"/>
              <a:gd name="connsiteX83" fmla="*/ 3262252 w 3856662"/>
              <a:gd name="connsiteY83" fmla="*/ 906463 h 2676525"/>
              <a:gd name="connsiteX84" fmla="*/ 3365495 w 3856662"/>
              <a:gd name="connsiteY84" fmla="*/ 906463 h 2676525"/>
              <a:gd name="connsiteX85" fmla="*/ 3365495 w 3856662"/>
              <a:gd name="connsiteY85" fmla="*/ 880767 h 2676525"/>
              <a:gd name="connsiteX86" fmla="*/ 3365495 w 3856662"/>
              <a:gd name="connsiteY86" fmla="*/ 502583 h 2676525"/>
              <a:gd name="connsiteX87" fmla="*/ 2455546 w 3856662"/>
              <a:gd name="connsiteY87" fmla="*/ 502583 h 2676525"/>
              <a:gd name="connsiteX88" fmla="*/ 1821363 w 3856662"/>
              <a:gd name="connsiteY88" fmla="*/ 350196 h 2676525"/>
              <a:gd name="connsiteX89" fmla="*/ 1821363 w 3856662"/>
              <a:gd name="connsiteY89" fmla="*/ 468988 h 2676525"/>
              <a:gd name="connsiteX90" fmla="*/ 1821363 w 3856662"/>
              <a:gd name="connsiteY90" fmla="*/ 472536 h 2676525"/>
              <a:gd name="connsiteX91" fmla="*/ 1822451 w 3856662"/>
              <a:gd name="connsiteY91" fmla="*/ 475155 h 2676525"/>
              <a:gd name="connsiteX92" fmla="*/ 1822451 w 3856662"/>
              <a:gd name="connsiteY92" fmla="*/ 785321 h 2676525"/>
              <a:gd name="connsiteX93" fmla="*/ 1821363 w 3856662"/>
              <a:gd name="connsiteY93" fmla="*/ 787941 h 2676525"/>
              <a:gd name="connsiteX94" fmla="*/ 1821363 w 3856662"/>
              <a:gd name="connsiteY94" fmla="*/ 802950 h 2676525"/>
              <a:gd name="connsiteX95" fmla="*/ 1822451 w 3856662"/>
              <a:gd name="connsiteY95" fmla="*/ 805579 h 2676525"/>
              <a:gd name="connsiteX96" fmla="*/ 1822451 w 3856662"/>
              <a:gd name="connsiteY96" fmla="*/ 1077972 h 2676525"/>
              <a:gd name="connsiteX97" fmla="*/ 1822451 w 3856662"/>
              <a:gd name="connsiteY97" fmla="*/ 1095375 h 2676525"/>
              <a:gd name="connsiteX98" fmla="*/ 1923558 w 3856662"/>
              <a:gd name="connsiteY98" fmla="*/ 1095375 h 2676525"/>
              <a:gd name="connsiteX99" fmla="*/ 2281163 w 3856662"/>
              <a:gd name="connsiteY99" fmla="*/ 1095375 h 2676525"/>
              <a:gd name="connsiteX100" fmla="*/ 2335213 w 3856662"/>
              <a:gd name="connsiteY100" fmla="*/ 1095375 h 2676525"/>
              <a:gd name="connsiteX101" fmla="*/ 2335213 w 3856662"/>
              <a:gd name="connsiteY101" fmla="*/ 1070881 h 2676525"/>
              <a:gd name="connsiteX102" fmla="*/ 2335213 w 3856662"/>
              <a:gd name="connsiteY102" fmla="*/ 1033667 h 2676525"/>
              <a:gd name="connsiteX103" fmla="*/ 2331675 w 3856662"/>
              <a:gd name="connsiteY103" fmla="*/ 1025052 h 2676525"/>
              <a:gd name="connsiteX104" fmla="*/ 2331675 w 3856662"/>
              <a:gd name="connsiteY104" fmla="*/ 350196 h 2676525"/>
              <a:gd name="connsiteX105" fmla="*/ 1821363 w 3856662"/>
              <a:gd name="connsiteY105" fmla="*/ 350196 h 2676525"/>
              <a:gd name="connsiteX106" fmla="*/ 1761326 w 3856662"/>
              <a:gd name="connsiteY106" fmla="*/ 228600 h 2676525"/>
              <a:gd name="connsiteX107" fmla="*/ 2391711 w 3856662"/>
              <a:gd name="connsiteY107" fmla="*/ 228600 h 2676525"/>
              <a:gd name="connsiteX108" fmla="*/ 2451748 w 3856662"/>
              <a:gd name="connsiteY108" fmla="*/ 289398 h 2676525"/>
              <a:gd name="connsiteX109" fmla="*/ 2451748 w 3856662"/>
              <a:gd name="connsiteY109" fmla="*/ 381000 h 2676525"/>
              <a:gd name="connsiteX110" fmla="*/ 2584682 w 3856662"/>
              <a:gd name="connsiteY110" fmla="*/ 381000 h 2676525"/>
              <a:gd name="connsiteX111" fmla="*/ 3426293 w 3856662"/>
              <a:gd name="connsiteY111" fmla="*/ 381000 h 2676525"/>
              <a:gd name="connsiteX112" fmla="*/ 3487091 w 3856662"/>
              <a:gd name="connsiteY112" fmla="*/ 441792 h 2676525"/>
              <a:gd name="connsiteX113" fmla="*/ 3487091 w 3856662"/>
              <a:gd name="connsiteY113" fmla="*/ 896588 h 2676525"/>
              <a:gd name="connsiteX114" fmla="*/ 3487091 w 3856662"/>
              <a:gd name="connsiteY114" fmla="*/ 906463 h 2676525"/>
              <a:gd name="connsiteX115" fmla="*/ 3529102 w 3856662"/>
              <a:gd name="connsiteY115" fmla="*/ 906463 h 2676525"/>
              <a:gd name="connsiteX116" fmla="*/ 3723830 w 3856662"/>
              <a:gd name="connsiteY116" fmla="*/ 906463 h 2676525"/>
              <a:gd name="connsiteX117" fmla="*/ 3784601 w 3856662"/>
              <a:gd name="connsiteY117" fmla="*/ 967234 h 2676525"/>
              <a:gd name="connsiteX118" fmla="*/ 3784601 w 3856662"/>
              <a:gd name="connsiteY118" fmla="*/ 1508612 h 2676525"/>
              <a:gd name="connsiteX119" fmla="*/ 3784601 w 3856662"/>
              <a:gd name="connsiteY119" fmla="*/ 1514475 h 2676525"/>
              <a:gd name="connsiteX120" fmla="*/ 3794755 w 3856662"/>
              <a:gd name="connsiteY120" fmla="*/ 1514475 h 2676525"/>
              <a:gd name="connsiteX121" fmla="*/ 3796999 w 3856662"/>
              <a:gd name="connsiteY121" fmla="*/ 1514475 h 2676525"/>
              <a:gd name="connsiteX122" fmla="*/ 3848647 w 3856662"/>
              <a:gd name="connsiteY122" fmla="*/ 1544895 h 2676525"/>
              <a:gd name="connsiteX123" fmla="*/ 3848647 w 3856662"/>
              <a:gd name="connsiteY123" fmla="*/ 1602694 h 2676525"/>
              <a:gd name="connsiteX124" fmla="*/ 3313930 w 3856662"/>
              <a:gd name="connsiteY124" fmla="*/ 2633937 h 2676525"/>
              <a:gd name="connsiteX125" fmla="*/ 3274434 w 3856662"/>
              <a:gd name="connsiteY125" fmla="*/ 2664357 h 2676525"/>
              <a:gd name="connsiteX126" fmla="*/ 3222785 w 3856662"/>
              <a:gd name="connsiteY126" fmla="*/ 2652189 h 2676525"/>
              <a:gd name="connsiteX127" fmla="*/ 2785289 w 3856662"/>
              <a:gd name="connsiteY127" fmla="*/ 2591349 h 2676525"/>
              <a:gd name="connsiteX128" fmla="*/ 2381212 w 3856662"/>
              <a:gd name="connsiteY128" fmla="*/ 2591349 h 2676525"/>
              <a:gd name="connsiteX129" fmla="*/ 2034861 w 3856662"/>
              <a:gd name="connsiteY129" fmla="*/ 2591349 h 2676525"/>
              <a:gd name="connsiteX130" fmla="*/ 1633823 w 3856662"/>
              <a:gd name="connsiteY130" fmla="*/ 2591349 h 2676525"/>
              <a:gd name="connsiteX131" fmla="*/ 1287472 w 3856662"/>
              <a:gd name="connsiteY131" fmla="*/ 2591349 h 2676525"/>
              <a:gd name="connsiteX132" fmla="*/ 886433 w 3856662"/>
              <a:gd name="connsiteY132" fmla="*/ 2591349 h 2676525"/>
              <a:gd name="connsiteX133" fmla="*/ 439823 w 3856662"/>
              <a:gd name="connsiteY133" fmla="*/ 2661315 h 2676525"/>
              <a:gd name="connsiteX134" fmla="*/ 397288 w 3856662"/>
              <a:gd name="connsiteY134" fmla="*/ 2676525 h 2676525"/>
              <a:gd name="connsiteX135" fmla="*/ 379059 w 3856662"/>
              <a:gd name="connsiteY135" fmla="*/ 2673483 h 2676525"/>
              <a:gd name="connsiteX136" fmla="*/ 339563 w 3856662"/>
              <a:gd name="connsiteY136" fmla="*/ 2630895 h 2676525"/>
              <a:gd name="connsiteX137" fmla="*/ 60052 w 3856662"/>
              <a:gd name="connsiteY137" fmla="*/ 1937315 h 2676525"/>
              <a:gd name="connsiteX138" fmla="*/ 53975 w 3856662"/>
              <a:gd name="connsiteY138" fmla="*/ 1912979 h 2676525"/>
              <a:gd name="connsiteX139" fmla="*/ 53975 w 3856662"/>
              <a:gd name="connsiteY139" fmla="*/ 1703080 h 2676525"/>
              <a:gd name="connsiteX140" fmla="*/ 114739 w 3856662"/>
              <a:gd name="connsiteY140" fmla="*/ 1642240 h 2676525"/>
              <a:gd name="connsiteX141" fmla="*/ 1144400 w 3856662"/>
              <a:gd name="connsiteY141" fmla="*/ 1642240 h 2676525"/>
              <a:gd name="connsiteX142" fmla="*/ 1222894 w 3856662"/>
              <a:gd name="connsiteY142" fmla="*/ 1642240 h 2676525"/>
              <a:gd name="connsiteX143" fmla="*/ 1214438 w 3856662"/>
              <a:gd name="connsiteY143" fmla="*/ 1621882 h 2676525"/>
              <a:gd name="connsiteX144" fmla="*/ 1214438 w 3856662"/>
              <a:gd name="connsiteY144" fmla="*/ 1156243 h 2676525"/>
              <a:gd name="connsiteX145" fmla="*/ 1227369 w 3856662"/>
              <a:gd name="connsiteY145" fmla="*/ 1125111 h 2676525"/>
              <a:gd name="connsiteX146" fmla="*/ 1223963 w 3856662"/>
              <a:gd name="connsiteY146" fmla="*/ 1116886 h 2676525"/>
              <a:gd name="connsiteX147" fmla="*/ 1223963 w 3856662"/>
              <a:gd name="connsiteY147" fmla="*/ 805579 h 2676525"/>
              <a:gd name="connsiteX148" fmla="*/ 1228164 w 3856662"/>
              <a:gd name="connsiteY148" fmla="*/ 795431 h 2676525"/>
              <a:gd name="connsiteX149" fmla="*/ 1223963 w 3856662"/>
              <a:gd name="connsiteY149" fmla="*/ 785321 h 2676525"/>
              <a:gd name="connsiteX150" fmla="*/ 1223963 w 3856662"/>
              <a:gd name="connsiteY150" fmla="*/ 475155 h 2676525"/>
              <a:gd name="connsiteX151" fmla="*/ 1284723 w 3856662"/>
              <a:gd name="connsiteY151" fmla="*/ 414338 h 2676525"/>
              <a:gd name="connsiteX152" fmla="*/ 1645244 w 3856662"/>
              <a:gd name="connsiteY152" fmla="*/ 414338 h 2676525"/>
              <a:gd name="connsiteX153" fmla="*/ 1701289 w 3856662"/>
              <a:gd name="connsiteY153" fmla="*/ 414338 h 2676525"/>
              <a:gd name="connsiteX154" fmla="*/ 1701289 w 3856662"/>
              <a:gd name="connsiteY154" fmla="*/ 385733 h 2676525"/>
              <a:gd name="connsiteX155" fmla="*/ 1701289 w 3856662"/>
              <a:gd name="connsiteY155" fmla="*/ 289398 h 2676525"/>
              <a:gd name="connsiteX156" fmla="*/ 1761326 w 3856662"/>
              <a:gd name="connsiteY156" fmla="*/ 228600 h 2676525"/>
              <a:gd name="connsiteX157" fmla="*/ 550069 w 3856662"/>
              <a:gd name="connsiteY157" fmla="*/ 0 h 2676525"/>
              <a:gd name="connsiteX158" fmla="*/ 611188 w 3856662"/>
              <a:gd name="connsiteY158" fmla="*/ 60854 h 2676525"/>
              <a:gd name="connsiteX159" fmla="*/ 611188 w 3856662"/>
              <a:gd name="connsiteY159" fmla="*/ 342988 h 2676525"/>
              <a:gd name="connsiteX160" fmla="*/ 611188 w 3856662"/>
              <a:gd name="connsiteY160" fmla="*/ 381000 h 2676525"/>
              <a:gd name="connsiteX161" fmla="*/ 616883 w 3856662"/>
              <a:gd name="connsiteY161" fmla="*/ 381000 h 2676525"/>
              <a:gd name="connsiteX162" fmla="*/ 680635 w 3856662"/>
              <a:gd name="connsiteY162" fmla="*/ 381000 h 2676525"/>
              <a:gd name="connsiteX163" fmla="*/ 741363 w 3856662"/>
              <a:gd name="connsiteY163" fmla="*/ 441325 h 2676525"/>
              <a:gd name="connsiteX164" fmla="*/ 680635 w 3856662"/>
              <a:gd name="connsiteY164" fmla="*/ 501650 h 2676525"/>
              <a:gd name="connsiteX165" fmla="*/ 611188 w 3856662"/>
              <a:gd name="connsiteY165" fmla="*/ 501650 h 2676525"/>
              <a:gd name="connsiteX166" fmla="*/ 611188 w 3856662"/>
              <a:gd name="connsiteY166" fmla="*/ 520826 h 2676525"/>
              <a:gd name="connsiteX167" fmla="*/ 611188 w 3856662"/>
              <a:gd name="connsiteY167" fmla="*/ 593328 h 2676525"/>
              <a:gd name="connsiteX168" fmla="*/ 611188 w 3856662"/>
              <a:gd name="connsiteY168" fmla="*/ 608013 h 2676525"/>
              <a:gd name="connsiteX169" fmla="*/ 676005 w 3856662"/>
              <a:gd name="connsiteY169" fmla="*/ 608013 h 2676525"/>
              <a:gd name="connsiteX170" fmla="*/ 865192 w 3856662"/>
              <a:gd name="connsiteY170" fmla="*/ 608013 h 2676525"/>
              <a:gd name="connsiteX171" fmla="*/ 890185 w 3856662"/>
              <a:gd name="connsiteY171" fmla="*/ 608013 h 2676525"/>
              <a:gd name="connsiteX172" fmla="*/ 917035 w 3856662"/>
              <a:gd name="connsiteY172" fmla="*/ 608013 h 2676525"/>
              <a:gd name="connsiteX173" fmla="*/ 1039357 w 3856662"/>
              <a:gd name="connsiteY173" fmla="*/ 608013 h 2676525"/>
              <a:gd name="connsiteX174" fmla="*/ 1100138 w 3856662"/>
              <a:gd name="connsiteY174" fmla="*/ 669132 h 2676525"/>
              <a:gd name="connsiteX175" fmla="*/ 1039357 w 3856662"/>
              <a:gd name="connsiteY175" fmla="*/ 730251 h 2676525"/>
              <a:gd name="connsiteX176" fmla="*/ 950913 w 3856662"/>
              <a:gd name="connsiteY176" fmla="*/ 730251 h 2676525"/>
              <a:gd name="connsiteX177" fmla="*/ 950913 w 3856662"/>
              <a:gd name="connsiteY177" fmla="*/ 816242 h 2676525"/>
              <a:gd name="connsiteX178" fmla="*/ 950913 w 3856662"/>
              <a:gd name="connsiteY178" fmla="*/ 1505984 h 2676525"/>
              <a:gd name="connsiteX179" fmla="*/ 890185 w 3856662"/>
              <a:gd name="connsiteY179" fmla="*/ 1566863 h 2676525"/>
              <a:gd name="connsiteX180" fmla="*/ 246466 w 3856662"/>
              <a:gd name="connsiteY180" fmla="*/ 1566863 h 2676525"/>
              <a:gd name="connsiteX181" fmla="*/ 203956 w 3856662"/>
              <a:gd name="connsiteY181" fmla="*/ 1548599 h 2676525"/>
              <a:gd name="connsiteX182" fmla="*/ 185738 w 3856662"/>
              <a:gd name="connsiteY182" fmla="*/ 1505984 h 2676525"/>
              <a:gd name="connsiteX183" fmla="*/ 185738 w 3856662"/>
              <a:gd name="connsiteY183" fmla="*/ 738991 h 2676525"/>
              <a:gd name="connsiteX184" fmla="*/ 185738 w 3856662"/>
              <a:gd name="connsiteY184" fmla="*/ 730251 h 2676525"/>
              <a:gd name="connsiteX185" fmla="*/ 183103 w 3856662"/>
              <a:gd name="connsiteY185" fmla="*/ 730251 h 2676525"/>
              <a:gd name="connsiteX186" fmla="*/ 60781 w 3856662"/>
              <a:gd name="connsiteY186" fmla="*/ 730251 h 2676525"/>
              <a:gd name="connsiteX187" fmla="*/ 0 w 3856662"/>
              <a:gd name="connsiteY187" fmla="*/ 669132 h 2676525"/>
              <a:gd name="connsiteX188" fmla="*/ 60781 w 3856662"/>
              <a:gd name="connsiteY188" fmla="*/ 608013 h 2676525"/>
              <a:gd name="connsiteX189" fmla="*/ 233035 w 3856662"/>
              <a:gd name="connsiteY189" fmla="*/ 608013 h 2676525"/>
              <a:gd name="connsiteX190" fmla="*/ 246466 w 3856662"/>
              <a:gd name="connsiteY190" fmla="*/ 608013 h 2676525"/>
              <a:gd name="connsiteX191" fmla="*/ 383788 w 3856662"/>
              <a:gd name="connsiteY191" fmla="*/ 608013 h 2676525"/>
              <a:gd name="connsiteX192" fmla="*/ 488950 w 3856662"/>
              <a:gd name="connsiteY192" fmla="*/ 608013 h 2676525"/>
              <a:gd name="connsiteX193" fmla="*/ 488950 w 3856662"/>
              <a:gd name="connsiteY193" fmla="*/ 562277 h 2676525"/>
              <a:gd name="connsiteX194" fmla="*/ 488950 w 3856662"/>
              <a:gd name="connsiteY194" fmla="*/ 501650 h 2676525"/>
              <a:gd name="connsiteX195" fmla="*/ 483257 w 3856662"/>
              <a:gd name="connsiteY195" fmla="*/ 501650 h 2676525"/>
              <a:gd name="connsiteX196" fmla="*/ 419504 w 3856662"/>
              <a:gd name="connsiteY196" fmla="*/ 501650 h 2676525"/>
              <a:gd name="connsiteX197" fmla="*/ 358775 w 3856662"/>
              <a:gd name="connsiteY197" fmla="*/ 441325 h 2676525"/>
              <a:gd name="connsiteX198" fmla="*/ 419504 w 3856662"/>
              <a:gd name="connsiteY198" fmla="*/ 381000 h 2676525"/>
              <a:gd name="connsiteX199" fmla="*/ 488950 w 3856662"/>
              <a:gd name="connsiteY199" fmla="*/ 381000 h 2676525"/>
              <a:gd name="connsiteX200" fmla="*/ 488950 w 3856662"/>
              <a:gd name="connsiteY200" fmla="*/ 317583 h 2676525"/>
              <a:gd name="connsiteX201" fmla="*/ 488950 w 3856662"/>
              <a:gd name="connsiteY201" fmla="*/ 60854 h 2676525"/>
              <a:gd name="connsiteX202" fmla="*/ 550069 w 3856662"/>
              <a:gd name="connsiteY202" fmla="*/ 0 h 267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3856662" h="2676525">
                <a:moveTo>
                  <a:pt x="2457773" y="1636713"/>
                </a:moveTo>
                <a:cubicBezTo>
                  <a:pt x="2457773" y="1703593"/>
                  <a:pt x="2457773" y="1703593"/>
                  <a:pt x="2457773" y="1703593"/>
                </a:cubicBezTo>
                <a:cubicBezTo>
                  <a:pt x="2457773" y="1740073"/>
                  <a:pt x="2430430" y="1764394"/>
                  <a:pt x="2397012" y="1764394"/>
                </a:cubicBezTo>
                <a:cubicBezTo>
                  <a:pt x="176213" y="1764394"/>
                  <a:pt x="176213" y="1764394"/>
                  <a:pt x="176213" y="1764394"/>
                </a:cubicBezTo>
                <a:cubicBezTo>
                  <a:pt x="176213" y="1901194"/>
                  <a:pt x="176213" y="1901194"/>
                  <a:pt x="176213" y="1901194"/>
                </a:cubicBezTo>
                <a:cubicBezTo>
                  <a:pt x="322039" y="2256875"/>
                  <a:pt x="391913" y="2430156"/>
                  <a:pt x="425332" y="2518316"/>
                </a:cubicBezTo>
                <a:cubicBezTo>
                  <a:pt x="586347" y="2405836"/>
                  <a:pt x="771667" y="2393676"/>
                  <a:pt x="941796" y="2481836"/>
                </a:cubicBezTo>
                <a:cubicBezTo>
                  <a:pt x="1032937" y="2530476"/>
                  <a:pt x="1142306" y="2530476"/>
                  <a:pt x="1230409" y="2481836"/>
                </a:cubicBezTo>
                <a:cubicBezTo>
                  <a:pt x="1379272" y="2402796"/>
                  <a:pt x="1540288" y="2402796"/>
                  <a:pt x="1692189" y="2484876"/>
                </a:cubicBezTo>
                <a:cubicBezTo>
                  <a:pt x="1780292" y="2530476"/>
                  <a:pt x="1889661" y="2530476"/>
                  <a:pt x="1980802" y="2481836"/>
                </a:cubicBezTo>
                <a:cubicBezTo>
                  <a:pt x="2053715" y="2442316"/>
                  <a:pt x="2129665" y="2424076"/>
                  <a:pt x="2205616" y="2424076"/>
                </a:cubicBezTo>
                <a:cubicBezTo>
                  <a:pt x="2284605" y="2424076"/>
                  <a:pt x="2363594" y="2442316"/>
                  <a:pt x="2439544" y="2484876"/>
                </a:cubicBezTo>
                <a:cubicBezTo>
                  <a:pt x="2530685" y="2530476"/>
                  <a:pt x="2637016" y="2530476"/>
                  <a:pt x="2728157" y="2481836"/>
                </a:cubicBezTo>
                <a:cubicBezTo>
                  <a:pt x="2846640" y="2417996"/>
                  <a:pt x="3028922" y="2378476"/>
                  <a:pt x="3238546" y="2515276"/>
                </a:cubicBezTo>
                <a:cubicBezTo>
                  <a:pt x="3697288" y="1636713"/>
                  <a:pt x="3697288" y="1636713"/>
                  <a:pt x="3697288" y="1636713"/>
                </a:cubicBezTo>
                <a:cubicBezTo>
                  <a:pt x="2457773" y="1636713"/>
                  <a:pt x="2457773" y="1636713"/>
                  <a:pt x="2457773" y="1636713"/>
                </a:cubicBezTo>
                <a:close/>
                <a:moveTo>
                  <a:pt x="1336004" y="1217111"/>
                </a:moveTo>
                <a:cubicBezTo>
                  <a:pt x="1336004" y="1621882"/>
                  <a:pt x="1336004" y="1621882"/>
                  <a:pt x="1336004" y="1621882"/>
                </a:cubicBezTo>
                <a:lnTo>
                  <a:pt x="1327549" y="1642240"/>
                </a:lnTo>
                <a:lnTo>
                  <a:pt x="1398698" y="1642240"/>
                </a:lnTo>
                <a:cubicBezTo>
                  <a:pt x="2335640" y="1642240"/>
                  <a:pt x="2335640" y="1642240"/>
                  <a:pt x="2335640" y="1642240"/>
                </a:cubicBezTo>
                <a:cubicBezTo>
                  <a:pt x="2335640" y="1575315"/>
                  <a:pt x="2335640" y="1575315"/>
                  <a:pt x="2335640" y="1575315"/>
                </a:cubicBezTo>
                <a:lnTo>
                  <a:pt x="2335885" y="1574725"/>
                </a:lnTo>
                <a:lnTo>
                  <a:pt x="2335885" y="1550632"/>
                </a:lnTo>
                <a:cubicBezTo>
                  <a:pt x="2335885" y="1217111"/>
                  <a:pt x="2335885" y="1217111"/>
                  <a:pt x="2335885" y="1217111"/>
                </a:cubicBezTo>
                <a:cubicBezTo>
                  <a:pt x="1336004" y="1217111"/>
                  <a:pt x="1336004" y="1217111"/>
                  <a:pt x="1336004" y="1217111"/>
                </a:cubicBezTo>
                <a:close/>
                <a:moveTo>
                  <a:pt x="528638" y="1058863"/>
                </a:moveTo>
                <a:lnTo>
                  <a:pt x="528638" y="1128713"/>
                </a:lnTo>
                <a:lnTo>
                  <a:pt x="615951" y="1128713"/>
                </a:lnTo>
                <a:lnTo>
                  <a:pt x="615951" y="1058863"/>
                </a:lnTo>
                <a:close/>
                <a:moveTo>
                  <a:pt x="2457451" y="1028004"/>
                </a:moveTo>
                <a:lnTo>
                  <a:pt x="2457451" y="1056670"/>
                </a:lnTo>
                <a:cubicBezTo>
                  <a:pt x="2457451" y="1121979"/>
                  <a:pt x="2457451" y="1121979"/>
                  <a:pt x="2457451" y="1121979"/>
                </a:cubicBezTo>
                <a:lnTo>
                  <a:pt x="2450307" y="1139042"/>
                </a:lnTo>
                <a:lnTo>
                  <a:pt x="2457451" y="1156243"/>
                </a:lnTo>
                <a:cubicBezTo>
                  <a:pt x="2457451" y="1330858"/>
                  <a:pt x="2457451" y="1439992"/>
                  <a:pt x="2457451" y="1508201"/>
                </a:cubicBezTo>
                <a:lnTo>
                  <a:pt x="2457451" y="1514475"/>
                </a:lnTo>
                <a:lnTo>
                  <a:pt x="2647950" y="1514475"/>
                </a:lnTo>
                <a:cubicBezTo>
                  <a:pt x="3222475" y="1514475"/>
                  <a:pt x="3509737" y="1514475"/>
                  <a:pt x="3653368" y="1514475"/>
                </a:cubicBezTo>
                <a:lnTo>
                  <a:pt x="3663059" y="1514475"/>
                </a:lnTo>
                <a:lnTo>
                  <a:pt x="3663059" y="1431094"/>
                </a:lnTo>
                <a:cubicBezTo>
                  <a:pt x="3663059" y="1028004"/>
                  <a:pt x="3663059" y="1028004"/>
                  <a:pt x="3663059" y="1028004"/>
                </a:cubicBezTo>
                <a:cubicBezTo>
                  <a:pt x="2871137" y="1028004"/>
                  <a:pt x="2574167" y="1028004"/>
                  <a:pt x="2462803" y="1028004"/>
                </a:cubicBezTo>
                <a:close/>
                <a:moveTo>
                  <a:pt x="467279" y="936625"/>
                </a:moveTo>
                <a:cubicBezTo>
                  <a:pt x="677310" y="936625"/>
                  <a:pt x="677310" y="936625"/>
                  <a:pt x="677310" y="936625"/>
                </a:cubicBezTo>
                <a:cubicBezTo>
                  <a:pt x="710793" y="936625"/>
                  <a:pt x="738188" y="964090"/>
                  <a:pt x="738188" y="997659"/>
                </a:cubicBezTo>
                <a:cubicBezTo>
                  <a:pt x="738188" y="1189916"/>
                  <a:pt x="738188" y="1189916"/>
                  <a:pt x="738188" y="1189916"/>
                </a:cubicBezTo>
                <a:cubicBezTo>
                  <a:pt x="738188" y="1223485"/>
                  <a:pt x="710793" y="1250950"/>
                  <a:pt x="677310" y="1250950"/>
                </a:cubicBezTo>
                <a:cubicBezTo>
                  <a:pt x="467279" y="1250950"/>
                  <a:pt x="467279" y="1250950"/>
                  <a:pt x="467279" y="1250950"/>
                </a:cubicBezTo>
                <a:cubicBezTo>
                  <a:pt x="433796" y="1250950"/>
                  <a:pt x="406400" y="1223485"/>
                  <a:pt x="406400" y="1189916"/>
                </a:cubicBezTo>
                <a:cubicBezTo>
                  <a:pt x="406400" y="997659"/>
                  <a:pt x="406400" y="997659"/>
                  <a:pt x="406400" y="997659"/>
                </a:cubicBezTo>
                <a:cubicBezTo>
                  <a:pt x="406400" y="964090"/>
                  <a:pt x="433796" y="936625"/>
                  <a:pt x="467279" y="936625"/>
                </a:cubicBezTo>
                <a:close/>
                <a:moveTo>
                  <a:pt x="1345484" y="866619"/>
                </a:moveTo>
                <a:cubicBezTo>
                  <a:pt x="1345484" y="991752"/>
                  <a:pt x="1345484" y="1054319"/>
                  <a:pt x="1345484" y="1085602"/>
                </a:cubicBezTo>
                <a:lnTo>
                  <a:pt x="1345484" y="1095375"/>
                </a:lnTo>
                <a:lnTo>
                  <a:pt x="1472624" y="1095375"/>
                </a:lnTo>
                <a:cubicBezTo>
                  <a:pt x="1534227" y="1095375"/>
                  <a:pt x="1591723" y="1095375"/>
                  <a:pt x="1645386" y="1095375"/>
                </a:cubicBezTo>
                <a:lnTo>
                  <a:pt x="1700931" y="1095375"/>
                </a:lnTo>
                <a:lnTo>
                  <a:pt x="1700931" y="1034278"/>
                </a:lnTo>
                <a:cubicBezTo>
                  <a:pt x="1700931" y="866619"/>
                  <a:pt x="1700931" y="866619"/>
                  <a:pt x="1700931" y="866619"/>
                </a:cubicBezTo>
                <a:cubicBezTo>
                  <a:pt x="1345484" y="866619"/>
                  <a:pt x="1345484" y="866619"/>
                  <a:pt x="1345484" y="866619"/>
                </a:cubicBezTo>
                <a:close/>
                <a:moveTo>
                  <a:pt x="307194" y="730251"/>
                </a:moveTo>
                <a:lnTo>
                  <a:pt x="307194" y="805525"/>
                </a:lnTo>
                <a:cubicBezTo>
                  <a:pt x="307194" y="1445104"/>
                  <a:pt x="307194" y="1445104"/>
                  <a:pt x="307194" y="1445104"/>
                </a:cubicBezTo>
                <a:cubicBezTo>
                  <a:pt x="829457" y="1445104"/>
                  <a:pt x="829457" y="1445104"/>
                  <a:pt x="829457" y="1445104"/>
                </a:cubicBezTo>
                <a:cubicBezTo>
                  <a:pt x="829457" y="1008485"/>
                  <a:pt x="829457" y="817464"/>
                  <a:pt x="829457" y="733893"/>
                </a:cubicBezTo>
                <a:lnTo>
                  <a:pt x="829457" y="730251"/>
                </a:lnTo>
                <a:lnTo>
                  <a:pt x="716351" y="730251"/>
                </a:lnTo>
                <a:cubicBezTo>
                  <a:pt x="575872" y="730251"/>
                  <a:pt x="465495" y="730251"/>
                  <a:pt x="378771" y="730251"/>
                </a:cubicBezTo>
                <a:close/>
                <a:moveTo>
                  <a:pt x="1345484" y="535972"/>
                </a:moveTo>
                <a:cubicBezTo>
                  <a:pt x="1345484" y="629478"/>
                  <a:pt x="1345484" y="687919"/>
                  <a:pt x="1345484" y="724445"/>
                </a:cubicBezTo>
                <a:lnTo>
                  <a:pt x="1345484" y="744538"/>
                </a:lnTo>
                <a:lnTo>
                  <a:pt x="1406687" y="744538"/>
                </a:lnTo>
                <a:cubicBezTo>
                  <a:pt x="1516861" y="744538"/>
                  <a:pt x="1592843" y="744538"/>
                  <a:pt x="1645244" y="744538"/>
                </a:cubicBezTo>
                <a:lnTo>
                  <a:pt x="1700931" y="744538"/>
                </a:lnTo>
                <a:lnTo>
                  <a:pt x="1700931" y="703016"/>
                </a:lnTo>
                <a:cubicBezTo>
                  <a:pt x="1700931" y="535972"/>
                  <a:pt x="1700931" y="535972"/>
                  <a:pt x="1700931" y="535972"/>
                </a:cubicBezTo>
                <a:cubicBezTo>
                  <a:pt x="1345484" y="535972"/>
                  <a:pt x="1345484" y="535972"/>
                  <a:pt x="1345484" y="535972"/>
                </a:cubicBezTo>
                <a:close/>
                <a:moveTo>
                  <a:pt x="2451748" y="502583"/>
                </a:moveTo>
                <a:lnTo>
                  <a:pt x="2451748" y="505345"/>
                </a:lnTo>
                <a:cubicBezTo>
                  <a:pt x="2451748" y="696816"/>
                  <a:pt x="2451748" y="817745"/>
                  <a:pt x="2451748" y="894122"/>
                </a:cubicBezTo>
                <a:lnTo>
                  <a:pt x="2451748" y="906463"/>
                </a:lnTo>
                <a:lnTo>
                  <a:pt x="2629719" y="906463"/>
                </a:lnTo>
                <a:cubicBezTo>
                  <a:pt x="2903247" y="906463"/>
                  <a:pt x="3108393" y="906463"/>
                  <a:pt x="3262252" y="906463"/>
                </a:cubicBezTo>
                <a:lnTo>
                  <a:pt x="3365495" y="906463"/>
                </a:lnTo>
                <a:lnTo>
                  <a:pt x="3365495" y="880767"/>
                </a:lnTo>
                <a:cubicBezTo>
                  <a:pt x="3365495" y="502583"/>
                  <a:pt x="3365495" y="502583"/>
                  <a:pt x="3365495" y="502583"/>
                </a:cubicBezTo>
                <a:cubicBezTo>
                  <a:pt x="2765117" y="502583"/>
                  <a:pt x="2539974" y="502583"/>
                  <a:pt x="2455546" y="502583"/>
                </a:cubicBezTo>
                <a:close/>
                <a:moveTo>
                  <a:pt x="1821363" y="350196"/>
                </a:moveTo>
                <a:cubicBezTo>
                  <a:pt x="1821363" y="392374"/>
                  <a:pt x="1821363" y="431917"/>
                  <a:pt x="1821363" y="468988"/>
                </a:cubicBezTo>
                <a:lnTo>
                  <a:pt x="1821363" y="472536"/>
                </a:lnTo>
                <a:lnTo>
                  <a:pt x="1822451" y="475155"/>
                </a:lnTo>
                <a:cubicBezTo>
                  <a:pt x="1822451" y="785321"/>
                  <a:pt x="1822451" y="785321"/>
                  <a:pt x="1822451" y="785321"/>
                </a:cubicBezTo>
                <a:lnTo>
                  <a:pt x="1821363" y="787941"/>
                </a:lnTo>
                <a:lnTo>
                  <a:pt x="1821363" y="802950"/>
                </a:lnTo>
                <a:lnTo>
                  <a:pt x="1822451" y="805579"/>
                </a:lnTo>
                <a:cubicBezTo>
                  <a:pt x="1822451" y="961232"/>
                  <a:pt x="1822451" y="1039059"/>
                  <a:pt x="1822451" y="1077972"/>
                </a:cubicBezTo>
                <a:lnTo>
                  <a:pt x="1822451" y="1095375"/>
                </a:lnTo>
                <a:lnTo>
                  <a:pt x="1923558" y="1095375"/>
                </a:lnTo>
                <a:cubicBezTo>
                  <a:pt x="2100974" y="1095375"/>
                  <a:pt x="2211859" y="1095375"/>
                  <a:pt x="2281163" y="1095375"/>
                </a:cubicBezTo>
                <a:lnTo>
                  <a:pt x="2335213" y="1095375"/>
                </a:lnTo>
                <a:lnTo>
                  <a:pt x="2335213" y="1070881"/>
                </a:lnTo>
                <a:lnTo>
                  <a:pt x="2335213" y="1033667"/>
                </a:lnTo>
                <a:lnTo>
                  <a:pt x="2331675" y="1025052"/>
                </a:lnTo>
                <a:cubicBezTo>
                  <a:pt x="2331675" y="350196"/>
                  <a:pt x="2331675" y="350196"/>
                  <a:pt x="2331675" y="350196"/>
                </a:cubicBezTo>
                <a:cubicBezTo>
                  <a:pt x="1821363" y="350196"/>
                  <a:pt x="1821363" y="350196"/>
                  <a:pt x="1821363" y="350196"/>
                </a:cubicBezTo>
                <a:close/>
                <a:moveTo>
                  <a:pt x="1761326" y="228600"/>
                </a:moveTo>
                <a:cubicBezTo>
                  <a:pt x="2391711" y="228600"/>
                  <a:pt x="2391711" y="228600"/>
                  <a:pt x="2391711" y="228600"/>
                </a:cubicBezTo>
                <a:cubicBezTo>
                  <a:pt x="2424732" y="228600"/>
                  <a:pt x="2451748" y="255959"/>
                  <a:pt x="2451748" y="289398"/>
                </a:cubicBezTo>
                <a:lnTo>
                  <a:pt x="2451748" y="381000"/>
                </a:lnTo>
                <a:lnTo>
                  <a:pt x="2584682" y="381000"/>
                </a:lnTo>
                <a:cubicBezTo>
                  <a:pt x="3426293" y="381000"/>
                  <a:pt x="3426293" y="381000"/>
                  <a:pt x="3426293" y="381000"/>
                </a:cubicBezTo>
                <a:cubicBezTo>
                  <a:pt x="3459732" y="381000"/>
                  <a:pt x="3487091" y="408356"/>
                  <a:pt x="3487091" y="441792"/>
                </a:cubicBezTo>
                <a:cubicBezTo>
                  <a:pt x="3487091" y="701675"/>
                  <a:pt x="3487091" y="831617"/>
                  <a:pt x="3487091" y="896588"/>
                </a:cubicBezTo>
                <a:lnTo>
                  <a:pt x="3487091" y="906463"/>
                </a:lnTo>
                <a:lnTo>
                  <a:pt x="3529102" y="906463"/>
                </a:lnTo>
                <a:cubicBezTo>
                  <a:pt x="3723830" y="906463"/>
                  <a:pt x="3723830" y="906463"/>
                  <a:pt x="3723830" y="906463"/>
                </a:cubicBezTo>
                <a:cubicBezTo>
                  <a:pt x="3757254" y="906463"/>
                  <a:pt x="3784601" y="933810"/>
                  <a:pt x="3784601" y="967234"/>
                </a:cubicBezTo>
                <a:cubicBezTo>
                  <a:pt x="3784601" y="1379713"/>
                  <a:pt x="3784601" y="1482832"/>
                  <a:pt x="3784601" y="1508612"/>
                </a:cubicBezTo>
                <a:lnTo>
                  <a:pt x="3784601" y="1514475"/>
                </a:lnTo>
                <a:lnTo>
                  <a:pt x="3794755" y="1514475"/>
                </a:lnTo>
                <a:cubicBezTo>
                  <a:pt x="3796999" y="1514475"/>
                  <a:pt x="3796999" y="1514475"/>
                  <a:pt x="3796999" y="1514475"/>
                </a:cubicBezTo>
                <a:cubicBezTo>
                  <a:pt x="3818266" y="1514475"/>
                  <a:pt x="3836495" y="1526643"/>
                  <a:pt x="3848647" y="1544895"/>
                </a:cubicBezTo>
                <a:cubicBezTo>
                  <a:pt x="3857762" y="1563147"/>
                  <a:pt x="3860800" y="1584441"/>
                  <a:pt x="3848647" y="1602694"/>
                </a:cubicBezTo>
                <a:cubicBezTo>
                  <a:pt x="3313930" y="2633937"/>
                  <a:pt x="3313930" y="2633937"/>
                  <a:pt x="3313930" y="2633937"/>
                </a:cubicBezTo>
                <a:cubicBezTo>
                  <a:pt x="3304815" y="2649147"/>
                  <a:pt x="3292663" y="2661315"/>
                  <a:pt x="3274434" y="2664357"/>
                </a:cubicBezTo>
                <a:cubicBezTo>
                  <a:pt x="3256205" y="2667399"/>
                  <a:pt x="3237976" y="2664357"/>
                  <a:pt x="3222785" y="2652189"/>
                </a:cubicBezTo>
                <a:cubicBezTo>
                  <a:pt x="3073915" y="2533550"/>
                  <a:pt x="2928082" y="2515298"/>
                  <a:pt x="2785289" y="2591349"/>
                </a:cubicBezTo>
                <a:cubicBezTo>
                  <a:pt x="2657685" y="2655231"/>
                  <a:pt x="2508815" y="2658273"/>
                  <a:pt x="2381212" y="2591349"/>
                </a:cubicBezTo>
                <a:cubicBezTo>
                  <a:pt x="2265762" y="2530508"/>
                  <a:pt x="2150311" y="2530508"/>
                  <a:pt x="2034861" y="2591349"/>
                </a:cubicBezTo>
                <a:cubicBezTo>
                  <a:pt x="1910296" y="2655231"/>
                  <a:pt x="1761426" y="2658273"/>
                  <a:pt x="1633823" y="2591349"/>
                </a:cubicBezTo>
                <a:cubicBezTo>
                  <a:pt x="1518372" y="2530508"/>
                  <a:pt x="1399884" y="2530508"/>
                  <a:pt x="1287472" y="2591349"/>
                </a:cubicBezTo>
                <a:cubicBezTo>
                  <a:pt x="1162907" y="2655231"/>
                  <a:pt x="1010998" y="2658273"/>
                  <a:pt x="886433" y="2591349"/>
                </a:cubicBezTo>
                <a:cubicBezTo>
                  <a:pt x="691991" y="2490962"/>
                  <a:pt x="537044" y="2573097"/>
                  <a:pt x="439823" y="2661315"/>
                </a:cubicBezTo>
                <a:cubicBezTo>
                  <a:pt x="427670" y="2670441"/>
                  <a:pt x="412479" y="2676525"/>
                  <a:pt x="397288" y="2676525"/>
                </a:cubicBezTo>
                <a:cubicBezTo>
                  <a:pt x="391212" y="2676525"/>
                  <a:pt x="385136" y="2676525"/>
                  <a:pt x="379059" y="2673483"/>
                </a:cubicBezTo>
                <a:cubicBezTo>
                  <a:pt x="357792" y="2667399"/>
                  <a:pt x="345639" y="2652189"/>
                  <a:pt x="339563" y="2630895"/>
                </a:cubicBezTo>
                <a:cubicBezTo>
                  <a:pt x="327410" y="2597433"/>
                  <a:pt x="166387" y="2198929"/>
                  <a:pt x="60052" y="1937315"/>
                </a:cubicBezTo>
                <a:cubicBezTo>
                  <a:pt x="57013" y="1928189"/>
                  <a:pt x="53975" y="1922105"/>
                  <a:pt x="53975" y="1912979"/>
                </a:cubicBezTo>
                <a:cubicBezTo>
                  <a:pt x="53975" y="1703080"/>
                  <a:pt x="53975" y="1703080"/>
                  <a:pt x="53975" y="1703080"/>
                </a:cubicBezTo>
                <a:cubicBezTo>
                  <a:pt x="53975" y="1669618"/>
                  <a:pt x="81319" y="1642240"/>
                  <a:pt x="114739" y="1642240"/>
                </a:cubicBezTo>
                <a:cubicBezTo>
                  <a:pt x="531158" y="1642240"/>
                  <a:pt x="869499" y="1642240"/>
                  <a:pt x="1144400" y="1642240"/>
                </a:cubicBezTo>
                <a:lnTo>
                  <a:pt x="1222894" y="1642240"/>
                </a:lnTo>
                <a:lnTo>
                  <a:pt x="1214438" y="1621882"/>
                </a:lnTo>
                <a:cubicBezTo>
                  <a:pt x="1214438" y="1156243"/>
                  <a:pt x="1214438" y="1156243"/>
                  <a:pt x="1214438" y="1156243"/>
                </a:cubicBezTo>
                <a:lnTo>
                  <a:pt x="1227369" y="1125111"/>
                </a:lnTo>
                <a:lnTo>
                  <a:pt x="1223963" y="1116886"/>
                </a:lnTo>
                <a:cubicBezTo>
                  <a:pt x="1223963" y="805579"/>
                  <a:pt x="1223963" y="805579"/>
                  <a:pt x="1223963" y="805579"/>
                </a:cubicBezTo>
                <a:lnTo>
                  <a:pt x="1228164" y="795431"/>
                </a:lnTo>
                <a:lnTo>
                  <a:pt x="1223963" y="785321"/>
                </a:lnTo>
                <a:cubicBezTo>
                  <a:pt x="1223963" y="475155"/>
                  <a:pt x="1223963" y="475155"/>
                  <a:pt x="1223963" y="475155"/>
                </a:cubicBezTo>
                <a:cubicBezTo>
                  <a:pt x="1223963" y="441706"/>
                  <a:pt x="1251305" y="414338"/>
                  <a:pt x="1284723" y="414338"/>
                </a:cubicBezTo>
                <a:cubicBezTo>
                  <a:pt x="1463586" y="414338"/>
                  <a:pt x="1575376" y="414338"/>
                  <a:pt x="1645244" y="414338"/>
                </a:cubicBezTo>
                <a:lnTo>
                  <a:pt x="1701289" y="414338"/>
                </a:lnTo>
                <a:lnTo>
                  <a:pt x="1701289" y="385733"/>
                </a:lnTo>
                <a:cubicBezTo>
                  <a:pt x="1701289" y="289398"/>
                  <a:pt x="1701289" y="289398"/>
                  <a:pt x="1701289" y="289398"/>
                </a:cubicBezTo>
                <a:cubicBezTo>
                  <a:pt x="1701289" y="255959"/>
                  <a:pt x="1728306" y="228600"/>
                  <a:pt x="1761326" y="228600"/>
                </a:cubicBezTo>
                <a:close/>
                <a:moveTo>
                  <a:pt x="550069" y="0"/>
                </a:moveTo>
                <a:cubicBezTo>
                  <a:pt x="583685" y="0"/>
                  <a:pt x="611188" y="27384"/>
                  <a:pt x="611188" y="60854"/>
                </a:cubicBezTo>
                <a:cubicBezTo>
                  <a:pt x="611188" y="174956"/>
                  <a:pt x="611188" y="267663"/>
                  <a:pt x="611188" y="342988"/>
                </a:cubicBezTo>
                <a:lnTo>
                  <a:pt x="611188" y="381000"/>
                </a:lnTo>
                <a:lnTo>
                  <a:pt x="616883" y="381000"/>
                </a:lnTo>
                <a:cubicBezTo>
                  <a:pt x="680635" y="381000"/>
                  <a:pt x="680635" y="381000"/>
                  <a:pt x="680635" y="381000"/>
                </a:cubicBezTo>
                <a:cubicBezTo>
                  <a:pt x="714036" y="381000"/>
                  <a:pt x="741363" y="408146"/>
                  <a:pt x="741363" y="441325"/>
                </a:cubicBezTo>
                <a:cubicBezTo>
                  <a:pt x="741363" y="474504"/>
                  <a:pt x="714036" y="501650"/>
                  <a:pt x="680635" y="501650"/>
                </a:cubicBezTo>
                <a:lnTo>
                  <a:pt x="611188" y="501650"/>
                </a:lnTo>
                <a:lnTo>
                  <a:pt x="611188" y="520826"/>
                </a:lnTo>
                <a:cubicBezTo>
                  <a:pt x="611188" y="550540"/>
                  <a:pt x="611188" y="574311"/>
                  <a:pt x="611188" y="593328"/>
                </a:cubicBezTo>
                <a:lnTo>
                  <a:pt x="611188" y="608013"/>
                </a:lnTo>
                <a:lnTo>
                  <a:pt x="676005" y="608013"/>
                </a:lnTo>
                <a:cubicBezTo>
                  <a:pt x="754995" y="608013"/>
                  <a:pt x="816813" y="608013"/>
                  <a:pt x="865192" y="608013"/>
                </a:cubicBezTo>
                <a:lnTo>
                  <a:pt x="890185" y="608013"/>
                </a:lnTo>
                <a:lnTo>
                  <a:pt x="917035" y="608013"/>
                </a:lnTo>
                <a:cubicBezTo>
                  <a:pt x="1039357" y="608013"/>
                  <a:pt x="1039357" y="608013"/>
                  <a:pt x="1039357" y="608013"/>
                </a:cubicBezTo>
                <a:cubicBezTo>
                  <a:pt x="1072787" y="608013"/>
                  <a:pt x="1100138" y="632461"/>
                  <a:pt x="1100138" y="669132"/>
                </a:cubicBezTo>
                <a:cubicBezTo>
                  <a:pt x="1100138" y="702748"/>
                  <a:pt x="1072787" y="730251"/>
                  <a:pt x="1039357" y="730251"/>
                </a:cubicBezTo>
                <a:lnTo>
                  <a:pt x="950913" y="730251"/>
                </a:lnTo>
                <a:lnTo>
                  <a:pt x="950913" y="816242"/>
                </a:lnTo>
                <a:cubicBezTo>
                  <a:pt x="950913" y="1505984"/>
                  <a:pt x="950913" y="1505984"/>
                  <a:pt x="950913" y="1505984"/>
                </a:cubicBezTo>
                <a:cubicBezTo>
                  <a:pt x="950913" y="1539467"/>
                  <a:pt x="923586" y="1566863"/>
                  <a:pt x="890185" y="1566863"/>
                </a:cubicBezTo>
                <a:cubicBezTo>
                  <a:pt x="246466" y="1566863"/>
                  <a:pt x="246466" y="1566863"/>
                  <a:pt x="246466" y="1566863"/>
                </a:cubicBezTo>
                <a:cubicBezTo>
                  <a:pt x="231284" y="1566863"/>
                  <a:pt x="213065" y="1560775"/>
                  <a:pt x="203956" y="1548599"/>
                </a:cubicBezTo>
                <a:cubicBezTo>
                  <a:pt x="191811" y="1539467"/>
                  <a:pt x="185738" y="1524248"/>
                  <a:pt x="185738" y="1505984"/>
                </a:cubicBezTo>
                <a:cubicBezTo>
                  <a:pt x="185738" y="1035120"/>
                  <a:pt x="185738" y="829117"/>
                  <a:pt x="185738" y="738991"/>
                </a:cubicBezTo>
                <a:lnTo>
                  <a:pt x="185738" y="730251"/>
                </a:lnTo>
                <a:lnTo>
                  <a:pt x="183103" y="730251"/>
                </a:lnTo>
                <a:cubicBezTo>
                  <a:pt x="60781" y="730251"/>
                  <a:pt x="60781" y="730251"/>
                  <a:pt x="60781" y="730251"/>
                </a:cubicBezTo>
                <a:cubicBezTo>
                  <a:pt x="27351" y="730251"/>
                  <a:pt x="0" y="702748"/>
                  <a:pt x="0" y="669132"/>
                </a:cubicBezTo>
                <a:cubicBezTo>
                  <a:pt x="0" y="632461"/>
                  <a:pt x="27351" y="608013"/>
                  <a:pt x="60781" y="608013"/>
                </a:cubicBezTo>
                <a:cubicBezTo>
                  <a:pt x="121942" y="608013"/>
                  <a:pt x="179280" y="608013"/>
                  <a:pt x="233035" y="608013"/>
                </a:cubicBezTo>
                <a:lnTo>
                  <a:pt x="246466" y="608013"/>
                </a:lnTo>
                <a:lnTo>
                  <a:pt x="383788" y="608013"/>
                </a:lnTo>
                <a:lnTo>
                  <a:pt x="488950" y="608013"/>
                </a:lnTo>
                <a:lnTo>
                  <a:pt x="488950" y="562277"/>
                </a:lnTo>
                <a:lnTo>
                  <a:pt x="488950" y="501650"/>
                </a:lnTo>
                <a:lnTo>
                  <a:pt x="483257" y="501650"/>
                </a:lnTo>
                <a:cubicBezTo>
                  <a:pt x="419504" y="501650"/>
                  <a:pt x="419504" y="501650"/>
                  <a:pt x="419504" y="501650"/>
                </a:cubicBezTo>
                <a:cubicBezTo>
                  <a:pt x="386103" y="501650"/>
                  <a:pt x="358775" y="474504"/>
                  <a:pt x="358775" y="441325"/>
                </a:cubicBezTo>
                <a:cubicBezTo>
                  <a:pt x="358775" y="408146"/>
                  <a:pt x="386103" y="381000"/>
                  <a:pt x="419504" y="381000"/>
                </a:cubicBezTo>
                <a:lnTo>
                  <a:pt x="488950" y="381000"/>
                </a:lnTo>
                <a:lnTo>
                  <a:pt x="488950" y="317583"/>
                </a:lnTo>
                <a:cubicBezTo>
                  <a:pt x="488950" y="60854"/>
                  <a:pt x="488950" y="60854"/>
                  <a:pt x="488950" y="60854"/>
                </a:cubicBezTo>
                <a:cubicBezTo>
                  <a:pt x="488950" y="27384"/>
                  <a:pt x="516454" y="0"/>
                  <a:pt x="550069" y="0"/>
                </a:cubicBezTo>
                <a:close/>
              </a:path>
            </a:pathLst>
          </a:custGeom>
          <a:solidFill>
            <a:srgbClr val="2A4368"/>
          </a:solidFill>
          <a:ln>
            <a:solidFill>
              <a:srgbClr val="2A4368"/>
            </a:solid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392" name="Freeform 49">
            <a:extLst>
              <a:ext uri="{FF2B5EF4-FFF2-40B4-BE49-F238E27FC236}">
                <a16:creationId xmlns:a16="http://schemas.microsoft.com/office/drawing/2014/main" id="{30EF5C67-2300-4884-A85D-0EAA24FCD6F1}"/>
              </a:ext>
            </a:extLst>
          </p:cNvPr>
          <p:cNvSpPr>
            <a:spLocks/>
          </p:cNvSpPr>
          <p:nvPr/>
        </p:nvSpPr>
        <p:spPr bwMode="auto">
          <a:xfrm flipH="1">
            <a:off x="4217814" y="1747314"/>
            <a:ext cx="371855" cy="353890"/>
          </a:xfrm>
          <a:custGeom>
            <a:avLst/>
            <a:gdLst>
              <a:gd name="connsiteX0" fmla="*/ 1140114 w 3442933"/>
              <a:gd name="connsiteY0" fmla="*/ 122238 h 3276600"/>
              <a:gd name="connsiteX1" fmla="*/ 1528853 w 3442933"/>
              <a:gd name="connsiteY1" fmla="*/ 1371593 h 3276600"/>
              <a:gd name="connsiteX2" fmla="*/ 1519742 w 3442933"/>
              <a:gd name="connsiteY2" fmla="*/ 1426309 h 3276600"/>
              <a:gd name="connsiteX3" fmla="*/ 1471149 w 3442933"/>
              <a:gd name="connsiteY3" fmla="*/ 1450628 h 3276600"/>
              <a:gd name="connsiteX4" fmla="*/ 560042 w 3442933"/>
              <a:gd name="connsiteY4" fmla="*/ 1450628 h 3276600"/>
              <a:gd name="connsiteX5" fmla="*/ 511450 w 3442933"/>
              <a:gd name="connsiteY5" fmla="*/ 1426309 h 3276600"/>
              <a:gd name="connsiteX6" fmla="*/ 280636 w 3442933"/>
              <a:gd name="connsiteY6" fmla="*/ 1119290 h 3276600"/>
              <a:gd name="connsiteX7" fmla="*/ 140933 w 3442933"/>
              <a:gd name="connsiteY7" fmla="*/ 1119290 h 3276600"/>
              <a:gd name="connsiteX8" fmla="*/ 283673 w 3442933"/>
              <a:gd name="connsiteY8" fmla="*/ 1623896 h 3276600"/>
              <a:gd name="connsiteX9" fmla="*/ 283673 w 3442933"/>
              <a:gd name="connsiteY9" fmla="*/ 1657333 h 3276600"/>
              <a:gd name="connsiteX10" fmla="*/ 140933 w 3442933"/>
              <a:gd name="connsiteY10" fmla="*/ 2158899 h 3276600"/>
              <a:gd name="connsiteX11" fmla="*/ 280636 w 3442933"/>
              <a:gd name="connsiteY11" fmla="*/ 2158899 h 3276600"/>
              <a:gd name="connsiteX12" fmla="*/ 511450 w 3442933"/>
              <a:gd name="connsiteY12" fmla="*/ 1851880 h 3276600"/>
              <a:gd name="connsiteX13" fmla="*/ 560042 w 3442933"/>
              <a:gd name="connsiteY13" fmla="*/ 1827562 h 3276600"/>
              <a:gd name="connsiteX14" fmla="*/ 1471149 w 3442933"/>
              <a:gd name="connsiteY14" fmla="*/ 1827562 h 3276600"/>
              <a:gd name="connsiteX15" fmla="*/ 1519742 w 3442933"/>
              <a:gd name="connsiteY15" fmla="*/ 1851880 h 3276600"/>
              <a:gd name="connsiteX16" fmla="*/ 1528853 w 3442933"/>
              <a:gd name="connsiteY16" fmla="*/ 1906596 h 3276600"/>
              <a:gd name="connsiteX17" fmla="*/ 1140114 w 3442933"/>
              <a:gd name="connsiteY17" fmla="*/ 3155951 h 3276600"/>
              <a:gd name="connsiteX18" fmla="*/ 1355742 w 3442933"/>
              <a:gd name="connsiteY18" fmla="*/ 3155951 h 3276600"/>
              <a:gd name="connsiteX19" fmla="*/ 2166627 w 3442933"/>
              <a:gd name="connsiteY19" fmla="*/ 1854920 h 3276600"/>
              <a:gd name="connsiteX20" fmla="*/ 2218257 w 3442933"/>
              <a:gd name="connsiteY20" fmla="*/ 1827562 h 3276600"/>
              <a:gd name="connsiteX21" fmla="*/ 3132401 w 3442933"/>
              <a:gd name="connsiteY21" fmla="*/ 1827562 h 3276600"/>
              <a:gd name="connsiteX22" fmla="*/ 3320696 w 3442933"/>
              <a:gd name="connsiteY22" fmla="*/ 1639095 h 3276600"/>
              <a:gd name="connsiteX23" fmla="*/ 3132401 w 3442933"/>
              <a:gd name="connsiteY23" fmla="*/ 1450628 h 3276600"/>
              <a:gd name="connsiteX24" fmla="*/ 2218257 w 3442933"/>
              <a:gd name="connsiteY24" fmla="*/ 1450628 h 3276600"/>
              <a:gd name="connsiteX25" fmla="*/ 2166627 w 3442933"/>
              <a:gd name="connsiteY25" fmla="*/ 1423269 h 3276600"/>
              <a:gd name="connsiteX26" fmla="*/ 1355742 w 3442933"/>
              <a:gd name="connsiteY26" fmla="*/ 122238 h 3276600"/>
              <a:gd name="connsiteX27" fmla="*/ 1140114 w 3442933"/>
              <a:gd name="connsiteY27" fmla="*/ 122238 h 3276600"/>
              <a:gd name="connsiteX28" fmla="*/ 1058253 w 3442933"/>
              <a:gd name="connsiteY28" fmla="*/ 0 h 3276600"/>
              <a:gd name="connsiteX29" fmla="*/ 1389375 w 3442933"/>
              <a:gd name="connsiteY29" fmla="*/ 0 h 3276600"/>
              <a:gd name="connsiteX30" fmla="*/ 1441017 w 3442933"/>
              <a:gd name="connsiteY30" fmla="*/ 27356 h 3276600"/>
              <a:gd name="connsiteX31" fmla="*/ 2252112 w 3442933"/>
              <a:gd name="connsiteY31" fmla="*/ 1328269 h 3276600"/>
              <a:gd name="connsiteX32" fmla="*/ 3133077 w 3442933"/>
              <a:gd name="connsiteY32" fmla="*/ 1328269 h 3276600"/>
              <a:gd name="connsiteX33" fmla="*/ 3442933 w 3442933"/>
              <a:gd name="connsiteY33" fmla="*/ 1638300 h 3276600"/>
              <a:gd name="connsiteX34" fmla="*/ 3133077 w 3442933"/>
              <a:gd name="connsiteY34" fmla="*/ 1948331 h 3276600"/>
              <a:gd name="connsiteX35" fmla="*/ 2252112 w 3442933"/>
              <a:gd name="connsiteY35" fmla="*/ 1948331 h 3276600"/>
              <a:gd name="connsiteX36" fmla="*/ 1441017 w 3442933"/>
              <a:gd name="connsiteY36" fmla="*/ 3249244 h 3276600"/>
              <a:gd name="connsiteX37" fmla="*/ 1389375 w 3442933"/>
              <a:gd name="connsiteY37" fmla="*/ 3276600 h 3276600"/>
              <a:gd name="connsiteX38" fmla="*/ 1058253 w 3442933"/>
              <a:gd name="connsiteY38" fmla="*/ 3276600 h 3276600"/>
              <a:gd name="connsiteX39" fmla="*/ 1006611 w 3442933"/>
              <a:gd name="connsiteY39" fmla="*/ 3252284 h 3276600"/>
              <a:gd name="connsiteX40" fmla="*/ 997497 w 3442933"/>
              <a:gd name="connsiteY40" fmla="*/ 3197573 h 3276600"/>
              <a:gd name="connsiteX41" fmla="*/ 1389375 w 3442933"/>
              <a:gd name="connsiteY41" fmla="*/ 1948331 h 3276600"/>
              <a:gd name="connsiteX42" fmla="*/ 590431 w 3442933"/>
              <a:gd name="connsiteY42" fmla="*/ 1948331 h 3276600"/>
              <a:gd name="connsiteX43" fmla="*/ 359557 w 3442933"/>
              <a:gd name="connsiteY43" fmla="*/ 2255322 h 3276600"/>
              <a:gd name="connsiteX44" fmla="*/ 310953 w 3442933"/>
              <a:gd name="connsiteY44" fmla="*/ 2279638 h 3276600"/>
              <a:gd name="connsiteX45" fmla="*/ 61852 w 3442933"/>
              <a:gd name="connsiteY45" fmla="*/ 2279638 h 3276600"/>
              <a:gd name="connsiteX46" fmla="*/ 13247 w 3442933"/>
              <a:gd name="connsiteY46" fmla="*/ 2255322 h 3276600"/>
              <a:gd name="connsiteX47" fmla="*/ 1096 w 3442933"/>
              <a:gd name="connsiteY47" fmla="*/ 2203650 h 3276600"/>
              <a:gd name="connsiteX48" fmla="*/ 162100 w 3442933"/>
              <a:gd name="connsiteY48" fmla="*/ 1638300 h 3276600"/>
              <a:gd name="connsiteX49" fmla="*/ 1096 w 3442933"/>
              <a:gd name="connsiteY49" fmla="*/ 1072950 h 3276600"/>
              <a:gd name="connsiteX50" fmla="*/ 13247 w 3442933"/>
              <a:gd name="connsiteY50" fmla="*/ 1021278 h 3276600"/>
              <a:gd name="connsiteX51" fmla="*/ 61852 w 3442933"/>
              <a:gd name="connsiteY51" fmla="*/ 996962 h 3276600"/>
              <a:gd name="connsiteX52" fmla="*/ 310953 w 3442933"/>
              <a:gd name="connsiteY52" fmla="*/ 996962 h 3276600"/>
              <a:gd name="connsiteX53" fmla="*/ 359557 w 3442933"/>
              <a:gd name="connsiteY53" fmla="*/ 1021278 h 3276600"/>
              <a:gd name="connsiteX54" fmla="*/ 590431 w 3442933"/>
              <a:gd name="connsiteY54" fmla="*/ 1328269 h 3276600"/>
              <a:gd name="connsiteX55" fmla="*/ 1389375 w 3442933"/>
              <a:gd name="connsiteY55" fmla="*/ 1328269 h 3276600"/>
              <a:gd name="connsiteX56" fmla="*/ 997497 w 3442933"/>
              <a:gd name="connsiteY56" fmla="*/ 79028 h 3276600"/>
              <a:gd name="connsiteX57" fmla="*/ 1006611 w 3442933"/>
              <a:gd name="connsiteY57" fmla="*/ 24316 h 3276600"/>
              <a:gd name="connsiteX58" fmla="*/ 1058253 w 3442933"/>
              <a:gd name="connsiteY58" fmla="*/ 0 h 327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442933" h="3276600">
                <a:moveTo>
                  <a:pt x="1140114" y="122238"/>
                </a:moveTo>
                <a:cubicBezTo>
                  <a:pt x="1528853" y="1371593"/>
                  <a:pt x="1528853" y="1371593"/>
                  <a:pt x="1528853" y="1371593"/>
                </a:cubicBezTo>
                <a:cubicBezTo>
                  <a:pt x="1534927" y="1389832"/>
                  <a:pt x="1531890" y="1411110"/>
                  <a:pt x="1519742" y="1426309"/>
                </a:cubicBezTo>
                <a:cubicBezTo>
                  <a:pt x="1510631" y="1441508"/>
                  <a:pt x="1492408" y="1450628"/>
                  <a:pt x="1471149" y="1450628"/>
                </a:cubicBezTo>
                <a:cubicBezTo>
                  <a:pt x="560042" y="1450628"/>
                  <a:pt x="560042" y="1450628"/>
                  <a:pt x="560042" y="1450628"/>
                </a:cubicBezTo>
                <a:cubicBezTo>
                  <a:pt x="538783" y="1450628"/>
                  <a:pt x="520561" y="1441508"/>
                  <a:pt x="511450" y="1426309"/>
                </a:cubicBezTo>
                <a:cubicBezTo>
                  <a:pt x="280636" y="1119290"/>
                  <a:pt x="280636" y="1119290"/>
                  <a:pt x="280636" y="1119290"/>
                </a:cubicBezTo>
                <a:cubicBezTo>
                  <a:pt x="140933" y="1119290"/>
                  <a:pt x="140933" y="1119290"/>
                  <a:pt x="140933" y="1119290"/>
                </a:cubicBezTo>
                <a:cubicBezTo>
                  <a:pt x="283673" y="1623896"/>
                  <a:pt x="283673" y="1623896"/>
                  <a:pt x="283673" y="1623896"/>
                </a:cubicBezTo>
                <a:cubicBezTo>
                  <a:pt x="289747" y="1633015"/>
                  <a:pt x="289747" y="1645174"/>
                  <a:pt x="283673" y="1657333"/>
                </a:cubicBezTo>
                <a:cubicBezTo>
                  <a:pt x="140933" y="2158899"/>
                  <a:pt x="140933" y="2158899"/>
                  <a:pt x="140933" y="2158899"/>
                </a:cubicBezTo>
                <a:cubicBezTo>
                  <a:pt x="280636" y="2158899"/>
                  <a:pt x="280636" y="2158899"/>
                  <a:pt x="280636" y="2158899"/>
                </a:cubicBezTo>
                <a:cubicBezTo>
                  <a:pt x="511450" y="1851880"/>
                  <a:pt x="511450" y="1851880"/>
                  <a:pt x="511450" y="1851880"/>
                </a:cubicBezTo>
                <a:cubicBezTo>
                  <a:pt x="520561" y="1836681"/>
                  <a:pt x="538783" y="1827562"/>
                  <a:pt x="560042" y="1827562"/>
                </a:cubicBezTo>
                <a:cubicBezTo>
                  <a:pt x="1471149" y="1827562"/>
                  <a:pt x="1471149" y="1827562"/>
                  <a:pt x="1471149" y="1827562"/>
                </a:cubicBezTo>
                <a:cubicBezTo>
                  <a:pt x="1492408" y="1827562"/>
                  <a:pt x="1510631" y="1836681"/>
                  <a:pt x="1519742" y="1851880"/>
                </a:cubicBezTo>
                <a:cubicBezTo>
                  <a:pt x="1531890" y="1867079"/>
                  <a:pt x="1534927" y="1888358"/>
                  <a:pt x="1528853" y="1906596"/>
                </a:cubicBezTo>
                <a:lnTo>
                  <a:pt x="1140114" y="3155951"/>
                </a:lnTo>
                <a:cubicBezTo>
                  <a:pt x="1355742" y="3155951"/>
                  <a:pt x="1355742" y="3155951"/>
                  <a:pt x="1355742" y="3155951"/>
                </a:cubicBezTo>
                <a:cubicBezTo>
                  <a:pt x="2166627" y="1854920"/>
                  <a:pt x="2166627" y="1854920"/>
                  <a:pt x="2166627" y="1854920"/>
                </a:cubicBezTo>
                <a:cubicBezTo>
                  <a:pt x="2178776" y="1839721"/>
                  <a:pt x="2196998" y="1827562"/>
                  <a:pt x="2218257" y="1827562"/>
                </a:cubicBezTo>
                <a:cubicBezTo>
                  <a:pt x="3132401" y="1827562"/>
                  <a:pt x="3132401" y="1827562"/>
                  <a:pt x="3132401" y="1827562"/>
                </a:cubicBezTo>
                <a:cubicBezTo>
                  <a:pt x="3229585" y="1827562"/>
                  <a:pt x="3320696" y="1739408"/>
                  <a:pt x="3320696" y="1639095"/>
                </a:cubicBezTo>
                <a:cubicBezTo>
                  <a:pt x="3320696" y="1541821"/>
                  <a:pt x="3229585" y="1450628"/>
                  <a:pt x="3132401" y="1450628"/>
                </a:cubicBezTo>
                <a:cubicBezTo>
                  <a:pt x="2218257" y="1450628"/>
                  <a:pt x="2218257" y="1450628"/>
                  <a:pt x="2218257" y="1450628"/>
                </a:cubicBezTo>
                <a:cubicBezTo>
                  <a:pt x="2196998" y="1450628"/>
                  <a:pt x="2178776" y="1441508"/>
                  <a:pt x="2166627" y="1423269"/>
                </a:cubicBezTo>
                <a:cubicBezTo>
                  <a:pt x="1355742" y="122238"/>
                  <a:pt x="1355742" y="122238"/>
                  <a:pt x="1355742" y="122238"/>
                </a:cubicBezTo>
                <a:cubicBezTo>
                  <a:pt x="1140114" y="122238"/>
                  <a:pt x="1140114" y="122238"/>
                  <a:pt x="1140114" y="122238"/>
                </a:cubicBezTo>
                <a:close/>
                <a:moveTo>
                  <a:pt x="1058253" y="0"/>
                </a:moveTo>
                <a:cubicBezTo>
                  <a:pt x="1389375" y="0"/>
                  <a:pt x="1389375" y="0"/>
                  <a:pt x="1389375" y="0"/>
                </a:cubicBezTo>
                <a:cubicBezTo>
                  <a:pt x="1410639" y="0"/>
                  <a:pt x="1428866" y="9119"/>
                  <a:pt x="1441017" y="27356"/>
                </a:cubicBezTo>
                <a:cubicBezTo>
                  <a:pt x="2252112" y="1328269"/>
                  <a:pt x="2252112" y="1328269"/>
                  <a:pt x="2252112" y="1328269"/>
                </a:cubicBezTo>
                <a:cubicBezTo>
                  <a:pt x="3133077" y="1328269"/>
                  <a:pt x="3133077" y="1328269"/>
                  <a:pt x="3133077" y="1328269"/>
                </a:cubicBezTo>
                <a:cubicBezTo>
                  <a:pt x="3297118" y="1328269"/>
                  <a:pt x="3442933" y="1474166"/>
                  <a:pt x="3442933" y="1638300"/>
                </a:cubicBezTo>
                <a:cubicBezTo>
                  <a:pt x="3442933" y="1802434"/>
                  <a:pt x="3297118" y="1948331"/>
                  <a:pt x="3133077" y="1948331"/>
                </a:cubicBezTo>
                <a:cubicBezTo>
                  <a:pt x="2252112" y="1948331"/>
                  <a:pt x="2252112" y="1948331"/>
                  <a:pt x="2252112" y="1948331"/>
                </a:cubicBezTo>
                <a:cubicBezTo>
                  <a:pt x="1441017" y="3249244"/>
                  <a:pt x="1441017" y="3249244"/>
                  <a:pt x="1441017" y="3249244"/>
                </a:cubicBezTo>
                <a:cubicBezTo>
                  <a:pt x="1428866" y="3267482"/>
                  <a:pt x="1410639" y="3276600"/>
                  <a:pt x="1389375" y="3276600"/>
                </a:cubicBezTo>
                <a:cubicBezTo>
                  <a:pt x="1058253" y="3276600"/>
                  <a:pt x="1058253" y="3276600"/>
                  <a:pt x="1058253" y="3276600"/>
                </a:cubicBezTo>
                <a:cubicBezTo>
                  <a:pt x="1036989" y="3276600"/>
                  <a:pt x="1018762" y="3267482"/>
                  <a:pt x="1006611" y="3252284"/>
                </a:cubicBezTo>
                <a:cubicBezTo>
                  <a:pt x="997497" y="3237086"/>
                  <a:pt x="994459" y="3215810"/>
                  <a:pt x="997497" y="3197573"/>
                </a:cubicBezTo>
                <a:cubicBezTo>
                  <a:pt x="1389375" y="1948331"/>
                  <a:pt x="1389375" y="1948331"/>
                  <a:pt x="1389375" y="1948331"/>
                </a:cubicBezTo>
                <a:cubicBezTo>
                  <a:pt x="590431" y="1948331"/>
                  <a:pt x="590431" y="1948331"/>
                  <a:pt x="590431" y="1948331"/>
                </a:cubicBezTo>
                <a:cubicBezTo>
                  <a:pt x="359557" y="2255322"/>
                  <a:pt x="359557" y="2255322"/>
                  <a:pt x="359557" y="2255322"/>
                </a:cubicBezTo>
                <a:cubicBezTo>
                  <a:pt x="347406" y="2270520"/>
                  <a:pt x="329179" y="2279638"/>
                  <a:pt x="310953" y="2279638"/>
                </a:cubicBezTo>
                <a:cubicBezTo>
                  <a:pt x="61852" y="2279638"/>
                  <a:pt x="61852" y="2279638"/>
                  <a:pt x="61852" y="2279638"/>
                </a:cubicBezTo>
                <a:cubicBezTo>
                  <a:pt x="40588" y="2279638"/>
                  <a:pt x="22361" y="2270520"/>
                  <a:pt x="13247" y="2255322"/>
                </a:cubicBezTo>
                <a:cubicBezTo>
                  <a:pt x="1096" y="2240125"/>
                  <a:pt x="-1942" y="2221888"/>
                  <a:pt x="1096" y="2203650"/>
                </a:cubicBezTo>
                <a:cubicBezTo>
                  <a:pt x="162100" y="1638300"/>
                  <a:pt x="162100" y="1638300"/>
                  <a:pt x="162100" y="1638300"/>
                </a:cubicBezTo>
                <a:cubicBezTo>
                  <a:pt x="1096" y="1072950"/>
                  <a:pt x="1096" y="1072950"/>
                  <a:pt x="1096" y="1072950"/>
                </a:cubicBezTo>
                <a:cubicBezTo>
                  <a:pt x="-1942" y="1054713"/>
                  <a:pt x="1096" y="1036476"/>
                  <a:pt x="13247" y="1021278"/>
                </a:cubicBezTo>
                <a:cubicBezTo>
                  <a:pt x="22361" y="1006080"/>
                  <a:pt x="40588" y="996962"/>
                  <a:pt x="61852" y="996962"/>
                </a:cubicBezTo>
                <a:cubicBezTo>
                  <a:pt x="310953" y="996962"/>
                  <a:pt x="310953" y="996962"/>
                  <a:pt x="310953" y="996962"/>
                </a:cubicBezTo>
                <a:cubicBezTo>
                  <a:pt x="329179" y="996962"/>
                  <a:pt x="347406" y="1006080"/>
                  <a:pt x="359557" y="1021278"/>
                </a:cubicBezTo>
                <a:cubicBezTo>
                  <a:pt x="590431" y="1328269"/>
                  <a:pt x="590431" y="1328269"/>
                  <a:pt x="590431" y="1328269"/>
                </a:cubicBezTo>
                <a:cubicBezTo>
                  <a:pt x="1389375" y="1328269"/>
                  <a:pt x="1389375" y="1328269"/>
                  <a:pt x="1389375" y="1328269"/>
                </a:cubicBezTo>
                <a:cubicBezTo>
                  <a:pt x="997497" y="79028"/>
                  <a:pt x="997497" y="79028"/>
                  <a:pt x="997497" y="79028"/>
                </a:cubicBezTo>
                <a:cubicBezTo>
                  <a:pt x="994459" y="60790"/>
                  <a:pt x="997497" y="39514"/>
                  <a:pt x="1006611" y="24316"/>
                </a:cubicBezTo>
                <a:cubicBezTo>
                  <a:pt x="1018762" y="9119"/>
                  <a:pt x="1036989" y="0"/>
                  <a:pt x="1058253" y="0"/>
                </a:cubicBezTo>
                <a:close/>
              </a:path>
            </a:pathLst>
          </a:custGeom>
          <a:solidFill>
            <a:srgbClr val="2A4368"/>
          </a:solidFill>
          <a:ln>
            <a:solidFill>
              <a:srgbClr val="2A4368"/>
            </a:solid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393" name="Freeform 49">
            <a:extLst>
              <a:ext uri="{FF2B5EF4-FFF2-40B4-BE49-F238E27FC236}">
                <a16:creationId xmlns:a16="http://schemas.microsoft.com/office/drawing/2014/main" id="{B8F77D93-5546-4290-AA2C-426B49659366}"/>
              </a:ext>
            </a:extLst>
          </p:cNvPr>
          <p:cNvSpPr>
            <a:spLocks/>
          </p:cNvSpPr>
          <p:nvPr/>
        </p:nvSpPr>
        <p:spPr bwMode="auto">
          <a:xfrm rot="13506010" flipH="1">
            <a:off x="9642485" y="3565696"/>
            <a:ext cx="371855" cy="353890"/>
          </a:xfrm>
          <a:custGeom>
            <a:avLst/>
            <a:gdLst>
              <a:gd name="connsiteX0" fmla="*/ 1140114 w 3442933"/>
              <a:gd name="connsiteY0" fmla="*/ 122238 h 3276600"/>
              <a:gd name="connsiteX1" fmla="*/ 1528853 w 3442933"/>
              <a:gd name="connsiteY1" fmla="*/ 1371593 h 3276600"/>
              <a:gd name="connsiteX2" fmla="*/ 1519742 w 3442933"/>
              <a:gd name="connsiteY2" fmla="*/ 1426309 h 3276600"/>
              <a:gd name="connsiteX3" fmla="*/ 1471149 w 3442933"/>
              <a:gd name="connsiteY3" fmla="*/ 1450628 h 3276600"/>
              <a:gd name="connsiteX4" fmla="*/ 560042 w 3442933"/>
              <a:gd name="connsiteY4" fmla="*/ 1450628 h 3276600"/>
              <a:gd name="connsiteX5" fmla="*/ 511450 w 3442933"/>
              <a:gd name="connsiteY5" fmla="*/ 1426309 h 3276600"/>
              <a:gd name="connsiteX6" fmla="*/ 280636 w 3442933"/>
              <a:gd name="connsiteY6" fmla="*/ 1119290 h 3276600"/>
              <a:gd name="connsiteX7" fmla="*/ 140933 w 3442933"/>
              <a:gd name="connsiteY7" fmla="*/ 1119290 h 3276600"/>
              <a:gd name="connsiteX8" fmla="*/ 283673 w 3442933"/>
              <a:gd name="connsiteY8" fmla="*/ 1623896 h 3276600"/>
              <a:gd name="connsiteX9" fmla="*/ 283673 w 3442933"/>
              <a:gd name="connsiteY9" fmla="*/ 1657333 h 3276600"/>
              <a:gd name="connsiteX10" fmla="*/ 140933 w 3442933"/>
              <a:gd name="connsiteY10" fmla="*/ 2158899 h 3276600"/>
              <a:gd name="connsiteX11" fmla="*/ 280636 w 3442933"/>
              <a:gd name="connsiteY11" fmla="*/ 2158899 h 3276600"/>
              <a:gd name="connsiteX12" fmla="*/ 511450 w 3442933"/>
              <a:gd name="connsiteY12" fmla="*/ 1851880 h 3276600"/>
              <a:gd name="connsiteX13" fmla="*/ 560042 w 3442933"/>
              <a:gd name="connsiteY13" fmla="*/ 1827562 h 3276600"/>
              <a:gd name="connsiteX14" fmla="*/ 1471149 w 3442933"/>
              <a:gd name="connsiteY14" fmla="*/ 1827562 h 3276600"/>
              <a:gd name="connsiteX15" fmla="*/ 1519742 w 3442933"/>
              <a:gd name="connsiteY15" fmla="*/ 1851880 h 3276600"/>
              <a:gd name="connsiteX16" fmla="*/ 1528853 w 3442933"/>
              <a:gd name="connsiteY16" fmla="*/ 1906596 h 3276600"/>
              <a:gd name="connsiteX17" fmla="*/ 1140114 w 3442933"/>
              <a:gd name="connsiteY17" fmla="*/ 3155951 h 3276600"/>
              <a:gd name="connsiteX18" fmla="*/ 1355742 w 3442933"/>
              <a:gd name="connsiteY18" fmla="*/ 3155951 h 3276600"/>
              <a:gd name="connsiteX19" fmla="*/ 2166627 w 3442933"/>
              <a:gd name="connsiteY19" fmla="*/ 1854920 h 3276600"/>
              <a:gd name="connsiteX20" fmla="*/ 2218257 w 3442933"/>
              <a:gd name="connsiteY20" fmla="*/ 1827562 h 3276600"/>
              <a:gd name="connsiteX21" fmla="*/ 3132401 w 3442933"/>
              <a:gd name="connsiteY21" fmla="*/ 1827562 h 3276600"/>
              <a:gd name="connsiteX22" fmla="*/ 3320696 w 3442933"/>
              <a:gd name="connsiteY22" fmla="*/ 1639095 h 3276600"/>
              <a:gd name="connsiteX23" fmla="*/ 3132401 w 3442933"/>
              <a:gd name="connsiteY23" fmla="*/ 1450628 h 3276600"/>
              <a:gd name="connsiteX24" fmla="*/ 2218257 w 3442933"/>
              <a:gd name="connsiteY24" fmla="*/ 1450628 h 3276600"/>
              <a:gd name="connsiteX25" fmla="*/ 2166627 w 3442933"/>
              <a:gd name="connsiteY25" fmla="*/ 1423269 h 3276600"/>
              <a:gd name="connsiteX26" fmla="*/ 1355742 w 3442933"/>
              <a:gd name="connsiteY26" fmla="*/ 122238 h 3276600"/>
              <a:gd name="connsiteX27" fmla="*/ 1140114 w 3442933"/>
              <a:gd name="connsiteY27" fmla="*/ 122238 h 3276600"/>
              <a:gd name="connsiteX28" fmla="*/ 1058253 w 3442933"/>
              <a:gd name="connsiteY28" fmla="*/ 0 h 3276600"/>
              <a:gd name="connsiteX29" fmla="*/ 1389375 w 3442933"/>
              <a:gd name="connsiteY29" fmla="*/ 0 h 3276600"/>
              <a:gd name="connsiteX30" fmla="*/ 1441017 w 3442933"/>
              <a:gd name="connsiteY30" fmla="*/ 27356 h 3276600"/>
              <a:gd name="connsiteX31" fmla="*/ 2252112 w 3442933"/>
              <a:gd name="connsiteY31" fmla="*/ 1328269 h 3276600"/>
              <a:gd name="connsiteX32" fmla="*/ 3133077 w 3442933"/>
              <a:gd name="connsiteY32" fmla="*/ 1328269 h 3276600"/>
              <a:gd name="connsiteX33" fmla="*/ 3442933 w 3442933"/>
              <a:gd name="connsiteY33" fmla="*/ 1638300 h 3276600"/>
              <a:gd name="connsiteX34" fmla="*/ 3133077 w 3442933"/>
              <a:gd name="connsiteY34" fmla="*/ 1948331 h 3276600"/>
              <a:gd name="connsiteX35" fmla="*/ 2252112 w 3442933"/>
              <a:gd name="connsiteY35" fmla="*/ 1948331 h 3276600"/>
              <a:gd name="connsiteX36" fmla="*/ 1441017 w 3442933"/>
              <a:gd name="connsiteY36" fmla="*/ 3249244 h 3276600"/>
              <a:gd name="connsiteX37" fmla="*/ 1389375 w 3442933"/>
              <a:gd name="connsiteY37" fmla="*/ 3276600 h 3276600"/>
              <a:gd name="connsiteX38" fmla="*/ 1058253 w 3442933"/>
              <a:gd name="connsiteY38" fmla="*/ 3276600 h 3276600"/>
              <a:gd name="connsiteX39" fmla="*/ 1006611 w 3442933"/>
              <a:gd name="connsiteY39" fmla="*/ 3252284 h 3276600"/>
              <a:gd name="connsiteX40" fmla="*/ 997497 w 3442933"/>
              <a:gd name="connsiteY40" fmla="*/ 3197573 h 3276600"/>
              <a:gd name="connsiteX41" fmla="*/ 1389375 w 3442933"/>
              <a:gd name="connsiteY41" fmla="*/ 1948331 h 3276600"/>
              <a:gd name="connsiteX42" fmla="*/ 590431 w 3442933"/>
              <a:gd name="connsiteY42" fmla="*/ 1948331 h 3276600"/>
              <a:gd name="connsiteX43" fmla="*/ 359557 w 3442933"/>
              <a:gd name="connsiteY43" fmla="*/ 2255322 h 3276600"/>
              <a:gd name="connsiteX44" fmla="*/ 310953 w 3442933"/>
              <a:gd name="connsiteY44" fmla="*/ 2279638 h 3276600"/>
              <a:gd name="connsiteX45" fmla="*/ 61852 w 3442933"/>
              <a:gd name="connsiteY45" fmla="*/ 2279638 h 3276600"/>
              <a:gd name="connsiteX46" fmla="*/ 13247 w 3442933"/>
              <a:gd name="connsiteY46" fmla="*/ 2255322 h 3276600"/>
              <a:gd name="connsiteX47" fmla="*/ 1096 w 3442933"/>
              <a:gd name="connsiteY47" fmla="*/ 2203650 h 3276600"/>
              <a:gd name="connsiteX48" fmla="*/ 162100 w 3442933"/>
              <a:gd name="connsiteY48" fmla="*/ 1638300 h 3276600"/>
              <a:gd name="connsiteX49" fmla="*/ 1096 w 3442933"/>
              <a:gd name="connsiteY49" fmla="*/ 1072950 h 3276600"/>
              <a:gd name="connsiteX50" fmla="*/ 13247 w 3442933"/>
              <a:gd name="connsiteY50" fmla="*/ 1021278 h 3276600"/>
              <a:gd name="connsiteX51" fmla="*/ 61852 w 3442933"/>
              <a:gd name="connsiteY51" fmla="*/ 996962 h 3276600"/>
              <a:gd name="connsiteX52" fmla="*/ 310953 w 3442933"/>
              <a:gd name="connsiteY52" fmla="*/ 996962 h 3276600"/>
              <a:gd name="connsiteX53" fmla="*/ 359557 w 3442933"/>
              <a:gd name="connsiteY53" fmla="*/ 1021278 h 3276600"/>
              <a:gd name="connsiteX54" fmla="*/ 590431 w 3442933"/>
              <a:gd name="connsiteY54" fmla="*/ 1328269 h 3276600"/>
              <a:gd name="connsiteX55" fmla="*/ 1389375 w 3442933"/>
              <a:gd name="connsiteY55" fmla="*/ 1328269 h 3276600"/>
              <a:gd name="connsiteX56" fmla="*/ 997497 w 3442933"/>
              <a:gd name="connsiteY56" fmla="*/ 79028 h 3276600"/>
              <a:gd name="connsiteX57" fmla="*/ 1006611 w 3442933"/>
              <a:gd name="connsiteY57" fmla="*/ 24316 h 3276600"/>
              <a:gd name="connsiteX58" fmla="*/ 1058253 w 3442933"/>
              <a:gd name="connsiteY58" fmla="*/ 0 h 327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442933" h="3276600">
                <a:moveTo>
                  <a:pt x="1140114" y="122238"/>
                </a:moveTo>
                <a:cubicBezTo>
                  <a:pt x="1528853" y="1371593"/>
                  <a:pt x="1528853" y="1371593"/>
                  <a:pt x="1528853" y="1371593"/>
                </a:cubicBezTo>
                <a:cubicBezTo>
                  <a:pt x="1534927" y="1389832"/>
                  <a:pt x="1531890" y="1411110"/>
                  <a:pt x="1519742" y="1426309"/>
                </a:cubicBezTo>
                <a:cubicBezTo>
                  <a:pt x="1510631" y="1441508"/>
                  <a:pt x="1492408" y="1450628"/>
                  <a:pt x="1471149" y="1450628"/>
                </a:cubicBezTo>
                <a:cubicBezTo>
                  <a:pt x="560042" y="1450628"/>
                  <a:pt x="560042" y="1450628"/>
                  <a:pt x="560042" y="1450628"/>
                </a:cubicBezTo>
                <a:cubicBezTo>
                  <a:pt x="538783" y="1450628"/>
                  <a:pt x="520561" y="1441508"/>
                  <a:pt x="511450" y="1426309"/>
                </a:cubicBezTo>
                <a:cubicBezTo>
                  <a:pt x="280636" y="1119290"/>
                  <a:pt x="280636" y="1119290"/>
                  <a:pt x="280636" y="1119290"/>
                </a:cubicBezTo>
                <a:cubicBezTo>
                  <a:pt x="140933" y="1119290"/>
                  <a:pt x="140933" y="1119290"/>
                  <a:pt x="140933" y="1119290"/>
                </a:cubicBezTo>
                <a:cubicBezTo>
                  <a:pt x="283673" y="1623896"/>
                  <a:pt x="283673" y="1623896"/>
                  <a:pt x="283673" y="1623896"/>
                </a:cubicBezTo>
                <a:cubicBezTo>
                  <a:pt x="289747" y="1633015"/>
                  <a:pt x="289747" y="1645174"/>
                  <a:pt x="283673" y="1657333"/>
                </a:cubicBezTo>
                <a:cubicBezTo>
                  <a:pt x="140933" y="2158899"/>
                  <a:pt x="140933" y="2158899"/>
                  <a:pt x="140933" y="2158899"/>
                </a:cubicBezTo>
                <a:cubicBezTo>
                  <a:pt x="280636" y="2158899"/>
                  <a:pt x="280636" y="2158899"/>
                  <a:pt x="280636" y="2158899"/>
                </a:cubicBezTo>
                <a:cubicBezTo>
                  <a:pt x="511450" y="1851880"/>
                  <a:pt x="511450" y="1851880"/>
                  <a:pt x="511450" y="1851880"/>
                </a:cubicBezTo>
                <a:cubicBezTo>
                  <a:pt x="520561" y="1836681"/>
                  <a:pt x="538783" y="1827562"/>
                  <a:pt x="560042" y="1827562"/>
                </a:cubicBezTo>
                <a:cubicBezTo>
                  <a:pt x="1471149" y="1827562"/>
                  <a:pt x="1471149" y="1827562"/>
                  <a:pt x="1471149" y="1827562"/>
                </a:cubicBezTo>
                <a:cubicBezTo>
                  <a:pt x="1492408" y="1827562"/>
                  <a:pt x="1510631" y="1836681"/>
                  <a:pt x="1519742" y="1851880"/>
                </a:cubicBezTo>
                <a:cubicBezTo>
                  <a:pt x="1531890" y="1867079"/>
                  <a:pt x="1534927" y="1888358"/>
                  <a:pt x="1528853" y="1906596"/>
                </a:cubicBezTo>
                <a:lnTo>
                  <a:pt x="1140114" y="3155951"/>
                </a:lnTo>
                <a:cubicBezTo>
                  <a:pt x="1355742" y="3155951"/>
                  <a:pt x="1355742" y="3155951"/>
                  <a:pt x="1355742" y="3155951"/>
                </a:cubicBezTo>
                <a:cubicBezTo>
                  <a:pt x="2166627" y="1854920"/>
                  <a:pt x="2166627" y="1854920"/>
                  <a:pt x="2166627" y="1854920"/>
                </a:cubicBezTo>
                <a:cubicBezTo>
                  <a:pt x="2178776" y="1839721"/>
                  <a:pt x="2196998" y="1827562"/>
                  <a:pt x="2218257" y="1827562"/>
                </a:cubicBezTo>
                <a:cubicBezTo>
                  <a:pt x="3132401" y="1827562"/>
                  <a:pt x="3132401" y="1827562"/>
                  <a:pt x="3132401" y="1827562"/>
                </a:cubicBezTo>
                <a:cubicBezTo>
                  <a:pt x="3229585" y="1827562"/>
                  <a:pt x="3320696" y="1739408"/>
                  <a:pt x="3320696" y="1639095"/>
                </a:cubicBezTo>
                <a:cubicBezTo>
                  <a:pt x="3320696" y="1541821"/>
                  <a:pt x="3229585" y="1450628"/>
                  <a:pt x="3132401" y="1450628"/>
                </a:cubicBezTo>
                <a:cubicBezTo>
                  <a:pt x="2218257" y="1450628"/>
                  <a:pt x="2218257" y="1450628"/>
                  <a:pt x="2218257" y="1450628"/>
                </a:cubicBezTo>
                <a:cubicBezTo>
                  <a:pt x="2196998" y="1450628"/>
                  <a:pt x="2178776" y="1441508"/>
                  <a:pt x="2166627" y="1423269"/>
                </a:cubicBezTo>
                <a:cubicBezTo>
                  <a:pt x="1355742" y="122238"/>
                  <a:pt x="1355742" y="122238"/>
                  <a:pt x="1355742" y="122238"/>
                </a:cubicBezTo>
                <a:cubicBezTo>
                  <a:pt x="1140114" y="122238"/>
                  <a:pt x="1140114" y="122238"/>
                  <a:pt x="1140114" y="122238"/>
                </a:cubicBezTo>
                <a:close/>
                <a:moveTo>
                  <a:pt x="1058253" y="0"/>
                </a:moveTo>
                <a:cubicBezTo>
                  <a:pt x="1389375" y="0"/>
                  <a:pt x="1389375" y="0"/>
                  <a:pt x="1389375" y="0"/>
                </a:cubicBezTo>
                <a:cubicBezTo>
                  <a:pt x="1410639" y="0"/>
                  <a:pt x="1428866" y="9119"/>
                  <a:pt x="1441017" y="27356"/>
                </a:cubicBezTo>
                <a:cubicBezTo>
                  <a:pt x="2252112" y="1328269"/>
                  <a:pt x="2252112" y="1328269"/>
                  <a:pt x="2252112" y="1328269"/>
                </a:cubicBezTo>
                <a:cubicBezTo>
                  <a:pt x="3133077" y="1328269"/>
                  <a:pt x="3133077" y="1328269"/>
                  <a:pt x="3133077" y="1328269"/>
                </a:cubicBezTo>
                <a:cubicBezTo>
                  <a:pt x="3297118" y="1328269"/>
                  <a:pt x="3442933" y="1474166"/>
                  <a:pt x="3442933" y="1638300"/>
                </a:cubicBezTo>
                <a:cubicBezTo>
                  <a:pt x="3442933" y="1802434"/>
                  <a:pt x="3297118" y="1948331"/>
                  <a:pt x="3133077" y="1948331"/>
                </a:cubicBezTo>
                <a:cubicBezTo>
                  <a:pt x="2252112" y="1948331"/>
                  <a:pt x="2252112" y="1948331"/>
                  <a:pt x="2252112" y="1948331"/>
                </a:cubicBezTo>
                <a:cubicBezTo>
                  <a:pt x="1441017" y="3249244"/>
                  <a:pt x="1441017" y="3249244"/>
                  <a:pt x="1441017" y="3249244"/>
                </a:cubicBezTo>
                <a:cubicBezTo>
                  <a:pt x="1428866" y="3267482"/>
                  <a:pt x="1410639" y="3276600"/>
                  <a:pt x="1389375" y="3276600"/>
                </a:cubicBezTo>
                <a:cubicBezTo>
                  <a:pt x="1058253" y="3276600"/>
                  <a:pt x="1058253" y="3276600"/>
                  <a:pt x="1058253" y="3276600"/>
                </a:cubicBezTo>
                <a:cubicBezTo>
                  <a:pt x="1036989" y="3276600"/>
                  <a:pt x="1018762" y="3267482"/>
                  <a:pt x="1006611" y="3252284"/>
                </a:cubicBezTo>
                <a:cubicBezTo>
                  <a:pt x="997497" y="3237086"/>
                  <a:pt x="994459" y="3215810"/>
                  <a:pt x="997497" y="3197573"/>
                </a:cubicBezTo>
                <a:cubicBezTo>
                  <a:pt x="1389375" y="1948331"/>
                  <a:pt x="1389375" y="1948331"/>
                  <a:pt x="1389375" y="1948331"/>
                </a:cubicBezTo>
                <a:cubicBezTo>
                  <a:pt x="590431" y="1948331"/>
                  <a:pt x="590431" y="1948331"/>
                  <a:pt x="590431" y="1948331"/>
                </a:cubicBezTo>
                <a:cubicBezTo>
                  <a:pt x="359557" y="2255322"/>
                  <a:pt x="359557" y="2255322"/>
                  <a:pt x="359557" y="2255322"/>
                </a:cubicBezTo>
                <a:cubicBezTo>
                  <a:pt x="347406" y="2270520"/>
                  <a:pt x="329179" y="2279638"/>
                  <a:pt x="310953" y="2279638"/>
                </a:cubicBezTo>
                <a:cubicBezTo>
                  <a:pt x="61852" y="2279638"/>
                  <a:pt x="61852" y="2279638"/>
                  <a:pt x="61852" y="2279638"/>
                </a:cubicBezTo>
                <a:cubicBezTo>
                  <a:pt x="40588" y="2279638"/>
                  <a:pt x="22361" y="2270520"/>
                  <a:pt x="13247" y="2255322"/>
                </a:cubicBezTo>
                <a:cubicBezTo>
                  <a:pt x="1096" y="2240125"/>
                  <a:pt x="-1942" y="2221888"/>
                  <a:pt x="1096" y="2203650"/>
                </a:cubicBezTo>
                <a:cubicBezTo>
                  <a:pt x="162100" y="1638300"/>
                  <a:pt x="162100" y="1638300"/>
                  <a:pt x="162100" y="1638300"/>
                </a:cubicBezTo>
                <a:cubicBezTo>
                  <a:pt x="1096" y="1072950"/>
                  <a:pt x="1096" y="1072950"/>
                  <a:pt x="1096" y="1072950"/>
                </a:cubicBezTo>
                <a:cubicBezTo>
                  <a:pt x="-1942" y="1054713"/>
                  <a:pt x="1096" y="1036476"/>
                  <a:pt x="13247" y="1021278"/>
                </a:cubicBezTo>
                <a:cubicBezTo>
                  <a:pt x="22361" y="1006080"/>
                  <a:pt x="40588" y="996962"/>
                  <a:pt x="61852" y="996962"/>
                </a:cubicBezTo>
                <a:cubicBezTo>
                  <a:pt x="310953" y="996962"/>
                  <a:pt x="310953" y="996962"/>
                  <a:pt x="310953" y="996962"/>
                </a:cubicBezTo>
                <a:cubicBezTo>
                  <a:pt x="329179" y="996962"/>
                  <a:pt x="347406" y="1006080"/>
                  <a:pt x="359557" y="1021278"/>
                </a:cubicBezTo>
                <a:cubicBezTo>
                  <a:pt x="590431" y="1328269"/>
                  <a:pt x="590431" y="1328269"/>
                  <a:pt x="590431" y="1328269"/>
                </a:cubicBezTo>
                <a:cubicBezTo>
                  <a:pt x="1389375" y="1328269"/>
                  <a:pt x="1389375" y="1328269"/>
                  <a:pt x="1389375" y="1328269"/>
                </a:cubicBezTo>
                <a:cubicBezTo>
                  <a:pt x="997497" y="79028"/>
                  <a:pt x="997497" y="79028"/>
                  <a:pt x="997497" y="79028"/>
                </a:cubicBezTo>
                <a:cubicBezTo>
                  <a:pt x="994459" y="60790"/>
                  <a:pt x="997497" y="39514"/>
                  <a:pt x="1006611" y="24316"/>
                </a:cubicBezTo>
                <a:cubicBezTo>
                  <a:pt x="1018762" y="9119"/>
                  <a:pt x="1036989" y="0"/>
                  <a:pt x="1058253" y="0"/>
                </a:cubicBezTo>
                <a:close/>
              </a:path>
            </a:pathLst>
          </a:custGeom>
          <a:solidFill>
            <a:srgbClr val="2A4368"/>
          </a:solidFill>
          <a:ln>
            <a:solidFill>
              <a:srgbClr val="2A4368"/>
            </a:solid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nvGrpSpPr>
          <p:cNvPr id="394" name="Group 393">
            <a:extLst>
              <a:ext uri="{FF2B5EF4-FFF2-40B4-BE49-F238E27FC236}">
                <a16:creationId xmlns:a16="http://schemas.microsoft.com/office/drawing/2014/main" id="{AC162F24-F53E-4D40-9AE1-F7D9D3190D79}"/>
              </a:ext>
            </a:extLst>
          </p:cNvPr>
          <p:cNvGrpSpPr/>
          <p:nvPr/>
        </p:nvGrpSpPr>
        <p:grpSpPr>
          <a:xfrm>
            <a:off x="5668907" y="4060160"/>
            <a:ext cx="347843" cy="347843"/>
            <a:chOff x="8023948" y="1893194"/>
            <a:chExt cx="347892" cy="347892"/>
          </a:xfrm>
        </p:grpSpPr>
        <p:sp>
          <p:nvSpPr>
            <p:cNvPr id="440" name="Oval 439">
              <a:extLst>
                <a:ext uri="{FF2B5EF4-FFF2-40B4-BE49-F238E27FC236}">
                  <a16:creationId xmlns:a16="http://schemas.microsoft.com/office/drawing/2014/main" id="{1F370285-4F8B-4D7A-A8A5-B0C541CE256A}"/>
                </a:ext>
              </a:extLst>
            </p:cNvPr>
            <p:cNvSpPr/>
            <p:nvPr/>
          </p:nvSpPr>
          <p:spPr bwMode="auto">
            <a:xfrm>
              <a:off x="8023948" y="1893194"/>
              <a:ext cx="347892" cy="347892"/>
            </a:xfrm>
            <a:prstGeom prst="ellipse">
              <a:avLst/>
            </a:prstGeom>
            <a:solidFill>
              <a:srgbClr val="FFFFFF"/>
            </a:solidFill>
            <a:ln w="19050" cap="flat" cmpd="sng" algn="ctr">
              <a:solidFill>
                <a:srgbClr val="00BCF2"/>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1" name="Freeform 99">
              <a:extLst>
                <a:ext uri="{FF2B5EF4-FFF2-40B4-BE49-F238E27FC236}">
                  <a16:creationId xmlns:a16="http://schemas.microsoft.com/office/drawing/2014/main" id="{3B0C4457-BC0F-4880-9E7C-75B2A8629BE8}"/>
                </a:ext>
              </a:extLst>
            </p:cNvPr>
            <p:cNvSpPr>
              <a:spLocks/>
            </p:cNvSpPr>
            <p:nvPr/>
          </p:nvSpPr>
          <p:spPr bwMode="auto">
            <a:xfrm>
              <a:off x="8081737" y="1955286"/>
              <a:ext cx="226603" cy="195043"/>
            </a:xfrm>
            <a:custGeom>
              <a:avLst/>
              <a:gdLst>
                <a:gd name="connsiteX0" fmla="*/ 2667221 w 3829915"/>
                <a:gd name="connsiteY0" fmla="*/ 2253274 h 3296512"/>
                <a:gd name="connsiteX1" fmla="*/ 2710935 w 3829915"/>
                <a:gd name="connsiteY1" fmla="*/ 2271572 h 3296512"/>
                <a:gd name="connsiteX2" fmla="*/ 2710935 w 3829915"/>
                <a:gd name="connsiteY2" fmla="*/ 2356963 h 3296512"/>
                <a:gd name="connsiteX3" fmla="*/ 2376426 w 3829915"/>
                <a:gd name="connsiteY3" fmla="*/ 2692427 h 3296512"/>
                <a:gd name="connsiteX4" fmla="*/ 2333852 w 3829915"/>
                <a:gd name="connsiteY4" fmla="*/ 2710725 h 3296512"/>
                <a:gd name="connsiteX5" fmla="*/ 2291278 w 3829915"/>
                <a:gd name="connsiteY5" fmla="*/ 2692427 h 3296512"/>
                <a:gd name="connsiteX6" fmla="*/ 2291278 w 3829915"/>
                <a:gd name="connsiteY6" fmla="*/ 2603987 h 3296512"/>
                <a:gd name="connsiteX7" fmla="*/ 2625787 w 3829915"/>
                <a:gd name="connsiteY7" fmla="*/ 2271572 h 3296512"/>
                <a:gd name="connsiteX8" fmla="*/ 2667221 w 3829915"/>
                <a:gd name="connsiteY8" fmla="*/ 2253274 h 3296512"/>
                <a:gd name="connsiteX9" fmla="*/ 1096963 w 3829915"/>
                <a:gd name="connsiteY9" fmla="*/ 2210662 h 3296512"/>
                <a:gd name="connsiteX10" fmla="*/ 1157288 w 3829915"/>
                <a:gd name="connsiteY10" fmla="*/ 2271613 h 3296512"/>
                <a:gd name="connsiteX11" fmla="*/ 1157288 w 3829915"/>
                <a:gd name="connsiteY11" fmla="*/ 2567224 h 3296512"/>
                <a:gd name="connsiteX12" fmla="*/ 1096963 w 3829915"/>
                <a:gd name="connsiteY12" fmla="*/ 2628175 h 3296512"/>
                <a:gd name="connsiteX13" fmla="*/ 1036638 w 3829915"/>
                <a:gd name="connsiteY13" fmla="*/ 2567224 h 3296512"/>
                <a:gd name="connsiteX14" fmla="*/ 1036638 w 3829915"/>
                <a:gd name="connsiteY14" fmla="*/ 2271613 h 3296512"/>
                <a:gd name="connsiteX15" fmla="*/ 1096963 w 3829915"/>
                <a:gd name="connsiteY15" fmla="*/ 2210662 h 3296512"/>
                <a:gd name="connsiteX16" fmla="*/ 2669520 w 3829915"/>
                <a:gd name="connsiteY16" fmla="*/ 1934178 h 3296512"/>
                <a:gd name="connsiteX17" fmla="*/ 2710942 w 3829915"/>
                <a:gd name="connsiteY17" fmla="*/ 1952449 h 3296512"/>
                <a:gd name="connsiteX18" fmla="*/ 2710942 w 3829915"/>
                <a:gd name="connsiteY18" fmla="*/ 2037717 h 3296512"/>
                <a:gd name="connsiteX19" fmla="*/ 2057309 w 3829915"/>
                <a:gd name="connsiteY19" fmla="*/ 2692454 h 3296512"/>
                <a:gd name="connsiteX20" fmla="*/ 2014747 w 3829915"/>
                <a:gd name="connsiteY20" fmla="*/ 2710725 h 3296512"/>
                <a:gd name="connsiteX21" fmla="*/ 1972184 w 3829915"/>
                <a:gd name="connsiteY21" fmla="*/ 2692454 h 3296512"/>
                <a:gd name="connsiteX22" fmla="*/ 1972184 w 3829915"/>
                <a:gd name="connsiteY22" fmla="*/ 2607186 h 3296512"/>
                <a:gd name="connsiteX23" fmla="*/ 2625818 w 3829915"/>
                <a:gd name="connsiteY23" fmla="*/ 1952449 h 3296512"/>
                <a:gd name="connsiteX24" fmla="*/ 2669520 w 3829915"/>
                <a:gd name="connsiteY24" fmla="*/ 1934178 h 3296512"/>
                <a:gd name="connsiteX25" fmla="*/ 2340909 w 3829915"/>
                <a:gd name="connsiteY25" fmla="*/ 1927073 h 3296512"/>
                <a:gd name="connsiteX26" fmla="*/ 2382330 w 3829915"/>
                <a:gd name="connsiteY26" fmla="*/ 1943079 h 3296512"/>
                <a:gd name="connsiteX27" fmla="*/ 2382330 w 3829915"/>
                <a:gd name="connsiteY27" fmla="*/ 2031495 h 3296512"/>
                <a:gd name="connsiteX28" fmla="*/ 2050957 w 3829915"/>
                <a:gd name="connsiteY28" fmla="*/ 2363819 h 3296512"/>
                <a:gd name="connsiteX29" fmla="*/ 2008396 w 3829915"/>
                <a:gd name="connsiteY29" fmla="*/ 2382112 h 3296512"/>
                <a:gd name="connsiteX30" fmla="*/ 1965834 w 3829915"/>
                <a:gd name="connsiteY30" fmla="*/ 2363819 h 3296512"/>
                <a:gd name="connsiteX31" fmla="*/ 1965834 w 3829915"/>
                <a:gd name="connsiteY31" fmla="*/ 2278452 h 3296512"/>
                <a:gd name="connsiteX32" fmla="*/ 2297207 w 3829915"/>
                <a:gd name="connsiteY32" fmla="*/ 1943079 h 3296512"/>
                <a:gd name="connsiteX33" fmla="*/ 2340909 w 3829915"/>
                <a:gd name="connsiteY33" fmla="*/ 1927073 h 3296512"/>
                <a:gd name="connsiteX34" fmla="*/ 984116 w 3829915"/>
                <a:gd name="connsiteY34" fmla="*/ 1440148 h 3296512"/>
                <a:gd name="connsiteX35" fmla="*/ 976866 w 3829915"/>
                <a:gd name="connsiteY35" fmla="*/ 1455700 h 3296512"/>
                <a:gd name="connsiteX36" fmla="*/ 628507 w 3829915"/>
                <a:gd name="connsiteY36" fmla="*/ 1707906 h 3296512"/>
                <a:gd name="connsiteX37" fmla="*/ 577851 w 3829915"/>
                <a:gd name="connsiteY37" fmla="*/ 1713014 h 3296512"/>
                <a:gd name="connsiteX38" fmla="*/ 577851 w 3829915"/>
                <a:gd name="connsiteY38" fmla="*/ 1809048 h 3296512"/>
                <a:gd name="connsiteX39" fmla="*/ 577851 w 3829915"/>
                <a:gd name="connsiteY39" fmla="*/ 3159840 h 3296512"/>
                <a:gd name="connsiteX40" fmla="*/ 577851 w 3829915"/>
                <a:gd name="connsiteY40" fmla="*/ 3175862 h 3296512"/>
                <a:gd name="connsiteX41" fmla="*/ 717906 w 3829915"/>
                <a:gd name="connsiteY41" fmla="*/ 3175862 h 3296512"/>
                <a:gd name="connsiteX42" fmla="*/ 1276340 w 3829915"/>
                <a:gd name="connsiteY42" fmla="*/ 3175862 h 3296512"/>
                <a:gd name="connsiteX43" fmla="*/ 1309688 w 3829915"/>
                <a:gd name="connsiteY43" fmla="*/ 3175862 h 3296512"/>
                <a:gd name="connsiteX44" fmla="*/ 1309688 w 3829915"/>
                <a:gd name="connsiteY44" fmla="*/ 3013173 h 3296512"/>
                <a:gd name="connsiteX45" fmla="*/ 1309688 w 3829915"/>
                <a:gd name="connsiteY45" fmla="*/ 1716585 h 3296512"/>
                <a:gd name="connsiteX46" fmla="*/ 1309688 w 3829915"/>
                <a:gd name="connsiteY46" fmla="*/ 1699571 h 3296512"/>
                <a:gd name="connsiteX47" fmla="*/ 1238892 w 3829915"/>
                <a:gd name="connsiteY47" fmla="*/ 1677413 h 3296512"/>
                <a:gd name="connsiteX48" fmla="*/ 1009907 w 3829915"/>
                <a:gd name="connsiteY48" fmla="*/ 1487808 h 3296512"/>
                <a:gd name="connsiteX49" fmla="*/ 2838454 w 3829915"/>
                <a:gd name="connsiteY49" fmla="*/ 1422795 h 3296512"/>
                <a:gd name="connsiteX50" fmla="*/ 2803244 w 3829915"/>
                <a:gd name="connsiteY50" fmla="*/ 1487808 h 3296512"/>
                <a:gd name="connsiteX51" fmla="*/ 2370207 w 3829915"/>
                <a:gd name="connsiteY51" fmla="*/ 1718537 h 3296512"/>
                <a:gd name="connsiteX52" fmla="*/ 1940046 w 3829915"/>
                <a:gd name="connsiteY52" fmla="*/ 1487808 h 3296512"/>
                <a:gd name="connsiteX53" fmla="*/ 1907297 w 3829915"/>
                <a:gd name="connsiteY53" fmla="*/ 1427197 h 3296512"/>
                <a:gd name="connsiteX54" fmla="*/ 1874421 w 3829915"/>
                <a:gd name="connsiteY54" fmla="*/ 1487808 h 3296512"/>
                <a:gd name="connsiteX55" fmla="*/ 1440724 w 3829915"/>
                <a:gd name="connsiteY55" fmla="*/ 1718537 h 3296512"/>
                <a:gd name="connsiteX56" fmla="*/ 1431926 w 3829915"/>
                <a:gd name="connsiteY56" fmla="*/ 1717641 h 3296512"/>
                <a:gd name="connsiteX57" fmla="*/ 1431926 w 3829915"/>
                <a:gd name="connsiteY57" fmla="*/ 1809048 h 3296512"/>
                <a:gd name="connsiteX58" fmla="*/ 1431926 w 3829915"/>
                <a:gd name="connsiteY58" fmla="*/ 3159840 h 3296512"/>
                <a:gd name="connsiteX59" fmla="*/ 1431926 w 3829915"/>
                <a:gd name="connsiteY59" fmla="*/ 3175862 h 3296512"/>
                <a:gd name="connsiteX60" fmla="*/ 1527348 w 3829915"/>
                <a:gd name="connsiteY60" fmla="*/ 3175862 h 3296512"/>
                <a:gd name="connsiteX61" fmla="*/ 3059615 w 3829915"/>
                <a:gd name="connsiteY61" fmla="*/ 3175862 h 3296512"/>
                <a:gd name="connsiteX62" fmla="*/ 3233738 w 3829915"/>
                <a:gd name="connsiteY62" fmla="*/ 3175862 h 3296512"/>
                <a:gd name="connsiteX63" fmla="*/ 3233738 w 3829915"/>
                <a:gd name="connsiteY63" fmla="*/ 3028966 h 3296512"/>
                <a:gd name="connsiteX64" fmla="*/ 3233738 w 3829915"/>
                <a:gd name="connsiteY64" fmla="*/ 1744627 h 3296512"/>
                <a:gd name="connsiteX65" fmla="*/ 3233738 w 3829915"/>
                <a:gd name="connsiteY65" fmla="*/ 1711162 h 3296512"/>
                <a:gd name="connsiteX66" fmla="*/ 3201498 w 3829915"/>
                <a:gd name="connsiteY66" fmla="*/ 1707906 h 3296512"/>
                <a:gd name="connsiteX67" fmla="*/ 2873668 w 3829915"/>
                <a:gd name="connsiteY67" fmla="*/ 1487808 h 3296512"/>
                <a:gd name="connsiteX68" fmla="*/ 2909118 w 3829915"/>
                <a:gd name="connsiteY68" fmla="*/ 1226413 h 3296512"/>
                <a:gd name="connsiteX69" fmla="*/ 2914193 w 3829915"/>
                <a:gd name="connsiteY69" fmla="*/ 1276221 h 3296512"/>
                <a:gd name="connsiteX70" fmla="*/ 3306763 w 3829915"/>
                <a:gd name="connsiteY70" fmla="*/ 1596829 h 3296512"/>
                <a:gd name="connsiteX71" fmla="*/ 3699457 w 3829915"/>
                <a:gd name="connsiteY71" fmla="*/ 1276221 h 3296512"/>
                <a:gd name="connsiteX72" fmla="*/ 3704455 w 3829915"/>
                <a:gd name="connsiteY72" fmla="*/ 1226413 h 3296512"/>
                <a:gd name="connsiteX73" fmla="*/ 3431443 w 3829915"/>
                <a:gd name="connsiteY73" fmla="*/ 1226413 h 3296512"/>
                <a:gd name="connsiteX74" fmla="*/ 3115659 w 3829915"/>
                <a:gd name="connsiteY74" fmla="*/ 1226413 h 3296512"/>
                <a:gd name="connsiteX75" fmla="*/ 1975602 w 3829915"/>
                <a:gd name="connsiteY75" fmla="*/ 1226413 h 3296512"/>
                <a:gd name="connsiteX76" fmla="*/ 1980595 w 3829915"/>
                <a:gd name="connsiteY76" fmla="*/ 1276221 h 3296512"/>
                <a:gd name="connsiteX77" fmla="*/ 2370207 w 3829915"/>
                <a:gd name="connsiteY77" fmla="*/ 1596829 h 3296512"/>
                <a:gd name="connsiteX78" fmla="*/ 2762849 w 3829915"/>
                <a:gd name="connsiteY78" fmla="*/ 1276221 h 3296512"/>
                <a:gd name="connsiteX79" fmla="*/ 2767847 w 3829915"/>
                <a:gd name="connsiteY79" fmla="*/ 1226413 h 3296512"/>
                <a:gd name="connsiteX80" fmla="*/ 2544509 w 3829915"/>
                <a:gd name="connsiteY80" fmla="*/ 1226413 h 3296512"/>
                <a:gd name="connsiteX81" fmla="*/ 2049393 w 3829915"/>
                <a:gd name="connsiteY81" fmla="*/ 1226413 h 3296512"/>
                <a:gd name="connsiteX82" fmla="*/ 1045517 w 3829915"/>
                <a:gd name="connsiteY82" fmla="*/ 1226413 h 3296512"/>
                <a:gd name="connsiteX83" fmla="*/ 1050518 w 3829915"/>
                <a:gd name="connsiteY83" fmla="*/ 1276221 h 3296512"/>
                <a:gd name="connsiteX84" fmla="*/ 1440724 w 3829915"/>
                <a:gd name="connsiteY84" fmla="*/ 1596829 h 3296512"/>
                <a:gd name="connsiteX85" fmla="*/ 1833965 w 3829915"/>
                <a:gd name="connsiteY85" fmla="*/ 1276221 h 3296512"/>
                <a:gd name="connsiteX86" fmla="*/ 1838970 w 3829915"/>
                <a:gd name="connsiteY86" fmla="*/ 1226413 h 3296512"/>
                <a:gd name="connsiteX87" fmla="*/ 1828649 w 3829915"/>
                <a:gd name="connsiteY87" fmla="*/ 1226413 h 3296512"/>
                <a:gd name="connsiteX88" fmla="*/ 1108603 w 3829915"/>
                <a:gd name="connsiteY88" fmla="*/ 1226413 h 3296512"/>
                <a:gd name="connsiteX89" fmla="*/ 124785 w 3829915"/>
                <a:gd name="connsiteY89" fmla="*/ 1226413 h 3296512"/>
                <a:gd name="connsiteX90" fmla="*/ 129790 w 3829915"/>
                <a:gd name="connsiteY90" fmla="*/ 1276221 h 3296512"/>
                <a:gd name="connsiteX91" fmla="*/ 523082 w 3829915"/>
                <a:gd name="connsiteY91" fmla="*/ 1596829 h 3296512"/>
                <a:gd name="connsiteX92" fmla="*/ 916373 w 3829915"/>
                <a:gd name="connsiteY92" fmla="*/ 1276221 h 3296512"/>
                <a:gd name="connsiteX93" fmla="*/ 921378 w 3829915"/>
                <a:gd name="connsiteY93" fmla="*/ 1226413 h 3296512"/>
                <a:gd name="connsiteX94" fmla="*/ 836831 w 3829915"/>
                <a:gd name="connsiteY94" fmla="*/ 1226413 h 3296512"/>
                <a:gd name="connsiteX95" fmla="*/ 173922 w 3829915"/>
                <a:gd name="connsiteY95" fmla="*/ 1226413 h 3296512"/>
                <a:gd name="connsiteX96" fmla="*/ 576712 w 3829915"/>
                <a:gd name="connsiteY96" fmla="*/ 123100 h 3296512"/>
                <a:gd name="connsiteX97" fmla="*/ 509290 w 3829915"/>
                <a:gd name="connsiteY97" fmla="*/ 280020 h 3296512"/>
                <a:gd name="connsiteX98" fmla="*/ 158079 w 3829915"/>
                <a:gd name="connsiteY98" fmla="*/ 1097436 h 3296512"/>
                <a:gd name="connsiteX99" fmla="*/ 155183 w 3829915"/>
                <a:gd name="connsiteY99" fmla="*/ 1104175 h 3296512"/>
                <a:gd name="connsiteX100" fmla="*/ 397607 w 3829915"/>
                <a:gd name="connsiteY100" fmla="*/ 1104175 h 3296512"/>
                <a:gd name="connsiteX101" fmla="*/ 3665407 w 3829915"/>
                <a:gd name="connsiteY101" fmla="*/ 1104175 h 3296512"/>
                <a:gd name="connsiteX102" fmla="*/ 3687076 w 3829915"/>
                <a:gd name="connsiteY102" fmla="*/ 1104175 h 3296512"/>
                <a:gd name="connsiteX103" fmla="*/ 3617503 w 3829915"/>
                <a:gd name="connsiteY103" fmla="*/ 968485 h 3296512"/>
                <a:gd name="connsiteX104" fmla="*/ 3195267 w 3829915"/>
                <a:gd name="connsiteY104" fmla="*/ 144990 h 3296512"/>
                <a:gd name="connsiteX105" fmla="*/ 3184043 w 3829915"/>
                <a:gd name="connsiteY105" fmla="*/ 123100 h 3296512"/>
                <a:gd name="connsiteX106" fmla="*/ 3037870 w 3829915"/>
                <a:gd name="connsiteY106" fmla="*/ 123100 h 3296512"/>
                <a:gd name="connsiteX107" fmla="*/ 580551 w 3829915"/>
                <a:gd name="connsiteY107" fmla="*/ 123100 h 3296512"/>
                <a:gd name="connsiteX108" fmla="*/ 3217294 w 3829915"/>
                <a:gd name="connsiteY108" fmla="*/ 131 h 3296512"/>
                <a:gd name="connsiteX109" fmla="*/ 3240533 w 3829915"/>
                <a:gd name="connsiteY109" fmla="*/ 3125 h 3296512"/>
                <a:gd name="connsiteX110" fmla="*/ 3244647 w 3829915"/>
                <a:gd name="connsiteY110" fmla="*/ 5456 h 3296512"/>
                <a:gd name="connsiteX111" fmla="*/ 3245770 w 3829915"/>
                <a:gd name="connsiteY111" fmla="*/ 5685 h 3296512"/>
                <a:gd name="connsiteX112" fmla="*/ 3249370 w 3829915"/>
                <a:gd name="connsiteY112" fmla="*/ 8131 h 3296512"/>
                <a:gd name="connsiteX113" fmla="*/ 3260921 w 3829915"/>
                <a:gd name="connsiteY113" fmla="*/ 14675 h 3296512"/>
                <a:gd name="connsiteX114" fmla="*/ 3263071 w 3829915"/>
                <a:gd name="connsiteY114" fmla="*/ 17440 h 3296512"/>
                <a:gd name="connsiteX115" fmla="*/ 3265096 w 3829915"/>
                <a:gd name="connsiteY115" fmla="*/ 18816 h 3296512"/>
                <a:gd name="connsiteX116" fmla="*/ 3271169 w 3829915"/>
                <a:gd name="connsiteY116" fmla="*/ 27853 h 3296512"/>
                <a:gd name="connsiteX117" fmla="*/ 3275891 w 3829915"/>
                <a:gd name="connsiteY117" fmla="*/ 33926 h 3296512"/>
                <a:gd name="connsiteX118" fmla="*/ 3277958 w 3829915"/>
                <a:gd name="connsiteY118" fmla="*/ 37956 h 3296512"/>
                <a:gd name="connsiteX119" fmla="*/ 3278155 w 3829915"/>
                <a:gd name="connsiteY119" fmla="*/ 38250 h 3296512"/>
                <a:gd name="connsiteX120" fmla="*/ 3278186 w 3829915"/>
                <a:gd name="connsiteY120" fmla="*/ 38400 h 3296512"/>
                <a:gd name="connsiteX121" fmla="*/ 3372261 w 3829915"/>
                <a:gd name="connsiteY121" fmla="*/ 221878 h 3296512"/>
                <a:gd name="connsiteX122" fmla="*/ 3823369 w 3829915"/>
                <a:gd name="connsiteY122" fmla="*/ 1101681 h 3296512"/>
                <a:gd name="connsiteX123" fmla="*/ 3826790 w 3829915"/>
                <a:gd name="connsiteY123" fmla="*/ 1146171 h 3296512"/>
                <a:gd name="connsiteX124" fmla="*/ 3825504 w 3829915"/>
                <a:gd name="connsiteY124" fmla="*/ 1147744 h 3296512"/>
                <a:gd name="connsiteX125" fmla="*/ 3829050 w 3829915"/>
                <a:gd name="connsiteY125" fmla="*/ 1165294 h 3296512"/>
                <a:gd name="connsiteX126" fmla="*/ 3822856 w 3829915"/>
                <a:gd name="connsiteY126" fmla="*/ 1180269 h 3296512"/>
                <a:gd name="connsiteX127" fmla="*/ 3829050 w 3829915"/>
                <a:gd name="connsiteY127" fmla="*/ 1195191 h 3296512"/>
                <a:gd name="connsiteX128" fmla="*/ 3412028 w 3829915"/>
                <a:gd name="connsiteY128" fmla="*/ 1707906 h 3296512"/>
                <a:gd name="connsiteX129" fmla="*/ 3354388 w 3829915"/>
                <a:gd name="connsiteY129" fmla="*/ 1713727 h 3296512"/>
                <a:gd name="connsiteX130" fmla="*/ 3354388 w 3829915"/>
                <a:gd name="connsiteY130" fmla="*/ 1803283 h 3296512"/>
                <a:gd name="connsiteX131" fmla="*/ 3354388 w 3829915"/>
                <a:gd name="connsiteY131" fmla="*/ 3159654 h 3296512"/>
                <a:gd name="connsiteX132" fmla="*/ 3354388 w 3829915"/>
                <a:gd name="connsiteY132" fmla="*/ 3175862 h 3296512"/>
                <a:gd name="connsiteX133" fmla="*/ 3401225 w 3829915"/>
                <a:gd name="connsiteY133" fmla="*/ 3175862 h 3296512"/>
                <a:gd name="connsiteX134" fmla="*/ 3704780 w 3829915"/>
                <a:gd name="connsiteY134" fmla="*/ 3175862 h 3296512"/>
                <a:gd name="connsiteX135" fmla="*/ 3765550 w 3829915"/>
                <a:gd name="connsiteY135" fmla="*/ 3236187 h 3296512"/>
                <a:gd name="connsiteX136" fmla="*/ 3704780 w 3829915"/>
                <a:gd name="connsiteY136" fmla="*/ 3296512 h 3296512"/>
                <a:gd name="connsiteX137" fmla="*/ 79820 w 3829915"/>
                <a:gd name="connsiteY137" fmla="*/ 3296512 h 3296512"/>
                <a:gd name="connsiteX138" fmla="*/ 19050 w 3829915"/>
                <a:gd name="connsiteY138" fmla="*/ 3236187 h 3296512"/>
                <a:gd name="connsiteX139" fmla="*/ 79820 w 3829915"/>
                <a:gd name="connsiteY139" fmla="*/ 3175862 h 3296512"/>
                <a:gd name="connsiteX140" fmla="*/ 409151 w 3829915"/>
                <a:gd name="connsiteY140" fmla="*/ 3175862 h 3296512"/>
                <a:gd name="connsiteX141" fmla="*/ 455613 w 3829915"/>
                <a:gd name="connsiteY141" fmla="*/ 3175862 h 3296512"/>
                <a:gd name="connsiteX142" fmla="*/ 455613 w 3829915"/>
                <a:gd name="connsiteY142" fmla="*/ 3013173 h 3296512"/>
                <a:gd name="connsiteX143" fmla="*/ 455613 w 3829915"/>
                <a:gd name="connsiteY143" fmla="*/ 1716585 h 3296512"/>
                <a:gd name="connsiteX144" fmla="*/ 455613 w 3829915"/>
                <a:gd name="connsiteY144" fmla="*/ 1711733 h 3296512"/>
                <a:gd name="connsiteX145" fmla="*/ 417656 w 3829915"/>
                <a:gd name="connsiteY145" fmla="*/ 1707906 h 3296512"/>
                <a:gd name="connsiteX146" fmla="*/ 0 w 3829915"/>
                <a:gd name="connsiteY146" fmla="*/ 1195191 h 3296512"/>
                <a:gd name="connsiteX147" fmla="*/ 4461 w 3829915"/>
                <a:gd name="connsiteY147" fmla="*/ 1184461 h 3296512"/>
                <a:gd name="connsiteX148" fmla="*/ 2098 w 3829915"/>
                <a:gd name="connsiteY148" fmla="*/ 1170365 h 3296512"/>
                <a:gd name="connsiteX149" fmla="*/ 0 w 3829915"/>
                <a:gd name="connsiteY149" fmla="*/ 1165294 h 3296512"/>
                <a:gd name="connsiteX150" fmla="*/ 4796 w 3829915"/>
                <a:gd name="connsiteY150" fmla="*/ 1141563 h 3296512"/>
                <a:gd name="connsiteX151" fmla="*/ 7258 w 3829915"/>
                <a:gd name="connsiteY151" fmla="*/ 1137898 h 3296512"/>
                <a:gd name="connsiteX152" fmla="*/ 89867 w 3829915"/>
                <a:gd name="connsiteY152" fmla="*/ 946855 h 3296512"/>
                <a:gd name="connsiteX153" fmla="*/ 482383 w 3829915"/>
                <a:gd name="connsiteY153" fmla="*/ 39125 h 3296512"/>
                <a:gd name="connsiteX154" fmla="*/ 482523 w 3829915"/>
                <a:gd name="connsiteY154" fmla="*/ 38802 h 3296512"/>
                <a:gd name="connsiteX155" fmla="*/ 482634 w 3829915"/>
                <a:gd name="connsiteY155" fmla="*/ 38250 h 3296512"/>
                <a:gd name="connsiteX156" fmla="*/ 482991 w 3829915"/>
                <a:gd name="connsiteY156" fmla="*/ 37719 h 3296512"/>
                <a:gd name="connsiteX157" fmla="*/ 483316 w 3829915"/>
                <a:gd name="connsiteY157" fmla="*/ 36968 h 3296512"/>
                <a:gd name="connsiteX158" fmla="*/ 538916 w 3829915"/>
                <a:gd name="connsiteY158" fmla="*/ 606 h 3296512"/>
                <a:gd name="connsiteX159" fmla="*/ 539929 w 3829915"/>
                <a:gd name="connsiteY159" fmla="*/ 862 h 3296512"/>
                <a:gd name="connsiteX160" fmla="*/ 782423 w 3829915"/>
                <a:gd name="connsiteY160" fmla="*/ 862 h 3296512"/>
                <a:gd name="connsiteX161" fmla="*/ 3206086 w 3829915"/>
                <a:gd name="connsiteY161" fmla="*/ 862 h 3296512"/>
                <a:gd name="connsiteX162" fmla="*/ 3214612 w 3829915"/>
                <a:gd name="connsiteY162" fmla="*/ 862 h 329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3829915" h="3296512">
                  <a:moveTo>
                    <a:pt x="2667221" y="2253274"/>
                  </a:moveTo>
                  <a:cubicBezTo>
                    <a:pt x="2682806" y="2253274"/>
                    <a:pt x="2698771" y="2259374"/>
                    <a:pt x="2710935" y="2271572"/>
                  </a:cubicBezTo>
                  <a:cubicBezTo>
                    <a:pt x="2735263" y="2295970"/>
                    <a:pt x="2735263" y="2332566"/>
                    <a:pt x="2710935" y="2356963"/>
                  </a:cubicBezTo>
                  <a:cubicBezTo>
                    <a:pt x="2376426" y="2692427"/>
                    <a:pt x="2376426" y="2692427"/>
                    <a:pt x="2376426" y="2692427"/>
                  </a:cubicBezTo>
                  <a:cubicBezTo>
                    <a:pt x="2364262" y="2704626"/>
                    <a:pt x="2349057" y="2710725"/>
                    <a:pt x="2333852" y="2710725"/>
                  </a:cubicBezTo>
                  <a:cubicBezTo>
                    <a:pt x="2318647" y="2710725"/>
                    <a:pt x="2303442" y="2704626"/>
                    <a:pt x="2291278" y="2692427"/>
                  </a:cubicBezTo>
                  <a:cubicBezTo>
                    <a:pt x="2266950" y="2668030"/>
                    <a:pt x="2266950" y="2628384"/>
                    <a:pt x="2291278" y="2603987"/>
                  </a:cubicBezTo>
                  <a:cubicBezTo>
                    <a:pt x="2625787" y="2271572"/>
                    <a:pt x="2625787" y="2271572"/>
                    <a:pt x="2625787" y="2271572"/>
                  </a:cubicBezTo>
                  <a:cubicBezTo>
                    <a:pt x="2636431" y="2259374"/>
                    <a:pt x="2651636" y="2253274"/>
                    <a:pt x="2667221" y="2253274"/>
                  </a:cubicBezTo>
                  <a:close/>
                  <a:moveTo>
                    <a:pt x="1096963" y="2210662"/>
                  </a:moveTo>
                  <a:cubicBezTo>
                    <a:pt x="1130142" y="2210662"/>
                    <a:pt x="1157288" y="2238090"/>
                    <a:pt x="1157288" y="2271613"/>
                  </a:cubicBezTo>
                  <a:cubicBezTo>
                    <a:pt x="1157288" y="2567224"/>
                    <a:pt x="1157288" y="2567224"/>
                    <a:pt x="1157288" y="2567224"/>
                  </a:cubicBezTo>
                  <a:cubicBezTo>
                    <a:pt x="1157288" y="2600747"/>
                    <a:pt x="1130142" y="2628175"/>
                    <a:pt x="1096963" y="2628175"/>
                  </a:cubicBezTo>
                  <a:cubicBezTo>
                    <a:pt x="1063784" y="2628175"/>
                    <a:pt x="1036638" y="2600747"/>
                    <a:pt x="1036638" y="2567224"/>
                  </a:cubicBezTo>
                  <a:cubicBezTo>
                    <a:pt x="1036638" y="2271613"/>
                    <a:pt x="1036638" y="2271613"/>
                    <a:pt x="1036638" y="2271613"/>
                  </a:cubicBezTo>
                  <a:cubicBezTo>
                    <a:pt x="1036638" y="2238090"/>
                    <a:pt x="1063784" y="2210662"/>
                    <a:pt x="1096963" y="2210662"/>
                  </a:cubicBezTo>
                  <a:close/>
                  <a:moveTo>
                    <a:pt x="2669520" y="1934178"/>
                  </a:moveTo>
                  <a:cubicBezTo>
                    <a:pt x="2685101" y="1934178"/>
                    <a:pt x="2700302" y="1940268"/>
                    <a:pt x="2710942" y="1952449"/>
                  </a:cubicBezTo>
                  <a:cubicBezTo>
                    <a:pt x="2735263" y="1973766"/>
                    <a:pt x="2735263" y="2013355"/>
                    <a:pt x="2710942" y="2037717"/>
                  </a:cubicBezTo>
                  <a:cubicBezTo>
                    <a:pt x="2057309" y="2692454"/>
                    <a:pt x="2057309" y="2692454"/>
                    <a:pt x="2057309" y="2692454"/>
                  </a:cubicBezTo>
                  <a:cubicBezTo>
                    <a:pt x="2045148" y="2704635"/>
                    <a:pt x="2029947" y="2710725"/>
                    <a:pt x="2014747" y="2710725"/>
                  </a:cubicBezTo>
                  <a:cubicBezTo>
                    <a:pt x="1999546" y="2710725"/>
                    <a:pt x="1984345" y="2704635"/>
                    <a:pt x="1972184" y="2692454"/>
                  </a:cubicBezTo>
                  <a:cubicBezTo>
                    <a:pt x="1947863" y="2668091"/>
                    <a:pt x="1947863" y="2631548"/>
                    <a:pt x="1972184" y="2607186"/>
                  </a:cubicBezTo>
                  <a:cubicBezTo>
                    <a:pt x="2625818" y="1952449"/>
                    <a:pt x="2625818" y="1952449"/>
                    <a:pt x="2625818" y="1952449"/>
                  </a:cubicBezTo>
                  <a:cubicBezTo>
                    <a:pt x="2637978" y="1940268"/>
                    <a:pt x="2653939" y="1934178"/>
                    <a:pt x="2669520" y="1934178"/>
                  </a:cubicBezTo>
                  <a:close/>
                  <a:moveTo>
                    <a:pt x="2340909" y="1927073"/>
                  </a:moveTo>
                  <a:cubicBezTo>
                    <a:pt x="2356489" y="1927073"/>
                    <a:pt x="2371690" y="1932408"/>
                    <a:pt x="2382330" y="1943079"/>
                  </a:cubicBezTo>
                  <a:cubicBezTo>
                    <a:pt x="2406651" y="1967470"/>
                    <a:pt x="2406651" y="2007105"/>
                    <a:pt x="2382330" y="2031495"/>
                  </a:cubicBezTo>
                  <a:cubicBezTo>
                    <a:pt x="2050957" y="2363819"/>
                    <a:pt x="2050957" y="2363819"/>
                    <a:pt x="2050957" y="2363819"/>
                  </a:cubicBezTo>
                  <a:cubicBezTo>
                    <a:pt x="2038797" y="2376014"/>
                    <a:pt x="2023596" y="2382112"/>
                    <a:pt x="2008396" y="2382112"/>
                  </a:cubicBezTo>
                  <a:cubicBezTo>
                    <a:pt x="1993195" y="2382112"/>
                    <a:pt x="1977995" y="2376014"/>
                    <a:pt x="1965834" y="2363819"/>
                  </a:cubicBezTo>
                  <a:cubicBezTo>
                    <a:pt x="1941513" y="2339428"/>
                    <a:pt x="1941513" y="2302842"/>
                    <a:pt x="1965834" y="2278452"/>
                  </a:cubicBezTo>
                  <a:cubicBezTo>
                    <a:pt x="2297207" y="1943079"/>
                    <a:pt x="2297207" y="1943079"/>
                    <a:pt x="2297207" y="1943079"/>
                  </a:cubicBezTo>
                  <a:cubicBezTo>
                    <a:pt x="2309368" y="1932408"/>
                    <a:pt x="2325328" y="1927073"/>
                    <a:pt x="2340909" y="1927073"/>
                  </a:cubicBezTo>
                  <a:close/>
                  <a:moveTo>
                    <a:pt x="984116" y="1440148"/>
                  </a:moveTo>
                  <a:lnTo>
                    <a:pt x="976866" y="1455700"/>
                  </a:lnTo>
                  <a:cubicBezTo>
                    <a:pt x="903390" y="1583552"/>
                    <a:pt x="777488" y="1677408"/>
                    <a:pt x="628507" y="1707906"/>
                  </a:cubicBezTo>
                  <a:lnTo>
                    <a:pt x="577851" y="1713014"/>
                  </a:lnTo>
                  <a:lnTo>
                    <a:pt x="577851" y="1809048"/>
                  </a:lnTo>
                  <a:cubicBezTo>
                    <a:pt x="577851" y="2766950"/>
                    <a:pt x="577851" y="3066295"/>
                    <a:pt x="577851" y="3159840"/>
                  </a:cubicBezTo>
                  <a:lnTo>
                    <a:pt x="577851" y="3175862"/>
                  </a:lnTo>
                  <a:lnTo>
                    <a:pt x="717906" y="3175862"/>
                  </a:lnTo>
                  <a:cubicBezTo>
                    <a:pt x="917031" y="3175862"/>
                    <a:pt x="1102880" y="3175862"/>
                    <a:pt x="1276340" y="3175862"/>
                  </a:cubicBezTo>
                  <a:lnTo>
                    <a:pt x="1309688" y="3175862"/>
                  </a:lnTo>
                  <a:lnTo>
                    <a:pt x="1309688" y="3013173"/>
                  </a:lnTo>
                  <a:cubicBezTo>
                    <a:pt x="1309688" y="2108463"/>
                    <a:pt x="1309688" y="1813047"/>
                    <a:pt x="1309688" y="1716585"/>
                  </a:cubicBezTo>
                  <a:lnTo>
                    <a:pt x="1309688" y="1699571"/>
                  </a:lnTo>
                  <a:lnTo>
                    <a:pt x="1238892" y="1677413"/>
                  </a:lnTo>
                  <a:cubicBezTo>
                    <a:pt x="1145673" y="1637691"/>
                    <a:pt x="1066138" y="1571334"/>
                    <a:pt x="1009907" y="1487808"/>
                  </a:cubicBezTo>
                  <a:close/>
                  <a:moveTo>
                    <a:pt x="2838454" y="1422795"/>
                  </a:moveTo>
                  <a:lnTo>
                    <a:pt x="2803244" y="1487808"/>
                  </a:lnTo>
                  <a:cubicBezTo>
                    <a:pt x="2709402" y="1627018"/>
                    <a:pt x="2550479" y="1718537"/>
                    <a:pt x="2370207" y="1718537"/>
                  </a:cubicBezTo>
                  <a:cubicBezTo>
                    <a:pt x="2191833" y="1718537"/>
                    <a:pt x="2033621" y="1627018"/>
                    <a:pt x="1940046" y="1487808"/>
                  </a:cubicBezTo>
                  <a:lnTo>
                    <a:pt x="1907297" y="1427197"/>
                  </a:lnTo>
                  <a:lnTo>
                    <a:pt x="1874421" y="1487808"/>
                  </a:lnTo>
                  <a:cubicBezTo>
                    <a:pt x="1780436" y="1627018"/>
                    <a:pt x="1621270" y="1718537"/>
                    <a:pt x="1440724" y="1718537"/>
                  </a:cubicBezTo>
                  <a:lnTo>
                    <a:pt x="1431926" y="1717641"/>
                  </a:lnTo>
                  <a:lnTo>
                    <a:pt x="1431926" y="1809048"/>
                  </a:lnTo>
                  <a:cubicBezTo>
                    <a:pt x="1431926" y="2766950"/>
                    <a:pt x="1431926" y="3066295"/>
                    <a:pt x="1431926" y="3159840"/>
                  </a:cubicBezTo>
                  <a:lnTo>
                    <a:pt x="1431926" y="3175862"/>
                  </a:lnTo>
                  <a:lnTo>
                    <a:pt x="1527348" y="3175862"/>
                  </a:lnTo>
                  <a:cubicBezTo>
                    <a:pt x="2253159" y="3175862"/>
                    <a:pt x="2737033" y="3175862"/>
                    <a:pt x="3059615" y="3175862"/>
                  </a:cubicBezTo>
                  <a:lnTo>
                    <a:pt x="3233738" y="3175862"/>
                  </a:lnTo>
                  <a:lnTo>
                    <a:pt x="3233738" y="3028966"/>
                  </a:lnTo>
                  <a:cubicBezTo>
                    <a:pt x="3233738" y="2196350"/>
                    <a:pt x="3233738" y="1871426"/>
                    <a:pt x="3233738" y="1744627"/>
                  </a:cubicBezTo>
                  <a:lnTo>
                    <a:pt x="3233738" y="1711162"/>
                  </a:lnTo>
                  <a:lnTo>
                    <a:pt x="3201498" y="1707906"/>
                  </a:lnTo>
                  <a:cubicBezTo>
                    <a:pt x="3065493" y="1680022"/>
                    <a:pt x="2948752" y="1599176"/>
                    <a:pt x="2873668" y="1487808"/>
                  </a:cubicBezTo>
                  <a:close/>
                  <a:moveTo>
                    <a:pt x="2909118" y="1226413"/>
                  </a:moveTo>
                  <a:lnTo>
                    <a:pt x="2914193" y="1276221"/>
                  </a:lnTo>
                  <a:cubicBezTo>
                    <a:pt x="2952055" y="1459384"/>
                    <a:pt x="3115460" y="1596829"/>
                    <a:pt x="3306763" y="1596829"/>
                  </a:cubicBezTo>
                  <a:cubicBezTo>
                    <a:pt x="3500723" y="1596829"/>
                    <a:pt x="3662135" y="1459384"/>
                    <a:pt x="3699457" y="1276221"/>
                  </a:cubicBezTo>
                  <a:lnTo>
                    <a:pt x="3704455" y="1226413"/>
                  </a:lnTo>
                  <a:lnTo>
                    <a:pt x="3431443" y="1226413"/>
                  </a:lnTo>
                  <a:cubicBezTo>
                    <a:pt x="3322712" y="1226413"/>
                    <a:pt x="3217488" y="1226413"/>
                    <a:pt x="3115659" y="1226413"/>
                  </a:cubicBezTo>
                  <a:close/>
                  <a:moveTo>
                    <a:pt x="1975602" y="1226413"/>
                  </a:moveTo>
                  <a:lnTo>
                    <a:pt x="1980595" y="1276221"/>
                  </a:lnTo>
                  <a:cubicBezTo>
                    <a:pt x="2017871" y="1459384"/>
                    <a:pt x="2178930" y="1596829"/>
                    <a:pt x="2370207" y="1596829"/>
                  </a:cubicBezTo>
                  <a:cubicBezTo>
                    <a:pt x="2564141" y="1596829"/>
                    <a:pt x="2725532" y="1459384"/>
                    <a:pt x="2762849" y="1276221"/>
                  </a:cubicBezTo>
                  <a:lnTo>
                    <a:pt x="2767847" y="1226413"/>
                  </a:lnTo>
                  <a:lnTo>
                    <a:pt x="2544509" y="1226413"/>
                  </a:lnTo>
                  <a:cubicBezTo>
                    <a:pt x="2367100" y="1226413"/>
                    <a:pt x="2202363" y="1226413"/>
                    <a:pt x="2049393" y="1226413"/>
                  </a:cubicBezTo>
                  <a:close/>
                  <a:moveTo>
                    <a:pt x="1045517" y="1226413"/>
                  </a:moveTo>
                  <a:lnTo>
                    <a:pt x="1050518" y="1276221"/>
                  </a:lnTo>
                  <a:cubicBezTo>
                    <a:pt x="1087851" y="1459384"/>
                    <a:pt x="1249155" y="1596829"/>
                    <a:pt x="1440724" y="1596829"/>
                  </a:cubicBezTo>
                  <a:cubicBezTo>
                    <a:pt x="1634954" y="1596829"/>
                    <a:pt x="1796591" y="1459384"/>
                    <a:pt x="1833965" y="1276221"/>
                  </a:cubicBezTo>
                  <a:lnTo>
                    <a:pt x="1838970" y="1226413"/>
                  </a:lnTo>
                  <a:lnTo>
                    <a:pt x="1828649" y="1226413"/>
                  </a:lnTo>
                  <a:cubicBezTo>
                    <a:pt x="1545790" y="1226413"/>
                    <a:pt x="1308188" y="1226413"/>
                    <a:pt x="1108603" y="1226413"/>
                  </a:cubicBezTo>
                  <a:close/>
                  <a:moveTo>
                    <a:pt x="124785" y="1226413"/>
                  </a:moveTo>
                  <a:lnTo>
                    <a:pt x="129790" y="1276221"/>
                  </a:lnTo>
                  <a:cubicBezTo>
                    <a:pt x="167169" y="1459384"/>
                    <a:pt x="328826" y="1596829"/>
                    <a:pt x="523082" y="1596829"/>
                  </a:cubicBezTo>
                  <a:cubicBezTo>
                    <a:pt x="717337" y="1596829"/>
                    <a:pt x="878994" y="1459384"/>
                    <a:pt x="916373" y="1276221"/>
                  </a:cubicBezTo>
                  <a:lnTo>
                    <a:pt x="921378" y="1226413"/>
                  </a:lnTo>
                  <a:lnTo>
                    <a:pt x="836831" y="1226413"/>
                  </a:lnTo>
                  <a:cubicBezTo>
                    <a:pt x="469228" y="1226413"/>
                    <a:pt x="275751" y="1226413"/>
                    <a:pt x="173922" y="1226413"/>
                  </a:cubicBezTo>
                  <a:close/>
                  <a:moveTo>
                    <a:pt x="576712" y="123100"/>
                  </a:moveTo>
                  <a:lnTo>
                    <a:pt x="509290" y="280020"/>
                  </a:lnTo>
                  <a:cubicBezTo>
                    <a:pt x="300787" y="765293"/>
                    <a:pt x="203486" y="991754"/>
                    <a:pt x="158079" y="1097436"/>
                  </a:cubicBezTo>
                  <a:lnTo>
                    <a:pt x="155183" y="1104175"/>
                  </a:lnTo>
                  <a:lnTo>
                    <a:pt x="397607" y="1104175"/>
                  </a:lnTo>
                  <a:cubicBezTo>
                    <a:pt x="2714939" y="1104175"/>
                    <a:pt x="3439105" y="1104175"/>
                    <a:pt x="3665407" y="1104175"/>
                  </a:cubicBezTo>
                  <a:lnTo>
                    <a:pt x="3687076" y="1104175"/>
                  </a:lnTo>
                  <a:lnTo>
                    <a:pt x="3617503" y="968485"/>
                  </a:lnTo>
                  <a:cubicBezTo>
                    <a:pt x="3346839" y="440603"/>
                    <a:pt x="3238573" y="229451"/>
                    <a:pt x="3195267" y="144990"/>
                  </a:cubicBezTo>
                  <a:lnTo>
                    <a:pt x="3184043" y="123100"/>
                  </a:lnTo>
                  <a:lnTo>
                    <a:pt x="3037870" y="123100"/>
                  </a:lnTo>
                  <a:cubicBezTo>
                    <a:pt x="1178429" y="123100"/>
                    <a:pt x="702412" y="123100"/>
                    <a:pt x="580551" y="123100"/>
                  </a:cubicBezTo>
                  <a:close/>
                  <a:moveTo>
                    <a:pt x="3217294" y="131"/>
                  </a:moveTo>
                  <a:cubicBezTo>
                    <a:pt x="3225231" y="-392"/>
                    <a:pt x="3233120" y="653"/>
                    <a:pt x="3240533" y="3125"/>
                  </a:cubicBezTo>
                  <a:lnTo>
                    <a:pt x="3244647" y="5456"/>
                  </a:lnTo>
                  <a:lnTo>
                    <a:pt x="3245770" y="5685"/>
                  </a:lnTo>
                  <a:lnTo>
                    <a:pt x="3249370" y="8131"/>
                  </a:lnTo>
                  <a:lnTo>
                    <a:pt x="3260921" y="14675"/>
                  </a:lnTo>
                  <a:lnTo>
                    <a:pt x="3263071" y="17440"/>
                  </a:lnTo>
                  <a:lnTo>
                    <a:pt x="3265096" y="18816"/>
                  </a:lnTo>
                  <a:lnTo>
                    <a:pt x="3271169" y="27853"/>
                  </a:lnTo>
                  <a:lnTo>
                    <a:pt x="3275891" y="33926"/>
                  </a:lnTo>
                  <a:lnTo>
                    <a:pt x="3277958" y="37956"/>
                  </a:lnTo>
                  <a:lnTo>
                    <a:pt x="3278155" y="38250"/>
                  </a:lnTo>
                  <a:lnTo>
                    <a:pt x="3278186" y="38400"/>
                  </a:lnTo>
                  <a:lnTo>
                    <a:pt x="3372261" y="221878"/>
                  </a:lnTo>
                  <a:cubicBezTo>
                    <a:pt x="3823369" y="1101681"/>
                    <a:pt x="3823369" y="1101681"/>
                    <a:pt x="3823369" y="1101681"/>
                  </a:cubicBezTo>
                  <a:cubicBezTo>
                    <a:pt x="3830972" y="1115370"/>
                    <a:pt x="3831733" y="1131341"/>
                    <a:pt x="3826790" y="1146171"/>
                  </a:cubicBezTo>
                  <a:lnTo>
                    <a:pt x="3825504" y="1147744"/>
                  </a:lnTo>
                  <a:lnTo>
                    <a:pt x="3829050" y="1165294"/>
                  </a:lnTo>
                  <a:lnTo>
                    <a:pt x="3822856" y="1180269"/>
                  </a:lnTo>
                  <a:lnTo>
                    <a:pt x="3829050" y="1195191"/>
                  </a:lnTo>
                  <a:cubicBezTo>
                    <a:pt x="3829050" y="1448116"/>
                    <a:pt x="3650036" y="1659109"/>
                    <a:pt x="3412028" y="1707906"/>
                  </a:cubicBezTo>
                  <a:lnTo>
                    <a:pt x="3354388" y="1713727"/>
                  </a:lnTo>
                  <a:lnTo>
                    <a:pt x="3354388" y="1803283"/>
                  </a:lnTo>
                  <a:cubicBezTo>
                    <a:pt x="3354388" y="2765142"/>
                    <a:pt x="3354388" y="3065723"/>
                    <a:pt x="3354388" y="3159654"/>
                  </a:cubicBezTo>
                  <a:lnTo>
                    <a:pt x="3354388" y="3175862"/>
                  </a:lnTo>
                  <a:lnTo>
                    <a:pt x="3401225" y="3175862"/>
                  </a:lnTo>
                  <a:cubicBezTo>
                    <a:pt x="3704780" y="3175862"/>
                    <a:pt x="3704780" y="3175862"/>
                    <a:pt x="3704780" y="3175862"/>
                  </a:cubicBezTo>
                  <a:cubicBezTo>
                    <a:pt x="3738203" y="3175862"/>
                    <a:pt x="3765550" y="3203008"/>
                    <a:pt x="3765550" y="3236187"/>
                  </a:cubicBezTo>
                  <a:cubicBezTo>
                    <a:pt x="3765550" y="3269366"/>
                    <a:pt x="3738203" y="3296512"/>
                    <a:pt x="3704780" y="3296512"/>
                  </a:cubicBezTo>
                  <a:cubicBezTo>
                    <a:pt x="79820" y="3296512"/>
                    <a:pt x="79820" y="3296512"/>
                    <a:pt x="79820" y="3296512"/>
                  </a:cubicBezTo>
                  <a:cubicBezTo>
                    <a:pt x="46396" y="3296512"/>
                    <a:pt x="19050" y="3269366"/>
                    <a:pt x="19050" y="3236187"/>
                  </a:cubicBezTo>
                  <a:cubicBezTo>
                    <a:pt x="19050" y="3203008"/>
                    <a:pt x="46396" y="3175862"/>
                    <a:pt x="79820" y="3175862"/>
                  </a:cubicBezTo>
                  <a:cubicBezTo>
                    <a:pt x="193100" y="3175862"/>
                    <a:pt x="302840" y="3175862"/>
                    <a:pt x="409151" y="3175862"/>
                  </a:cubicBezTo>
                  <a:lnTo>
                    <a:pt x="455613" y="3175862"/>
                  </a:lnTo>
                  <a:lnTo>
                    <a:pt x="455613" y="3013173"/>
                  </a:lnTo>
                  <a:cubicBezTo>
                    <a:pt x="455613" y="2108463"/>
                    <a:pt x="455613" y="1813047"/>
                    <a:pt x="455613" y="1716585"/>
                  </a:cubicBezTo>
                  <a:lnTo>
                    <a:pt x="455613" y="1711733"/>
                  </a:lnTo>
                  <a:lnTo>
                    <a:pt x="417656" y="1707906"/>
                  </a:lnTo>
                  <a:cubicBezTo>
                    <a:pt x="179286" y="1659109"/>
                    <a:pt x="0" y="1448116"/>
                    <a:pt x="0" y="1195191"/>
                  </a:cubicBezTo>
                  <a:lnTo>
                    <a:pt x="4461" y="1184461"/>
                  </a:lnTo>
                  <a:lnTo>
                    <a:pt x="2098" y="1170365"/>
                  </a:lnTo>
                  <a:lnTo>
                    <a:pt x="0" y="1165294"/>
                  </a:lnTo>
                  <a:cubicBezTo>
                    <a:pt x="0" y="1156890"/>
                    <a:pt x="1709" y="1148868"/>
                    <a:pt x="4796" y="1141563"/>
                  </a:cubicBezTo>
                  <a:lnTo>
                    <a:pt x="7258" y="1137898"/>
                  </a:lnTo>
                  <a:lnTo>
                    <a:pt x="89867" y="946855"/>
                  </a:lnTo>
                  <a:cubicBezTo>
                    <a:pt x="430856" y="158287"/>
                    <a:pt x="476321" y="53144"/>
                    <a:pt x="482383" y="39125"/>
                  </a:cubicBezTo>
                  <a:lnTo>
                    <a:pt x="482523" y="38802"/>
                  </a:lnTo>
                  <a:lnTo>
                    <a:pt x="482634" y="38250"/>
                  </a:lnTo>
                  <a:lnTo>
                    <a:pt x="482991" y="37719"/>
                  </a:lnTo>
                  <a:lnTo>
                    <a:pt x="483316" y="36968"/>
                  </a:lnTo>
                  <a:cubicBezTo>
                    <a:pt x="492440" y="14152"/>
                    <a:pt x="515251" y="-107"/>
                    <a:pt x="538916" y="606"/>
                  </a:cubicBezTo>
                  <a:lnTo>
                    <a:pt x="539929" y="862"/>
                  </a:lnTo>
                  <a:lnTo>
                    <a:pt x="782423" y="862"/>
                  </a:lnTo>
                  <a:cubicBezTo>
                    <a:pt x="2764716" y="862"/>
                    <a:pt x="3136396" y="862"/>
                    <a:pt x="3206086" y="862"/>
                  </a:cubicBezTo>
                  <a:lnTo>
                    <a:pt x="3214612" y="862"/>
                  </a:lnTo>
                  <a:close/>
                </a:path>
              </a:pathLst>
            </a:custGeom>
            <a:solidFill>
              <a:srgbClr val="00BCF2"/>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cxnSp>
        <p:nvCxnSpPr>
          <p:cNvPr id="395" name="Straight Arrow Connector 394">
            <a:extLst>
              <a:ext uri="{FF2B5EF4-FFF2-40B4-BE49-F238E27FC236}">
                <a16:creationId xmlns:a16="http://schemas.microsoft.com/office/drawing/2014/main" id="{77D58E6F-A48E-43C8-863D-05B456FE8340}"/>
              </a:ext>
            </a:extLst>
          </p:cNvPr>
          <p:cNvCxnSpPr>
            <a:cxnSpLocks/>
          </p:cNvCxnSpPr>
          <p:nvPr/>
        </p:nvCxnSpPr>
        <p:spPr>
          <a:xfrm flipH="1">
            <a:off x="6006592" y="4102441"/>
            <a:ext cx="492691" cy="101586"/>
          </a:xfrm>
          <a:prstGeom prst="straightConnector1">
            <a:avLst/>
          </a:prstGeom>
          <a:noFill/>
          <a:ln w="19050" cap="flat" cmpd="sng" algn="ctr">
            <a:solidFill>
              <a:schemeClr val="accent4">
                <a:lumMod val="40000"/>
                <a:lumOff val="60000"/>
              </a:schemeClr>
            </a:solidFill>
            <a:prstDash val="solid"/>
            <a:headEnd type="none" w="med" len="med"/>
            <a:tailEnd type="triangle" w="lg" len="med"/>
          </a:ln>
          <a:effectLst/>
        </p:spPr>
      </p:cxnSp>
      <p:grpSp>
        <p:nvGrpSpPr>
          <p:cNvPr id="396" name="Group 395">
            <a:extLst>
              <a:ext uri="{FF2B5EF4-FFF2-40B4-BE49-F238E27FC236}">
                <a16:creationId xmlns:a16="http://schemas.microsoft.com/office/drawing/2014/main" id="{88A4CAF4-A948-462C-85C9-15F6DDBDA88A}"/>
              </a:ext>
            </a:extLst>
          </p:cNvPr>
          <p:cNvGrpSpPr/>
          <p:nvPr/>
        </p:nvGrpSpPr>
        <p:grpSpPr>
          <a:xfrm>
            <a:off x="7202850" y="2922401"/>
            <a:ext cx="347843" cy="347843"/>
            <a:chOff x="8023948" y="1893194"/>
            <a:chExt cx="347892" cy="347892"/>
          </a:xfrm>
        </p:grpSpPr>
        <p:sp>
          <p:nvSpPr>
            <p:cNvPr id="438" name="Oval 437">
              <a:extLst>
                <a:ext uri="{FF2B5EF4-FFF2-40B4-BE49-F238E27FC236}">
                  <a16:creationId xmlns:a16="http://schemas.microsoft.com/office/drawing/2014/main" id="{53300F57-C803-4192-BC16-C546C685B1D3}"/>
                </a:ext>
              </a:extLst>
            </p:cNvPr>
            <p:cNvSpPr/>
            <p:nvPr/>
          </p:nvSpPr>
          <p:spPr bwMode="auto">
            <a:xfrm>
              <a:off x="8023948" y="1893194"/>
              <a:ext cx="347892" cy="347892"/>
            </a:xfrm>
            <a:prstGeom prst="ellipse">
              <a:avLst/>
            </a:prstGeom>
            <a:solidFill>
              <a:srgbClr val="FFFFFF"/>
            </a:solidFill>
            <a:ln w="19050" cap="flat" cmpd="sng" algn="ctr">
              <a:solidFill>
                <a:srgbClr val="00BCF2"/>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9" name="Freeform 99">
              <a:extLst>
                <a:ext uri="{FF2B5EF4-FFF2-40B4-BE49-F238E27FC236}">
                  <a16:creationId xmlns:a16="http://schemas.microsoft.com/office/drawing/2014/main" id="{6C17377D-B4F9-430A-8F96-0F9226C24453}"/>
                </a:ext>
              </a:extLst>
            </p:cNvPr>
            <p:cNvSpPr>
              <a:spLocks/>
            </p:cNvSpPr>
            <p:nvPr/>
          </p:nvSpPr>
          <p:spPr bwMode="auto">
            <a:xfrm>
              <a:off x="8081737" y="1955286"/>
              <a:ext cx="226603" cy="195043"/>
            </a:xfrm>
            <a:custGeom>
              <a:avLst/>
              <a:gdLst>
                <a:gd name="connsiteX0" fmla="*/ 2667221 w 3829915"/>
                <a:gd name="connsiteY0" fmla="*/ 2253274 h 3296512"/>
                <a:gd name="connsiteX1" fmla="*/ 2710935 w 3829915"/>
                <a:gd name="connsiteY1" fmla="*/ 2271572 h 3296512"/>
                <a:gd name="connsiteX2" fmla="*/ 2710935 w 3829915"/>
                <a:gd name="connsiteY2" fmla="*/ 2356963 h 3296512"/>
                <a:gd name="connsiteX3" fmla="*/ 2376426 w 3829915"/>
                <a:gd name="connsiteY3" fmla="*/ 2692427 h 3296512"/>
                <a:gd name="connsiteX4" fmla="*/ 2333852 w 3829915"/>
                <a:gd name="connsiteY4" fmla="*/ 2710725 h 3296512"/>
                <a:gd name="connsiteX5" fmla="*/ 2291278 w 3829915"/>
                <a:gd name="connsiteY5" fmla="*/ 2692427 h 3296512"/>
                <a:gd name="connsiteX6" fmla="*/ 2291278 w 3829915"/>
                <a:gd name="connsiteY6" fmla="*/ 2603987 h 3296512"/>
                <a:gd name="connsiteX7" fmla="*/ 2625787 w 3829915"/>
                <a:gd name="connsiteY7" fmla="*/ 2271572 h 3296512"/>
                <a:gd name="connsiteX8" fmla="*/ 2667221 w 3829915"/>
                <a:gd name="connsiteY8" fmla="*/ 2253274 h 3296512"/>
                <a:gd name="connsiteX9" fmla="*/ 1096963 w 3829915"/>
                <a:gd name="connsiteY9" fmla="*/ 2210662 h 3296512"/>
                <a:gd name="connsiteX10" fmla="*/ 1157288 w 3829915"/>
                <a:gd name="connsiteY10" fmla="*/ 2271613 h 3296512"/>
                <a:gd name="connsiteX11" fmla="*/ 1157288 w 3829915"/>
                <a:gd name="connsiteY11" fmla="*/ 2567224 h 3296512"/>
                <a:gd name="connsiteX12" fmla="*/ 1096963 w 3829915"/>
                <a:gd name="connsiteY12" fmla="*/ 2628175 h 3296512"/>
                <a:gd name="connsiteX13" fmla="*/ 1036638 w 3829915"/>
                <a:gd name="connsiteY13" fmla="*/ 2567224 h 3296512"/>
                <a:gd name="connsiteX14" fmla="*/ 1036638 w 3829915"/>
                <a:gd name="connsiteY14" fmla="*/ 2271613 h 3296512"/>
                <a:gd name="connsiteX15" fmla="*/ 1096963 w 3829915"/>
                <a:gd name="connsiteY15" fmla="*/ 2210662 h 3296512"/>
                <a:gd name="connsiteX16" fmla="*/ 2669520 w 3829915"/>
                <a:gd name="connsiteY16" fmla="*/ 1934178 h 3296512"/>
                <a:gd name="connsiteX17" fmla="*/ 2710942 w 3829915"/>
                <a:gd name="connsiteY17" fmla="*/ 1952449 h 3296512"/>
                <a:gd name="connsiteX18" fmla="*/ 2710942 w 3829915"/>
                <a:gd name="connsiteY18" fmla="*/ 2037717 h 3296512"/>
                <a:gd name="connsiteX19" fmla="*/ 2057309 w 3829915"/>
                <a:gd name="connsiteY19" fmla="*/ 2692454 h 3296512"/>
                <a:gd name="connsiteX20" fmla="*/ 2014747 w 3829915"/>
                <a:gd name="connsiteY20" fmla="*/ 2710725 h 3296512"/>
                <a:gd name="connsiteX21" fmla="*/ 1972184 w 3829915"/>
                <a:gd name="connsiteY21" fmla="*/ 2692454 h 3296512"/>
                <a:gd name="connsiteX22" fmla="*/ 1972184 w 3829915"/>
                <a:gd name="connsiteY22" fmla="*/ 2607186 h 3296512"/>
                <a:gd name="connsiteX23" fmla="*/ 2625818 w 3829915"/>
                <a:gd name="connsiteY23" fmla="*/ 1952449 h 3296512"/>
                <a:gd name="connsiteX24" fmla="*/ 2669520 w 3829915"/>
                <a:gd name="connsiteY24" fmla="*/ 1934178 h 3296512"/>
                <a:gd name="connsiteX25" fmla="*/ 2340909 w 3829915"/>
                <a:gd name="connsiteY25" fmla="*/ 1927073 h 3296512"/>
                <a:gd name="connsiteX26" fmla="*/ 2382330 w 3829915"/>
                <a:gd name="connsiteY26" fmla="*/ 1943079 h 3296512"/>
                <a:gd name="connsiteX27" fmla="*/ 2382330 w 3829915"/>
                <a:gd name="connsiteY27" fmla="*/ 2031495 h 3296512"/>
                <a:gd name="connsiteX28" fmla="*/ 2050957 w 3829915"/>
                <a:gd name="connsiteY28" fmla="*/ 2363819 h 3296512"/>
                <a:gd name="connsiteX29" fmla="*/ 2008396 w 3829915"/>
                <a:gd name="connsiteY29" fmla="*/ 2382112 h 3296512"/>
                <a:gd name="connsiteX30" fmla="*/ 1965834 w 3829915"/>
                <a:gd name="connsiteY30" fmla="*/ 2363819 h 3296512"/>
                <a:gd name="connsiteX31" fmla="*/ 1965834 w 3829915"/>
                <a:gd name="connsiteY31" fmla="*/ 2278452 h 3296512"/>
                <a:gd name="connsiteX32" fmla="*/ 2297207 w 3829915"/>
                <a:gd name="connsiteY32" fmla="*/ 1943079 h 3296512"/>
                <a:gd name="connsiteX33" fmla="*/ 2340909 w 3829915"/>
                <a:gd name="connsiteY33" fmla="*/ 1927073 h 3296512"/>
                <a:gd name="connsiteX34" fmla="*/ 984116 w 3829915"/>
                <a:gd name="connsiteY34" fmla="*/ 1440148 h 3296512"/>
                <a:gd name="connsiteX35" fmla="*/ 976866 w 3829915"/>
                <a:gd name="connsiteY35" fmla="*/ 1455700 h 3296512"/>
                <a:gd name="connsiteX36" fmla="*/ 628507 w 3829915"/>
                <a:gd name="connsiteY36" fmla="*/ 1707906 h 3296512"/>
                <a:gd name="connsiteX37" fmla="*/ 577851 w 3829915"/>
                <a:gd name="connsiteY37" fmla="*/ 1713014 h 3296512"/>
                <a:gd name="connsiteX38" fmla="*/ 577851 w 3829915"/>
                <a:gd name="connsiteY38" fmla="*/ 1809048 h 3296512"/>
                <a:gd name="connsiteX39" fmla="*/ 577851 w 3829915"/>
                <a:gd name="connsiteY39" fmla="*/ 3159840 h 3296512"/>
                <a:gd name="connsiteX40" fmla="*/ 577851 w 3829915"/>
                <a:gd name="connsiteY40" fmla="*/ 3175862 h 3296512"/>
                <a:gd name="connsiteX41" fmla="*/ 717906 w 3829915"/>
                <a:gd name="connsiteY41" fmla="*/ 3175862 h 3296512"/>
                <a:gd name="connsiteX42" fmla="*/ 1276340 w 3829915"/>
                <a:gd name="connsiteY42" fmla="*/ 3175862 h 3296512"/>
                <a:gd name="connsiteX43" fmla="*/ 1309688 w 3829915"/>
                <a:gd name="connsiteY43" fmla="*/ 3175862 h 3296512"/>
                <a:gd name="connsiteX44" fmla="*/ 1309688 w 3829915"/>
                <a:gd name="connsiteY44" fmla="*/ 3013173 h 3296512"/>
                <a:gd name="connsiteX45" fmla="*/ 1309688 w 3829915"/>
                <a:gd name="connsiteY45" fmla="*/ 1716585 h 3296512"/>
                <a:gd name="connsiteX46" fmla="*/ 1309688 w 3829915"/>
                <a:gd name="connsiteY46" fmla="*/ 1699571 h 3296512"/>
                <a:gd name="connsiteX47" fmla="*/ 1238892 w 3829915"/>
                <a:gd name="connsiteY47" fmla="*/ 1677413 h 3296512"/>
                <a:gd name="connsiteX48" fmla="*/ 1009907 w 3829915"/>
                <a:gd name="connsiteY48" fmla="*/ 1487808 h 3296512"/>
                <a:gd name="connsiteX49" fmla="*/ 2838454 w 3829915"/>
                <a:gd name="connsiteY49" fmla="*/ 1422795 h 3296512"/>
                <a:gd name="connsiteX50" fmla="*/ 2803244 w 3829915"/>
                <a:gd name="connsiteY50" fmla="*/ 1487808 h 3296512"/>
                <a:gd name="connsiteX51" fmla="*/ 2370207 w 3829915"/>
                <a:gd name="connsiteY51" fmla="*/ 1718537 h 3296512"/>
                <a:gd name="connsiteX52" fmla="*/ 1940046 w 3829915"/>
                <a:gd name="connsiteY52" fmla="*/ 1487808 h 3296512"/>
                <a:gd name="connsiteX53" fmla="*/ 1907297 w 3829915"/>
                <a:gd name="connsiteY53" fmla="*/ 1427197 h 3296512"/>
                <a:gd name="connsiteX54" fmla="*/ 1874421 w 3829915"/>
                <a:gd name="connsiteY54" fmla="*/ 1487808 h 3296512"/>
                <a:gd name="connsiteX55" fmla="*/ 1440724 w 3829915"/>
                <a:gd name="connsiteY55" fmla="*/ 1718537 h 3296512"/>
                <a:gd name="connsiteX56" fmla="*/ 1431926 w 3829915"/>
                <a:gd name="connsiteY56" fmla="*/ 1717641 h 3296512"/>
                <a:gd name="connsiteX57" fmla="*/ 1431926 w 3829915"/>
                <a:gd name="connsiteY57" fmla="*/ 1809048 h 3296512"/>
                <a:gd name="connsiteX58" fmla="*/ 1431926 w 3829915"/>
                <a:gd name="connsiteY58" fmla="*/ 3159840 h 3296512"/>
                <a:gd name="connsiteX59" fmla="*/ 1431926 w 3829915"/>
                <a:gd name="connsiteY59" fmla="*/ 3175862 h 3296512"/>
                <a:gd name="connsiteX60" fmla="*/ 1527348 w 3829915"/>
                <a:gd name="connsiteY60" fmla="*/ 3175862 h 3296512"/>
                <a:gd name="connsiteX61" fmla="*/ 3059615 w 3829915"/>
                <a:gd name="connsiteY61" fmla="*/ 3175862 h 3296512"/>
                <a:gd name="connsiteX62" fmla="*/ 3233738 w 3829915"/>
                <a:gd name="connsiteY62" fmla="*/ 3175862 h 3296512"/>
                <a:gd name="connsiteX63" fmla="*/ 3233738 w 3829915"/>
                <a:gd name="connsiteY63" fmla="*/ 3028966 h 3296512"/>
                <a:gd name="connsiteX64" fmla="*/ 3233738 w 3829915"/>
                <a:gd name="connsiteY64" fmla="*/ 1744627 h 3296512"/>
                <a:gd name="connsiteX65" fmla="*/ 3233738 w 3829915"/>
                <a:gd name="connsiteY65" fmla="*/ 1711162 h 3296512"/>
                <a:gd name="connsiteX66" fmla="*/ 3201498 w 3829915"/>
                <a:gd name="connsiteY66" fmla="*/ 1707906 h 3296512"/>
                <a:gd name="connsiteX67" fmla="*/ 2873668 w 3829915"/>
                <a:gd name="connsiteY67" fmla="*/ 1487808 h 3296512"/>
                <a:gd name="connsiteX68" fmla="*/ 2909118 w 3829915"/>
                <a:gd name="connsiteY68" fmla="*/ 1226413 h 3296512"/>
                <a:gd name="connsiteX69" fmla="*/ 2914193 w 3829915"/>
                <a:gd name="connsiteY69" fmla="*/ 1276221 h 3296512"/>
                <a:gd name="connsiteX70" fmla="*/ 3306763 w 3829915"/>
                <a:gd name="connsiteY70" fmla="*/ 1596829 h 3296512"/>
                <a:gd name="connsiteX71" fmla="*/ 3699457 w 3829915"/>
                <a:gd name="connsiteY71" fmla="*/ 1276221 h 3296512"/>
                <a:gd name="connsiteX72" fmla="*/ 3704455 w 3829915"/>
                <a:gd name="connsiteY72" fmla="*/ 1226413 h 3296512"/>
                <a:gd name="connsiteX73" fmla="*/ 3431443 w 3829915"/>
                <a:gd name="connsiteY73" fmla="*/ 1226413 h 3296512"/>
                <a:gd name="connsiteX74" fmla="*/ 3115659 w 3829915"/>
                <a:gd name="connsiteY74" fmla="*/ 1226413 h 3296512"/>
                <a:gd name="connsiteX75" fmla="*/ 1975602 w 3829915"/>
                <a:gd name="connsiteY75" fmla="*/ 1226413 h 3296512"/>
                <a:gd name="connsiteX76" fmla="*/ 1980595 w 3829915"/>
                <a:gd name="connsiteY76" fmla="*/ 1276221 h 3296512"/>
                <a:gd name="connsiteX77" fmla="*/ 2370207 w 3829915"/>
                <a:gd name="connsiteY77" fmla="*/ 1596829 h 3296512"/>
                <a:gd name="connsiteX78" fmla="*/ 2762849 w 3829915"/>
                <a:gd name="connsiteY78" fmla="*/ 1276221 h 3296512"/>
                <a:gd name="connsiteX79" fmla="*/ 2767847 w 3829915"/>
                <a:gd name="connsiteY79" fmla="*/ 1226413 h 3296512"/>
                <a:gd name="connsiteX80" fmla="*/ 2544509 w 3829915"/>
                <a:gd name="connsiteY80" fmla="*/ 1226413 h 3296512"/>
                <a:gd name="connsiteX81" fmla="*/ 2049393 w 3829915"/>
                <a:gd name="connsiteY81" fmla="*/ 1226413 h 3296512"/>
                <a:gd name="connsiteX82" fmla="*/ 1045517 w 3829915"/>
                <a:gd name="connsiteY82" fmla="*/ 1226413 h 3296512"/>
                <a:gd name="connsiteX83" fmla="*/ 1050518 w 3829915"/>
                <a:gd name="connsiteY83" fmla="*/ 1276221 h 3296512"/>
                <a:gd name="connsiteX84" fmla="*/ 1440724 w 3829915"/>
                <a:gd name="connsiteY84" fmla="*/ 1596829 h 3296512"/>
                <a:gd name="connsiteX85" fmla="*/ 1833965 w 3829915"/>
                <a:gd name="connsiteY85" fmla="*/ 1276221 h 3296512"/>
                <a:gd name="connsiteX86" fmla="*/ 1838970 w 3829915"/>
                <a:gd name="connsiteY86" fmla="*/ 1226413 h 3296512"/>
                <a:gd name="connsiteX87" fmla="*/ 1828649 w 3829915"/>
                <a:gd name="connsiteY87" fmla="*/ 1226413 h 3296512"/>
                <a:gd name="connsiteX88" fmla="*/ 1108603 w 3829915"/>
                <a:gd name="connsiteY88" fmla="*/ 1226413 h 3296512"/>
                <a:gd name="connsiteX89" fmla="*/ 124785 w 3829915"/>
                <a:gd name="connsiteY89" fmla="*/ 1226413 h 3296512"/>
                <a:gd name="connsiteX90" fmla="*/ 129790 w 3829915"/>
                <a:gd name="connsiteY90" fmla="*/ 1276221 h 3296512"/>
                <a:gd name="connsiteX91" fmla="*/ 523082 w 3829915"/>
                <a:gd name="connsiteY91" fmla="*/ 1596829 h 3296512"/>
                <a:gd name="connsiteX92" fmla="*/ 916373 w 3829915"/>
                <a:gd name="connsiteY92" fmla="*/ 1276221 h 3296512"/>
                <a:gd name="connsiteX93" fmla="*/ 921378 w 3829915"/>
                <a:gd name="connsiteY93" fmla="*/ 1226413 h 3296512"/>
                <a:gd name="connsiteX94" fmla="*/ 836831 w 3829915"/>
                <a:gd name="connsiteY94" fmla="*/ 1226413 h 3296512"/>
                <a:gd name="connsiteX95" fmla="*/ 173922 w 3829915"/>
                <a:gd name="connsiteY95" fmla="*/ 1226413 h 3296512"/>
                <a:gd name="connsiteX96" fmla="*/ 576712 w 3829915"/>
                <a:gd name="connsiteY96" fmla="*/ 123100 h 3296512"/>
                <a:gd name="connsiteX97" fmla="*/ 509290 w 3829915"/>
                <a:gd name="connsiteY97" fmla="*/ 280020 h 3296512"/>
                <a:gd name="connsiteX98" fmla="*/ 158079 w 3829915"/>
                <a:gd name="connsiteY98" fmla="*/ 1097436 h 3296512"/>
                <a:gd name="connsiteX99" fmla="*/ 155183 w 3829915"/>
                <a:gd name="connsiteY99" fmla="*/ 1104175 h 3296512"/>
                <a:gd name="connsiteX100" fmla="*/ 397607 w 3829915"/>
                <a:gd name="connsiteY100" fmla="*/ 1104175 h 3296512"/>
                <a:gd name="connsiteX101" fmla="*/ 3665407 w 3829915"/>
                <a:gd name="connsiteY101" fmla="*/ 1104175 h 3296512"/>
                <a:gd name="connsiteX102" fmla="*/ 3687076 w 3829915"/>
                <a:gd name="connsiteY102" fmla="*/ 1104175 h 3296512"/>
                <a:gd name="connsiteX103" fmla="*/ 3617503 w 3829915"/>
                <a:gd name="connsiteY103" fmla="*/ 968485 h 3296512"/>
                <a:gd name="connsiteX104" fmla="*/ 3195267 w 3829915"/>
                <a:gd name="connsiteY104" fmla="*/ 144990 h 3296512"/>
                <a:gd name="connsiteX105" fmla="*/ 3184043 w 3829915"/>
                <a:gd name="connsiteY105" fmla="*/ 123100 h 3296512"/>
                <a:gd name="connsiteX106" fmla="*/ 3037870 w 3829915"/>
                <a:gd name="connsiteY106" fmla="*/ 123100 h 3296512"/>
                <a:gd name="connsiteX107" fmla="*/ 580551 w 3829915"/>
                <a:gd name="connsiteY107" fmla="*/ 123100 h 3296512"/>
                <a:gd name="connsiteX108" fmla="*/ 3217294 w 3829915"/>
                <a:gd name="connsiteY108" fmla="*/ 131 h 3296512"/>
                <a:gd name="connsiteX109" fmla="*/ 3240533 w 3829915"/>
                <a:gd name="connsiteY109" fmla="*/ 3125 h 3296512"/>
                <a:gd name="connsiteX110" fmla="*/ 3244647 w 3829915"/>
                <a:gd name="connsiteY110" fmla="*/ 5456 h 3296512"/>
                <a:gd name="connsiteX111" fmla="*/ 3245770 w 3829915"/>
                <a:gd name="connsiteY111" fmla="*/ 5685 h 3296512"/>
                <a:gd name="connsiteX112" fmla="*/ 3249370 w 3829915"/>
                <a:gd name="connsiteY112" fmla="*/ 8131 h 3296512"/>
                <a:gd name="connsiteX113" fmla="*/ 3260921 w 3829915"/>
                <a:gd name="connsiteY113" fmla="*/ 14675 h 3296512"/>
                <a:gd name="connsiteX114" fmla="*/ 3263071 w 3829915"/>
                <a:gd name="connsiteY114" fmla="*/ 17440 h 3296512"/>
                <a:gd name="connsiteX115" fmla="*/ 3265096 w 3829915"/>
                <a:gd name="connsiteY115" fmla="*/ 18816 h 3296512"/>
                <a:gd name="connsiteX116" fmla="*/ 3271169 w 3829915"/>
                <a:gd name="connsiteY116" fmla="*/ 27853 h 3296512"/>
                <a:gd name="connsiteX117" fmla="*/ 3275891 w 3829915"/>
                <a:gd name="connsiteY117" fmla="*/ 33926 h 3296512"/>
                <a:gd name="connsiteX118" fmla="*/ 3277958 w 3829915"/>
                <a:gd name="connsiteY118" fmla="*/ 37956 h 3296512"/>
                <a:gd name="connsiteX119" fmla="*/ 3278155 w 3829915"/>
                <a:gd name="connsiteY119" fmla="*/ 38250 h 3296512"/>
                <a:gd name="connsiteX120" fmla="*/ 3278186 w 3829915"/>
                <a:gd name="connsiteY120" fmla="*/ 38400 h 3296512"/>
                <a:gd name="connsiteX121" fmla="*/ 3372261 w 3829915"/>
                <a:gd name="connsiteY121" fmla="*/ 221878 h 3296512"/>
                <a:gd name="connsiteX122" fmla="*/ 3823369 w 3829915"/>
                <a:gd name="connsiteY122" fmla="*/ 1101681 h 3296512"/>
                <a:gd name="connsiteX123" fmla="*/ 3826790 w 3829915"/>
                <a:gd name="connsiteY123" fmla="*/ 1146171 h 3296512"/>
                <a:gd name="connsiteX124" fmla="*/ 3825504 w 3829915"/>
                <a:gd name="connsiteY124" fmla="*/ 1147744 h 3296512"/>
                <a:gd name="connsiteX125" fmla="*/ 3829050 w 3829915"/>
                <a:gd name="connsiteY125" fmla="*/ 1165294 h 3296512"/>
                <a:gd name="connsiteX126" fmla="*/ 3822856 w 3829915"/>
                <a:gd name="connsiteY126" fmla="*/ 1180269 h 3296512"/>
                <a:gd name="connsiteX127" fmla="*/ 3829050 w 3829915"/>
                <a:gd name="connsiteY127" fmla="*/ 1195191 h 3296512"/>
                <a:gd name="connsiteX128" fmla="*/ 3412028 w 3829915"/>
                <a:gd name="connsiteY128" fmla="*/ 1707906 h 3296512"/>
                <a:gd name="connsiteX129" fmla="*/ 3354388 w 3829915"/>
                <a:gd name="connsiteY129" fmla="*/ 1713727 h 3296512"/>
                <a:gd name="connsiteX130" fmla="*/ 3354388 w 3829915"/>
                <a:gd name="connsiteY130" fmla="*/ 1803283 h 3296512"/>
                <a:gd name="connsiteX131" fmla="*/ 3354388 w 3829915"/>
                <a:gd name="connsiteY131" fmla="*/ 3159654 h 3296512"/>
                <a:gd name="connsiteX132" fmla="*/ 3354388 w 3829915"/>
                <a:gd name="connsiteY132" fmla="*/ 3175862 h 3296512"/>
                <a:gd name="connsiteX133" fmla="*/ 3401225 w 3829915"/>
                <a:gd name="connsiteY133" fmla="*/ 3175862 h 3296512"/>
                <a:gd name="connsiteX134" fmla="*/ 3704780 w 3829915"/>
                <a:gd name="connsiteY134" fmla="*/ 3175862 h 3296512"/>
                <a:gd name="connsiteX135" fmla="*/ 3765550 w 3829915"/>
                <a:gd name="connsiteY135" fmla="*/ 3236187 h 3296512"/>
                <a:gd name="connsiteX136" fmla="*/ 3704780 w 3829915"/>
                <a:gd name="connsiteY136" fmla="*/ 3296512 h 3296512"/>
                <a:gd name="connsiteX137" fmla="*/ 79820 w 3829915"/>
                <a:gd name="connsiteY137" fmla="*/ 3296512 h 3296512"/>
                <a:gd name="connsiteX138" fmla="*/ 19050 w 3829915"/>
                <a:gd name="connsiteY138" fmla="*/ 3236187 h 3296512"/>
                <a:gd name="connsiteX139" fmla="*/ 79820 w 3829915"/>
                <a:gd name="connsiteY139" fmla="*/ 3175862 h 3296512"/>
                <a:gd name="connsiteX140" fmla="*/ 409151 w 3829915"/>
                <a:gd name="connsiteY140" fmla="*/ 3175862 h 3296512"/>
                <a:gd name="connsiteX141" fmla="*/ 455613 w 3829915"/>
                <a:gd name="connsiteY141" fmla="*/ 3175862 h 3296512"/>
                <a:gd name="connsiteX142" fmla="*/ 455613 w 3829915"/>
                <a:gd name="connsiteY142" fmla="*/ 3013173 h 3296512"/>
                <a:gd name="connsiteX143" fmla="*/ 455613 w 3829915"/>
                <a:gd name="connsiteY143" fmla="*/ 1716585 h 3296512"/>
                <a:gd name="connsiteX144" fmla="*/ 455613 w 3829915"/>
                <a:gd name="connsiteY144" fmla="*/ 1711733 h 3296512"/>
                <a:gd name="connsiteX145" fmla="*/ 417656 w 3829915"/>
                <a:gd name="connsiteY145" fmla="*/ 1707906 h 3296512"/>
                <a:gd name="connsiteX146" fmla="*/ 0 w 3829915"/>
                <a:gd name="connsiteY146" fmla="*/ 1195191 h 3296512"/>
                <a:gd name="connsiteX147" fmla="*/ 4461 w 3829915"/>
                <a:gd name="connsiteY147" fmla="*/ 1184461 h 3296512"/>
                <a:gd name="connsiteX148" fmla="*/ 2098 w 3829915"/>
                <a:gd name="connsiteY148" fmla="*/ 1170365 h 3296512"/>
                <a:gd name="connsiteX149" fmla="*/ 0 w 3829915"/>
                <a:gd name="connsiteY149" fmla="*/ 1165294 h 3296512"/>
                <a:gd name="connsiteX150" fmla="*/ 4796 w 3829915"/>
                <a:gd name="connsiteY150" fmla="*/ 1141563 h 3296512"/>
                <a:gd name="connsiteX151" fmla="*/ 7258 w 3829915"/>
                <a:gd name="connsiteY151" fmla="*/ 1137898 h 3296512"/>
                <a:gd name="connsiteX152" fmla="*/ 89867 w 3829915"/>
                <a:gd name="connsiteY152" fmla="*/ 946855 h 3296512"/>
                <a:gd name="connsiteX153" fmla="*/ 482383 w 3829915"/>
                <a:gd name="connsiteY153" fmla="*/ 39125 h 3296512"/>
                <a:gd name="connsiteX154" fmla="*/ 482523 w 3829915"/>
                <a:gd name="connsiteY154" fmla="*/ 38802 h 3296512"/>
                <a:gd name="connsiteX155" fmla="*/ 482634 w 3829915"/>
                <a:gd name="connsiteY155" fmla="*/ 38250 h 3296512"/>
                <a:gd name="connsiteX156" fmla="*/ 482991 w 3829915"/>
                <a:gd name="connsiteY156" fmla="*/ 37719 h 3296512"/>
                <a:gd name="connsiteX157" fmla="*/ 483316 w 3829915"/>
                <a:gd name="connsiteY157" fmla="*/ 36968 h 3296512"/>
                <a:gd name="connsiteX158" fmla="*/ 538916 w 3829915"/>
                <a:gd name="connsiteY158" fmla="*/ 606 h 3296512"/>
                <a:gd name="connsiteX159" fmla="*/ 539929 w 3829915"/>
                <a:gd name="connsiteY159" fmla="*/ 862 h 3296512"/>
                <a:gd name="connsiteX160" fmla="*/ 782423 w 3829915"/>
                <a:gd name="connsiteY160" fmla="*/ 862 h 3296512"/>
                <a:gd name="connsiteX161" fmla="*/ 3206086 w 3829915"/>
                <a:gd name="connsiteY161" fmla="*/ 862 h 3296512"/>
                <a:gd name="connsiteX162" fmla="*/ 3214612 w 3829915"/>
                <a:gd name="connsiteY162" fmla="*/ 862 h 329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3829915" h="3296512">
                  <a:moveTo>
                    <a:pt x="2667221" y="2253274"/>
                  </a:moveTo>
                  <a:cubicBezTo>
                    <a:pt x="2682806" y="2253274"/>
                    <a:pt x="2698771" y="2259374"/>
                    <a:pt x="2710935" y="2271572"/>
                  </a:cubicBezTo>
                  <a:cubicBezTo>
                    <a:pt x="2735263" y="2295970"/>
                    <a:pt x="2735263" y="2332566"/>
                    <a:pt x="2710935" y="2356963"/>
                  </a:cubicBezTo>
                  <a:cubicBezTo>
                    <a:pt x="2376426" y="2692427"/>
                    <a:pt x="2376426" y="2692427"/>
                    <a:pt x="2376426" y="2692427"/>
                  </a:cubicBezTo>
                  <a:cubicBezTo>
                    <a:pt x="2364262" y="2704626"/>
                    <a:pt x="2349057" y="2710725"/>
                    <a:pt x="2333852" y="2710725"/>
                  </a:cubicBezTo>
                  <a:cubicBezTo>
                    <a:pt x="2318647" y="2710725"/>
                    <a:pt x="2303442" y="2704626"/>
                    <a:pt x="2291278" y="2692427"/>
                  </a:cubicBezTo>
                  <a:cubicBezTo>
                    <a:pt x="2266950" y="2668030"/>
                    <a:pt x="2266950" y="2628384"/>
                    <a:pt x="2291278" y="2603987"/>
                  </a:cubicBezTo>
                  <a:cubicBezTo>
                    <a:pt x="2625787" y="2271572"/>
                    <a:pt x="2625787" y="2271572"/>
                    <a:pt x="2625787" y="2271572"/>
                  </a:cubicBezTo>
                  <a:cubicBezTo>
                    <a:pt x="2636431" y="2259374"/>
                    <a:pt x="2651636" y="2253274"/>
                    <a:pt x="2667221" y="2253274"/>
                  </a:cubicBezTo>
                  <a:close/>
                  <a:moveTo>
                    <a:pt x="1096963" y="2210662"/>
                  </a:moveTo>
                  <a:cubicBezTo>
                    <a:pt x="1130142" y="2210662"/>
                    <a:pt x="1157288" y="2238090"/>
                    <a:pt x="1157288" y="2271613"/>
                  </a:cubicBezTo>
                  <a:cubicBezTo>
                    <a:pt x="1157288" y="2567224"/>
                    <a:pt x="1157288" y="2567224"/>
                    <a:pt x="1157288" y="2567224"/>
                  </a:cubicBezTo>
                  <a:cubicBezTo>
                    <a:pt x="1157288" y="2600747"/>
                    <a:pt x="1130142" y="2628175"/>
                    <a:pt x="1096963" y="2628175"/>
                  </a:cubicBezTo>
                  <a:cubicBezTo>
                    <a:pt x="1063784" y="2628175"/>
                    <a:pt x="1036638" y="2600747"/>
                    <a:pt x="1036638" y="2567224"/>
                  </a:cubicBezTo>
                  <a:cubicBezTo>
                    <a:pt x="1036638" y="2271613"/>
                    <a:pt x="1036638" y="2271613"/>
                    <a:pt x="1036638" y="2271613"/>
                  </a:cubicBezTo>
                  <a:cubicBezTo>
                    <a:pt x="1036638" y="2238090"/>
                    <a:pt x="1063784" y="2210662"/>
                    <a:pt x="1096963" y="2210662"/>
                  </a:cubicBezTo>
                  <a:close/>
                  <a:moveTo>
                    <a:pt x="2669520" y="1934178"/>
                  </a:moveTo>
                  <a:cubicBezTo>
                    <a:pt x="2685101" y="1934178"/>
                    <a:pt x="2700302" y="1940268"/>
                    <a:pt x="2710942" y="1952449"/>
                  </a:cubicBezTo>
                  <a:cubicBezTo>
                    <a:pt x="2735263" y="1973766"/>
                    <a:pt x="2735263" y="2013355"/>
                    <a:pt x="2710942" y="2037717"/>
                  </a:cubicBezTo>
                  <a:cubicBezTo>
                    <a:pt x="2057309" y="2692454"/>
                    <a:pt x="2057309" y="2692454"/>
                    <a:pt x="2057309" y="2692454"/>
                  </a:cubicBezTo>
                  <a:cubicBezTo>
                    <a:pt x="2045148" y="2704635"/>
                    <a:pt x="2029947" y="2710725"/>
                    <a:pt x="2014747" y="2710725"/>
                  </a:cubicBezTo>
                  <a:cubicBezTo>
                    <a:pt x="1999546" y="2710725"/>
                    <a:pt x="1984345" y="2704635"/>
                    <a:pt x="1972184" y="2692454"/>
                  </a:cubicBezTo>
                  <a:cubicBezTo>
                    <a:pt x="1947863" y="2668091"/>
                    <a:pt x="1947863" y="2631548"/>
                    <a:pt x="1972184" y="2607186"/>
                  </a:cubicBezTo>
                  <a:cubicBezTo>
                    <a:pt x="2625818" y="1952449"/>
                    <a:pt x="2625818" y="1952449"/>
                    <a:pt x="2625818" y="1952449"/>
                  </a:cubicBezTo>
                  <a:cubicBezTo>
                    <a:pt x="2637978" y="1940268"/>
                    <a:pt x="2653939" y="1934178"/>
                    <a:pt x="2669520" y="1934178"/>
                  </a:cubicBezTo>
                  <a:close/>
                  <a:moveTo>
                    <a:pt x="2340909" y="1927073"/>
                  </a:moveTo>
                  <a:cubicBezTo>
                    <a:pt x="2356489" y="1927073"/>
                    <a:pt x="2371690" y="1932408"/>
                    <a:pt x="2382330" y="1943079"/>
                  </a:cubicBezTo>
                  <a:cubicBezTo>
                    <a:pt x="2406651" y="1967470"/>
                    <a:pt x="2406651" y="2007105"/>
                    <a:pt x="2382330" y="2031495"/>
                  </a:cubicBezTo>
                  <a:cubicBezTo>
                    <a:pt x="2050957" y="2363819"/>
                    <a:pt x="2050957" y="2363819"/>
                    <a:pt x="2050957" y="2363819"/>
                  </a:cubicBezTo>
                  <a:cubicBezTo>
                    <a:pt x="2038797" y="2376014"/>
                    <a:pt x="2023596" y="2382112"/>
                    <a:pt x="2008396" y="2382112"/>
                  </a:cubicBezTo>
                  <a:cubicBezTo>
                    <a:pt x="1993195" y="2382112"/>
                    <a:pt x="1977995" y="2376014"/>
                    <a:pt x="1965834" y="2363819"/>
                  </a:cubicBezTo>
                  <a:cubicBezTo>
                    <a:pt x="1941513" y="2339428"/>
                    <a:pt x="1941513" y="2302842"/>
                    <a:pt x="1965834" y="2278452"/>
                  </a:cubicBezTo>
                  <a:cubicBezTo>
                    <a:pt x="2297207" y="1943079"/>
                    <a:pt x="2297207" y="1943079"/>
                    <a:pt x="2297207" y="1943079"/>
                  </a:cubicBezTo>
                  <a:cubicBezTo>
                    <a:pt x="2309368" y="1932408"/>
                    <a:pt x="2325328" y="1927073"/>
                    <a:pt x="2340909" y="1927073"/>
                  </a:cubicBezTo>
                  <a:close/>
                  <a:moveTo>
                    <a:pt x="984116" y="1440148"/>
                  </a:moveTo>
                  <a:lnTo>
                    <a:pt x="976866" y="1455700"/>
                  </a:lnTo>
                  <a:cubicBezTo>
                    <a:pt x="903390" y="1583552"/>
                    <a:pt x="777488" y="1677408"/>
                    <a:pt x="628507" y="1707906"/>
                  </a:cubicBezTo>
                  <a:lnTo>
                    <a:pt x="577851" y="1713014"/>
                  </a:lnTo>
                  <a:lnTo>
                    <a:pt x="577851" y="1809048"/>
                  </a:lnTo>
                  <a:cubicBezTo>
                    <a:pt x="577851" y="2766950"/>
                    <a:pt x="577851" y="3066295"/>
                    <a:pt x="577851" y="3159840"/>
                  </a:cubicBezTo>
                  <a:lnTo>
                    <a:pt x="577851" y="3175862"/>
                  </a:lnTo>
                  <a:lnTo>
                    <a:pt x="717906" y="3175862"/>
                  </a:lnTo>
                  <a:cubicBezTo>
                    <a:pt x="917031" y="3175862"/>
                    <a:pt x="1102880" y="3175862"/>
                    <a:pt x="1276340" y="3175862"/>
                  </a:cubicBezTo>
                  <a:lnTo>
                    <a:pt x="1309688" y="3175862"/>
                  </a:lnTo>
                  <a:lnTo>
                    <a:pt x="1309688" y="3013173"/>
                  </a:lnTo>
                  <a:cubicBezTo>
                    <a:pt x="1309688" y="2108463"/>
                    <a:pt x="1309688" y="1813047"/>
                    <a:pt x="1309688" y="1716585"/>
                  </a:cubicBezTo>
                  <a:lnTo>
                    <a:pt x="1309688" y="1699571"/>
                  </a:lnTo>
                  <a:lnTo>
                    <a:pt x="1238892" y="1677413"/>
                  </a:lnTo>
                  <a:cubicBezTo>
                    <a:pt x="1145673" y="1637691"/>
                    <a:pt x="1066138" y="1571334"/>
                    <a:pt x="1009907" y="1487808"/>
                  </a:cubicBezTo>
                  <a:close/>
                  <a:moveTo>
                    <a:pt x="2838454" y="1422795"/>
                  </a:moveTo>
                  <a:lnTo>
                    <a:pt x="2803244" y="1487808"/>
                  </a:lnTo>
                  <a:cubicBezTo>
                    <a:pt x="2709402" y="1627018"/>
                    <a:pt x="2550479" y="1718537"/>
                    <a:pt x="2370207" y="1718537"/>
                  </a:cubicBezTo>
                  <a:cubicBezTo>
                    <a:pt x="2191833" y="1718537"/>
                    <a:pt x="2033621" y="1627018"/>
                    <a:pt x="1940046" y="1487808"/>
                  </a:cubicBezTo>
                  <a:lnTo>
                    <a:pt x="1907297" y="1427197"/>
                  </a:lnTo>
                  <a:lnTo>
                    <a:pt x="1874421" y="1487808"/>
                  </a:lnTo>
                  <a:cubicBezTo>
                    <a:pt x="1780436" y="1627018"/>
                    <a:pt x="1621270" y="1718537"/>
                    <a:pt x="1440724" y="1718537"/>
                  </a:cubicBezTo>
                  <a:lnTo>
                    <a:pt x="1431926" y="1717641"/>
                  </a:lnTo>
                  <a:lnTo>
                    <a:pt x="1431926" y="1809048"/>
                  </a:lnTo>
                  <a:cubicBezTo>
                    <a:pt x="1431926" y="2766950"/>
                    <a:pt x="1431926" y="3066295"/>
                    <a:pt x="1431926" y="3159840"/>
                  </a:cubicBezTo>
                  <a:lnTo>
                    <a:pt x="1431926" y="3175862"/>
                  </a:lnTo>
                  <a:lnTo>
                    <a:pt x="1527348" y="3175862"/>
                  </a:lnTo>
                  <a:cubicBezTo>
                    <a:pt x="2253159" y="3175862"/>
                    <a:pt x="2737033" y="3175862"/>
                    <a:pt x="3059615" y="3175862"/>
                  </a:cubicBezTo>
                  <a:lnTo>
                    <a:pt x="3233738" y="3175862"/>
                  </a:lnTo>
                  <a:lnTo>
                    <a:pt x="3233738" y="3028966"/>
                  </a:lnTo>
                  <a:cubicBezTo>
                    <a:pt x="3233738" y="2196350"/>
                    <a:pt x="3233738" y="1871426"/>
                    <a:pt x="3233738" y="1744627"/>
                  </a:cubicBezTo>
                  <a:lnTo>
                    <a:pt x="3233738" y="1711162"/>
                  </a:lnTo>
                  <a:lnTo>
                    <a:pt x="3201498" y="1707906"/>
                  </a:lnTo>
                  <a:cubicBezTo>
                    <a:pt x="3065493" y="1680022"/>
                    <a:pt x="2948752" y="1599176"/>
                    <a:pt x="2873668" y="1487808"/>
                  </a:cubicBezTo>
                  <a:close/>
                  <a:moveTo>
                    <a:pt x="2909118" y="1226413"/>
                  </a:moveTo>
                  <a:lnTo>
                    <a:pt x="2914193" y="1276221"/>
                  </a:lnTo>
                  <a:cubicBezTo>
                    <a:pt x="2952055" y="1459384"/>
                    <a:pt x="3115460" y="1596829"/>
                    <a:pt x="3306763" y="1596829"/>
                  </a:cubicBezTo>
                  <a:cubicBezTo>
                    <a:pt x="3500723" y="1596829"/>
                    <a:pt x="3662135" y="1459384"/>
                    <a:pt x="3699457" y="1276221"/>
                  </a:cubicBezTo>
                  <a:lnTo>
                    <a:pt x="3704455" y="1226413"/>
                  </a:lnTo>
                  <a:lnTo>
                    <a:pt x="3431443" y="1226413"/>
                  </a:lnTo>
                  <a:cubicBezTo>
                    <a:pt x="3322712" y="1226413"/>
                    <a:pt x="3217488" y="1226413"/>
                    <a:pt x="3115659" y="1226413"/>
                  </a:cubicBezTo>
                  <a:close/>
                  <a:moveTo>
                    <a:pt x="1975602" y="1226413"/>
                  </a:moveTo>
                  <a:lnTo>
                    <a:pt x="1980595" y="1276221"/>
                  </a:lnTo>
                  <a:cubicBezTo>
                    <a:pt x="2017871" y="1459384"/>
                    <a:pt x="2178930" y="1596829"/>
                    <a:pt x="2370207" y="1596829"/>
                  </a:cubicBezTo>
                  <a:cubicBezTo>
                    <a:pt x="2564141" y="1596829"/>
                    <a:pt x="2725532" y="1459384"/>
                    <a:pt x="2762849" y="1276221"/>
                  </a:cubicBezTo>
                  <a:lnTo>
                    <a:pt x="2767847" y="1226413"/>
                  </a:lnTo>
                  <a:lnTo>
                    <a:pt x="2544509" y="1226413"/>
                  </a:lnTo>
                  <a:cubicBezTo>
                    <a:pt x="2367100" y="1226413"/>
                    <a:pt x="2202363" y="1226413"/>
                    <a:pt x="2049393" y="1226413"/>
                  </a:cubicBezTo>
                  <a:close/>
                  <a:moveTo>
                    <a:pt x="1045517" y="1226413"/>
                  </a:moveTo>
                  <a:lnTo>
                    <a:pt x="1050518" y="1276221"/>
                  </a:lnTo>
                  <a:cubicBezTo>
                    <a:pt x="1087851" y="1459384"/>
                    <a:pt x="1249155" y="1596829"/>
                    <a:pt x="1440724" y="1596829"/>
                  </a:cubicBezTo>
                  <a:cubicBezTo>
                    <a:pt x="1634954" y="1596829"/>
                    <a:pt x="1796591" y="1459384"/>
                    <a:pt x="1833965" y="1276221"/>
                  </a:cubicBezTo>
                  <a:lnTo>
                    <a:pt x="1838970" y="1226413"/>
                  </a:lnTo>
                  <a:lnTo>
                    <a:pt x="1828649" y="1226413"/>
                  </a:lnTo>
                  <a:cubicBezTo>
                    <a:pt x="1545790" y="1226413"/>
                    <a:pt x="1308188" y="1226413"/>
                    <a:pt x="1108603" y="1226413"/>
                  </a:cubicBezTo>
                  <a:close/>
                  <a:moveTo>
                    <a:pt x="124785" y="1226413"/>
                  </a:moveTo>
                  <a:lnTo>
                    <a:pt x="129790" y="1276221"/>
                  </a:lnTo>
                  <a:cubicBezTo>
                    <a:pt x="167169" y="1459384"/>
                    <a:pt x="328826" y="1596829"/>
                    <a:pt x="523082" y="1596829"/>
                  </a:cubicBezTo>
                  <a:cubicBezTo>
                    <a:pt x="717337" y="1596829"/>
                    <a:pt x="878994" y="1459384"/>
                    <a:pt x="916373" y="1276221"/>
                  </a:cubicBezTo>
                  <a:lnTo>
                    <a:pt x="921378" y="1226413"/>
                  </a:lnTo>
                  <a:lnTo>
                    <a:pt x="836831" y="1226413"/>
                  </a:lnTo>
                  <a:cubicBezTo>
                    <a:pt x="469228" y="1226413"/>
                    <a:pt x="275751" y="1226413"/>
                    <a:pt x="173922" y="1226413"/>
                  </a:cubicBezTo>
                  <a:close/>
                  <a:moveTo>
                    <a:pt x="576712" y="123100"/>
                  </a:moveTo>
                  <a:lnTo>
                    <a:pt x="509290" y="280020"/>
                  </a:lnTo>
                  <a:cubicBezTo>
                    <a:pt x="300787" y="765293"/>
                    <a:pt x="203486" y="991754"/>
                    <a:pt x="158079" y="1097436"/>
                  </a:cubicBezTo>
                  <a:lnTo>
                    <a:pt x="155183" y="1104175"/>
                  </a:lnTo>
                  <a:lnTo>
                    <a:pt x="397607" y="1104175"/>
                  </a:lnTo>
                  <a:cubicBezTo>
                    <a:pt x="2714939" y="1104175"/>
                    <a:pt x="3439105" y="1104175"/>
                    <a:pt x="3665407" y="1104175"/>
                  </a:cubicBezTo>
                  <a:lnTo>
                    <a:pt x="3687076" y="1104175"/>
                  </a:lnTo>
                  <a:lnTo>
                    <a:pt x="3617503" y="968485"/>
                  </a:lnTo>
                  <a:cubicBezTo>
                    <a:pt x="3346839" y="440603"/>
                    <a:pt x="3238573" y="229451"/>
                    <a:pt x="3195267" y="144990"/>
                  </a:cubicBezTo>
                  <a:lnTo>
                    <a:pt x="3184043" y="123100"/>
                  </a:lnTo>
                  <a:lnTo>
                    <a:pt x="3037870" y="123100"/>
                  </a:lnTo>
                  <a:cubicBezTo>
                    <a:pt x="1178429" y="123100"/>
                    <a:pt x="702412" y="123100"/>
                    <a:pt x="580551" y="123100"/>
                  </a:cubicBezTo>
                  <a:close/>
                  <a:moveTo>
                    <a:pt x="3217294" y="131"/>
                  </a:moveTo>
                  <a:cubicBezTo>
                    <a:pt x="3225231" y="-392"/>
                    <a:pt x="3233120" y="653"/>
                    <a:pt x="3240533" y="3125"/>
                  </a:cubicBezTo>
                  <a:lnTo>
                    <a:pt x="3244647" y="5456"/>
                  </a:lnTo>
                  <a:lnTo>
                    <a:pt x="3245770" y="5685"/>
                  </a:lnTo>
                  <a:lnTo>
                    <a:pt x="3249370" y="8131"/>
                  </a:lnTo>
                  <a:lnTo>
                    <a:pt x="3260921" y="14675"/>
                  </a:lnTo>
                  <a:lnTo>
                    <a:pt x="3263071" y="17440"/>
                  </a:lnTo>
                  <a:lnTo>
                    <a:pt x="3265096" y="18816"/>
                  </a:lnTo>
                  <a:lnTo>
                    <a:pt x="3271169" y="27853"/>
                  </a:lnTo>
                  <a:lnTo>
                    <a:pt x="3275891" y="33926"/>
                  </a:lnTo>
                  <a:lnTo>
                    <a:pt x="3277958" y="37956"/>
                  </a:lnTo>
                  <a:lnTo>
                    <a:pt x="3278155" y="38250"/>
                  </a:lnTo>
                  <a:lnTo>
                    <a:pt x="3278186" y="38400"/>
                  </a:lnTo>
                  <a:lnTo>
                    <a:pt x="3372261" y="221878"/>
                  </a:lnTo>
                  <a:cubicBezTo>
                    <a:pt x="3823369" y="1101681"/>
                    <a:pt x="3823369" y="1101681"/>
                    <a:pt x="3823369" y="1101681"/>
                  </a:cubicBezTo>
                  <a:cubicBezTo>
                    <a:pt x="3830972" y="1115370"/>
                    <a:pt x="3831733" y="1131341"/>
                    <a:pt x="3826790" y="1146171"/>
                  </a:cubicBezTo>
                  <a:lnTo>
                    <a:pt x="3825504" y="1147744"/>
                  </a:lnTo>
                  <a:lnTo>
                    <a:pt x="3829050" y="1165294"/>
                  </a:lnTo>
                  <a:lnTo>
                    <a:pt x="3822856" y="1180269"/>
                  </a:lnTo>
                  <a:lnTo>
                    <a:pt x="3829050" y="1195191"/>
                  </a:lnTo>
                  <a:cubicBezTo>
                    <a:pt x="3829050" y="1448116"/>
                    <a:pt x="3650036" y="1659109"/>
                    <a:pt x="3412028" y="1707906"/>
                  </a:cubicBezTo>
                  <a:lnTo>
                    <a:pt x="3354388" y="1713727"/>
                  </a:lnTo>
                  <a:lnTo>
                    <a:pt x="3354388" y="1803283"/>
                  </a:lnTo>
                  <a:cubicBezTo>
                    <a:pt x="3354388" y="2765142"/>
                    <a:pt x="3354388" y="3065723"/>
                    <a:pt x="3354388" y="3159654"/>
                  </a:cubicBezTo>
                  <a:lnTo>
                    <a:pt x="3354388" y="3175862"/>
                  </a:lnTo>
                  <a:lnTo>
                    <a:pt x="3401225" y="3175862"/>
                  </a:lnTo>
                  <a:cubicBezTo>
                    <a:pt x="3704780" y="3175862"/>
                    <a:pt x="3704780" y="3175862"/>
                    <a:pt x="3704780" y="3175862"/>
                  </a:cubicBezTo>
                  <a:cubicBezTo>
                    <a:pt x="3738203" y="3175862"/>
                    <a:pt x="3765550" y="3203008"/>
                    <a:pt x="3765550" y="3236187"/>
                  </a:cubicBezTo>
                  <a:cubicBezTo>
                    <a:pt x="3765550" y="3269366"/>
                    <a:pt x="3738203" y="3296512"/>
                    <a:pt x="3704780" y="3296512"/>
                  </a:cubicBezTo>
                  <a:cubicBezTo>
                    <a:pt x="79820" y="3296512"/>
                    <a:pt x="79820" y="3296512"/>
                    <a:pt x="79820" y="3296512"/>
                  </a:cubicBezTo>
                  <a:cubicBezTo>
                    <a:pt x="46396" y="3296512"/>
                    <a:pt x="19050" y="3269366"/>
                    <a:pt x="19050" y="3236187"/>
                  </a:cubicBezTo>
                  <a:cubicBezTo>
                    <a:pt x="19050" y="3203008"/>
                    <a:pt x="46396" y="3175862"/>
                    <a:pt x="79820" y="3175862"/>
                  </a:cubicBezTo>
                  <a:cubicBezTo>
                    <a:pt x="193100" y="3175862"/>
                    <a:pt x="302840" y="3175862"/>
                    <a:pt x="409151" y="3175862"/>
                  </a:cubicBezTo>
                  <a:lnTo>
                    <a:pt x="455613" y="3175862"/>
                  </a:lnTo>
                  <a:lnTo>
                    <a:pt x="455613" y="3013173"/>
                  </a:lnTo>
                  <a:cubicBezTo>
                    <a:pt x="455613" y="2108463"/>
                    <a:pt x="455613" y="1813047"/>
                    <a:pt x="455613" y="1716585"/>
                  </a:cubicBezTo>
                  <a:lnTo>
                    <a:pt x="455613" y="1711733"/>
                  </a:lnTo>
                  <a:lnTo>
                    <a:pt x="417656" y="1707906"/>
                  </a:lnTo>
                  <a:cubicBezTo>
                    <a:pt x="179286" y="1659109"/>
                    <a:pt x="0" y="1448116"/>
                    <a:pt x="0" y="1195191"/>
                  </a:cubicBezTo>
                  <a:lnTo>
                    <a:pt x="4461" y="1184461"/>
                  </a:lnTo>
                  <a:lnTo>
                    <a:pt x="2098" y="1170365"/>
                  </a:lnTo>
                  <a:lnTo>
                    <a:pt x="0" y="1165294"/>
                  </a:lnTo>
                  <a:cubicBezTo>
                    <a:pt x="0" y="1156890"/>
                    <a:pt x="1709" y="1148868"/>
                    <a:pt x="4796" y="1141563"/>
                  </a:cubicBezTo>
                  <a:lnTo>
                    <a:pt x="7258" y="1137898"/>
                  </a:lnTo>
                  <a:lnTo>
                    <a:pt x="89867" y="946855"/>
                  </a:lnTo>
                  <a:cubicBezTo>
                    <a:pt x="430856" y="158287"/>
                    <a:pt x="476321" y="53144"/>
                    <a:pt x="482383" y="39125"/>
                  </a:cubicBezTo>
                  <a:lnTo>
                    <a:pt x="482523" y="38802"/>
                  </a:lnTo>
                  <a:lnTo>
                    <a:pt x="482634" y="38250"/>
                  </a:lnTo>
                  <a:lnTo>
                    <a:pt x="482991" y="37719"/>
                  </a:lnTo>
                  <a:lnTo>
                    <a:pt x="483316" y="36968"/>
                  </a:lnTo>
                  <a:cubicBezTo>
                    <a:pt x="492440" y="14152"/>
                    <a:pt x="515251" y="-107"/>
                    <a:pt x="538916" y="606"/>
                  </a:cubicBezTo>
                  <a:lnTo>
                    <a:pt x="539929" y="862"/>
                  </a:lnTo>
                  <a:lnTo>
                    <a:pt x="782423" y="862"/>
                  </a:lnTo>
                  <a:cubicBezTo>
                    <a:pt x="2764716" y="862"/>
                    <a:pt x="3136396" y="862"/>
                    <a:pt x="3206086" y="862"/>
                  </a:cubicBezTo>
                  <a:lnTo>
                    <a:pt x="3214612" y="862"/>
                  </a:lnTo>
                  <a:close/>
                </a:path>
              </a:pathLst>
            </a:custGeom>
            <a:solidFill>
              <a:srgbClr val="00BCF2"/>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cxnSp>
        <p:nvCxnSpPr>
          <p:cNvPr id="397" name="Straight Arrow Connector 396">
            <a:extLst>
              <a:ext uri="{FF2B5EF4-FFF2-40B4-BE49-F238E27FC236}">
                <a16:creationId xmlns:a16="http://schemas.microsoft.com/office/drawing/2014/main" id="{CAF1D97C-C3DF-407A-9FB1-4346E0051C71}"/>
              </a:ext>
            </a:extLst>
          </p:cNvPr>
          <p:cNvCxnSpPr>
            <a:cxnSpLocks/>
          </p:cNvCxnSpPr>
          <p:nvPr/>
        </p:nvCxnSpPr>
        <p:spPr>
          <a:xfrm>
            <a:off x="6775891" y="3072227"/>
            <a:ext cx="423316" cy="6232"/>
          </a:xfrm>
          <a:prstGeom prst="straightConnector1">
            <a:avLst/>
          </a:prstGeom>
          <a:noFill/>
          <a:ln w="19050" cap="flat" cmpd="sng" algn="ctr">
            <a:solidFill>
              <a:schemeClr val="accent4">
                <a:lumMod val="40000"/>
                <a:lumOff val="60000"/>
              </a:schemeClr>
            </a:solidFill>
            <a:prstDash val="solid"/>
            <a:headEnd type="none" w="med" len="med"/>
            <a:tailEnd type="triangle" w="lg" len="med"/>
          </a:ln>
          <a:effectLst/>
        </p:spPr>
      </p:cxnSp>
      <p:grpSp>
        <p:nvGrpSpPr>
          <p:cNvPr id="398" name="Group 397">
            <a:extLst>
              <a:ext uri="{FF2B5EF4-FFF2-40B4-BE49-F238E27FC236}">
                <a16:creationId xmlns:a16="http://schemas.microsoft.com/office/drawing/2014/main" id="{28067982-C14E-4AA3-A4B7-09D28E9F571E}"/>
              </a:ext>
            </a:extLst>
          </p:cNvPr>
          <p:cNvGrpSpPr/>
          <p:nvPr/>
        </p:nvGrpSpPr>
        <p:grpSpPr>
          <a:xfrm>
            <a:off x="5288319" y="1814859"/>
            <a:ext cx="243080" cy="266828"/>
            <a:chOff x="-356679" y="5052570"/>
            <a:chExt cx="351600" cy="385950"/>
          </a:xfrm>
        </p:grpSpPr>
        <p:sp>
          <p:nvSpPr>
            <p:cNvPr id="434" name="Hexagon 433">
              <a:extLst>
                <a:ext uri="{FF2B5EF4-FFF2-40B4-BE49-F238E27FC236}">
                  <a16:creationId xmlns:a16="http://schemas.microsoft.com/office/drawing/2014/main" id="{1B6E7DFA-CCB5-4778-9231-BC5E75F17182}"/>
                </a:ext>
              </a:extLst>
            </p:cNvPr>
            <p:cNvSpPr/>
            <p:nvPr/>
          </p:nvSpPr>
          <p:spPr bwMode="auto">
            <a:xfrm rot="16200000">
              <a:off x="-373854" y="5069745"/>
              <a:ext cx="385950" cy="351600"/>
            </a:xfrm>
            <a:prstGeom prst="hexagon">
              <a:avLst/>
            </a:prstGeom>
            <a:solidFill>
              <a:srgbClr val="002050"/>
            </a:solidFill>
            <a:ln w="12700" cap="flat" cmpd="sng" algn="ctr">
              <a:noFill/>
              <a:prstDash val="solid"/>
              <a:headEnd type="none" w="med" len="med"/>
              <a:tailEnd type="none" w="med" len="med"/>
            </a:ln>
            <a:effectLst/>
          </p:spPr>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35" name="Group 434">
              <a:extLst>
                <a:ext uri="{FF2B5EF4-FFF2-40B4-BE49-F238E27FC236}">
                  <a16:creationId xmlns:a16="http://schemas.microsoft.com/office/drawing/2014/main" id="{3D43671B-D148-4C42-B9B6-06379BC1D30F}"/>
                </a:ext>
              </a:extLst>
            </p:cNvPr>
            <p:cNvGrpSpPr/>
            <p:nvPr/>
          </p:nvGrpSpPr>
          <p:grpSpPr>
            <a:xfrm>
              <a:off x="-235657" y="5144764"/>
              <a:ext cx="100905" cy="219670"/>
              <a:chOff x="754943" y="5198104"/>
              <a:chExt cx="100905" cy="219670"/>
            </a:xfrm>
          </p:grpSpPr>
          <p:sp>
            <p:nvSpPr>
              <p:cNvPr id="436" name="TextBox 435">
                <a:extLst>
                  <a:ext uri="{FF2B5EF4-FFF2-40B4-BE49-F238E27FC236}">
                    <a16:creationId xmlns:a16="http://schemas.microsoft.com/office/drawing/2014/main" id="{E0CB46F3-93F1-4320-8B78-9BF3590CAF7E}"/>
                  </a:ext>
                </a:extLst>
              </p:cNvPr>
              <p:cNvSpPr txBox="1"/>
              <p:nvPr/>
            </p:nvSpPr>
            <p:spPr>
              <a:xfrm>
                <a:off x="754943" y="5198104"/>
                <a:ext cx="100905" cy="157758"/>
              </a:xfrm>
              <a:custGeom>
                <a:avLst/>
                <a:gdLst/>
                <a:ahLst/>
                <a:cxnLst/>
                <a:rect l="l" t="t" r="r" b="b"/>
                <a:pathLst>
                  <a:path w="100905" h="157758">
                    <a:moveTo>
                      <a:pt x="47625" y="0"/>
                    </a:moveTo>
                    <a:cubicBezTo>
                      <a:pt x="55066" y="0"/>
                      <a:pt x="62036" y="1017"/>
                      <a:pt x="68535" y="3051"/>
                    </a:cubicBezTo>
                    <a:cubicBezTo>
                      <a:pt x="75034" y="5085"/>
                      <a:pt x="80664" y="8086"/>
                      <a:pt x="85427" y="12055"/>
                    </a:cubicBezTo>
                    <a:cubicBezTo>
                      <a:pt x="90189" y="16024"/>
                      <a:pt x="93960" y="20910"/>
                      <a:pt x="96738" y="26714"/>
                    </a:cubicBezTo>
                    <a:cubicBezTo>
                      <a:pt x="99516" y="32519"/>
                      <a:pt x="100905" y="39241"/>
                      <a:pt x="100905" y="46881"/>
                    </a:cubicBezTo>
                    <a:cubicBezTo>
                      <a:pt x="100905" y="52437"/>
                      <a:pt x="100136" y="57547"/>
                      <a:pt x="98598" y="62210"/>
                    </a:cubicBezTo>
                    <a:cubicBezTo>
                      <a:pt x="97060" y="66873"/>
                      <a:pt x="95026" y="71189"/>
                      <a:pt x="92496" y="75158"/>
                    </a:cubicBezTo>
                    <a:cubicBezTo>
                      <a:pt x="89966" y="79127"/>
                      <a:pt x="87114" y="82847"/>
                      <a:pt x="83939" y="86320"/>
                    </a:cubicBezTo>
                    <a:cubicBezTo>
                      <a:pt x="80764" y="89793"/>
                      <a:pt x="77489" y="93117"/>
                      <a:pt x="74116" y="96292"/>
                    </a:cubicBezTo>
                    <a:cubicBezTo>
                      <a:pt x="69850" y="100360"/>
                      <a:pt x="66104" y="104006"/>
                      <a:pt x="62879" y="107230"/>
                    </a:cubicBezTo>
                    <a:cubicBezTo>
                      <a:pt x="59655" y="110455"/>
                      <a:pt x="56951" y="113556"/>
                      <a:pt x="54768" y="116532"/>
                    </a:cubicBezTo>
                    <a:cubicBezTo>
                      <a:pt x="52585" y="119509"/>
                      <a:pt x="50924" y="122535"/>
                      <a:pt x="49783" y="125611"/>
                    </a:cubicBezTo>
                    <a:cubicBezTo>
                      <a:pt x="48642" y="128687"/>
                      <a:pt x="48071" y="132110"/>
                      <a:pt x="48071" y="135880"/>
                    </a:cubicBezTo>
                    <a:cubicBezTo>
                      <a:pt x="48071" y="140444"/>
                      <a:pt x="48542" y="144586"/>
                      <a:pt x="49485" y="148307"/>
                    </a:cubicBezTo>
                    <a:cubicBezTo>
                      <a:pt x="50427" y="152028"/>
                      <a:pt x="51395" y="155178"/>
                      <a:pt x="52387" y="157758"/>
                    </a:cubicBezTo>
                    <a:lnTo>
                      <a:pt x="34379" y="157758"/>
                    </a:lnTo>
                    <a:cubicBezTo>
                      <a:pt x="33387" y="155178"/>
                      <a:pt x="32543" y="151879"/>
                      <a:pt x="31849" y="147861"/>
                    </a:cubicBezTo>
                    <a:cubicBezTo>
                      <a:pt x="31154" y="143842"/>
                      <a:pt x="30807" y="139799"/>
                      <a:pt x="30807" y="135731"/>
                    </a:cubicBezTo>
                    <a:cubicBezTo>
                      <a:pt x="30807" y="130671"/>
                      <a:pt x="31601" y="126082"/>
                      <a:pt x="33188" y="121964"/>
                    </a:cubicBezTo>
                    <a:cubicBezTo>
                      <a:pt x="34776" y="117847"/>
                      <a:pt x="36859" y="113953"/>
                      <a:pt x="39439" y="110281"/>
                    </a:cubicBezTo>
                    <a:cubicBezTo>
                      <a:pt x="42019" y="106610"/>
                      <a:pt x="45020" y="103088"/>
                      <a:pt x="48443" y="99715"/>
                    </a:cubicBezTo>
                    <a:cubicBezTo>
                      <a:pt x="51866" y="96341"/>
                      <a:pt x="55413" y="92918"/>
                      <a:pt x="59084" y="89446"/>
                    </a:cubicBezTo>
                    <a:cubicBezTo>
                      <a:pt x="62061" y="86667"/>
                      <a:pt x="64913" y="83840"/>
                      <a:pt x="67642" y="80962"/>
                    </a:cubicBezTo>
                    <a:cubicBezTo>
                      <a:pt x="70370" y="78085"/>
                      <a:pt x="72777" y="75009"/>
                      <a:pt x="74860" y="71735"/>
                    </a:cubicBezTo>
                    <a:cubicBezTo>
                      <a:pt x="76944" y="68461"/>
                      <a:pt x="78630" y="64963"/>
                      <a:pt x="79920" y="61243"/>
                    </a:cubicBezTo>
                    <a:cubicBezTo>
                      <a:pt x="81210" y="57522"/>
                      <a:pt x="81855" y="53528"/>
                      <a:pt x="81855" y="49262"/>
                    </a:cubicBezTo>
                    <a:cubicBezTo>
                      <a:pt x="81855" y="44103"/>
                      <a:pt x="80937" y="39539"/>
                      <a:pt x="79102" y="35570"/>
                    </a:cubicBezTo>
                    <a:cubicBezTo>
                      <a:pt x="77266" y="31601"/>
                      <a:pt x="74736" y="28252"/>
                      <a:pt x="71511" y="25524"/>
                    </a:cubicBezTo>
                    <a:cubicBezTo>
                      <a:pt x="68287" y="22795"/>
                      <a:pt x="64467" y="20712"/>
                      <a:pt x="60052" y="19273"/>
                    </a:cubicBezTo>
                    <a:cubicBezTo>
                      <a:pt x="55636" y="17834"/>
                      <a:pt x="50899" y="17115"/>
                      <a:pt x="45839" y="17115"/>
                    </a:cubicBezTo>
                    <a:cubicBezTo>
                      <a:pt x="36909" y="17115"/>
                      <a:pt x="28674" y="18727"/>
                      <a:pt x="21133" y="21952"/>
                    </a:cubicBezTo>
                    <a:cubicBezTo>
                      <a:pt x="13593" y="25177"/>
                      <a:pt x="6548" y="29914"/>
                      <a:pt x="0" y="36165"/>
                    </a:cubicBezTo>
                    <a:lnTo>
                      <a:pt x="0" y="15031"/>
                    </a:lnTo>
                    <a:cubicBezTo>
                      <a:pt x="7342" y="9971"/>
                      <a:pt x="14907" y="6201"/>
                      <a:pt x="22696" y="3721"/>
                    </a:cubicBezTo>
                    <a:cubicBezTo>
                      <a:pt x="30485" y="1240"/>
                      <a:pt x="38794" y="0"/>
                      <a:pt x="47625"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sp>
            <p:nvSpPr>
              <p:cNvPr id="437" name="TextBox 436">
                <a:extLst>
                  <a:ext uri="{FF2B5EF4-FFF2-40B4-BE49-F238E27FC236}">
                    <a16:creationId xmlns:a16="http://schemas.microsoft.com/office/drawing/2014/main" id="{50A39823-AE69-45CB-9F95-B0C861450646}"/>
                  </a:ext>
                </a:extLst>
              </p:cNvPr>
              <p:cNvSpPr txBox="1"/>
              <p:nvPr/>
            </p:nvSpPr>
            <p:spPr>
              <a:xfrm>
                <a:off x="784411" y="5389348"/>
                <a:ext cx="28575" cy="28426"/>
              </a:xfrm>
              <a:custGeom>
                <a:avLst/>
                <a:gdLst/>
                <a:ahLst/>
                <a:cxnLst/>
                <a:rect l="l" t="t" r="r" b="b"/>
                <a:pathLst>
                  <a:path w="28575" h="28426">
                    <a:moveTo>
                      <a:pt x="14138" y="0"/>
                    </a:moveTo>
                    <a:cubicBezTo>
                      <a:pt x="16023" y="0"/>
                      <a:pt x="17834" y="347"/>
                      <a:pt x="19570" y="1042"/>
                    </a:cubicBezTo>
                    <a:cubicBezTo>
                      <a:pt x="21307" y="1736"/>
                      <a:pt x="22845" y="2728"/>
                      <a:pt x="24184" y="4018"/>
                    </a:cubicBezTo>
                    <a:cubicBezTo>
                      <a:pt x="25524" y="5308"/>
                      <a:pt x="26590" y="6821"/>
                      <a:pt x="27384" y="8558"/>
                    </a:cubicBezTo>
                    <a:cubicBezTo>
                      <a:pt x="28178" y="10294"/>
                      <a:pt x="28575" y="12204"/>
                      <a:pt x="28575" y="14287"/>
                    </a:cubicBezTo>
                    <a:cubicBezTo>
                      <a:pt x="28575" y="16272"/>
                      <a:pt x="28178" y="18132"/>
                      <a:pt x="27384" y="19869"/>
                    </a:cubicBezTo>
                    <a:cubicBezTo>
                      <a:pt x="26590" y="21605"/>
                      <a:pt x="25524" y="23118"/>
                      <a:pt x="24184" y="24408"/>
                    </a:cubicBezTo>
                    <a:cubicBezTo>
                      <a:pt x="22845" y="25698"/>
                      <a:pt x="21307" y="26690"/>
                      <a:pt x="19570" y="27384"/>
                    </a:cubicBezTo>
                    <a:cubicBezTo>
                      <a:pt x="17834" y="28079"/>
                      <a:pt x="16023" y="28426"/>
                      <a:pt x="14138" y="28426"/>
                    </a:cubicBezTo>
                    <a:cubicBezTo>
                      <a:pt x="12253" y="28426"/>
                      <a:pt x="10467" y="28079"/>
                      <a:pt x="8780" y="27384"/>
                    </a:cubicBezTo>
                    <a:cubicBezTo>
                      <a:pt x="7094" y="26690"/>
                      <a:pt x="5605" y="25698"/>
                      <a:pt x="4316" y="24408"/>
                    </a:cubicBezTo>
                    <a:cubicBezTo>
                      <a:pt x="3026" y="23118"/>
                      <a:pt x="1984" y="21605"/>
                      <a:pt x="1190" y="19869"/>
                    </a:cubicBezTo>
                    <a:cubicBezTo>
                      <a:pt x="396" y="18132"/>
                      <a:pt x="0" y="16272"/>
                      <a:pt x="0" y="14287"/>
                    </a:cubicBezTo>
                    <a:cubicBezTo>
                      <a:pt x="0" y="12204"/>
                      <a:pt x="372" y="10294"/>
                      <a:pt x="1116" y="8558"/>
                    </a:cubicBezTo>
                    <a:cubicBezTo>
                      <a:pt x="1860" y="6821"/>
                      <a:pt x="2877" y="5333"/>
                      <a:pt x="4167" y="4093"/>
                    </a:cubicBezTo>
                    <a:cubicBezTo>
                      <a:pt x="5457" y="2853"/>
                      <a:pt x="6970" y="1860"/>
                      <a:pt x="8706" y="1116"/>
                    </a:cubicBezTo>
                    <a:cubicBezTo>
                      <a:pt x="10442" y="372"/>
                      <a:pt x="12253" y="0"/>
                      <a:pt x="14138"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grpSp>
      </p:grpSp>
      <p:grpSp>
        <p:nvGrpSpPr>
          <p:cNvPr id="399" name="Group 398">
            <a:extLst>
              <a:ext uri="{FF2B5EF4-FFF2-40B4-BE49-F238E27FC236}">
                <a16:creationId xmlns:a16="http://schemas.microsoft.com/office/drawing/2014/main" id="{F21E45AB-88A7-4894-8E9A-2A05A3D5A1C9}"/>
              </a:ext>
            </a:extLst>
          </p:cNvPr>
          <p:cNvGrpSpPr/>
          <p:nvPr/>
        </p:nvGrpSpPr>
        <p:grpSpPr>
          <a:xfrm>
            <a:off x="5952872" y="2375620"/>
            <a:ext cx="243080" cy="266828"/>
            <a:chOff x="-356679" y="5052570"/>
            <a:chExt cx="351600" cy="385950"/>
          </a:xfrm>
        </p:grpSpPr>
        <p:sp>
          <p:nvSpPr>
            <p:cNvPr id="430" name="Hexagon 429">
              <a:extLst>
                <a:ext uri="{FF2B5EF4-FFF2-40B4-BE49-F238E27FC236}">
                  <a16:creationId xmlns:a16="http://schemas.microsoft.com/office/drawing/2014/main" id="{16C594A7-2457-4821-91E9-C6B1362C5B87}"/>
                </a:ext>
              </a:extLst>
            </p:cNvPr>
            <p:cNvSpPr/>
            <p:nvPr/>
          </p:nvSpPr>
          <p:spPr bwMode="auto">
            <a:xfrm rot="16200000">
              <a:off x="-373854" y="5069745"/>
              <a:ext cx="385950" cy="351600"/>
            </a:xfrm>
            <a:prstGeom prst="hexagon">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31" name="Group 430">
              <a:extLst>
                <a:ext uri="{FF2B5EF4-FFF2-40B4-BE49-F238E27FC236}">
                  <a16:creationId xmlns:a16="http://schemas.microsoft.com/office/drawing/2014/main" id="{444E5B17-A39C-47A3-A2D3-DAB2084EA6F7}"/>
                </a:ext>
              </a:extLst>
            </p:cNvPr>
            <p:cNvGrpSpPr/>
            <p:nvPr/>
          </p:nvGrpSpPr>
          <p:grpSpPr>
            <a:xfrm>
              <a:off x="-235657" y="5144764"/>
              <a:ext cx="100905" cy="219670"/>
              <a:chOff x="754943" y="5198104"/>
              <a:chExt cx="100905" cy="219670"/>
            </a:xfrm>
          </p:grpSpPr>
          <p:sp>
            <p:nvSpPr>
              <p:cNvPr id="432" name="TextBox 431">
                <a:extLst>
                  <a:ext uri="{FF2B5EF4-FFF2-40B4-BE49-F238E27FC236}">
                    <a16:creationId xmlns:a16="http://schemas.microsoft.com/office/drawing/2014/main" id="{187A8E5B-BD63-401F-BD31-DC8C834F52EB}"/>
                  </a:ext>
                </a:extLst>
              </p:cNvPr>
              <p:cNvSpPr txBox="1"/>
              <p:nvPr/>
            </p:nvSpPr>
            <p:spPr>
              <a:xfrm>
                <a:off x="754943" y="5198104"/>
                <a:ext cx="100905" cy="157758"/>
              </a:xfrm>
              <a:custGeom>
                <a:avLst/>
                <a:gdLst/>
                <a:ahLst/>
                <a:cxnLst/>
                <a:rect l="l" t="t" r="r" b="b"/>
                <a:pathLst>
                  <a:path w="100905" h="157758">
                    <a:moveTo>
                      <a:pt x="47625" y="0"/>
                    </a:moveTo>
                    <a:cubicBezTo>
                      <a:pt x="55066" y="0"/>
                      <a:pt x="62036" y="1017"/>
                      <a:pt x="68535" y="3051"/>
                    </a:cubicBezTo>
                    <a:cubicBezTo>
                      <a:pt x="75034" y="5085"/>
                      <a:pt x="80664" y="8086"/>
                      <a:pt x="85427" y="12055"/>
                    </a:cubicBezTo>
                    <a:cubicBezTo>
                      <a:pt x="90189" y="16024"/>
                      <a:pt x="93960" y="20910"/>
                      <a:pt x="96738" y="26714"/>
                    </a:cubicBezTo>
                    <a:cubicBezTo>
                      <a:pt x="99516" y="32519"/>
                      <a:pt x="100905" y="39241"/>
                      <a:pt x="100905" y="46881"/>
                    </a:cubicBezTo>
                    <a:cubicBezTo>
                      <a:pt x="100905" y="52437"/>
                      <a:pt x="100136" y="57547"/>
                      <a:pt x="98598" y="62210"/>
                    </a:cubicBezTo>
                    <a:cubicBezTo>
                      <a:pt x="97060" y="66873"/>
                      <a:pt x="95026" y="71189"/>
                      <a:pt x="92496" y="75158"/>
                    </a:cubicBezTo>
                    <a:cubicBezTo>
                      <a:pt x="89966" y="79127"/>
                      <a:pt x="87114" y="82847"/>
                      <a:pt x="83939" y="86320"/>
                    </a:cubicBezTo>
                    <a:cubicBezTo>
                      <a:pt x="80764" y="89793"/>
                      <a:pt x="77489" y="93117"/>
                      <a:pt x="74116" y="96292"/>
                    </a:cubicBezTo>
                    <a:cubicBezTo>
                      <a:pt x="69850" y="100360"/>
                      <a:pt x="66104" y="104006"/>
                      <a:pt x="62879" y="107230"/>
                    </a:cubicBezTo>
                    <a:cubicBezTo>
                      <a:pt x="59655" y="110455"/>
                      <a:pt x="56951" y="113556"/>
                      <a:pt x="54768" y="116532"/>
                    </a:cubicBezTo>
                    <a:cubicBezTo>
                      <a:pt x="52585" y="119509"/>
                      <a:pt x="50924" y="122535"/>
                      <a:pt x="49783" y="125611"/>
                    </a:cubicBezTo>
                    <a:cubicBezTo>
                      <a:pt x="48642" y="128687"/>
                      <a:pt x="48071" y="132110"/>
                      <a:pt x="48071" y="135880"/>
                    </a:cubicBezTo>
                    <a:cubicBezTo>
                      <a:pt x="48071" y="140444"/>
                      <a:pt x="48542" y="144586"/>
                      <a:pt x="49485" y="148307"/>
                    </a:cubicBezTo>
                    <a:cubicBezTo>
                      <a:pt x="50427" y="152028"/>
                      <a:pt x="51395" y="155178"/>
                      <a:pt x="52387" y="157758"/>
                    </a:cubicBezTo>
                    <a:lnTo>
                      <a:pt x="34379" y="157758"/>
                    </a:lnTo>
                    <a:cubicBezTo>
                      <a:pt x="33387" y="155178"/>
                      <a:pt x="32543" y="151879"/>
                      <a:pt x="31849" y="147861"/>
                    </a:cubicBezTo>
                    <a:cubicBezTo>
                      <a:pt x="31154" y="143842"/>
                      <a:pt x="30807" y="139799"/>
                      <a:pt x="30807" y="135731"/>
                    </a:cubicBezTo>
                    <a:cubicBezTo>
                      <a:pt x="30807" y="130671"/>
                      <a:pt x="31601" y="126082"/>
                      <a:pt x="33188" y="121964"/>
                    </a:cubicBezTo>
                    <a:cubicBezTo>
                      <a:pt x="34776" y="117847"/>
                      <a:pt x="36859" y="113953"/>
                      <a:pt x="39439" y="110281"/>
                    </a:cubicBezTo>
                    <a:cubicBezTo>
                      <a:pt x="42019" y="106610"/>
                      <a:pt x="45020" y="103088"/>
                      <a:pt x="48443" y="99715"/>
                    </a:cubicBezTo>
                    <a:cubicBezTo>
                      <a:pt x="51866" y="96341"/>
                      <a:pt x="55413" y="92918"/>
                      <a:pt x="59084" y="89446"/>
                    </a:cubicBezTo>
                    <a:cubicBezTo>
                      <a:pt x="62061" y="86667"/>
                      <a:pt x="64913" y="83840"/>
                      <a:pt x="67642" y="80962"/>
                    </a:cubicBezTo>
                    <a:cubicBezTo>
                      <a:pt x="70370" y="78085"/>
                      <a:pt x="72777" y="75009"/>
                      <a:pt x="74860" y="71735"/>
                    </a:cubicBezTo>
                    <a:cubicBezTo>
                      <a:pt x="76944" y="68461"/>
                      <a:pt x="78630" y="64963"/>
                      <a:pt x="79920" y="61243"/>
                    </a:cubicBezTo>
                    <a:cubicBezTo>
                      <a:pt x="81210" y="57522"/>
                      <a:pt x="81855" y="53528"/>
                      <a:pt x="81855" y="49262"/>
                    </a:cubicBezTo>
                    <a:cubicBezTo>
                      <a:pt x="81855" y="44103"/>
                      <a:pt x="80937" y="39539"/>
                      <a:pt x="79102" y="35570"/>
                    </a:cubicBezTo>
                    <a:cubicBezTo>
                      <a:pt x="77266" y="31601"/>
                      <a:pt x="74736" y="28252"/>
                      <a:pt x="71511" y="25524"/>
                    </a:cubicBezTo>
                    <a:cubicBezTo>
                      <a:pt x="68287" y="22795"/>
                      <a:pt x="64467" y="20712"/>
                      <a:pt x="60052" y="19273"/>
                    </a:cubicBezTo>
                    <a:cubicBezTo>
                      <a:pt x="55636" y="17834"/>
                      <a:pt x="50899" y="17115"/>
                      <a:pt x="45839" y="17115"/>
                    </a:cubicBezTo>
                    <a:cubicBezTo>
                      <a:pt x="36909" y="17115"/>
                      <a:pt x="28674" y="18727"/>
                      <a:pt x="21133" y="21952"/>
                    </a:cubicBezTo>
                    <a:cubicBezTo>
                      <a:pt x="13593" y="25177"/>
                      <a:pt x="6548" y="29914"/>
                      <a:pt x="0" y="36165"/>
                    </a:cubicBezTo>
                    <a:lnTo>
                      <a:pt x="0" y="15031"/>
                    </a:lnTo>
                    <a:cubicBezTo>
                      <a:pt x="7342" y="9971"/>
                      <a:pt x="14907" y="6201"/>
                      <a:pt x="22696" y="3721"/>
                    </a:cubicBezTo>
                    <a:cubicBezTo>
                      <a:pt x="30485" y="1240"/>
                      <a:pt x="38794" y="0"/>
                      <a:pt x="47625"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sp>
            <p:nvSpPr>
              <p:cNvPr id="433" name="TextBox 432">
                <a:extLst>
                  <a:ext uri="{FF2B5EF4-FFF2-40B4-BE49-F238E27FC236}">
                    <a16:creationId xmlns:a16="http://schemas.microsoft.com/office/drawing/2014/main" id="{7EAE430E-8612-4FCC-AE71-C4F6603E4E07}"/>
                  </a:ext>
                </a:extLst>
              </p:cNvPr>
              <p:cNvSpPr txBox="1"/>
              <p:nvPr/>
            </p:nvSpPr>
            <p:spPr>
              <a:xfrm>
                <a:off x="784411" y="5389348"/>
                <a:ext cx="28575" cy="28426"/>
              </a:xfrm>
              <a:custGeom>
                <a:avLst/>
                <a:gdLst/>
                <a:ahLst/>
                <a:cxnLst/>
                <a:rect l="l" t="t" r="r" b="b"/>
                <a:pathLst>
                  <a:path w="28575" h="28426">
                    <a:moveTo>
                      <a:pt x="14138" y="0"/>
                    </a:moveTo>
                    <a:cubicBezTo>
                      <a:pt x="16023" y="0"/>
                      <a:pt x="17834" y="347"/>
                      <a:pt x="19570" y="1042"/>
                    </a:cubicBezTo>
                    <a:cubicBezTo>
                      <a:pt x="21307" y="1736"/>
                      <a:pt x="22845" y="2728"/>
                      <a:pt x="24184" y="4018"/>
                    </a:cubicBezTo>
                    <a:cubicBezTo>
                      <a:pt x="25524" y="5308"/>
                      <a:pt x="26590" y="6821"/>
                      <a:pt x="27384" y="8558"/>
                    </a:cubicBezTo>
                    <a:cubicBezTo>
                      <a:pt x="28178" y="10294"/>
                      <a:pt x="28575" y="12204"/>
                      <a:pt x="28575" y="14287"/>
                    </a:cubicBezTo>
                    <a:cubicBezTo>
                      <a:pt x="28575" y="16272"/>
                      <a:pt x="28178" y="18132"/>
                      <a:pt x="27384" y="19869"/>
                    </a:cubicBezTo>
                    <a:cubicBezTo>
                      <a:pt x="26590" y="21605"/>
                      <a:pt x="25524" y="23118"/>
                      <a:pt x="24184" y="24408"/>
                    </a:cubicBezTo>
                    <a:cubicBezTo>
                      <a:pt x="22845" y="25698"/>
                      <a:pt x="21307" y="26690"/>
                      <a:pt x="19570" y="27384"/>
                    </a:cubicBezTo>
                    <a:cubicBezTo>
                      <a:pt x="17834" y="28079"/>
                      <a:pt x="16023" y="28426"/>
                      <a:pt x="14138" y="28426"/>
                    </a:cubicBezTo>
                    <a:cubicBezTo>
                      <a:pt x="12253" y="28426"/>
                      <a:pt x="10467" y="28079"/>
                      <a:pt x="8780" y="27384"/>
                    </a:cubicBezTo>
                    <a:cubicBezTo>
                      <a:pt x="7094" y="26690"/>
                      <a:pt x="5605" y="25698"/>
                      <a:pt x="4316" y="24408"/>
                    </a:cubicBezTo>
                    <a:cubicBezTo>
                      <a:pt x="3026" y="23118"/>
                      <a:pt x="1984" y="21605"/>
                      <a:pt x="1190" y="19869"/>
                    </a:cubicBezTo>
                    <a:cubicBezTo>
                      <a:pt x="396" y="18132"/>
                      <a:pt x="0" y="16272"/>
                      <a:pt x="0" y="14287"/>
                    </a:cubicBezTo>
                    <a:cubicBezTo>
                      <a:pt x="0" y="12204"/>
                      <a:pt x="372" y="10294"/>
                      <a:pt x="1116" y="8558"/>
                    </a:cubicBezTo>
                    <a:cubicBezTo>
                      <a:pt x="1860" y="6821"/>
                      <a:pt x="2877" y="5333"/>
                      <a:pt x="4167" y="4093"/>
                    </a:cubicBezTo>
                    <a:cubicBezTo>
                      <a:pt x="5457" y="2853"/>
                      <a:pt x="6970" y="1860"/>
                      <a:pt x="8706" y="1116"/>
                    </a:cubicBezTo>
                    <a:cubicBezTo>
                      <a:pt x="10442" y="372"/>
                      <a:pt x="12253" y="0"/>
                      <a:pt x="14138"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grpSp>
      </p:grpSp>
      <p:grpSp>
        <p:nvGrpSpPr>
          <p:cNvPr id="400" name="Group 399">
            <a:extLst>
              <a:ext uri="{FF2B5EF4-FFF2-40B4-BE49-F238E27FC236}">
                <a16:creationId xmlns:a16="http://schemas.microsoft.com/office/drawing/2014/main" id="{6A481C62-57F7-435A-9457-EBA7650A5A66}"/>
              </a:ext>
            </a:extLst>
          </p:cNvPr>
          <p:cNvGrpSpPr/>
          <p:nvPr/>
        </p:nvGrpSpPr>
        <p:grpSpPr>
          <a:xfrm>
            <a:off x="7817222" y="3641885"/>
            <a:ext cx="243080" cy="266828"/>
            <a:chOff x="-356679" y="5052570"/>
            <a:chExt cx="351600" cy="385950"/>
          </a:xfrm>
        </p:grpSpPr>
        <p:sp>
          <p:nvSpPr>
            <p:cNvPr id="426" name="Hexagon 425">
              <a:extLst>
                <a:ext uri="{FF2B5EF4-FFF2-40B4-BE49-F238E27FC236}">
                  <a16:creationId xmlns:a16="http://schemas.microsoft.com/office/drawing/2014/main" id="{DE18F5A0-EC12-4254-AD5E-6B95B0C63C20}"/>
                </a:ext>
              </a:extLst>
            </p:cNvPr>
            <p:cNvSpPr/>
            <p:nvPr/>
          </p:nvSpPr>
          <p:spPr bwMode="auto">
            <a:xfrm rot="16200000">
              <a:off x="-373854" y="5069745"/>
              <a:ext cx="385950" cy="351600"/>
            </a:xfrm>
            <a:prstGeom prst="hexagon">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27" name="Group 426">
              <a:extLst>
                <a:ext uri="{FF2B5EF4-FFF2-40B4-BE49-F238E27FC236}">
                  <a16:creationId xmlns:a16="http://schemas.microsoft.com/office/drawing/2014/main" id="{5EA8BD3E-4A22-4739-87AC-C1370C6E753E}"/>
                </a:ext>
              </a:extLst>
            </p:cNvPr>
            <p:cNvGrpSpPr/>
            <p:nvPr/>
          </p:nvGrpSpPr>
          <p:grpSpPr>
            <a:xfrm>
              <a:off x="-235657" y="5144764"/>
              <a:ext cx="100905" cy="219670"/>
              <a:chOff x="754943" y="5198104"/>
              <a:chExt cx="100905" cy="219670"/>
            </a:xfrm>
          </p:grpSpPr>
          <p:sp>
            <p:nvSpPr>
              <p:cNvPr id="428" name="TextBox 427">
                <a:extLst>
                  <a:ext uri="{FF2B5EF4-FFF2-40B4-BE49-F238E27FC236}">
                    <a16:creationId xmlns:a16="http://schemas.microsoft.com/office/drawing/2014/main" id="{3A9FDF19-F475-4AB0-8D6F-BCECC4E6A48E}"/>
                  </a:ext>
                </a:extLst>
              </p:cNvPr>
              <p:cNvSpPr txBox="1"/>
              <p:nvPr/>
            </p:nvSpPr>
            <p:spPr>
              <a:xfrm>
                <a:off x="754943" y="5198104"/>
                <a:ext cx="100905" cy="157758"/>
              </a:xfrm>
              <a:custGeom>
                <a:avLst/>
                <a:gdLst/>
                <a:ahLst/>
                <a:cxnLst/>
                <a:rect l="l" t="t" r="r" b="b"/>
                <a:pathLst>
                  <a:path w="100905" h="157758">
                    <a:moveTo>
                      <a:pt x="47625" y="0"/>
                    </a:moveTo>
                    <a:cubicBezTo>
                      <a:pt x="55066" y="0"/>
                      <a:pt x="62036" y="1017"/>
                      <a:pt x="68535" y="3051"/>
                    </a:cubicBezTo>
                    <a:cubicBezTo>
                      <a:pt x="75034" y="5085"/>
                      <a:pt x="80664" y="8086"/>
                      <a:pt x="85427" y="12055"/>
                    </a:cubicBezTo>
                    <a:cubicBezTo>
                      <a:pt x="90189" y="16024"/>
                      <a:pt x="93960" y="20910"/>
                      <a:pt x="96738" y="26714"/>
                    </a:cubicBezTo>
                    <a:cubicBezTo>
                      <a:pt x="99516" y="32519"/>
                      <a:pt x="100905" y="39241"/>
                      <a:pt x="100905" y="46881"/>
                    </a:cubicBezTo>
                    <a:cubicBezTo>
                      <a:pt x="100905" y="52437"/>
                      <a:pt x="100136" y="57547"/>
                      <a:pt x="98598" y="62210"/>
                    </a:cubicBezTo>
                    <a:cubicBezTo>
                      <a:pt x="97060" y="66873"/>
                      <a:pt x="95026" y="71189"/>
                      <a:pt x="92496" y="75158"/>
                    </a:cubicBezTo>
                    <a:cubicBezTo>
                      <a:pt x="89966" y="79127"/>
                      <a:pt x="87114" y="82847"/>
                      <a:pt x="83939" y="86320"/>
                    </a:cubicBezTo>
                    <a:cubicBezTo>
                      <a:pt x="80764" y="89793"/>
                      <a:pt x="77489" y="93117"/>
                      <a:pt x="74116" y="96292"/>
                    </a:cubicBezTo>
                    <a:cubicBezTo>
                      <a:pt x="69850" y="100360"/>
                      <a:pt x="66104" y="104006"/>
                      <a:pt x="62879" y="107230"/>
                    </a:cubicBezTo>
                    <a:cubicBezTo>
                      <a:pt x="59655" y="110455"/>
                      <a:pt x="56951" y="113556"/>
                      <a:pt x="54768" y="116532"/>
                    </a:cubicBezTo>
                    <a:cubicBezTo>
                      <a:pt x="52585" y="119509"/>
                      <a:pt x="50924" y="122535"/>
                      <a:pt x="49783" y="125611"/>
                    </a:cubicBezTo>
                    <a:cubicBezTo>
                      <a:pt x="48642" y="128687"/>
                      <a:pt x="48071" y="132110"/>
                      <a:pt x="48071" y="135880"/>
                    </a:cubicBezTo>
                    <a:cubicBezTo>
                      <a:pt x="48071" y="140444"/>
                      <a:pt x="48542" y="144586"/>
                      <a:pt x="49485" y="148307"/>
                    </a:cubicBezTo>
                    <a:cubicBezTo>
                      <a:pt x="50427" y="152028"/>
                      <a:pt x="51395" y="155178"/>
                      <a:pt x="52387" y="157758"/>
                    </a:cubicBezTo>
                    <a:lnTo>
                      <a:pt x="34379" y="157758"/>
                    </a:lnTo>
                    <a:cubicBezTo>
                      <a:pt x="33387" y="155178"/>
                      <a:pt x="32543" y="151879"/>
                      <a:pt x="31849" y="147861"/>
                    </a:cubicBezTo>
                    <a:cubicBezTo>
                      <a:pt x="31154" y="143842"/>
                      <a:pt x="30807" y="139799"/>
                      <a:pt x="30807" y="135731"/>
                    </a:cubicBezTo>
                    <a:cubicBezTo>
                      <a:pt x="30807" y="130671"/>
                      <a:pt x="31601" y="126082"/>
                      <a:pt x="33188" y="121964"/>
                    </a:cubicBezTo>
                    <a:cubicBezTo>
                      <a:pt x="34776" y="117847"/>
                      <a:pt x="36859" y="113953"/>
                      <a:pt x="39439" y="110281"/>
                    </a:cubicBezTo>
                    <a:cubicBezTo>
                      <a:pt x="42019" y="106610"/>
                      <a:pt x="45020" y="103088"/>
                      <a:pt x="48443" y="99715"/>
                    </a:cubicBezTo>
                    <a:cubicBezTo>
                      <a:pt x="51866" y="96341"/>
                      <a:pt x="55413" y="92918"/>
                      <a:pt x="59084" y="89446"/>
                    </a:cubicBezTo>
                    <a:cubicBezTo>
                      <a:pt x="62061" y="86667"/>
                      <a:pt x="64913" y="83840"/>
                      <a:pt x="67642" y="80962"/>
                    </a:cubicBezTo>
                    <a:cubicBezTo>
                      <a:pt x="70370" y="78085"/>
                      <a:pt x="72777" y="75009"/>
                      <a:pt x="74860" y="71735"/>
                    </a:cubicBezTo>
                    <a:cubicBezTo>
                      <a:pt x="76944" y="68461"/>
                      <a:pt x="78630" y="64963"/>
                      <a:pt x="79920" y="61243"/>
                    </a:cubicBezTo>
                    <a:cubicBezTo>
                      <a:pt x="81210" y="57522"/>
                      <a:pt x="81855" y="53528"/>
                      <a:pt x="81855" y="49262"/>
                    </a:cubicBezTo>
                    <a:cubicBezTo>
                      <a:pt x="81855" y="44103"/>
                      <a:pt x="80937" y="39539"/>
                      <a:pt x="79102" y="35570"/>
                    </a:cubicBezTo>
                    <a:cubicBezTo>
                      <a:pt x="77266" y="31601"/>
                      <a:pt x="74736" y="28252"/>
                      <a:pt x="71511" y="25524"/>
                    </a:cubicBezTo>
                    <a:cubicBezTo>
                      <a:pt x="68287" y="22795"/>
                      <a:pt x="64467" y="20712"/>
                      <a:pt x="60052" y="19273"/>
                    </a:cubicBezTo>
                    <a:cubicBezTo>
                      <a:pt x="55636" y="17834"/>
                      <a:pt x="50899" y="17115"/>
                      <a:pt x="45839" y="17115"/>
                    </a:cubicBezTo>
                    <a:cubicBezTo>
                      <a:pt x="36909" y="17115"/>
                      <a:pt x="28674" y="18727"/>
                      <a:pt x="21133" y="21952"/>
                    </a:cubicBezTo>
                    <a:cubicBezTo>
                      <a:pt x="13593" y="25177"/>
                      <a:pt x="6548" y="29914"/>
                      <a:pt x="0" y="36165"/>
                    </a:cubicBezTo>
                    <a:lnTo>
                      <a:pt x="0" y="15031"/>
                    </a:lnTo>
                    <a:cubicBezTo>
                      <a:pt x="7342" y="9971"/>
                      <a:pt x="14907" y="6201"/>
                      <a:pt x="22696" y="3721"/>
                    </a:cubicBezTo>
                    <a:cubicBezTo>
                      <a:pt x="30485" y="1240"/>
                      <a:pt x="38794" y="0"/>
                      <a:pt x="47625"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sp>
            <p:nvSpPr>
              <p:cNvPr id="429" name="TextBox 428">
                <a:extLst>
                  <a:ext uri="{FF2B5EF4-FFF2-40B4-BE49-F238E27FC236}">
                    <a16:creationId xmlns:a16="http://schemas.microsoft.com/office/drawing/2014/main" id="{62AC6850-FECC-4B44-93B2-550D07711AD4}"/>
                  </a:ext>
                </a:extLst>
              </p:cNvPr>
              <p:cNvSpPr txBox="1"/>
              <p:nvPr/>
            </p:nvSpPr>
            <p:spPr>
              <a:xfrm>
                <a:off x="784411" y="5389348"/>
                <a:ext cx="28575" cy="28426"/>
              </a:xfrm>
              <a:custGeom>
                <a:avLst/>
                <a:gdLst/>
                <a:ahLst/>
                <a:cxnLst/>
                <a:rect l="l" t="t" r="r" b="b"/>
                <a:pathLst>
                  <a:path w="28575" h="28426">
                    <a:moveTo>
                      <a:pt x="14138" y="0"/>
                    </a:moveTo>
                    <a:cubicBezTo>
                      <a:pt x="16023" y="0"/>
                      <a:pt x="17834" y="347"/>
                      <a:pt x="19570" y="1042"/>
                    </a:cubicBezTo>
                    <a:cubicBezTo>
                      <a:pt x="21307" y="1736"/>
                      <a:pt x="22845" y="2728"/>
                      <a:pt x="24184" y="4018"/>
                    </a:cubicBezTo>
                    <a:cubicBezTo>
                      <a:pt x="25524" y="5308"/>
                      <a:pt x="26590" y="6821"/>
                      <a:pt x="27384" y="8558"/>
                    </a:cubicBezTo>
                    <a:cubicBezTo>
                      <a:pt x="28178" y="10294"/>
                      <a:pt x="28575" y="12204"/>
                      <a:pt x="28575" y="14287"/>
                    </a:cubicBezTo>
                    <a:cubicBezTo>
                      <a:pt x="28575" y="16272"/>
                      <a:pt x="28178" y="18132"/>
                      <a:pt x="27384" y="19869"/>
                    </a:cubicBezTo>
                    <a:cubicBezTo>
                      <a:pt x="26590" y="21605"/>
                      <a:pt x="25524" y="23118"/>
                      <a:pt x="24184" y="24408"/>
                    </a:cubicBezTo>
                    <a:cubicBezTo>
                      <a:pt x="22845" y="25698"/>
                      <a:pt x="21307" y="26690"/>
                      <a:pt x="19570" y="27384"/>
                    </a:cubicBezTo>
                    <a:cubicBezTo>
                      <a:pt x="17834" y="28079"/>
                      <a:pt x="16023" y="28426"/>
                      <a:pt x="14138" y="28426"/>
                    </a:cubicBezTo>
                    <a:cubicBezTo>
                      <a:pt x="12253" y="28426"/>
                      <a:pt x="10467" y="28079"/>
                      <a:pt x="8780" y="27384"/>
                    </a:cubicBezTo>
                    <a:cubicBezTo>
                      <a:pt x="7094" y="26690"/>
                      <a:pt x="5605" y="25698"/>
                      <a:pt x="4316" y="24408"/>
                    </a:cubicBezTo>
                    <a:cubicBezTo>
                      <a:pt x="3026" y="23118"/>
                      <a:pt x="1984" y="21605"/>
                      <a:pt x="1190" y="19869"/>
                    </a:cubicBezTo>
                    <a:cubicBezTo>
                      <a:pt x="396" y="18132"/>
                      <a:pt x="0" y="16272"/>
                      <a:pt x="0" y="14287"/>
                    </a:cubicBezTo>
                    <a:cubicBezTo>
                      <a:pt x="0" y="12204"/>
                      <a:pt x="372" y="10294"/>
                      <a:pt x="1116" y="8558"/>
                    </a:cubicBezTo>
                    <a:cubicBezTo>
                      <a:pt x="1860" y="6821"/>
                      <a:pt x="2877" y="5333"/>
                      <a:pt x="4167" y="4093"/>
                    </a:cubicBezTo>
                    <a:cubicBezTo>
                      <a:pt x="5457" y="2853"/>
                      <a:pt x="6970" y="1860"/>
                      <a:pt x="8706" y="1116"/>
                    </a:cubicBezTo>
                    <a:cubicBezTo>
                      <a:pt x="10442" y="372"/>
                      <a:pt x="12253" y="0"/>
                      <a:pt x="14138"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grpSp>
      </p:grpSp>
      <p:grpSp>
        <p:nvGrpSpPr>
          <p:cNvPr id="401" name="Group 400">
            <a:extLst>
              <a:ext uri="{FF2B5EF4-FFF2-40B4-BE49-F238E27FC236}">
                <a16:creationId xmlns:a16="http://schemas.microsoft.com/office/drawing/2014/main" id="{8D2F695D-269F-46F4-A388-F6D5E0B40DAA}"/>
              </a:ext>
            </a:extLst>
          </p:cNvPr>
          <p:cNvGrpSpPr/>
          <p:nvPr/>
        </p:nvGrpSpPr>
        <p:grpSpPr>
          <a:xfrm>
            <a:off x="10346702" y="4598820"/>
            <a:ext cx="243080" cy="266828"/>
            <a:chOff x="-356679" y="5052570"/>
            <a:chExt cx="351600" cy="385950"/>
          </a:xfrm>
        </p:grpSpPr>
        <p:sp>
          <p:nvSpPr>
            <p:cNvPr id="422" name="Hexagon 421">
              <a:extLst>
                <a:ext uri="{FF2B5EF4-FFF2-40B4-BE49-F238E27FC236}">
                  <a16:creationId xmlns:a16="http://schemas.microsoft.com/office/drawing/2014/main" id="{DD3E6822-C72B-41D4-A3BB-467D86225CF7}"/>
                </a:ext>
              </a:extLst>
            </p:cNvPr>
            <p:cNvSpPr/>
            <p:nvPr/>
          </p:nvSpPr>
          <p:spPr bwMode="auto">
            <a:xfrm rot="16200000">
              <a:off x="-373854" y="5069745"/>
              <a:ext cx="385950" cy="351600"/>
            </a:xfrm>
            <a:prstGeom prst="hexagon">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23" name="Group 422">
              <a:extLst>
                <a:ext uri="{FF2B5EF4-FFF2-40B4-BE49-F238E27FC236}">
                  <a16:creationId xmlns:a16="http://schemas.microsoft.com/office/drawing/2014/main" id="{C0E570D7-E2CC-47B1-8EC9-9EE1E853F128}"/>
                </a:ext>
              </a:extLst>
            </p:cNvPr>
            <p:cNvGrpSpPr/>
            <p:nvPr/>
          </p:nvGrpSpPr>
          <p:grpSpPr>
            <a:xfrm>
              <a:off x="-235657" y="5144764"/>
              <a:ext cx="100905" cy="219670"/>
              <a:chOff x="754943" y="5198104"/>
              <a:chExt cx="100905" cy="219670"/>
            </a:xfrm>
          </p:grpSpPr>
          <p:sp>
            <p:nvSpPr>
              <p:cNvPr id="424" name="TextBox 423">
                <a:extLst>
                  <a:ext uri="{FF2B5EF4-FFF2-40B4-BE49-F238E27FC236}">
                    <a16:creationId xmlns:a16="http://schemas.microsoft.com/office/drawing/2014/main" id="{3FAA7A5D-0623-4671-8B39-197A290DEEC6}"/>
                  </a:ext>
                </a:extLst>
              </p:cNvPr>
              <p:cNvSpPr txBox="1"/>
              <p:nvPr/>
            </p:nvSpPr>
            <p:spPr>
              <a:xfrm>
                <a:off x="754943" y="5198104"/>
                <a:ext cx="100905" cy="157758"/>
              </a:xfrm>
              <a:custGeom>
                <a:avLst/>
                <a:gdLst/>
                <a:ahLst/>
                <a:cxnLst/>
                <a:rect l="l" t="t" r="r" b="b"/>
                <a:pathLst>
                  <a:path w="100905" h="157758">
                    <a:moveTo>
                      <a:pt x="47625" y="0"/>
                    </a:moveTo>
                    <a:cubicBezTo>
                      <a:pt x="55066" y="0"/>
                      <a:pt x="62036" y="1017"/>
                      <a:pt x="68535" y="3051"/>
                    </a:cubicBezTo>
                    <a:cubicBezTo>
                      <a:pt x="75034" y="5085"/>
                      <a:pt x="80664" y="8086"/>
                      <a:pt x="85427" y="12055"/>
                    </a:cubicBezTo>
                    <a:cubicBezTo>
                      <a:pt x="90189" y="16024"/>
                      <a:pt x="93960" y="20910"/>
                      <a:pt x="96738" y="26714"/>
                    </a:cubicBezTo>
                    <a:cubicBezTo>
                      <a:pt x="99516" y="32519"/>
                      <a:pt x="100905" y="39241"/>
                      <a:pt x="100905" y="46881"/>
                    </a:cubicBezTo>
                    <a:cubicBezTo>
                      <a:pt x="100905" y="52437"/>
                      <a:pt x="100136" y="57547"/>
                      <a:pt x="98598" y="62210"/>
                    </a:cubicBezTo>
                    <a:cubicBezTo>
                      <a:pt x="97060" y="66873"/>
                      <a:pt x="95026" y="71189"/>
                      <a:pt x="92496" y="75158"/>
                    </a:cubicBezTo>
                    <a:cubicBezTo>
                      <a:pt x="89966" y="79127"/>
                      <a:pt x="87114" y="82847"/>
                      <a:pt x="83939" y="86320"/>
                    </a:cubicBezTo>
                    <a:cubicBezTo>
                      <a:pt x="80764" y="89793"/>
                      <a:pt x="77489" y="93117"/>
                      <a:pt x="74116" y="96292"/>
                    </a:cubicBezTo>
                    <a:cubicBezTo>
                      <a:pt x="69850" y="100360"/>
                      <a:pt x="66104" y="104006"/>
                      <a:pt x="62879" y="107230"/>
                    </a:cubicBezTo>
                    <a:cubicBezTo>
                      <a:pt x="59655" y="110455"/>
                      <a:pt x="56951" y="113556"/>
                      <a:pt x="54768" y="116532"/>
                    </a:cubicBezTo>
                    <a:cubicBezTo>
                      <a:pt x="52585" y="119509"/>
                      <a:pt x="50924" y="122535"/>
                      <a:pt x="49783" y="125611"/>
                    </a:cubicBezTo>
                    <a:cubicBezTo>
                      <a:pt x="48642" y="128687"/>
                      <a:pt x="48071" y="132110"/>
                      <a:pt x="48071" y="135880"/>
                    </a:cubicBezTo>
                    <a:cubicBezTo>
                      <a:pt x="48071" y="140444"/>
                      <a:pt x="48542" y="144586"/>
                      <a:pt x="49485" y="148307"/>
                    </a:cubicBezTo>
                    <a:cubicBezTo>
                      <a:pt x="50427" y="152028"/>
                      <a:pt x="51395" y="155178"/>
                      <a:pt x="52387" y="157758"/>
                    </a:cubicBezTo>
                    <a:lnTo>
                      <a:pt x="34379" y="157758"/>
                    </a:lnTo>
                    <a:cubicBezTo>
                      <a:pt x="33387" y="155178"/>
                      <a:pt x="32543" y="151879"/>
                      <a:pt x="31849" y="147861"/>
                    </a:cubicBezTo>
                    <a:cubicBezTo>
                      <a:pt x="31154" y="143842"/>
                      <a:pt x="30807" y="139799"/>
                      <a:pt x="30807" y="135731"/>
                    </a:cubicBezTo>
                    <a:cubicBezTo>
                      <a:pt x="30807" y="130671"/>
                      <a:pt x="31601" y="126082"/>
                      <a:pt x="33188" y="121964"/>
                    </a:cubicBezTo>
                    <a:cubicBezTo>
                      <a:pt x="34776" y="117847"/>
                      <a:pt x="36859" y="113953"/>
                      <a:pt x="39439" y="110281"/>
                    </a:cubicBezTo>
                    <a:cubicBezTo>
                      <a:pt x="42019" y="106610"/>
                      <a:pt x="45020" y="103088"/>
                      <a:pt x="48443" y="99715"/>
                    </a:cubicBezTo>
                    <a:cubicBezTo>
                      <a:pt x="51866" y="96341"/>
                      <a:pt x="55413" y="92918"/>
                      <a:pt x="59084" y="89446"/>
                    </a:cubicBezTo>
                    <a:cubicBezTo>
                      <a:pt x="62061" y="86667"/>
                      <a:pt x="64913" y="83840"/>
                      <a:pt x="67642" y="80962"/>
                    </a:cubicBezTo>
                    <a:cubicBezTo>
                      <a:pt x="70370" y="78085"/>
                      <a:pt x="72777" y="75009"/>
                      <a:pt x="74860" y="71735"/>
                    </a:cubicBezTo>
                    <a:cubicBezTo>
                      <a:pt x="76944" y="68461"/>
                      <a:pt x="78630" y="64963"/>
                      <a:pt x="79920" y="61243"/>
                    </a:cubicBezTo>
                    <a:cubicBezTo>
                      <a:pt x="81210" y="57522"/>
                      <a:pt x="81855" y="53528"/>
                      <a:pt x="81855" y="49262"/>
                    </a:cubicBezTo>
                    <a:cubicBezTo>
                      <a:pt x="81855" y="44103"/>
                      <a:pt x="80937" y="39539"/>
                      <a:pt x="79102" y="35570"/>
                    </a:cubicBezTo>
                    <a:cubicBezTo>
                      <a:pt x="77266" y="31601"/>
                      <a:pt x="74736" y="28252"/>
                      <a:pt x="71511" y="25524"/>
                    </a:cubicBezTo>
                    <a:cubicBezTo>
                      <a:pt x="68287" y="22795"/>
                      <a:pt x="64467" y="20712"/>
                      <a:pt x="60052" y="19273"/>
                    </a:cubicBezTo>
                    <a:cubicBezTo>
                      <a:pt x="55636" y="17834"/>
                      <a:pt x="50899" y="17115"/>
                      <a:pt x="45839" y="17115"/>
                    </a:cubicBezTo>
                    <a:cubicBezTo>
                      <a:pt x="36909" y="17115"/>
                      <a:pt x="28674" y="18727"/>
                      <a:pt x="21133" y="21952"/>
                    </a:cubicBezTo>
                    <a:cubicBezTo>
                      <a:pt x="13593" y="25177"/>
                      <a:pt x="6548" y="29914"/>
                      <a:pt x="0" y="36165"/>
                    </a:cubicBezTo>
                    <a:lnTo>
                      <a:pt x="0" y="15031"/>
                    </a:lnTo>
                    <a:cubicBezTo>
                      <a:pt x="7342" y="9971"/>
                      <a:pt x="14907" y="6201"/>
                      <a:pt x="22696" y="3721"/>
                    </a:cubicBezTo>
                    <a:cubicBezTo>
                      <a:pt x="30485" y="1240"/>
                      <a:pt x="38794" y="0"/>
                      <a:pt x="47625"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sp>
            <p:nvSpPr>
              <p:cNvPr id="425" name="TextBox 424">
                <a:extLst>
                  <a:ext uri="{FF2B5EF4-FFF2-40B4-BE49-F238E27FC236}">
                    <a16:creationId xmlns:a16="http://schemas.microsoft.com/office/drawing/2014/main" id="{950D7ABA-1ED0-4EBC-BAFB-82F1C3349FFC}"/>
                  </a:ext>
                </a:extLst>
              </p:cNvPr>
              <p:cNvSpPr txBox="1"/>
              <p:nvPr/>
            </p:nvSpPr>
            <p:spPr>
              <a:xfrm>
                <a:off x="784411" y="5389348"/>
                <a:ext cx="28575" cy="28426"/>
              </a:xfrm>
              <a:custGeom>
                <a:avLst/>
                <a:gdLst/>
                <a:ahLst/>
                <a:cxnLst/>
                <a:rect l="l" t="t" r="r" b="b"/>
                <a:pathLst>
                  <a:path w="28575" h="28426">
                    <a:moveTo>
                      <a:pt x="14138" y="0"/>
                    </a:moveTo>
                    <a:cubicBezTo>
                      <a:pt x="16023" y="0"/>
                      <a:pt x="17834" y="347"/>
                      <a:pt x="19570" y="1042"/>
                    </a:cubicBezTo>
                    <a:cubicBezTo>
                      <a:pt x="21307" y="1736"/>
                      <a:pt x="22845" y="2728"/>
                      <a:pt x="24184" y="4018"/>
                    </a:cubicBezTo>
                    <a:cubicBezTo>
                      <a:pt x="25524" y="5308"/>
                      <a:pt x="26590" y="6821"/>
                      <a:pt x="27384" y="8558"/>
                    </a:cubicBezTo>
                    <a:cubicBezTo>
                      <a:pt x="28178" y="10294"/>
                      <a:pt x="28575" y="12204"/>
                      <a:pt x="28575" y="14287"/>
                    </a:cubicBezTo>
                    <a:cubicBezTo>
                      <a:pt x="28575" y="16272"/>
                      <a:pt x="28178" y="18132"/>
                      <a:pt x="27384" y="19869"/>
                    </a:cubicBezTo>
                    <a:cubicBezTo>
                      <a:pt x="26590" y="21605"/>
                      <a:pt x="25524" y="23118"/>
                      <a:pt x="24184" y="24408"/>
                    </a:cubicBezTo>
                    <a:cubicBezTo>
                      <a:pt x="22845" y="25698"/>
                      <a:pt x="21307" y="26690"/>
                      <a:pt x="19570" y="27384"/>
                    </a:cubicBezTo>
                    <a:cubicBezTo>
                      <a:pt x="17834" y="28079"/>
                      <a:pt x="16023" y="28426"/>
                      <a:pt x="14138" y="28426"/>
                    </a:cubicBezTo>
                    <a:cubicBezTo>
                      <a:pt x="12253" y="28426"/>
                      <a:pt x="10467" y="28079"/>
                      <a:pt x="8780" y="27384"/>
                    </a:cubicBezTo>
                    <a:cubicBezTo>
                      <a:pt x="7094" y="26690"/>
                      <a:pt x="5605" y="25698"/>
                      <a:pt x="4316" y="24408"/>
                    </a:cubicBezTo>
                    <a:cubicBezTo>
                      <a:pt x="3026" y="23118"/>
                      <a:pt x="1984" y="21605"/>
                      <a:pt x="1190" y="19869"/>
                    </a:cubicBezTo>
                    <a:cubicBezTo>
                      <a:pt x="396" y="18132"/>
                      <a:pt x="0" y="16272"/>
                      <a:pt x="0" y="14287"/>
                    </a:cubicBezTo>
                    <a:cubicBezTo>
                      <a:pt x="0" y="12204"/>
                      <a:pt x="372" y="10294"/>
                      <a:pt x="1116" y="8558"/>
                    </a:cubicBezTo>
                    <a:cubicBezTo>
                      <a:pt x="1860" y="6821"/>
                      <a:pt x="2877" y="5333"/>
                      <a:pt x="4167" y="4093"/>
                    </a:cubicBezTo>
                    <a:cubicBezTo>
                      <a:pt x="5457" y="2853"/>
                      <a:pt x="6970" y="1860"/>
                      <a:pt x="8706" y="1116"/>
                    </a:cubicBezTo>
                    <a:cubicBezTo>
                      <a:pt x="10442" y="372"/>
                      <a:pt x="12253" y="0"/>
                      <a:pt x="14138"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grpSp>
      </p:grpSp>
      <p:grpSp>
        <p:nvGrpSpPr>
          <p:cNvPr id="402" name="Group 401">
            <a:extLst>
              <a:ext uri="{FF2B5EF4-FFF2-40B4-BE49-F238E27FC236}">
                <a16:creationId xmlns:a16="http://schemas.microsoft.com/office/drawing/2014/main" id="{E95046EC-D4D8-469C-8E5E-B0E76272DDC1}"/>
              </a:ext>
            </a:extLst>
          </p:cNvPr>
          <p:cNvGrpSpPr/>
          <p:nvPr/>
        </p:nvGrpSpPr>
        <p:grpSpPr>
          <a:xfrm>
            <a:off x="5153648" y="3367604"/>
            <a:ext cx="243080" cy="266828"/>
            <a:chOff x="-356679" y="5052570"/>
            <a:chExt cx="351600" cy="385950"/>
          </a:xfrm>
        </p:grpSpPr>
        <p:sp>
          <p:nvSpPr>
            <p:cNvPr id="418" name="Hexagon 417">
              <a:extLst>
                <a:ext uri="{FF2B5EF4-FFF2-40B4-BE49-F238E27FC236}">
                  <a16:creationId xmlns:a16="http://schemas.microsoft.com/office/drawing/2014/main" id="{55AFD957-BA19-417F-A697-A981FA6853AC}"/>
                </a:ext>
              </a:extLst>
            </p:cNvPr>
            <p:cNvSpPr/>
            <p:nvPr/>
          </p:nvSpPr>
          <p:spPr bwMode="auto">
            <a:xfrm rot="16200000">
              <a:off x="-373854" y="5069745"/>
              <a:ext cx="385950" cy="351600"/>
            </a:xfrm>
            <a:prstGeom prst="hexagon">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19" name="Group 418">
              <a:extLst>
                <a:ext uri="{FF2B5EF4-FFF2-40B4-BE49-F238E27FC236}">
                  <a16:creationId xmlns:a16="http://schemas.microsoft.com/office/drawing/2014/main" id="{6127279B-D4B0-4D22-AADC-0C153990AF20}"/>
                </a:ext>
              </a:extLst>
            </p:cNvPr>
            <p:cNvGrpSpPr/>
            <p:nvPr/>
          </p:nvGrpSpPr>
          <p:grpSpPr>
            <a:xfrm>
              <a:off x="-235657" y="5144764"/>
              <a:ext cx="100905" cy="219670"/>
              <a:chOff x="754943" y="5198104"/>
              <a:chExt cx="100905" cy="219670"/>
            </a:xfrm>
          </p:grpSpPr>
          <p:sp>
            <p:nvSpPr>
              <p:cNvPr id="420" name="TextBox 419">
                <a:extLst>
                  <a:ext uri="{FF2B5EF4-FFF2-40B4-BE49-F238E27FC236}">
                    <a16:creationId xmlns:a16="http://schemas.microsoft.com/office/drawing/2014/main" id="{8F85BCEF-DE50-4E26-9937-4AC9E6CC5E71}"/>
                  </a:ext>
                </a:extLst>
              </p:cNvPr>
              <p:cNvSpPr txBox="1"/>
              <p:nvPr/>
            </p:nvSpPr>
            <p:spPr>
              <a:xfrm>
                <a:off x="754943" y="5198104"/>
                <a:ext cx="100905" cy="157758"/>
              </a:xfrm>
              <a:custGeom>
                <a:avLst/>
                <a:gdLst/>
                <a:ahLst/>
                <a:cxnLst/>
                <a:rect l="l" t="t" r="r" b="b"/>
                <a:pathLst>
                  <a:path w="100905" h="157758">
                    <a:moveTo>
                      <a:pt x="47625" y="0"/>
                    </a:moveTo>
                    <a:cubicBezTo>
                      <a:pt x="55066" y="0"/>
                      <a:pt x="62036" y="1017"/>
                      <a:pt x="68535" y="3051"/>
                    </a:cubicBezTo>
                    <a:cubicBezTo>
                      <a:pt x="75034" y="5085"/>
                      <a:pt x="80664" y="8086"/>
                      <a:pt x="85427" y="12055"/>
                    </a:cubicBezTo>
                    <a:cubicBezTo>
                      <a:pt x="90189" y="16024"/>
                      <a:pt x="93960" y="20910"/>
                      <a:pt x="96738" y="26714"/>
                    </a:cubicBezTo>
                    <a:cubicBezTo>
                      <a:pt x="99516" y="32519"/>
                      <a:pt x="100905" y="39241"/>
                      <a:pt x="100905" y="46881"/>
                    </a:cubicBezTo>
                    <a:cubicBezTo>
                      <a:pt x="100905" y="52437"/>
                      <a:pt x="100136" y="57547"/>
                      <a:pt x="98598" y="62210"/>
                    </a:cubicBezTo>
                    <a:cubicBezTo>
                      <a:pt x="97060" y="66873"/>
                      <a:pt x="95026" y="71189"/>
                      <a:pt x="92496" y="75158"/>
                    </a:cubicBezTo>
                    <a:cubicBezTo>
                      <a:pt x="89966" y="79127"/>
                      <a:pt x="87114" y="82847"/>
                      <a:pt x="83939" y="86320"/>
                    </a:cubicBezTo>
                    <a:cubicBezTo>
                      <a:pt x="80764" y="89793"/>
                      <a:pt x="77489" y="93117"/>
                      <a:pt x="74116" y="96292"/>
                    </a:cubicBezTo>
                    <a:cubicBezTo>
                      <a:pt x="69850" y="100360"/>
                      <a:pt x="66104" y="104006"/>
                      <a:pt x="62879" y="107230"/>
                    </a:cubicBezTo>
                    <a:cubicBezTo>
                      <a:pt x="59655" y="110455"/>
                      <a:pt x="56951" y="113556"/>
                      <a:pt x="54768" y="116532"/>
                    </a:cubicBezTo>
                    <a:cubicBezTo>
                      <a:pt x="52585" y="119509"/>
                      <a:pt x="50924" y="122535"/>
                      <a:pt x="49783" y="125611"/>
                    </a:cubicBezTo>
                    <a:cubicBezTo>
                      <a:pt x="48642" y="128687"/>
                      <a:pt x="48071" y="132110"/>
                      <a:pt x="48071" y="135880"/>
                    </a:cubicBezTo>
                    <a:cubicBezTo>
                      <a:pt x="48071" y="140444"/>
                      <a:pt x="48542" y="144586"/>
                      <a:pt x="49485" y="148307"/>
                    </a:cubicBezTo>
                    <a:cubicBezTo>
                      <a:pt x="50427" y="152028"/>
                      <a:pt x="51395" y="155178"/>
                      <a:pt x="52387" y="157758"/>
                    </a:cubicBezTo>
                    <a:lnTo>
                      <a:pt x="34379" y="157758"/>
                    </a:lnTo>
                    <a:cubicBezTo>
                      <a:pt x="33387" y="155178"/>
                      <a:pt x="32543" y="151879"/>
                      <a:pt x="31849" y="147861"/>
                    </a:cubicBezTo>
                    <a:cubicBezTo>
                      <a:pt x="31154" y="143842"/>
                      <a:pt x="30807" y="139799"/>
                      <a:pt x="30807" y="135731"/>
                    </a:cubicBezTo>
                    <a:cubicBezTo>
                      <a:pt x="30807" y="130671"/>
                      <a:pt x="31601" y="126082"/>
                      <a:pt x="33188" y="121964"/>
                    </a:cubicBezTo>
                    <a:cubicBezTo>
                      <a:pt x="34776" y="117847"/>
                      <a:pt x="36859" y="113953"/>
                      <a:pt x="39439" y="110281"/>
                    </a:cubicBezTo>
                    <a:cubicBezTo>
                      <a:pt x="42019" y="106610"/>
                      <a:pt x="45020" y="103088"/>
                      <a:pt x="48443" y="99715"/>
                    </a:cubicBezTo>
                    <a:cubicBezTo>
                      <a:pt x="51866" y="96341"/>
                      <a:pt x="55413" y="92918"/>
                      <a:pt x="59084" y="89446"/>
                    </a:cubicBezTo>
                    <a:cubicBezTo>
                      <a:pt x="62061" y="86667"/>
                      <a:pt x="64913" y="83840"/>
                      <a:pt x="67642" y="80962"/>
                    </a:cubicBezTo>
                    <a:cubicBezTo>
                      <a:pt x="70370" y="78085"/>
                      <a:pt x="72777" y="75009"/>
                      <a:pt x="74860" y="71735"/>
                    </a:cubicBezTo>
                    <a:cubicBezTo>
                      <a:pt x="76944" y="68461"/>
                      <a:pt x="78630" y="64963"/>
                      <a:pt x="79920" y="61243"/>
                    </a:cubicBezTo>
                    <a:cubicBezTo>
                      <a:pt x="81210" y="57522"/>
                      <a:pt x="81855" y="53528"/>
                      <a:pt x="81855" y="49262"/>
                    </a:cubicBezTo>
                    <a:cubicBezTo>
                      <a:pt x="81855" y="44103"/>
                      <a:pt x="80937" y="39539"/>
                      <a:pt x="79102" y="35570"/>
                    </a:cubicBezTo>
                    <a:cubicBezTo>
                      <a:pt x="77266" y="31601"/>
                      <a:pt x="74736" y="28252"/>
                      <a:pt x="71511" y="25524"/>
                    </a:cubicBezTo>
                    <a:cubicBezTo>
                      <a:pt x="68287" y="22795"/>
                      <a:pt x="64467" y="20712"/>
                      <a:pt x="60052" y="19273"/>
                    </a:cubicBezTo>
                    <a:cubicBezTo>
                      <a:pt x="55636" y="17834"/>
                      <a:pt x="50899" y="17115"/>
                      <a:pt x="45839" y="17115"/>
                    </a:cubicBezTo>
                    <a:cubicBezTo>
                      <a:pt x="36909" y="17115"/>
                      <a:pt x="28674" y="18727"/>
                      <a:pt x="21133" y="21952"/>
                    </a:cubicBezTo>
                    <a:cubicBezTo>
                      <a:pt x="13593" y="25177"/>
                      <a:pt x="6548" y="29914"/>
                      <a:pt x="0" y="36165"/>
                    </a:cubicBezTo>
                    <a:lnTo>
                      <a:pt x="0" y="15031"/>
                    </a:lnTo>
                    <a:cubicBezTo>
                      <a:pt x="7342" y="9971"/>
                      <a:pt x="14907" y="6201"/>
                      <a:pt x="22696" y="3721"/>
                    </a:cubicBezTo>
                    <a:cubicBezTo>
                      <a:pt x="30485" y="1240"/>
                      <a:pt x="38794" y="0"/>
                      <a:pt x="47625"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sp>
            <p:nvSpPr>
              <p:cNvPr id="421" name="TextBox 420">
                <a:extLst>
                  <a:ext uri="{FF2B5EF4-FFF2-40B4-BE49-F238E27FC236}">
                    <a16:creationId xmlns:a16="http://schemas.microsoft.com/office/drawing/2014/main" id="{E12474D2-607A-42AA-9828-6779597C80EC}"/>
                  </a:ext>
                </a:extLst>
              </p:cNvPr>
              <p:cNvSpPr txBox="1"/>
              <p:nvPr/>
            </p:nvSpPr>
            <p:spPr>
              <a:xfrm>
                <a:off x="784411" y="5389348"/>
                <a:ext cx="28575" cy="28426"/>
              </a:xfrm>
              <a:custGeom>
                <a:avLst/>
                <a:gdLst/>
                <a:ahLst/>
                <a:cxnLst/>
                <a:rect l="l" t="t" r="r" b="b"/>
                <a:pathLst>
                  <a:path w="28575" h="28426">
                    <a:moveTo>
                      <a:pt x="14138" y="0"/>
                    </a:moveTo>
                    <a:cubicBezTo>
                      <a:pt x="16023" y="0"/>
                      <a:pt x="17834" y="347"/>
                      <a:pt x="19570" y="1042"/>
                    </a:cubicBezTo>
                    <a:cubicBezTo>
                      <a:pt x="21307" y="1736"/>
                      <a:pt x="22845" y="2728"/>
                      <a:pt x="24184" y="4018"/>
                    </a:cubicBezTo>
                    <a:cubicBezTo>
                      <a:pt x="25524" y="5308"/>
                      <a:pt x="26590" y="6821"/>
                      <a:pt x="27384" y="8558"/>
                    </a:cubicBezTo>
                    <a:cubicBezTo>
                      <a:pt x="28178" y="10294"/>
                      <a:pt x="28575" y="12204"/>
                      <a:pt x="28575" y="14287"/>
                    </a:cubicBezTo>
                    <a:cubicBezTo>
                      <a:pt x="28575" y="16272"/>
                      <a:pt x="28178" y="18132"/>
                      <a:pt x="27384" y="19869"/>
                    </a:cubicBezTo>
                    <a:cubicBezTo>
                      <a:pt x="26590" y="21605"/>
                      <a:pt x="25524" y="23118"/>
                      <a:pt x="24184" y="24408"/>
                    </a:cubicBezTo>
                    <a:cubicBezTo>
                      <a:pt x="22845" y="25698"/>
                      <a:pt x="21307" y="26690"/>
                      <a:pt x="19570" y="27384"/>
                    </a:cubicBezTo>
                    <a:cubicBezTo>
                      <a:pt x="17834" y="28079"/>
                      <a:pt x="16023" y="28426"/>
                      <a:pt x="14138" y="28426"/>
                    </a:cubicBezTo>
                    <a:cubicBezTo>
                      <a:pt x="12253" y="28426"/>
                      <a:pt x="10467" y="28079"/>
                      <a:pt x="8780" y="27384"/>
                    </a:cubicBezTo>
                    <a:cubicBezTo>
                      <a:pt x="7094" y="26690"/>
                      <a:pt x="5605" y="25698"/>
                      <a:pt x="4316" y="24408"/>
                    </a:cubicBezTo>
                    <a:cubicBezTo>
                      <a:pt x="3026" y="23118"/>
                      <a:pt x="1984" y="21605"/>
                      <a:pt x="1190" y="19869"/>
                    </a:cubicBezTo>
                    <a:cubicBezTo>
                      <a:pt x="396" y="18132"/>
                      <a:pt x="0" y="16272"/>
                      <a:pt x="0" y="14287"/>
                    </a:cubicBezTo>
                    <a:cubicBezTo>
                      <a:pt x="0" y="12204"/>
                      <a:pt x="372" y="10294"/>
                      <a:pt x="1116" y="8558"/>
                    </a:cubicBezTo>
                    <a:cubicBezTo>
                      <a:pt x="1860" y="6821"/>
                      <a:pt x="2877" y="5333"/>
                      <a:pt x="4167" y="4093"/>
                    </a:cubicBezTo>
                    <a:cubicBezTo>
                      <a:pt x="5457" y="2853"/>
                      <a:pt x="6970" y="1860"/>
                      <a:pt x="8706" y="1116"/>
                    </a:cubicBezTo>
                    <a:cubicBezTo>
                      <a:pt x="10442" y="372"/>
                      <a:pt x="12253" y="0"/>
                      <a:pt x="14138"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grpSp>
      </p:grpSp>
      <p:grpSp>
        <p:nvGrpSpPr>
          <p:cNvPr id="403" name="Group 402">
            <a:extLst>
              <a:ext uri="{FF2B5EF4-FFF2-40B4-BE49-F238E27FC236}">
                <a16:creationId xmlns:a16="http://schemas.microsoft.com/office/drawing/2014/main" id="{637C75FC-AC62-4C6E-8D87-64A4A58DD452}"/>
              </a:ext>
            </a:extLst>
          </p:cNvPr>
          <p:cNvGrpSpPr/>
          <p:nvPr/>
        </p:nvGrpSpPr>
        <p:grpSpPr>
          <a:xfrm>
            <a:off x="2126397" y="3205066"/>
            <a:ext cx="243080" cy="266828"/>
            <a:chOff x="-356679" y="5052570"/>
            <a:chExt cx="351600" cy="385950"/>
          </a:xfrm>
        </p:grpSpPr>
        <p:sp>
          <p:nvSpPr>
            <p:cNvPr id="414" name="Hexagon 413">
              <a:extLst>
                <a:ext uri="{FF2B5EF4-FFF2-40B4-BE49-F238E27FC236}">
                  <a16:creationId xmlns:a16="http://schemas.microsoft.com/office/drawing/2014/main" id="{C946A87B-38EB-4BFB-B350-A9ADEE188D88}"/>
                </a:ext>
              </a:extLst>
            </p:cNvPr>
            <p:cNvSpPr/>
            <p:nvPr/>
          </p:nvSpPr>
          <p:spPr bwMode="auto">
            <a:xfrm rot="16200000">
              <a:off x="-373854" y="5069745"/>
              <a:ext cx="385950" cy="351600"/>
            </a:xfrm>
            <a:prstGeom prst="hexagon">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15" name="Group 414">
              <a:extLst>
                <a:ext uri="{FF2B5EF4-FFF2-40B4-BE49-F238E27FC236}">
                  <a16:creationId xmlns:a16="http://schemas.microsoft.com/office/drawing/2014/main" id="{570B6566-D915-4E5F-AFFE-25D130543C59}"/>
                </a:ext>
              </a:extLst>
            </p:cNvPr>
            <p:cNvGrpSpPr/>
            <p:nvPr/>
          </p:nvGrpSpPr>
          <p:grpSpPr>
            <a:xfrm>
              <a:off x="-235657" y="5144764"/>
              <a:ext cx="100905" cy="219670"/>
              <a:chOff x="754943" y="5198104"/>
              <a:chExt cx="100905" cy="219670"/>
            </a:xfrm>
          </p:grpSpPr>
          <p:sp>
            <p:nvSpPr>
              <p:cNvPr id="416" name="TextBox 415">
                <a:extLst>
                  <a:ext uri="{FF2B5EF4-FFF2-40B4-BE49-F238E27FC236}">
                    <a16:creationId xmlns:a16="http://schemas.microsoft.com/office/drawing/2014/main" id="{E624F6C4-383B-40E5-A3E7-61F02D93E333}"/>
                  </a:ext>
                </a:extLst>
              </p:cNvPr>
              <p:cNvSpPr txBox="1"/>
              <p:nvPr/>
            </p:nvSpPr>
            <p:spPr>
              <a:xfrm>
                <a:off x="754943" y="5198104"/>
                <a:ext cx="100905" cy="157758"/>
              </a:xfrm>
              <a:custGeom>
                <a:avLst/>
                <a:gdLst/>
                <a:ahLst/>
                <a:cxnLst/>
                <a:rect l="l" t="t" r="r" b="b"/>
                <a:pathLst>
                  <a:path w="100905" h="157758">
                    <a:moveTo>
                      <a:pt x="47625" y="0"/>
                    </a:moveTo>
                    <a:cubicBezTo>
                      <a:pt x="55066" y="0"/>
                      <a:pt x="62036" y="1017"/>
                      <a:pt x="68535" y="3051"/>
                    </a:cubicBezTo>
                    <a:cubicBezTo>
                      <a:pt x="75034" y="5085"/>
                      <a:pt x="80664" y="8086"/>
                      <a:pt x="85427" y="12055"/>
                    </a:cubicBezTo>
                    <a:cubicBezTo>
                      <a:pt x="90189" y="16024"/>
                      <a:pt x="93960" y="20910"/>
                      <a:pt x="96738" y="26714"/>
                    </a:cubicBezTo>
                    <a:cubicBezTo>
                      <a:pt x="99516" y="32519"/>
                      <a:pt x="100905" y="39241"/>
                      <a:pt x="100905" y="46881"/>
                    </a:cubicBezTo>
                    <a:cubicBezTo>
                      <a:pt x="100905" y="52437"/>
                      <a:pt x="100136" y="57547"/>
                      <a:pt x="98598" y="62210"/>
                    </a:cubicBezTo>
                    <a:cubicBezTo>
                      <a:pt x="97060" y="66873"/>
                      <a:pt x="95026" y="71189"/>
                      <a:pt x="92496" y="75158"/>
                    </a:cubicBezTo>
                    <a:cubicBezTo>
                      <a:pt x="89966" y="79127"/>
                      <a:pt x="87114" y="82847"/>
                      <a:pt x="83939" y="86320"/>
                    </a:cubicBezTo>
                    <a:cubicBezTo>
                      <a:pt x="80764" y="89793"/>
                      <a:pt x="77489" y="93117"/>
                      <a:pt x="74116" y="96292"/>
                    </a:cubicBezTo>
                    <a:cubicBezTo>
                      <a:pt x="69850" y="100360"/>
                      <a:pt x="66104" y="104006"/>
                      <a:pt x="62879" y="107230"/>
                    </a:cubicBezTo>
                    <a:cubicBezTo>
                      <a:pt x="59655" y="110455"/>
                      <a:pt x="56951" y="113556"/>
                      <a:pt x="54768" y="116532"/>
                    </a:cubicBezTo>
                    <a:cubicBezTo>
                      <a:pt x="52585" y="119509"/>
                      <a:pt x="50924" y="122535"/>
                      <a:pt x="49783" y="125611"/>
                    </a:cubicBezTo>
                    <a:cubicBezTo>
                      <a:pt x="48642" y="128687"/>
                      <a:pt x="48071" y="132110"/>
                      <a:pt x="48071" y="135880"/>
                    </a:cubicBezTo>
                    <a:cubicBezTo>
                      <a:pt x="48071" y="140444"/>
                      <a:pt x="48542" y="144586"/>
                      <a:pt x="49485" y="148307"/>
                    </a:cubicBezTo>
                    <a:cubicBezTo>
                      <a:pt x="50427" y="152028"/>
                      <a:pt x="51395" y="155178"/>
                      <a:pt x="52387" y="157758"/>
                    </a:cubicBezTo>
                    <a:lnTo>
                      <a:pt x="34379" y="157758"/>
                    </a:lnTo>
                    <a:cubicBezTo>
                      <a:pt x="33387" y="155178"/>
                      <a:pt x="32543" y="151879"/>
                      <a:pt x="31849" y="147861"/>
                    </a:cubicBezTo>
                    <a:cubicBezTo>
                      <a:pt x="31154" y="143842"/>
                      <a:pt x="30807" y="139799"/>
                      <a:pt x="30807" y="135731"/>
                    </a:cubicBezTo>
                    <a:cubicBezTo>
                      <a:pt x="30807" y="130671"/>
                      <a:pt x="31601" y="126082"/>
                      <a:pt x="33188" y="121964"/>
                    </a:cubicBezTo>
                    <a:cubicBezTo>
                      <a:pt x="34776" y="117847"/>
                      <a:pt x="36859" y="113953"/>
                      <a:pt x="39439" y="110281"/>
                    </a:cubicBezTo>
                    <a:cubicBezTo>
                      <a:pt x="42019" y="106610"/>
                      <a:pt x="45020" y="103088"/>
                      <a:pt x="48443" y="99715"/>
                    </a:cubicBezTo>
                    <a:cubicBezTo>
                      <a:pt x="51866" y="96341"/>
                      <a:pt x="55413" y="92918"/>
                      <a:pt x="59084" y="89446"/>
                    </a:cubicBezTo>
                    <a:cubicBezTo>
                      <a:pt x="62061" y="86667"/>
                      <a:pt x="64913" y="83840"/>
                      <a:pt x="67642" y="80962"/>
                    </a:cubicBezTo>
                    <a:cubicBezTo>
                      <a:pt x="70370" y="78085"/>
                      <a:pt x="72777" y="75009"/>
                      <a:pt x="74860" y="71735"/>
                    </a:cubicBezTo>
                    <a:cubicBezTo>
                      <a:pt x="76944" y="68461"/>
                      <a:pt x="78630" y="64963"/>
                      <a:pt x="79920" y="61243"/>
                    </a:cubicBezTo>
                    <a:cubicBezTo>
                      <a:pt x="81210" y="57522"/>
                      <a:pt x="81855" y="53528"/>
                      <a:pt x="81855" y="49262"/>
                    </a:cubicBezTo>
                    <a:cubicBezTo>
                      <a:pt x="81855" y="44103"/>
                      <a:pt x="80937" y="39539"/>
                      <a:pt x="79102" y="35570"/>
                    </a:cubicBezTo>
                    <a:cubicBezTo>
                      <a:pt x="77266" y="31601"/>
                      <a:pt x="74736" y="28252"/>
                      <a:pt x="71511" y="25524"/>
                    </a:cubicBezTo>
                    <a:cubicBezTo>
                      <a:pt x="68287" y="22795"/>
                      <a:pt x="64467" y="20712"/>
                      <a:pt x="60052" y="19273"/>
                    </a:cubicBezTo>
                    <a:cubicBezTo>
                      <a:pt x="55636" y="17834"/>
                      <a:pt x="50899" y="17115"/>
                      <a:pt x="45839" y="17115"/>
                    </a:cubicBezTo>
                    <a:cubicBezTo>
                      <a:pt x="36909" y="17115"/>
                      <a:pt x="28674" y="18727"/>
                      <a:pt x="21133" y="21952"/>
                    </a:cubicBezTo>
                    <a:cubicBezTo>
                      <a:pt x="13593" y="25177"/>
                      <a:pt x="6548" y="29914"/>
                      <a:pt x="0" y="36165"/>
                    </a:cubicBezTo>
                    <a:lnTo>
                      <a:pt x="0" y="15031"/>
                    </a:lnTo>
                    <a:cubicBezTo>
                      <a:pt x="7342" y="9971"/>
                      <a:pt x="14907" y="6201"/>
                      <a:pt x="22696" y="3721"/>
                    </a:cubicBezTo>
                    <a:cubicBezTo>
                      <a:pt x="30485" y="1240"/>
                      <a:pt x="38794" y="0"/>
                      <a:pt x="47625"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sp>
            <p:nvSpPr>
              <p:cNvPr id="417" name="TextBox 416">
                <a:extLst>
                  <a:ext uri="{FF2B5EF4-FFF2-40B4-BE49-F238E27FC236}">
                    <a16:creationId xmlns:a16="http://schemas.microsoft.com/office/drawing/2014/main" id="{968C7686-6024-453E-BFA5-1D242035D622}"/>
                  </a:ext>
                </a:extLst>
              </p:cNvPr>
              <p:cNvSpPr txBox="1"/>
              <p:nvPr/>
            </p:nvSpPr>
            <p:spPr>
              <a:xfrm>
                <a:off x="784411" y="5389348"/>
                <a:ext cx="28575" cy="28426"/>
              </a:xfrm>
              <a:custGeom>
                <a:avLst/>
                <a:gdLst/>
                <a:ahLst/>
                <a:cxnLst/>
                <a:rect l="l" t="t" r="r" b="b"/>
                <a:pathLst>
                  <a:path w="28575" h="28426">
                    <a:moveTo>
                      <a:pt x="14138" y="0"/>
                    </a:moveTo>
                    <a:cubicBezTo>
                      <a:pt x="16023" y="0"/>
                      <a:pt x="17834" y="347"/>
                      <a:pt x="19570" y="1042"/>
                    </a:cubicBezTo>
                    <a:cubicBezTo>
                      <a:pt x="21307" y="1736"/>
                      <a:pt x="22845" y="2728"/>
                      <a:pt x="24184" y="4018"/>
                    </a:cubicBezTo>
                    <a:cubicBezTo>
                      <a:pt x="25524" y="5308"/>
                      <a:pt x="26590" y="6821"/>
                      <a:pt x="27384" y="8558"/>
                    </a:cubicBezTo>
                    <a:cubicBezTo>
                      <a:pt x="28178" y="10294"/>
                      <a:pt x="28575" y="12204"/>
                      <a:pt x="28575" y="14287"/>
                    </a:cubicBezTo>
                    <a:cubicBezTo>
                      <a:pt x="28575" y="16272"/>
                      <a:pt x="28178" y="18132"/>
                      <a:pt x="27384" y="19869"/>
                    </a:cubicBezTo>
                    <a:cubicBezTo>
                      <a:pt x="26590" y="21605"/>
                      <a:pt x="25524" y="23118"/>
                      <a:pt x="24184" y="24408"/>
                    </a:cubicBezTo>
                    <a:cubicBezTo>
                      <a:pt x="22845" y="25698"/>
                      <a:pt x="21307" y="26690"/>
                      <a:pt x="19570" y="27384"/>
                    </a:cubicBezTo>
                    <a:cubicBezTo>
                      <a:pt x="17834" y="28079"/>
                      <a:pt x="16023" y="28426"/>
                      <a:pt x="14138" y="28426"/>
                    </a:cubicBezTo>
                    <a:cubicBezTo>
                      <a:pt x="12253" y="28426"/>
                      <a:pt x="10467" y="28079"/>
                      <a:pt x="8780" y="27384"/>
                    </a:cubicBezTo>
                    <a:cubicBezTo>
                      <a:pt x="7094" y="26690"/>
                      <a:pt x="5605" y="25698"/>
                      <a:pt x="4316" y="24408"/>
                    </a:cubicBezTo>
                    <a:cubicBezTo>
                      <a:pt x="3026" y="23118"/>
                      <a:pt x="1984" y="21605"/>
                      <a:pt x="1190" y="19869"/>
                    </a:cubicBezTo>
                    <a:cubicBezTo>
                      <a:pt x="396" y="18132"/>
                      <a:pt x="0" y="16272"/>
                      <a:pt x="0" y="14287"/>
                    </a:cubicBezTo>
                    <a:cubicBezTo>
                      <a:pt x="0" y="12204"/>
                      <a:pt x="372" y="10294"/>
                      <a:pt x="1116" y="8558"/>
                    </a:cubicBezTo>
                    <a:cubicBezTo>
                      <a:pt x="1860" y="6821"/>
                      <a:pt x="2877" y="5333"/>
                      <a:pt x="4167" y="4093"/>
                    </a:cubicBezTo>
                    <a:cubicBezTo>
                      <a:pt x="5457" y="2853"/>
                      <a:pt x="6970" y="1860"/>
                      <a:pt x="8706" y="1116"/>
                    </a:cubicBezTo>
                    <a:cubicBezTo>
                      <a:pt x="10442" y="372"/>
                      <a:pt x="12253" y="0"/>
                      <a:pt x="14138"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grpSp>
      </p:grpSp>
      <p:grpSp>
        <p:nvGrpSpPr>
          <p:cNvPr id="404" name="Group 403">
            <a:extLst>
              <a:ext uri="{FF2B5EF4-FFF2-40B4-BE49-F238E27FC236}">
                <a16:creationId xmlns:a16="http://schemas.microsoft.com/office/drawing/2014/main" id="{EED02512-694D-4953-974F-5D81C7989DBE}"/>
              </a:ext>
            </a:extLst>
          </p:cNvPr>
          <p:cNvGrpSpPr/>
          <p:nvPr/>
        </p:nvGrpSpPr>
        <p:grpSpPr>
          <a:xfrm>
            <a:off x="5748820" y="4322509"/>
            <a:ext cx="165994" cy="182211"/>
            <a:chOff x="-356679" y="5052570"/>
            <a:chExt cx="351600" cy="385950"/>
          </a:xfrm>
        </p:grpSpPr>
        <p:sp>
          <p:nvSpPr>
            <p:cNvPr id="410" name="Hexagon 409">
              <a:extLst>
                <a:ext uri="{FF2B5EF4-FFF2-40B4-BE49-F238E27FC236}">
                  <a16:creationId xmlns:a16="http://schemas.microsoft.com/office/drawing/2014/main" id="{C33F6154-D26A-452A-9E86-3CDE3A93B27D}"/>
                </a:ext>
              </a:extLst>
            </p:cNvPr>
            <p:cNvSpPr/>
            <p:nvPr/>
          </p:nvSpPr>
          <p:spPr bwMode="auto">
            <a:xfrm rot="16200000">
              <a:off x="-373854" y="5069745"/>
              <a:ext cx="385950" cy="351600"/>
            </a:xfrm>
            <a:prstGeom prst="hexagon">
              <a:avLst/>
            </a:prstGeom>
            <a:solidFill>
              <a:srgbClr val="00BCF2"/>
            </a:solidFill>
            <a:ln w="12700" cap="flat" cmpd="sng" algn="ctr">
              <a:noFill/>
              <a:prstDash val="solid"/>
              <a:headEnd type="none" w="med" len="med"/>
              <a:tailEnd type="none" w="med" len="med"/>
            </a:ln>
            <a:effectLst/>
          </p:spPr>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11" name="Group 410">
              <a:extLst>
                <a:ext uri="{FF2B5EF4-FFF2-40B4-BE49-F238E27FC236}">
                  <a16:creationId xmlns:a16="http://schemas.microsoft.com/office/drawing/2014/main" id="{A54B9D81-3BD7-49F7-9092-60151A68A665}"/>
                </a:ext>
              </a:extLst>
            </p:cNvPr>
            <p:cNvGrpSpPr/>
            <p:nvPr/>
          </p:nvGrpSpPr>
          <p:grpSpPr>
            <a:xfrm>
              <a:off x="-235657" y="5144764"/>
              <a:ext cx="100905" cy="219670"/>
              <a:chOff x="754943" y="5198104"/>
              <a:chExt cx="100905" cy="219670"/>
            </a:xfrm>
          </p:grpSpPr>
          <p:sp>
            <p:nvSpPr>
              <p:cNvPr id="412" name="TextBox 411">
                <a:extLst>
                  <a:ext uri="{FF2B5EF4-FFF2-40B4-BE49-F238E27FC236}">
                    <a16:creationId xmlns:a16="http://schemas.microsoft.com/office/drawing/2014/main" id="{D168AAC6-E1EC-4A30-98C9-489DC108A531}"/>
                  </a:ext>
                </a:extLst>
              </p:cNvPr>
              <p:cNvSpPr txBox="1"/>
              <p:nvPr/>
            </p:nvSpPr>
            <p:spPr>
              <a:xfrm>
                <a:off x="754943" y="5198104"/>
                <a:ext cx="100905" cy="157758"/>
              </a:xfrm>
              <a:custGeom>
                <a:avLst/>
                <a:gdLst/>
                <a:ahLst/>
                <a:cxnLst/>
                <a:rect l="l" t="t" r="r" b="b"/>
                <a:pathLst>
                  <a:path w="100905" h="157758">
                    <a:moveTo>
                      <a:pt x="47625" y="0"/>
                    </a:moveTo>
                    <a:cubicBezTo>
                      <a:pt x="55066" y="0"/>
                      <a:pt x="62036" y="1017"/>
                      <a:pt x="68535" y="3051"/>
                    </a:cubicBezTo>
                    <a:cubicBezTo>
                      <a:pt x="75034" y="5085"/>
                      <a:pt x="80664" y="8086"/>
                      <a:pt x="85427" y="12055"/>
                    </a:cubicBezTo>
                    <a:cubicBezTo>
                      <a:pt x="90189" y="16024"/>
                      <a:pt x="93960" y="20910"/>
                      <a:pt x="96738" y="26714"/>
                    </a:cubicBezTo>
                    <a:cubicBezTo>
                      <a:pt x="99516" y="32519"/>
                      <a:pt x="100905" y="39241"/>
                      <a:pt x="100905" y="46881"/>
                    </a:cubicBezTo>
                    <a:cubicBezTo>
                      <a:pt x="100905" y="52437"/>
                      <a:pt x="100136" y="57547"/>
                      <a:pt x="98598" y="62210"/>
                    </a:cubicBezTo>
                    <a:cubicBezTo>
                      <a:pt x="97060" y="66873"/>
                      <a:pt x="95026" y="71189"/>
                      <a:pt x="92496" y="75158"/>
                    </a:cubicBezTo>
                    <a:cubicBezTo>
                      <a:pt x="89966" y="79127"/>
                      <a:pt x="87114" y="82847"/>
                      <a:pt x="83939" y="86320"/>
                    </a:cubicBezTo>
                    <a:cubicBezTo>
                      <a:pt x="80764" y="89793"/>
                      <a:pt x="77489" y="93117"/>
                      <a:pt x="74116" y="96292"/>
                    </a:cubicBezTo>
                    <a:cubicBezTo>
                      <a:pt x="69850" y="100360"/>
                      <a:pt x="66104" y="104006"/>
                      <a:pt x="62879" y="107230"/>
                    </a:cubicBezTo>
                    <a:cubicBezTo>
                      <a:pt x="59655" y="110455"/>
                      <a:pt x="56951" y="113556"/>
                      <a:pt x="54768" y="116532"/>
                    </a:cubicBezTo>
                    <a:cubicBezTo>
                      <a:pt x="52585" y="119509"/>
                      <a:pt x="50924" y="122535"/>
                      <a:pt x="49783" y="125611"/>
                    </a:cubicBezTo>
                    <a:cubicBezTo>
                      <a:pt x="48642" y="128687"/>
                      <a:pt x="48071" y="132110"/>
                      <a:pt x="48071" y="135880"/>
                    </a:cubicBezTo>
                    <a:cubicBezTo>
                      <a:pt x="48071" y="140444"/>
                      <a:pt x="48542" y="144586"/>
                      <a:pt x="49485" y="148307"/>
                    </a:cubicBezTo>
                    <a:cubicBezTo>
                      <a:pt x="50427" y="152028"/>
                      <a:pt x="51395" y="155178"/>
                      <a:pt x="52387" y="157758"/>
                    </a:cubicBezTo>
                    <a:lnTo>
                      <a:pt x="34379" y="157758"/>
                    </a:lnTo>
                    <a:cubicBezTo>
                      <a:pt x="33387" y="155178"/>
                      <a:pt x="32543" y="151879"/>
                      <a:pt x="31849" y="147861"/>
                    </a:cubicBezTo>
                    <a:cubicBezTo>
                      <a:pt x="31154" y="143842"/>
                      <a:pt x="30807" y="139799"/>
                      <a:pt x="30807" y="135731"/>
                    </a:cubicBezTo>
                    <a:cubicBezTo>
                      <a:pt x="30807" y="130671"/>
                      <a:pt x="31601" y="126082"/>
                      <a:pt x="33188" y="121964"/>
                    </a:cubicBezTo>
                    <a:cubicBezTo>
                      <a:pt x="34776" y="117847"/>
                      <a:pt x="36859" y="113953"/>
                      <a:pt x="39439" y="110281"/>
                    </a:cubicBezTo>
                    <a:cubicBezTo>
                      <a:pt x="42019" y="106610"/>
                      <a:pt x="45020" y="103088"/>
                      <a:pt x="48443" y="99715"/>
                    </a:cubicBezTo>
                    <a:cubicBezTo>
                      <a:pt x="51866" y="96341"/>
                      <a:pt x="55413" y="92918"/>
                      <a:pt x="59084" y="89446"/>
                    </a:cubicBezTo>
                    <a:cubicBezTo>
                      <a:pt x="62061" y="86667"/>
                      <a:pt x="64913" y="83840"/>
                      <a:pt x="67642" y="80962"/>
                    </a:cubicBezTo>
                    <a:cubicBezTo>
                      <a:pt x="70370" y="78085"/>
                      <a:pt x="72777" y="75009"/>
                      <a:pt x="74860" y="71735"/>
                    </a:cubicBezTo>
                    <a:cubicBezTo>
                      <a:pt x="76944" y="68461"/>
                      <a:pt x="78630" y="64963"/>
                      <a:pt x="79920" y="61243"/>
                    </a:cubicBezTo>
                    <a:cubicBezTo>
                      <a:pt x="81210" y="57522"/>
                      <a:pt x="81855" y="53528"/>
                      <a:pt x="81855" y="49262"/>
                    </a:cubicBezTo>
                    <a:cubicBezTo>
                      <a:pt x="81855" y="44103"/>
                      <a:pt x="80937" y="39539"/>
                      <a:pt x="79102" y="35570"/>
                    </a:cubicBezTo>
                    <a:cubicBezTo>
                      <a:pt x="77266" y="31601"/>
                      <a:pt x="74736" y="28252"/>
                      <a:pt x="71511" y="25524"/>
                    </a:cubicBezTo>
                    <a:cubicBezTo>
                      <a:pt x="68287" y="22795"/>
                      <a:pt x="64467" y="20712"/>
                      <a:pt x="60052" y="19273"/>
                    </a:cubicBezTo>
                    <a:cubicBezTo>
                      <a:pt x="55636" y="17834"/>
                      <a:pt x="50899" y="17115"/>
                      <a:pt x="45839" y="17115"/>
                    </a:cubicBezTo>
                    <a:cubicBezTo>
                      <a:pt x="36909" y="17115"/>
                      <a:pt x="28674" y="18727"/>
                      <a:pt x="21133" y="21952"/>
                    </a:cubicBezTo>
                    <a:cubicBezTo>
                      <a:pt x="13593" y="25177"/>
                      <a:pt x="6548" y="29914"/>
                      <a:pt x="0" y="36165"/>
                    </a:cubicBezTo>
                    <a:lnTo>
                      <a:pt x="0" y="15031"/>
                    </a:lnTo>
                    <a:cubicBezTo>
                      <a:pt x="7342" y="9971"/>
                      <a:pt x="14907" y="6201"/>
                      <a:pt x="22696" y="3721"/>
                    </a:cubicBezTo>
                    <a:cubicBezTo>
                      <a:pt x="30485" y="1240"/>
                      <a:pt x="38794" y="0"/>
                      <a:pt x="47625"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sp>
            <p:nvSpPr>
              <p:cNvPr id="413" name="TextBox 412">
                <a:extLst>
                  <a:ext uri="{FF2B5EF4-FFF2-40B4-BE49-F238E27FC236}">
                    <a16:creationId xmlns:a16="http://schemas.microsoft.com/office/drawing/2014/main" id="{DC9E113C-3CE8-4AC8-B6F5-A70ADC3622C2}"/>
                  </a:ext>
                </a:extLst>
              </p:cNvPr>
              <p:cNvSpPr txBox="1"/>
              <p:nvPr/>
            </p:nvSpPr>
            <p:spPr>
              <a:xfrm>
                <a:off x="784411" y="5389348"/>
                <a:ext cx="28575" cy="28426"/>
              </a:xfrm>
              <a:custGeom>
                <a:avLst/>
                <a:gdLst/>
                <a:ahLst/>
                <a:cxnLst/>
                <a:rect l="l" t="t" r="r" b="b"/>
                <a:pathLst>
                  <a:path w="28575" h="28426">
                    <a:moveTo>
                      <a:pt x="14138" y="0"/>
                    </a:moveTo>
                    <a:cubicBezTo>
                      <a:pt x="16023" y="0"/>
                      <a:pt x="17834" y="347"/>
                      <a:pt x="19570" y="1042"/>
                    </a:cubicBezTo>
                    <a:cubicBezTo>
                      <a:pt x="21307" y="1736"/>
                      <a:pt x="22845" y="2728"/>
                      <a:pt x="24184" y="4018"/>
                    </a:cubicBezTo>
                    <a:cubicBezTo>
                      <a:pt x="25524" y="5308"/>
                      <a:pt x="26590" y="6821"/>
                      <a:pt x="27384" y="8558"/>
                    </a:cubicBezTo>
                    <a:cubicBezTo>
                      <a:pt x="28178" y="10294"/>
                      <a:pt x="28575" y="12204"/>
                      <a:pt x="28575" y="14287"/>
                    </a:cubicBezTo>
                    <a:cubicBezTo>
                      <a:pt x="28575" y="16272"/>
                      <a:pt x="28178" y="18132"/>
                      <a:pt x="27384" y="19869"/>
                    </a:cubicBezTo>
                    <a:cubicBezTo>
                      <a:pt x="26590" y="21605"/>
                      <a:pt x="25524" y="23118"/>
                      <a:pt x="24184" y="24408"/>
                    </a:cubicBezTo>
                    <a:cubicBezTo>
                      <a:pt x="22845" y="25698"/>
                      <a:pt x="21307" y="26690"/>
                      <a:pt x="19570" y="27384"/>
                    </a:cubicBezTo>
                    <a:cubicBezTo>
                      <a:pt x="17834" y="28079"/>
                      <a:pt x="16023" y="28426"/>
                      <a:pt x="14138" y="28426"/>
                    </a:cubicBezTo>
                    <a:cubicBezTo>
                      <a:pt x="12253" y="28426"/>
                      <a:pt x="10467" y="28079"/>
                      <a:pt x="8780" y="27384"/>
                    </a:cubicBezTo>
                    <a:cubicBezTo>
                      <a:pt x="7094" y="26690"/>
                      <a:pt x="5605" y="25698"/>
                      <a:pt x="4316" y="24408"/>
                    </a:cubicBezTo>
                    <a:cubicBezTo>
                      <a:pt x="3026" y="23118"/>
                      <a:pt x="1984" y="21605"/>
                      <a:pt x="1190" y="19869"/>
                    </a:cubicBezTo>
                    <a:cubicBezTo>
                      <a:pt x="396" y="18132"/>
                      <a:pt x="0" y="16272"/>
                      <a:pt x="0" y="14287"/>
                    </a:cubicBezTo>
                    <a:cubicBezTo>
                      <a:pt x="0" y="12204"/>
                      <a:pt x="372" y="10294"/>
                      <a:pt x="1116" y="8558"/>
                    </a:cubicBezTo>
                    <a:cubicBezTo>
                      <a:pt x="1860" y="6821"/>
                      <a:pt x="2877" y="5333"/>
                      <a:pt x="4167" y="4093"/>
                    </a:cubicBezTo>
                    <a:cubicBezTo>
                      <a:pt x="5457" y="2853"/>
                      <a:pt x="6970" y="1860"/>
                      <a:pt x="8706" y="1116"/>
                    </a:cubicBezTo>
                    <a:cubicBezTo>
                      <a:pt x="10442" y="372"/>
                      <a:pt x="12253" y="0"/>
                      <a:pt x="14138"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grpSp>
      </p:grpSp>
      <p:grpSp>
        <p:nvGrpSpPr>
          <p:cNvPr id="405" name="Group 404">
            <a:extLst>
              <a:ext uri="{FF2B5EF4-FFF2-40B4-BE49-F238E27FC236}">
                <a16:creationId xmlns:a16="http://schemas.microsoft.com/office/drawing/2014/main" id="{B12F42CA-AF81-4EE6-A403-E90FEEBBB46D}"/>
              </a:ext>
            </a:extLst>
          </p:cNvPr>
          <p:cNvGrpSpPr/>
          <p:nvPr/>
        </p:nvGrpSpPr>
        <p:grpSpPr>
          <a:xfrm>
            <a:off x="7473743" y="2981579"/>
            <a:ext cx="165994" cy="182211"/>
            <a:chOff x="-356679" y="5052570"/>
            <a:chExt cx="351600" cy="385950"/>
          </a:xfrm>
        </p:grpSpPr>
        <p:sp>
          <p:nvSpPr>
            <p:cNvPr id="406" name="Hexagon 405">
              <a:extLst>
                <a:ext uri="{FF2B5EF4-FFF2-40B4-BE49-F238E27FC236}">
                  <a16:creationId xmlns:a16="http://schemas.microsoft.com/office/drawing/2014/main" id="{57CA6E39-781C-4123-8182-C729CBE75BE0}"/>
                </a:ext>
              </a:extLst>
            </p:cNvPr>
            <p:cNvSpPr/>
            <p:nvPr/>
          </p:nvSpPr>
          <p:spPr bwMode="auto">
            <a:xfrm rot="16200000">
              <a:off x="-373854" y="5069745"/>
              <a:ext cx="385950" cy="351600"/>
            </a:xfrm>
            <a:prstGeom prst="hexagon">
              <a:avLst/>
            </a:prstGeom>
            <a:solidFill>
              <a:srgbClr val="00BCF2"/>
            </a:solidFill>
            <a:ln w="12700" cap="flat" cmpd="sng" algn="ctr">
              <a:noFill/>
              <a:prstDash val="solid"/>
              <a:headEnd type="none" w="med" len="med"/>
              <a:tailEnd type="none" w="med" len="med"/>
            </a:ln>
            <a:effectLst/>
          </p:spPr>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07" name="Group 406">
              <a:extLst>
                <a:ext uri="{FF2B5EF4-FFF2-40B4-BE49-F238E27FC236}">
                  <a16:creationId xmlns:a16="http://schemas.microsoft.com/office/drawing/2014/main" id="{4057081C-545D-4104-AEFC-68DE60E8DD87}"/>
                </a:ext>
              </a:extLst>
            </p:cNvPr>
            <p:cNvGrpSpPr/>
            <p:nvPr/>
          </p:nvGrpSpPr>
          <p:grpSpPr>
            <a:xfrm>
              <a:off x="-235657" y="5144764"/>
              <a:ext cx="100905" cy="219670"/>
              <a:chOff x="754943" y="5198104"/>
              <a:chExt cx="100905" cy="219670"/>
            </a:xfrm>
          </p:grpSpPr>
          <p:sp>
            <p:nvSpPr>
              <p:cNvPr id="408" name="TextBox 407">
                <a:extLst>
                  <a:ext uri="{FF2B5EF4-FFF2-40B4-BE49-F238E27FC236}">
                    <a16:creationId xmlns:a16="http://schemas.microsoft.com/office/drawing/2014/main" id="{8B02FA72-84DA-47D0-BDF2-18F346877F65}"/>
                  </a:ext>
                </a:extLst>
              </p:cNvPr>
              <p:cNvSpPr txBox="1"/>
              <p:nvPr/>
            </p:nvSpPr>
            <p:spPr>
              <a:xfrm>
                <a:off x="754943" y="5198104"/>
                <a:ext cx="100905" cy="157758"/>
              </a:xfrm>
              <a:custGeom>
                <a:avLst/>
                <a:gdLst/>
                <a:ahLst/>
                <a:cxnLst/>
                <a:rect l="l" t="t" r="r" b="b"/>
                <a:pathLst>
                  <a:path w="100905" h="157758">
                    <a:moveTo>
                      <a:pt x="47625" y="0"/>
                    </a:moveTo>
                    <a:cubicBezTo>
                      <a:pt x="55066" y="0"/>
                      <a:pt x="62036" y="1017"/>
                      <a:pt x="68535" y="3051"/>
                    </a:cubicBezTo>
                    <a:cubicBezTo>
                      <a:pt x="75034" y="5085"/>
                      <a:pt x="80664" y="8086"/>
                      <a:pt x="85427" y="12055"/>
                    </a:cubicBezTo>
                    <a:cubicBezTo>
                      <a:pt x="90189" y="16024"/>
                      <a:pt x="93960" y="20910"/>
                      <a:pt x="96738" y="26714"/>
                    </a:cubicBezTo>
                    <a:cubicBezTo>
                      <a:pt x="99516" y="32519"/>
                      <a:pt x="100905" y="39241"/>
                      <a:pt x="100905" y="46881"/>
                    </a:cubicBezTo>
                    <a:cubicBezTo>
                      <a:pt x="100905" y="52437"/>
                      <a:pt x="100136" y="57547"/>
                      <a:pt x="98598" y="62210"/>
                    </a:cubicBezTo>
                    <a:cubicBezTo>
                      <a:pt x="97060" y="66873"/>
                      <a:pt x="95026" y="71189"/>
                      <a:pt x="92496" y="75158"/>
                    </a:cubicBezTo>
                    <a:cubicBezTo>
                      <a:pt x="89966" y="79127"/>
                      <a:pt x="87114" y="82847"/>
                      <a:pt x="83939" y="86320"/>
                    </a:cubicBezTo>
                    <a:cubicBezTo>
                      <a:pt x="80764" y="89793"/>
                      <a:pt x="77489" y="93117"/>
                      <a:pt x="74116" y="96292"/>
                    </a:cubicBezTo>
                    <a:cubicBezTo>
                      <a:pt x="69850" y="100360"/>
                      <a:pt x="66104" y="104006"/>
                      <a:pt x="62879" y="107230"/>
                    </a:cubicBezTo>
                    <a:cubicBezTo>
                      <a:pt x="59655" y="110455"/>
                      <a:pt x="56951" y="113556"/>
                      <a:pt x="54768" y="116532"/>
                    </a:cubicBezTo>
                    <a:cubicBezTo>
                      <a:pt x="52585" y="119509"/>
                      <a:pt x="50924" y="122535"/>
                      <a:pt x="49783" y="125611"/>
                    </a:cubicBezTo>
                    <a:cubicBezTo>
                      <a:pt x="48642" y="128687"/>
                      <a:pt x="48071" y="132110"/>
                      <a:pt x="48071" y="135880"/>
                    </a:cubicBezTo>
                    <a:cubicBezTo>
                      <a:pt x="48071" y="140444"/>
                      <a:pt x="48542" y="144586"/>
                      <a:pt x="49485" y="148307"/>
                    </a:cubicBezTo>
                    <a:cubicBezTo>
                      <a:pt x="50427" y="152028"/>
                      <a:pt x="51395" y="155178"/>
                      <a:pt x="52387" y="157758"/>
                    </a:cubicBezTo>
                    <a:lnTo>
                      <a:pt x="34379" y="157758"/>
                    </a:lnTo>
                    <a:cubicBezTo>
                      <a:pt x="33387" y="155178"/>
                      <a:pt x="32543" y="151879"/>
                      <a:pt x="31849" y="147861"/>
                    </a:cubicBezTo>
                    <a:cubicBezTo>
                      <a:pt x="31154" y="143842"/>
                      <a:pt x="30807" y="139799"/>
                      <a:pt x="30807" y="135731"/>
                    </a:cubicBezTo>
                    <a:cubicBezTo>
                      <a:pt x="30807" y="130671"/>
                      <a:pt x="31601" y="126082"/>
                      <a:pt x="33188" y="121964"/>
                    </a:cubicBezTo>
                    <a:cubicBezTo>
                      <a:pt x="34776" y="117847"/>
                      <a:pt x="36859" y="113953"/>
                      <a:pt x="39439" y="110281"/>
                    </a:cubicBezTo>
                    <a:cubicBezTo>
                      <a:pt x="42019" y="106610"/>
                      <a:pt x="45020" y="103088"/>
                      <a:pt x="48443" y="99715"/>
                    </a:cubicBezTo>
                    <a:cubicBezTo>
                      <a:pt x="51866" y="96341"/>
                      <a:pt x="55413" y="92918"/>
                      <a:pt x="59084" y="89446"/>
                    </a:cubicBezTo>
                    <a:cubicBezTo>
                      <a:pt x="62061" y="86667"/>
                      <a:pt x="64913" y="83840"/>
                      <a:pt x="67642" y="80962"/>
                    </a:cubicBezTo>
                    <a:cubicBezTo>
                      <a:pt x="70370" y="78085"/>
                      <a:pt x="72777" y="75009"/>
                      <a:pt x="74860" y="71735"/>
                    </a:cubicBezTo>
                    <a:cubicBezTo>
                      <a:pt x="76944" y="68461"/>
                      <a:pt x="78630" y="64963"/>
                      <a:pt x="79920" y="61243"/>
                    </a:cubicBezTo>
                    <a:cubicBezTo>
                      <a:pt x="81210" y="57522"/>
                      <a:pt x="81855" y="53528"/>
                      <a:pt x="81855" y="49262"/>
                    </a:cubicBezTo>
                    <a:cubicBezTo>
                      <a:pt x="81855" y="44103"/>
                      <a:pt x="80937" y="39539"/>
                      <a:pt x="79102" y="35570"/>
                    </a:cubicBezTo>
                    <a:cubicBezTo>
                      <a:pt x="77266" y="31601"/>
                      <a:pt x="74736" y="28252"/>
                      <a:pt x="71511" y="25524"/>
                    </a:cubicBezTo>
                    <a:cubicBezTo>
                      <a:pt x="68287" y="22795"/>
                      <a:pt x="64467" y="20712"/>
                      <a:pt x="60052" y="19273"/>
                    </a:cubicBezTo>
                    <a:cubicBezTo>
                      <a:pt x="55636" y="17834"/>
                      <a:pt x="50899" y="17115"/>
                      <a:pt x="45839" y="17115"/>
                    </a:cubicBezTo>
                    <a:cubicBezTo>
                      <a:pt x="36909" y="17115"/>
                      <a:pt x="28674" y="18727"/>
                      <a:pt x="21133" y="21952"/>
                    </a:cubicBezTo>
                    <a:cubicBezTo>
                      <a:pt x="13593" y="25177"/>
                      <a:pt x="6548" y="29914"/>
                      <a:pt x="0" y="36165"/>
                    </a:cubicBezTo>
                    <a:lnTo>
                      <a:pt x="0" y="15031"/>
                    </a:lnTo>
                    <a:cubicBezTo>
                      <a:pt x="7342" y="9971"/>
                      <a:pt x="14907" y="6201"/>
                      <a:pt x="22696" y="3721"/>
                    </a:cubicBezTo>
                    <a:cubicBezTo>
                      <a:pt x="30485" y="1240"/>
                      <a:pt x="38794" y="0"/>
                      <a:pt x="47625"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sp>
            <p:nvSpPr>
              <p:cNvPr id="409" name="TextBox 408">
                <a:extLst>
                  <a:ext uri="{FF2B5EF4-FFF2-40B4-BE49-F238E27FC236}">
                    <a16:creationId xmlns:a16="http://schemas.microsoft.com/office/drawing/2014/main" id="{E7F21933-0335-4CFA-BCB5-A3288E06F46E}"/>
                  </a:ext>
                </a:extLst>
              </p:cNvPr>
              <p:cNvSpPr txBox="1"/>
              <p:nvPr/>
            </p:nvSpPr>
            <p:spPr>
              <a:xfrm>
                <a:off x="784411" y="5389348"/>
                <a:ext cx="28575" cy="28426"/>
              </a:xfrm>
              <a:custGeom>
                <a:avLst/>
                <a:gdLst/>
                <a:ahLst/>
                <a:cxnLst/>
                <a:rect l="l" t="t" r="r" b="b"/>
                <a:pathLst>
                  <a:path w="28575" h="28426">
                    <a:moveTo>
                      <a:pt x="14138" y="0"/>
                    </a:moveTo>
                    <a:cubicBezTo>
                      <a:pt x="16023" y="0"/>
                      <a:pt x="17834" y="347"/>
                      <a:pt x="19570" y="1042"/>
                    </a:cubicBezTo>
                    <a:cubicBezTo>
                      <a:pt x="21307" y="1736"/>
                      <a:pt x="22845" y="2728"/>
                      <a:pt x="24184" y="4018"/>
                    </a:cubicBezTo>
                    <a:cubicBezTo>
                      <a:pt x="25524" y="5308"/>
                      <a:pt x="26590" y="6821"/>
                      <a:pt x="27384" y="8558"/>
                    </a:cubicBezTo>
                    <a:cubicBezTo>
                      <a:pt x="28178" y="10294"/>
                      <a:pt x="28575" y="12204"/>
                      <a:pt x="28575" y="14287"/>
                    </a:cubicBezTo>
                    <a:cubicBezTo>
                      <a:pt x="28575" y="16272"/>
                      <a:pt x="28178" y="18132"/>
                      <a:pt x="27384" y="19869"/>
                    </a:cubicBezTo>
                    <a:cubicBezTo>
                      <a:pt x="26590" y="21605"/>
                      <a:pt x="25524" y="23118"/>
                      <a:pt x="24184" y="24408"/>
                    </a:cubicBezTo>
                    <a:cubicBezTo>
                      <a:pt x="22845" y="25698"/>
                      <a:pt x="21307" y="26690"/>
                      <a:pt x="19570" y="27384"/>
                    </a:cubicBezTo>
                    <a:cubicBezTo>
                      <a:pt x="17834" y="28079"/>
                      <a:pt x="16023" y="28426"/>
                      <a:pt x="14138" y="28426"/>
                    </a:cubicBezTo>
                    <a:cubicBezTo>
                      <a:pt x="12253" y="28426"/>
                      <a:pt x="10467" y="28079"/>
                      <a:pt x="8780" y="27384"/>
                    </a:cubicBezTo>
                    <a:cubicBezTo>
                      <a:pt x="7094" y="26690"/>
                      <a:pt x="5605" y="25698"/>
                      <a:pt x="4316" y="24408"/>
                    </a:cubicBezTo>
                    <a:cubicBezTo>
                      <a:pt x="3026" y="23118"/>
                      <a:pt x="1984" y="21605"/>
                      <a:pt x="1190" y="19869"/>
                    </a:cubicBezTo>
                    <a:cubicBezTo>
                      <a:pt x="396" y="18132"/>
                      <a:pt x="0" y="16272"/>
                      <a:pt x="0" y="14287"/>
                    </a:cubicBezTo>
                    <a:cubicBezTo>
                      <a:pt x="0" y="12204"/>
                      <a:pt x="372" y="10294"/>
                      <a:pt x="1116" y="8558"/>
                    </a:cubicBezTo>
                    <a:cubicBezTo>
                      <a:pt x="1860" y="6821"/>
                      <a:pt x="2877" y="5333"/>
                      <a:pt x="4167" y="4093"/>
                    </a:cubicBezTo>
                    <a:cubicBezTo>
                      <a:pt x="5457" y="2853"/>
                      <a:pt x="6970" y="1860"/>
                      <a:pt x="8706" y="1116"/>
                    </a:cubicBezTo>
                    <a:cubicBezTo>
                      <a:pt x="10442" y="372"/>
                      <a:pt x="12253" y="0"/>
                      <a:pt x="14138"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grpSp>
      </p:grpSp>
      <p:sp>
        <p:nvSpPr>
          <p:cNvPr id="2" name="Title 1"/>
          <p:cNvSpPr>
            <a:spLocks noGrp="1"/>
          </p:cNvSpPr>
          <p:nvPr>
            <p:ph type="title"/>
          </p:nvPr>
        </p:nvSpPr>
        <p:spPr>
          <a:xfrm>
            <a:off x="-120681" y="88907"/>
            <a:ext cx="12420600" cy="1325563"/>
          </a:xfrm>
        </p:spPr>
        <p:txBody>
          <a:bodyPr/>
          <a:lstStyle/>
          <a:p>
            <a:r>
              <a:rPr lang="en-US" dirty="0"/>
              <a:t>Who’s at fault?  The producer? The carrier? The store?</a:t>
            </a:r>
          </a:p>
        </p:txBody>
      </p:sp>
    </p:spTree>
    <p:extLst>
      <p:ext uri="{BB962C8B-B14F-4D97-AF65-F5344CB8AC3E}">
        <p14:creationId xmlns:p14="http://schemas.microsoft.com/office/powerpoint/2010/main" val="61365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9" name="Group 338">
            <a:extLst>
              <a:ext uri="{FF2B5EF4-FFF2-40B4-BE49-F238E27FC236}">
                <a16:creationId xmlns:a16="http://schemas.microsoft.com/office/drawing/2014/main" id="{D6A04A5C-EF9A-4E95-B85B-7357DAA057EB}"/>
              </a:ext>
            </a:extLst>
          </p:cNvPr>
          <p:cNvGrpSpPr/>
          <p:nvPr/>
        </p:nvGrpSpPr>
        <p:grpSpPr>
          <a:xfrm>
            <a:off x="1805865" y="5332111"/>
            <a:ext cx="572004" cy="537367"/>
            <a:chOff x="-1895476" y="4024313"/>
            <a:chExt cx="1835151" cy="1724025"/>
          </a:xfrm>
          <a:solidFill>
            <a:srgbClr val="002050"/>
          </a:solidFill>
        </p:grpSpPr>
        <p:sp>
          <p:nvSpPr>
            <p:cNvPr id="338" name="Freeform: Shape 337">
              <a:extLst>
                <a:ext uri="{FF2B5EF4-FFF2-40B4-BE49-F238E27FC236}">
                  <a16:creationId xmlns:a16="http://schemas.microsoft.com/office/drawing/2014/main" id="{413A1B6F-E9B4-4DB0-AD07-E29E2FCFBD69}"/>
                </a:ext>
              </a:extLst>
            </p:cNvPr>
            <p:cNvSpPr>
              <a:spLocks/>
            </p:cNvSpPr>
            <p:nvPr/>
          </p:nvSpPr>
          <p:spPr bwMode="auto">
            <a:xfrm>
              <a:off x="-1895476" y="4024313"/>
              <a:ext cx="1235075" cy="1724025"/>
            </a:xfrm>
            <a:custGeom>
              <a:avLst/>
              <a:gdLst>
                <a:gd name="connsiteX0" fmla="*/ 1060564 w 1235075"/>
                <a:gd name="connsiteY0" fmla="*/ 869950 h 1724025"/>
                <a:gd name="connsiteX1" fmla="*/ 1015320 w 1235075"/>
                <a:gd name="connsiteY1" fmla="*/ 880781 h 1724025"/>
                <a:gd name="connsiteX2" fmla="*/ 1036865 w 1235075"/>
                <a:gd name="connsiteY2" fmla="*/ 880781 h 1724025"/>
                <a:gd name="connsiteX3" fmla="*/ 963613 w 1235075"/>
                <a:gd name="connsiteY3" fmla="*/ 1043240 h 1724025"/>
                <a:gd name="connsiteX4" fmla="*/ 1060564 w 1235075"/>
                <a:gd name="connsiteY4" fmla="*/ 1101725 h 1724025"/>
                <a:gd name="connsiteX5" fmla="*/ 1174751 w 1235075"/>
                <a:gd name="connsiteY5" fmla="*/ 986921 h 1724025"/>
                <a:gd name="connsiteX6" fmla="*/ 1060564 w 1235075"/>
                <a:gd name="connsiteY6" fmla="*/ 869950 h 1724025"/>
                <a:gd name="connsiteX7" fmla="*/ 330406 w 1235075"/>
                <a:gd name="connsiteY7" fmla="*/ 268287 h 1724025"/>
                <a:gd name="connsiteX8" fmla="*/ 142430 w 1235075"/>
                <a:gd name="connsiteY8" fmla="*/ 932792 h 1724025"/>
                <a:gd name="connsiteX9" fmla="*/ 60325 w 1235075"/>
                <a:gd name="connsiteY9" fmla="*/ 932792 h 1724025"/>
                <a:gd name="connsiteX10" fmla="*/ 62486 w 1235075"/>
                <a:gd name="connsiteY10" fmla="*/ 1032360 h 1724025"/>
                <a:gd name="connsiteX11" fmla="*/ 213731 w 1235075"/>
                <a:gd name="connsiteY11" fmla="*/ 1032360 h 1724025"/>
                <a:gd name="connsiteX12" fmla="*/ 315282 w 1235075"/>
                <a:gd name="connsiteY12" fmla="*/ 664393 h 1724025"/>
                <a:gd name="connsiteX13" fmla="*/ 462206 w 1235075"/>
                <a:gd name="connsiteY13" fmla="*/ 1465262 h 1724025"/>
                <a:gd name="connsiteX14" fmla="*/ 650182 w 1235075"/>
                <a:gd name="connsiteY14" fmla="*/ 837554 h 1724025"/>
                <a:gd name="connsiteX15" fmla="*/ 736608 w 1235075"/>
                <a:gd name="connsiteY15" fmla="*/ 1030195 h 1724025"/>
                <a:gd name="connsiteX16" fmla="*/ 892175 w 1235075"/>
                <a:gd name="connsiteY16" fmla="*/ 1030195 h 1724025"/>
                <a:gd name="connsiteX17" fmla="*/ 892175 w 1235075"/>
                <a:gd name="connsiteY17" fmla="*/ 1023702 h 1724025"/>
                <a:gd name="connsiteX18" fmla="*/ 890014 w 1235075"/>
                <a:gd name="connsiteY18" fmla="*/ 1021537 h 1724025"/>
                <a:gd name="connsiteX19" fmla="*/ 887854 w 1235075"/>
                <a:gd name="connsiteY19" fmla="*/ 1006386 h 1724025"/>
                <a:gd name="connsiteX20" fmla="*/ 887854 w 1235075"/>
                <a:gd name="connsiteY20" fmla="*/ 1002057 h 1724025"/>
                <a:gd name="connsiteX21" fmla="*/ 887854 w 1235075"/>
                <a:gd name="connsiteY21" fmla="*/ 986905 h 1724025"/>
                <a:gd name="connsiteX22" fmla="*/ 887854 w 1235075"/>
                <a:gd name="connsiteY22" fmla="*/ 973918 h 1724025"/>
                <a:gd name="connsiteX23" fmla="*/ 887854 w 1235075"/>
                <a:gd name="connsiteY23" fmla="*/ 969589 h 1724025"/>
                <a:gd name="connsiteX24" fmla="*/ 887854 w 1235075"/>
                <a:gd name="connsiteY24" fmla="*/ 963095 h 1724025"/>
                <a:gd name="connsiteX25" fmla="*/ 890014 w 1235075"/>
                <a:gd name="connsiteY25" fmla="*/ 958766 h 1724025"/>
                <a:gd name="connsiteX26" fmla="*/ 890014 w 1235075"/>
                <a:gd name="connsiteY26" fmla="*/ 952273 h 1724025"/>
                <a:gd name="connsiteX27" fmla="*/ 892175 w 1235075"/>
                <a:gd name="connsiteY27" fmla="*/ 945779 h 1724025"/>
                <a:gd name="connsiteX28" fmla="*/ 892175 w 1235075"/>
                <a:gd name="connsiteY28" fmla="*/ 941450 h 1724025"/>
                <a:gd name="connsiteX29" fmla="*/ 885693 w 1235075"/>
                <a:gd name="connsiteY29" fmla="*/ 941450 h 1724025"/>
                <a:gd name="connsiteX30" fmla="*/ 797107 w 1235075"/>
                <a:gd name="connsiteY30" fmla="*/ 941450 h 1724025"/>
                <a:gd name="connsiteX31" fmla="*/ 648022 w 1235075"/>
                <a:gd name="connsiteY31" fmla="*/ 543180 h 1724025"/>
                <a:gd name="connsiteX32" fmla="*/ 479491 w 1235075"/>
                <a:gd name="connsiteY32" fmla="*/ 1086473 h 1724025"/>
                <a:gd name="connsiteX33" fmla="*/ 330406 w 1235075"/>
                <a:gd name="connsiteY33" fmla="*/ 268287 h 1724025"/>
                <a:gd name="connsiteX34" fmla="*/ 345476 w 1235075"/>
                <a:gd name="connsiteY34" fmla="*/ 0 h 1724025"/>
                <a:gd name="connsiteX35" fmla="*/ 494462 w 1235075"/>
                <a:gd name="connsiteY35" fmla="*/ 830647 h 1724025"/>
                <a:gd name="connsiteX36" fmla="*/ 641289 w 1235075"/>
                <a:gd name="connsiteY36" fmla="*/ 359082 h 1724025"/>
                <a:gd name="connsiteX37" fmla="*/ 839937 w 1235075"/>
                <a:gd name="connsiteY37" fmla="*/ 880399 h 1724025"/>
                <a:gd name="connsiteX38" fmla="*/ 919829 w 1235075"/>
                <a:gd name="connsiteY38" fmla="*/ 880399 h 1724025"/>
                <a:gd name="connsiteX39" fmla="*/ 921988 w 1235075"/>
                <a:gd name="connsiteY39" fmla="*/ 880399 h 1724025"/>
                <a:gd name="connsiteX40" fmla="*/ 1060178 w 1235075"/>
                <a:gd name="connsiteY40" fmla="*/ 809016 h 1724025"/>
                <a:gd name="connsiteX41" fmla="*/ 1235075 w 1235075"/>
                <a:gd name="connsiteY41" fmla="*/ 986393 h 1724025"/>
                <a:gd name="connsiteX42" fmla="*/ 1060178 w 1235075"/>
                <a:gd name="connsiteY42" fmla="*/ 1161608 h 1724025"/>
                <a:gd name="connsiteX43" fmla="*/ 932784 w 1235075"/>
                <a:gd name="connsiteY43" fmla="*/ 1105366 h 1724025"/>
                <a:gd name="connsiteX44" fmla="*/ 928466 w 1235075"/>
                <a:gd name="connsiteY44" fmla="*/ 1118345 h 1724025"/>
                <a:gd name="connsiteX45" fmla="*/ 915510 w 1235075"/>
                <a:gd name="connsiteY45" fmla="*/ 1090224 h 1724025"/>
                <a:gd name="connsiteX46" fmla="*/ 697429 w 1235075"/>
                <a:gd name="connsiteY46" fmla="*/ 1090224 h 1724025"/>
                <a:gd name="connsiteX47" fmla="*/ 660722 w 1235075"/>
                <a:gd name="connsiteY47" fmla="*/ 1010188 h 1724025"/>
                <a:gd name="connsiteX48" fmla="*/ 449118 w 1235075"/>
                <a:gd name="connsiteY48" fmla="*/ 1724025 h 1724025"/>
                <a:gd name="connsiteX49" fmla="*/ 304450 w 1235075"/>
                <a:gd name="connsiteY49" fmla="*/ 934478 h 1724025"/>
                <a:gd name="connsiteX50" fmla="*/ 261266 w 1235075"/>
                <a:gd name="connsiteY50" fmla="*/ 1092387 h 1724025"/>
                <a:gd name="connsiteX51" fmla="*/ 2159 w 1235075"/>
                <a:gd name="connsiteY51" fmla="*/ 1092387 h 1724025"/>
                <a:gd name="connsiteX52" fmla="*/ 0 w 1235075"/>
                <a:gd name="connsiteY52" fmla="*/ 871747 h 1724025"/>
                <a:gd name="connsiteX53" fmla="*/ 97165 w 1235075"/>
                <a:gd name="connsiteY53" fmla="*/ 871747 h 1724025"/>
                <a:gd name="connsiteX54" fmla="*/ 345476 w 1235075"/>
                <a:gd name="connsiteY54" fmla="*/ 0 h 1724025"/>
                <a:gd name="connsiteX0" fmla="*/ 1060564 w 1235075"/>
                <a:gd name="connsiteY0" fmla="*/ 869950 h 1724025"/>
                <a:gd name="connsiteX1" fmla="*/ 1015320 w 1235075"/>
                <a:gd name="connsiteY1" fmla="*/ 880781 h 1724025"/>
                <a:gd name="connsiteX2" fmla="*/ 1036865 w 1235075"/>
                <a:gd name="connsiteY2" fmla="*/ 880781 h 1724025"/>
                <a:gd name="connsiteX3" fmla="*/ 963613 w 1235075"/>
                <a:gd name="connsiteY3" fmla="*/ 1043240 h 1724025"/>
                <a:gd name="connsiteX4" fmla="*/ 1060564 w 1235075"/>
                <a:gd name="connsiteY4" fmla="*/ 1101725 h 1724025"/>
                <a:gd name="connsiteX5" fmla="*/ 1174751 w 1235075"/>
                <a:gd name="connsiteY5" fmla="*/ 986921 h 1724025"/>
                <a:gd name="connsiteX6" fmla="*/ 1060564 w 1235075"/>
                <a:gd name="connsiteY6" fmla="*/ 869950 h 1724025"/>
                <a:gd name="connsiteX7" fmla="*/ 330406 w 1235075"/>
                <a:gd name="connsiteY7" fmla="*/ 268287 h 1724025"/>
                <a:gd name="connsiteX8" fmla="*/ 142430 w 1235075"/>
                <a:gd name="connsiteY8" fmla="*/ 932792 h 1724025"/>
                <a:gd name="connsiteX9" fmla="*/ 60325 w 1235075"/>
                <a:gd name="connsiteY9" fmla="*/ 932792 h 1724025"/>
                <a:gd name="connsiteX10" fmla="*/ 62486 w 1235075"/>
                <a:gd name="connsiteY10" fmla="*/ 1032360 h 1724025"/>
                <a:gd name="connsiteX11" fmla="*/ 213731 w 1235075"/>
                <a:gd name="connsiteY11" fmla="*/ 1032360 h 1724025"/>
                <a:gd name="connsiteX12" fmla="*/ 315282 w 1235075"/>
                <a:gd name="connsiteY12" fmla="*/ 664393 h 1724025"/>
                <a:gd name="connsiteX13" fmla="*/ 462206 w 1235075"/>
                <a:gd name="connsiteY13" fmla="*/ 1465262 h 1724025"/>
                <a:gd name="connsiteX14" fmla="*/ 650182 w 1235075"/>
                <a:gd name="connsiteY14" fmla="*/ 837554 h 1724025"/>
                <a:gd name="connsiteX15" fmla="*/ 736608 w 1235075"/>
                <a:gd name="connsiteY15" fmla="*/ 1030195 h 1724025"/>
                <a:gd name="connsiteX16" fmla="*/ 892175 w 1235075"/>
                <a:gd name="connsiteY16" fmla="*/ 1030195 h 1724025"/>
                <a:gd name="connsiteX17" fmla="*/ 892175 w 1235075"/>
                <a:gd name="connsiteY17" fmla="*/ 1023702 h 1724025"/>
                <a:gd name="connsiteX18" fmla="*/ 890014 w 1235075"/>
                <a:gd name="connsiteY18" fmla="*/ 1021537 h 1724025"/>
                <a:gd name="connsiteX19" fmla="*/ 887854 w 1235075"/>
                <a:gd name="connsiteY19" fmla="*/ 1006386 h 1724025"/>
                <a:gd name="connsiteX20" fmla="*/ 887854 w 1235075"/>
                <a:gd name="connsiteY20" fmla="*/ 1002057 h 1724025"/>
                <a:gd name="connsiteX21" fmla="*/ 887854 w 1235075"/>
                <a:gd name="connsiteY21" fmla="*/ 986905 h 1724025"/>
                <a:gd name="connsiteX22" fmla="*/ 887854 w 1235075"/>
                <a:gd name="connsiteY22" fmla="*/ 973918 h 1724025"/>
                <a:gd name="connsiteX23" fmla="*/ 887854 w 1235075"/>
                <a:gd name="connsiteY23" fmla="*/ 969589 h 1724025"/>
                <a:gd name="connsiteX24" fmla="*/ 887854 w 1235075"/>
                <a:gd name="connsiteY24" fmla="*/ 963095 h 1724025"/>
                <a:gd name="connsiteX25" fmla="*/ 890014 w 1235075"/>
                <a:gd name="connsiteY25" fmla="*/ 958766 h 1724025"/>
                <a:gd name="connsiteX26" fmla="*/ 890014 w 1235075"/>
                <a:gd name="connsiteY26" fmla="*/ 952273 h 1724025"/>
                <a:gd name="connsiteX27" fmla="*/ 892175 w 1235075"/>
                <a:gd name="connsiteY27" fmla="*/ 945779 h 1724025"/>
                <a:gd name="connsiteX28" fmla="*/ 892175 w 1235075"/>
                <a:gd name="connsiteY28" fmla="*/ 941450 h 1724025"/>
                <a:gd name="connsiteX29" fmla="*/ 885693 w 1235075"/>
                <a:gd name="connsiteY29" fmla="*/ 941450 h 1724025"/>
                <a:gd name="connsiteX30" fmla="*/ 797107 w 1235075"/>
                <a:gd name="connsiteY30" fmla="*/ 941450 h 1724025"/>
                <a:gd name="connsiteX31" fmla="*/ 648022 w 1235075"/>
                <a:gd name="connsiteY31" fmla="*/ 543180 h 1724025"/>
                <a:gd name="connsiteX32" fmla="*/ 479491 w 1235075"/>
                <a:gd name="connsiteY32" fmla="*/ 1086473 h 1724025"/>
                <a:gd name="connsiteX33" fmla="*/ 330406 w 1235075"/>
                <a:gd name="connsiteY33" fmla="*/ 268287 h 1724025"/>
                <a:gd name="connsiteX34" fmla="*/ 345476 w 1235075"/>
                <a:gd name="connsiteY34" fmla="*/ 0 h 1724025"/>
                <a:gd name="connsiteX35" fmla="*/ 494462 w 1235075"/>
                <a:gd name="connsiteY35" fmla="*/ 830647 h 1724025"/>
                <a:gd name="connsiteX36" fmla="*/ 641289 w 1235075"/>
                <a:gd name="connsiteY36" fmla="*/ 359082 h 1724025"/>
                <a:gd name="connsiteX37" fmla="*/ 839937 w 1235075"/>
                <a:gd name="connsiteY37" fmla="*/ 880399 h 1724025"/>
                <a:gd name="connsiteX38" fmla="*/ 919829 w 1235075"/>
                <a:gd name="connsiteY38" fmla="*/ 880399 h 1724025"/>
                <a:gd name="connsiteX39" fmla="*/ 921988 w 1235075"/>
                <a:gd name="connsiteY39" fmla="*/ 880399 h 1724025"/>
                <a:gd name="connsiteX40" fmla="*/ 1060178 w 1235075"/>
                <a:gd name="connsiteY40" fmla="*/ 809016 h 1724025"/>
                <a:gd name="connsiteX41" fmla="*/ 1235075 w 1235075"/>
                <a:gd name="connsiteY41" fmla="*/ 986393 h 1724025"/>
                <a:gd name="connsiteX42" fmla="*/ 1060178 w 1235075"/>
                <a:gd name="connsiteY42" fmla="*/ 1161608 h 1724025"/>
                <a:gd name="connsiteX43" fmla="*/ 932784 w 1235075"/>
                <a:gd name="connsiteY43" fmla="*/ 1105366 h 1724025"/>
                <a:gd name="connsiteX44" fmla="*/ 915510 w 1235075"/>
                <a:gd name="connsiteY44" fmla="*/ 1090224 h 1724025"/>
                <a:gd name="connsiteX45" fmla="*/ 697429 w 1235075"/>
                <a:gd name="connsiteY45" fmla="*/ 1090224 h 1724025"/>
                <a:gd name="connsiteX46" fmla="*/ 660722 w 1235075"/>
                <a:gd name="connsiteY46" fmla="*/ 1010188 h 1724025"/>
                <a:gd name="connsiteX47" fmla="*/ 449118 w 1235075"/>
                <a:gd name="connsiteY47" fmla="*/ 1724025 h 1724025"/>
                <a:gd name="connsiteX48" fmla="*/ 304450 w 1235075"/>
                <a:gd name="connsiteY48" fmla="*/ 934478 h 1724025"/>
                <a:gd name="connsiteX49" fmla="*/ 261266 w 1235075"/>
                <a:gd name="connsiteY49" fmla="*/ 1092387 h 1724025"/>
                <a:gd name="connsiteX50" fmla="*/ 2159 w 1235075"/>
                <a:gd name="connsiteY50" fmla="*/ 1092387 h 1724025"/>
                <a:gd name="connsiteX51" fmla="*/ 0 w 1235075"/>
                <a:gd name="connsiteY51" fmla="*/ 871747 h 1724025"/>
                <a:gd name="connsiteX52" fmla="*/ 97165 w 1235075"/>
                <a:gd name="connsiteY52" fmla="*/ 871747 h 1724025"/>
                <a:gd name="connsiteX53" fmla="*/ 345476 w 1235075"/>
                <a:gd name="connsiteY53" fmla="*/ 0 h 1724025"/>
                <a:gd name="connsiteX0" fmla="*/ 1060564 w 1235075"/>
                <a:gd name="connsiteY0" fmla="*/ 869950 h 1724025"/>
                <a:gd name="connsiteX1" fmla="*/ 1015320 w 1235075"/>
                <a:gd name="connsiteY1" fmla="*/ 880781 h 1724025"/>
                <a:gd name="connsiteX2" fmla="*/ 963613 w 1235075"/>
                <a:gd name="connsiteY2" fmla="*/ 1043240 h 1724025"/>
                <a:gd name="connsiteX3" fmla="*/ 1060564 w 1235075"/>
                <a:gd name="connsiteY3" fmla="*/ 1101725 h 1724025"/>
                <a:gd name="connsiteX4" fmla="*/ 1174751 w 1235075"/>
                <a:gd name="connsiteY4" fmla="*/ 986921 h 1724025"/>
                <a:gd name="connsiteX5" fmla="*/ 1060564 w 1235075"/>
                <a:gd name="connsiteY5" fmla="*/ 869950 h 1724025"/>
                <a:gd name="connsiteX6" fmla="*/ 330406 w 1235075"/>
                <a:gd name="connsiteY6" fmla="*/ 268287 h 1724025"/>
                <a:gd name="connsiteX7" fmla="*/ 142430 w 1235075"/>
                <a:gd name="connsiteY7" fmla="*/ 932792 h 1724025"/>
                <a:gd name="connsiteX8" fmla="*/ 60325 w 1235075"/>
                <a:gd name="connsiteY8" fmla="*/ 932792 h 1724025"/>
                <a:gd name="connsiteX9" fmla="*/ 62486 w 1235075"/>
                <a:gd name="connsiteY9" fmla="*/ 1032360 h 1724025"/>
                <a:gd name="connsiteX10" fmla="*/ 213731 w 1235075"/>
                <a:gd name="connsiteY10" fmla="*/ 1032360 h 1724025"/>
                <a:gd name="connsiteX11" fmla="*/ 315282 w 1235075"/>
                <a:gd name="connsiteY11" fmla="*/ 664393 h 1724025"/>
                <a:gd name="connsiteX12" fmla="*/ 462206 w 1235075"/>
                <a:gd name="connsiteY12" fmla="*/ 1465262 h 1724025"/>
                <a:gd name="connsiteX13" fmla="*/ 650182 w 1235075"/>
                <a:gd name="connsiteY13" fmla="*/ 837554 h 1724025"/>
                <a:gd name="connsiteX14" fmla="*/ 736608 w 1235075"/>
                <a:gd name="connsiteY14" fmla="*/ 1030195 h 1724025"/>
                <a:gd name="connsiteX15" fmla="*/ 892175 w 1235075"/>
                <a:gd name="connsiteY15" fmla="*/ 1030195 h 1724025"/>
                <a:gd name="connsiteX16" fmla="*/ 892175 w 1235075"/>
                <a:gd name="connsiteY16" fmla="*/ 1023702 h 1724025"/>
                <a:gd name="connsiteX17" fmla="*/ 890014 w 1235075"/>
                <a:gd name="connsiteY17" fmla="*/ 1021537 h 1724025"/>
                <a:gd name="connsiteX18" fmla="*/ 887854 w 1235075"/>
                <a:gd name="connsiteY18" fmla="*/ 1006386 h 1724025"/>
                <a:gd name="connsiteX19" fmla="*/ 887854 w 1235075"/>
                <a:gd name="connsiteY19" fmla="*/ 1002057 h 1724025"/>
                <a:gd name="connsiteX20" fmla="*/ 887854 w 1235075"/>
                <a:gd name="connsiteY20" fmla="*/ 986905 h 1724025"/>
                <a:gd name="connsiteX21" fmla="*/ 887854 w 1235075"/>
                <a:gd name="connsiteY21" fmla="*/ 973918 h 1724025"/>
                <a:gd name="connsiteX22" fmla="*/ 887854 w 1235075"/>
                <a:gd name="connsiteY22" fmla="*/ 969589 h 1724025"/>
                <a:gd name="connsiteX23" fmla="*/ 887854 w 1235075"/>
                <a:gd name="connsiteY23" fmla="*/ 963095 h 1724025"/>
                <a:gd name="connsiteX24" fmla="*/ 890014 w 1235075"/>
                <a:gd name="connsiteY24" fmla="*/ 958766 h 1724025"/>
                <a:gd name="connsiteX25" fmla="*/ 890014 w 1235075"/>
                <a:gd name="connsiteY25" fmla="*/ 952273 h 1724025"/>
                <a:gd name="connsiteX26" fmla="*/ 892175 w 1235075"/>
                <a:gd name="connsiteY26" fmla="*/ 945779 h 1724025"/>
                <a:gd name="connsiteX27" fmla="*/ 892175 w 1235075"/>
                <a:gd name="connsiteY27" fmla="*/ 941450 h 1724025"/>
                <a:gd name="connsiteX28" fmla="*/ 885693 w 1235075"/>
                <a:gd name="connsiteY28" fmla="*/ 941450 h 1724025"/>
                <a:gd name="connsiteX29" fmla="*/ 797107 w 1235075"/>
                <a:gd name="connsiteY29" fmla="*/ 941450 h 1724025"/>
                <a:gd name="connsiteX30" fmla="*/ 648022 w 1235075"/>
                <a:gd name="connsiteY30" fmla="*/ 543180 h 1724025"/>
                <a:gd name="connsiteX31" fmla="*/ 479491 w 1235075"/>
                <a:gd name="connsiteY31" fmla="*/ 1086473 h 1724025"/>
                <a:gd name="connsiteX32" fmla="*/ 330406 w 1235075"/>
                <a:gd name="connsiteY32" fmla="*/ 268287 h 1724025"/>
                <a:gd name="connsiteX33" fmla="*/ 345476 w 1235075"/>
                <a:gd name="connsiteY33" fmla="*/ 0 h 1724025"/>
                <a:gd name="connsiteX34" fmla="*/ 494462 w 1235075"/>
                <a:gd name="connsiteY34" fmla="*/ 830647 h 1724025"/>
                <a:gd name="connsiteX35" fmla="*/ 641289 w 1235075"/>
                <a:gd name="connsiteY35" fmla="*/ 359082 h 1724025"/>
                <a:gd name="connsiteX36" fmla="*/ 839937 w 1235075"/>
                <a:gd name="connsiteY36" fmla="*/ 880399 h 1724025"/>
                <a:gd name="connsiteX37" fmla="*/ 919829 w 1235075"/>
                <a:gd name="connsiteY37" fmla="*/ 880399 h 1724025"/>
                <a:gd name="connsiteX38" fmla="*/ 921988 w 1235075"/>
                <a:gd name="connsiteY38" fmla="*/ 880399 h 1724025"/>
                <a:gd name="connsiteX39" fmla="*/ 1060178 w 1235075"/>
                <a:gd name="connsiteY39" fmla="*/ 809016 h 1724025"/>
                <a:gd name="connsiteX40" fmla="*/ 1235075 w 1235075"/>
                <a:gd name="connsiteY40" fmla="*/ 986393 h 1724025"/>
                <a:gd name="connsiteX41" fmla="*/ 1060178 w 1235075"/>
                <a:gd name="connsiteY41" fmla="*/ 1161608 h 1724025"/>
                <a:gd name="connsiteX42" fmla="*/ 932784 w 1235075"/>
                <a:gd name="connsiteY42" fmla="*/ 1105366 h 1724025"/>
                <a:gd name="connsiteX43" fmla="*/ 915510 w 1235075"/>
                <a:gd name="connsiteY43" fmla="*/ 1090224 h 1724025"/>
                <a:gd name="connsiteX44" fmla="*/ 697429 w 1235075"/>
                <a:gd name="connsiteY44" fmla="*/ 1090224 h 1724025"/>
                <a:gd name="connsiteX45" fmla="*/ 660722 w 1235075"/>
                <a:gd name="connsiteY45" fmla="*/ 1010188 h 1724025"/>
                <a:gd name="connsiteX46" fmla="*/ 449118 w 1235075"/>
                <a:gd name="connsiteY46" fmla="*/ 1724025 h 1724025"/>
                <a:gd name="connsiteX47" fmla="*/ 304450 w 1235075"/>
                <a:gd name="connsiteY47" fmla="*/ 934478 h 1724025"/>
                <a:gd name="connsiteX48" fmla="*/ 261266 w 1235075"/>
                <a:gd name="connsiteY48" fmla="*/ 1092387 h 1724025"/>
                <a:gd name="connsiteX49" fmla="*/ 2159 w 1235075"/>
                <a:gd name="connsiteY49" fmla="*/ 1092387 h 1724025"/>
                <a:gd name="connsiteX50" fmla="*/ 0 w 1235075"/>
                <a:gd name="connsiteY50" fmla="*/ 871747 h 1724025"/>
                <a:gd name="connsiteX51" fmla="*/ 97165 w 1235075"/>
                <a:gd name="connsiteY51" fmla="*/ 871747 h 1724025"/>
                <a:gd name="connsiteX52" fmla="*/ 345476 w 1235075"/>
                <a:gd name="connsiteY52" fmla="*/ 0 h 1724025"/>
                <a:gd name="connsiteX0" fmla="*/ 1060564 w 1235075"/>
                <a:gd name="connsiteY0" fmla="*/ 869950 h 1724025"/>
                <a:gd name="connsiteX1" fmla="*/ 963613 w 1235075"/>
                <a:gd name="connsiteY1" fmla="*/ 1043240 h 1724025"/>
                <a:gd name="connsiteX2" fmla="*/ 1060564 w 1235075"/>
                <a:gd name="connsiteY2" fmla="*/ 1101725 h 1724025"/>
                <a:gd name="connsiteX3" fmla="*/ 1174751 w 1235075"/>
                <a:gd name="connsiteY3" fmla="*/ 986921 h 1724025"/>
                <a:gd name="connsiteX4" fmla="*/ 1060564 w 1235075"/>
                <a:gd name="connsiteY4" fmla="*/ 869950 h 1724025"/>
                <a:gd name="connsiteX5" fmla="*/ 330406 w 1235075"/>
                <a:gd name="connsiteY5" fmla="*/ 268287 h 1724025"/>
                <a:gd name="connsiteX6" fmla="*/ 142430 w 1235075"/>
                <a:gd name="connsiteY6" fmla="*/ 932792 h 1724025"/>
                <a:gd name="connsiteX7" fmla="*/ 60325 w 1235075"/>
                <a:gd name="connsiteY7" fmla="*/ 932792 h 1724025"/>
                <a:gd name="connsiteX8" fmla="*/ 62486 w 1235075"/>
                <a:gd name="connsiteY8" fmla="*/ 1032360 h 1724025"/>
                <a:gd name="connsiteX9" fmla="*/ 213731 w 1235075"/>
                <a:gd name="connsiteY9" fmla="*/ 1032360 h 1724025"/>
                <a:gd name="connsiteX10" fmla="*/ 315282 w 1235075"/>
                <a:gd name="connsiteY10" fmla="*/ 664393 h 1724025"/>
                <a:gd name="connsiteX11" fmla="*/ 462206 w 1235075"/>
                <a:gd name="connsiteY11" fmla="*/ 1465262 h 1724025"/>
                <a:gd name="connsiteX12" fmla="*/ 650182 w 1235075"/>
                <a:gd name="connsiteY12" fmla="*/ 837554 h 1724025"/>
                <a:gd name="connsiteX13" fmla="*/ 736608 w 1235075"/>
                <a:gd name="connsiteY13" fmla="*/ 1030195 h 1724025"/>
                <a:gd name="connsiteX14" fmla="*/ 892175 w 1235075"/>
                <a:gd name="connsiteY14" fmla="*/ 1030195 h 1724025"/>
                <a:gd name="connsiteX15" fmla="*/ 892175 w 1235075"/>
                <a:gd name="connsiteY15" fmla="*/ 1023702 h 1724025"/>
                <a:gd name="connsiteX16" fmla="*/ 890014 w 1235075"/>
                <a:gd name="connsiteY16" fmla="*/ 1021537 h 1724025"/>
                <a:gd name="connsiteX17" fmla="*/ 887854 w 1235075"/>
                <a:gd name="connsiteY17" fmla="*/ 1006386 h 1724025"/>
                <a:gd name="connsiteX18" fmla="*/ 887854 w 1235075"/>
                <a:gd name="connsiteY18" fmla="*/ 1002057 h 1724025"/>
                <a:gd name="connsiteX19" fmla="*/ 887854 w 1235075"/>
                <a:gd name="connsiteY19" fmla="*/ 986905 h 1724025"/>
                <a:gd name="connsiteX20" fmla="*/ 887854 w 1235075"/>
                <a:gd name="connsiteY20" fmla="*/ 973918 h 1724025"/>
                <a:gd name="connsiteX21" fmla="*/ 887854 w 1235075"/>
                <a:gd name="connsiteY21" fmla="*/ 969589 h 1724025"/>
                <a:gd name="connsiteX22" fmla="*/ 887854 w 1235075"/>
                <a:gd name="connsiteY22" fmla="*/ 963095 h 1724025"/>
                <a:gd name="connsiteX23" fmla="*/ 890014 w 1235075"/>
                <a:gd name="connsiteY23" fmla="*/ 958766 h 1724025"/>
                <a:gd name="connsiteX24" fmla="*/ 890014 w 1235075"/>
                <a:gd name="connsiteY24" fmla="*/ 952273 h 1724025"/>
                <a:gd name="connsiteX25" fmla="*/ 892175 w 1235075"/>
                <a:gd name="connsiteY25" fmla="*/ 945779 h 1724025"/>
                <a:gd name="connsiteX26" fmla="*/ 892175 w 1235075"/>
                <a:gd name="connsiteY26" fmla="*/ 941450 h 1724025"/>
                <a:gd name="connsiteX27" fmla="*/ 885693 w 1235075"/>
                <a:gd name="connsiteY27" fmla="*/ 941450 h 1724025"/>
                <a:gd name="connsiteX28" fmla="*/ 797107 w 1235075"/>
                <a:gd name="connsiteY28" fmla="*/ 941450 h 1724025"/>
                <a:gd name="connsiteX29" fmla="*/ 648022 w 1235075"/>
                <a:gd name="connsiteY29" fmla="*/ 543180 h 1724025"/>
                <a:gd name="connsiteX30" fmla="*/ 479491 w 1235075"/>
                <a:gd name="connsiteY30" fmla="*/ 1086473 h 1724025"/>
                <a:gd name="connsiteX31" fmla="*/ 330406 w 1235075"/>
                <a:gd name="connsiteY31" fmla="*/ 268287 h 1724025"/>
                <a:gd name="connsiteX32" fmla="*/ 345476 w 1235075"/>
                <a:gd name="connsiteY32" fmla="*/ 0 h 1724025"/>
                <a:gd name="connsiteX33" fmla="*/ 494462 w 1235075"/>
                <a:gd name="connsiteY33" fmla="*/ 830647 h 1724025"/>
                <a:gd name="connsiteX34" fmla="*/ 641289 w 1235075"/>
                <a:gd name="connsiteY34" fmla="*/ 359082 h 1724025"/>
                <a:gd name="connsiteX35" fmla="*/ 839937 w 1235075"/>
                <a:gd name="connsiteY35" fmla="*/ 880399 h 1724025"/>
                <a:gd name="connsiteX36" fmla="*/ 919829 w 1235075"/>
                <a:gd name="connsiteY36" fmla="*/ 880399 h 1724025"/>
                <a:gd name="connsiteX37" fmla="*/ 921988 w 1235075"/>
                <a:gd name="connsiteY37" fmla="*/ 880399 h 1724025"/>
                <a:gd name="connsiteX38" fmla="*/ 1060178 w 1235075"/>
                <a:gd name="connsiteY38" fmla="*/ 809016 h 1724025"/>
                <a:gd name="connsiteX39" fmla="*/ 1235075 w 1235075"/>
                <a:gd name="connsiteY39" fmla="*/ 986393 h 1724025"/>
                <a:gd name="connsiteX40" fmla="*/ 1060178 w 1235075"/>
                <a:gd name="connsiteY40" fmla="*/ 1161608 h 1724025"/>
                <a:gd name="connsiteX41" fmla="*/ 932784 w 1235075"/>
                <a:gd name="connsiteY41" fmla="*/ 1105366 h 1724025"/>
                <a:gd name="connsiteX42" fmla="*/ 915510 w 1235075"/>
                <a:gd name="connsiteY42" fmla="*/ 1090224 h 1724025"/>
                <a:gd name="connsiteX43" fmla="*/ 697429 w 1235075"/>
                <a:gd name="connsiteY43" fmla="*/ 1090224 h 1724025"/>
                <a:gd name="connsiteX44" fmla="*/ 660722 w 1235075"/>
                <a:gd name="connsiteY44" fmla="*/ 1010188 h 1724025"/>
                <a:gd name="connsiteX45" fmla="*/ 449118 w 1235075"/>
                <a:gd name="connsiteY45" fmla="*/ 1724025 h 1724025"/>
                <a:gd name="connsiteX46" fmla="*/ 304450 w 1235075"/>
                <a:gd name="connsiteY46" fmla="*/ 934478 h 1724025"/>
                <a:gd name="connsiteX47" fmla="*/ 261266 w 1235075"/>
                <a:gd name="connsiteY47" fmla="*/ 1092387 h 1724025"/>
                <a:gd name="connsiteX48" fmla="*/ 2159 w 1235075"/>
                <a:gd name="connsiteY48" fmla="*/ 1092387 h 1724025"/>
                <a:gd name="connsiteX49" fmla="*/ 0 w 1235075"/>
                <a:gd name="connsiteY49" fmla="*/ 871747 h 1724025"/>
                <a:gd name="connsiteX50" fmla="*/ 97165 w 1235075"/>
                <a:gd name="connsiteY50" fmla="*/ 871747 h 1724025"/>
                <a:gd name="connsiteX51" fmla="*/ 345476 w 1235075"/>
                <a:gd name="connsiteY51" fmla="*/ 0 h 1724025"/>
                <a:gd name="connsiteX0" fmla="*/ 1060564 w 1235075"/>
                <a:gd name="connsiteY0" fmla="*/ 869950 h 1724025"/>
                <a:gd name="connsiteX1" fmla="*/ 963613 w 1235075"/>
                <a:gd name="connsiteY1" fmla="*/ 1043240 h 1724025"/>
                <a:gd name="connsiteX2" fmla="*/ 1060564 w 1235075"/>
                <a:gd name="connsiteY2" fmla="*/ 1101725 h 1724025"/>
                <a:gd name="connsiteX3" fmla="*/ 1174751 w 1235075"/>
                <a:gd name="connsiteY3" fmla="*/ 986921 h 1724025"/>
                <a:gd name="connsiteX4" fmla="*/ 1060564 w 1235075"/>
                <a:gd name="connsiteY4" fmla="*/ 869950 h 1724025"/>
                <a:gd name="connsiteX5" fmla="*/ 330406 w 1235075"/>
                <a:gd name="connsiteY5" fmla="*/ 268287 h 1724025"/>
                <a:gd name="connsiteX6" fmla="*/ 142430 w 1235075"/>
                <a:gd name="connsiteY6" fmla="*/ 932792 h 1724025"/>
                <a:gd name="connsiteX7" fmla="*/ 60325 w 1235075"/>
                <a:gd name="connsiteY7" fmla="*/ 932792 h 1724025"/>
                <a:gd name="connsiteX8" fmla="*/ 62486 w 1235075"/>
                <a:gd name="connsiteY8" fmla="*/ 1032360 h 1724025"/>
                <a:gd name="connsiteX9" fmla="*/ 213731 w 1235075"/>
                <a:gd name="connsiteY9" fmla="*/ 1032360 h 1724025"/>
                <a:gd name="connsiteX10" fmla="*/ 315282 w 1235075"/>
                <a:gd name="connsiteY10" fmla="*/ 664393 h 1724025"/>
                <a:gd name="connsiteX11" fmla="*/ 462206 w 1235075"/>
                <a:gd name="connsiteY11" fmla="*/ 1465262 h 1724025"/>
                <a:gd name="connsiteX12" fmla="*/ 650182 w 1235075"/>
                <a:gd name="connsiteY12" fmla="*/ 837554 h 1724025"/>
                <a:gd name="connsiteX13" fmla="*/ 736608 w 1235075"/>
                <a:gd name="connsiteY13" fmla="*/ 1030195 h 1724025"/>
                <a:gd name="connsiteX14" fmla="*/ 892175 w 1235075"/>
                <a:gd name="connsiteY14" fmla="*/ 1030195 h 1724025"/>
                <a:gd name="connsiteX15" fmla="*/ 892175 w 1235075"/>
                <a:gd name="connsiteY15" fmla="*/ 1023702 h 1724025"/>
                <a:gd name="connsiteX16" fmla="*/ 890014 w 1235075"/>
                <a:gd name="connsiteY16" fmla="*/ 1021537 h 1724025"/>
                <a:gd name="connsiteX17" fmla="*/ 887854 w 1235075"/>
                <a:gd name="connsiteY17" fmla="*/ 1006386 h 1724025"/>
                <a:gd name="connsiteX18" fmla="*/ 887854 w 1235075"/>
                <a:gd name="connsiteY18" fmla="*/ 1002057 h 1724025"/>
                <a:gd name="connsiteX19" fmla="*/ 887854 w 1235075"/>
                <a:gd name="connsiteY19" fmla="*/ 986905 h 1724025"/>
                <a:gd name="connsiteX20" fmla="*/ 887854 w 1235075"/>
                <a:gd name="connsiteY20" fmla="*/ 973918 h 1724025"/>
                <a:gd name="connsiteX21" fmla="*/ 887854 w 1235075"/>
                <a:gd name="connsiteY21" fmla="*/ 969589 h 1724025"/>
                <a:gd name="connsiteX22" fmla="*/ 887854 w 1235075"/>
                <a:gd name="connsiteY22" fmla="*/ 963095 h 1724025"/>
                <a:gd name="connsiteX23" fmla="*/ 890014 w 1235075"/>
                <a:gd name="connsiteY23" fmla="*/ 958766 h 1724025"/>
                <a:gd name="connsiteX24" fmla="*/ 890014 w 1235075"/>
                <a:gd name="connsiteY24" fmla="*/ 952273 h 1724025"/>
                <a:gd name="connsiteX25" fmla="*/ 892175 w 1235075"/>
                <a:gd name="connsiteY25" fmla="*/ 945779 h 1724025"/>
                <a:gd name="connsiteX26" fmla="*/ 892175 w 1235075"/>
                <a:gd name="connsiteY26" fmla="*/ 941450 h 1724025"/>
                <a:gd name="connsiteX27" fmla="*/ 885693 w 1235075"/>
                <a:gd name="connsiteY27" fmla="*/ 941450 h 1724025"/>
                <a:gd name="connsiteX28" fmla="*/ 797107 w 1235075"/>
                <a:gd name="connsiteY28" fmla="*/ 941450 h 1724025"/>
                <a:gd name="connsiteX29" fmla="*/ 648022 w 1235075"/>
                <a:gd name="connsiteY29" fmla="*/ 543180 h 1724025"/>
                <a:gd name="connsiteX30" fmla="*/ 479491 w 1235075"/>
                <a:gd name="connsiteY30" fmla="*/ 1086473 h 1724025"/>
                <a:gd name="connsiteX31" fmla="*/ 330406 w 1235075"/>
                <a:gd name="connsiteY31" fmla="*/ 268287 h 1724025"/>
                <a:gd name="connsiteX32" fmla="*/ 345476 w 1235075"/>
                <a:gd name="connsiteY32" fmla="*/ 0 h 1724025"/>
                <a:gd name="connsiteX33" fmla="*/ 494462 w 1235075"/>
                <a:gd name="connsiteY33" fmla="*/ 830647 h 1724025"/>
                <a:gd name="connsiteX34" fmla="*/ 641289 w 1235075"/>
                <a:gd name="connsiteY34" fmla="*/ 359082 h 1724025"/>
                <a:gd name="connsiteX35" fmla="*/ 839937 w 1235075"/>
                <a:gd name="connsiteY35" fmla="*/ 880399 h 1724025"/>
                <a:gd name="connsiteX36" fmla="*/ 919829 w 1235075"/>
                <a:gd name="connsiteY36" fmla="*/ 880399 h 1724025"/>
                <a:gd name="connsiteX37" fmla="*/ 921988 w 1235075"/>
                <a:gd name="connsiteY37" fmla="*/ 880399 h 1724025"/>
                <a:gd name="connsiteX38" fmla="*/ 1060178 w 1235075"/>
                <a:gd name="connsiteY38" fmla="*/ 809016 h 1724025"/>
                <a:gd name="connsiteX39" fmla="*/ 1235075 w 1235075"/>
                <a:gd name="connsiteY39" fmla="*/ 986393 h 1724025"/>
                <a:gd name="connsiteX40" fmla="*/ 1060178 w 1235075"/>
                <a:gd name="connsiteY40" fmla="*/ 1161608 h 1724025"/>
                <a:gd name="connsiteX41" fmla="*/ 932784 w 1235075"/>
                <a:gd name="connsiteY41" fmla="*/ 1105366 h 1724025"/>
                <a:gd name="connsiteX42" fmla="*/ 915510 w 1235075"/>
                <a:gd name="connsiteY42" fmla="*/ 1090224 h 1724025"/>
                <a:gd name="connsiteX43" fmla="*/ 697429 w 1235075"/>
                <a:gd name="connsiteY43" fmla="*/ 1090224 h 1724025"/>
                <a:gd name="connsiteX44" fmla="*/ 660722 w 1235075"/>
                <a:gd name="connsiteY44" fmla="*/ 1010188 h 1724025"/>
                <a:gd name="connsiteX45" fmla="*/ 449118 w 1235075"/>
                <a:gd name="connsiteY45" fmla="*/ 1724025 h 1724025"/>
                <a:gd name="connsiteX46" fmla="*/ 304450 w 1235075"/>
                <a:gd name="connsiteY46" fmla="*/ 934478 h 1724025"/>
                <a:gd name="connsiteX47" fmla="*/ 261266 w 1235075"/>
                <a:gd name="connsiteY47" fmla="*/ 1092387 h 1724025"/>
                <a:gd name="connsiteX48" fmla="*/ 2159 w 1235075"/>
                <a:gd name="connsiteY48" fmla="*/ 1092387 h 1724025"/>
                <a:gd name="connsiteX49" fmla="*/ 0 w 1235075"/>
                <a:gd name="connsiteY49" fmla="*/ 871747 h 1724025"/>
                <a:gd name="connsiteX50" fmla="*/ 97165 w 1235075"/>
                <a:gd name="connsiteY50" fmla="*/ 871747 h 1724025"/>
                <a:gd name="connsiteX51" fmla="*/ 345476 w 1235075"/>
                <a:gd name="connsiteY51" fmla="*/ 0 h 1724025"/>
                <a:gd name="connsiteX0" fmla="*/ 1060564 w 1235075"/>
                <a:gd name="connsiteY0" fmla="*/ 869950 h 1724025"/>
                <a:gd name="connsiteX1" fmla="*/ 963613 w 1235075"/>
                <a:gd name="connsiteY1" fmla="*/ 1043240 h 1724025"/>
                <a:gd name="connsiteX2" fmla="*/ 1060564 w 1235075"/>
                <a:gd name="connsiteY2" fmla="*/ 1101725 h 1724025"/>
                <a:gd name="connsiteX3" fmla="*/ 1174751 w 1235075"/>
                <a:gd name="connsiteY3" fmla="*/ 986921 h 1724025"/>
                <a:gd name="connsiteX4" fmla="*/ 1060564 w 1235075"/>
                <a:gd name="connsiteY4" fmla="*/ 869950 h 1724025"/>
                <a:gd name="connsiteX5" fmla="*/ 330406 w 1235075"/>
                <a:gd name="connsiteY5" fmla="*/ 268287 h 1724025"/>
                <a:gd name="connsiteX6" fmla="*/ 142430 w 1235075"/>
                <a:gd name="connsiteY6" fmla="*/ 932792 h 1724025"/>
                <a:gd name="connsiteX7" fmla="*/ 60325 w 1235075"/>
                <a:gd name="connsiteY7" fmla="*/ 932792 h 1724025"/>
                <a:gd name="connsiteX8" fmla="*/ 62486 w 1235075"/>
                <a:gd name="connsiteY8" fmla="*/ 1032360 h 1724025"/>
                <a:gd name="connsiteX9" fmla="*/ 213731 w 1235075"/>
                <a:gd name="connsiteY9" fmla="*/ 1032360 h 1724025"/>
                <a:gd name="connsiteX10" fmla="*/ 315282 w 1235075"/>
                <a:gd name="connsiteY10" fmla="*/ 664393 h 1724025"/>
                <a:gd name="connsiteX11" fmla="*/ 462206 w 1235075"/>
                <a:gd name="connsiteY11" fmla="*/ 1465262 h 1724025"/>
                <a:gd name="connsiteX12" fmla="*/ 650182 w 1235075"/>
                <a:gd name="connsiteY12" fmla="*/ 837554 h 1724025"/>
                <a:gd name="connsiteX13" fmla="*/ 736608 w 1235075"/>
                <a:gd name="connsiteY13" fmla="*/ 1030195 h 1724025"/>
                <a:gd name="connsiteX14" fmla="*/ 892175 w 1235075"/>
                <a:gd name="connsiteY14" fmla="*/ 1030195 h 1724025"/>
                <a:gd name="connsiteX15" fmla="*/ 892175 w 1235075"/>
                <a:gd name="connsiteY15" fmla="*/ 1023702 h 1724025"/>
                <a:gd name="connsiteX16" fmla="*/ 890014 w 1235075"/>
                <a:gd name="connsiteY16" fmla="*/ 1021537 h 1724025"/>
                <a:gd name="connsiteX17" fmla="*/ 887854 w 1235075"/>
                <a:gd name="connsiteY17" fmla="*/ 1006386 h 1724025"/>
                <a:gd name="connsiteX18" fmla="*/ 887854 w 1235075"/>
                <a:gd name="connsiteY18" fmla="*/ 1002057 h 1724025"/>
                <a:gd name="connsiteX19" fmla="*/ 887854 w 1235075"/>
                <a:gd name="connsiteY19" fmla="*/ 986905 h 1724025"/>
                <a:gd name="connsiteX20" fmla="*/ 887854 w 1235075"/>
                <a:gd name="connsiteY20" fmla="*/ 973918 h 1724025"/>
                <a:gd name="connsiteX21" fmla="*/ 887854 w 1235075"/>
                <a:gd name="connsiteY21" fmla="*/ 969589 h 1724025"/>
                <a:gd name="connsiteX22" fmla="*/ 887854 w 1235075"/>
                <a:gd name="connsiteY22" fmla="*/ 963095 h 1724025"/>
                <a:gd name="connsiteX23" fmla="*/ 890014 w 1235075"/>
                <a:gd name="connsiteY23" fmla="*/ 958766 h 1724025"/>
                <a:gd name="connsiteX24" fmla="*/ 890014 w 1235075"/>
                <a:gd name="connsiteY24" fmla="*/ 952273 h 1724025"/>
                <a:gd name="connsiteX25" fmla="*/ 892175 w 1235075"/>
                <a:gd name="connsiteY25" fmla="*/ 945779 h 1724025"/>
                <a:gd name="connsiteX26" fmla="*/ 892175 w 1235075"/>
                <a:gd name="connsiteY26" fmla="*/ 941450 h 1724025"/>
                <a:gd name="connsiteX27" fmla="*/ 885693 w 1235075"/>
                <a:gd name="connsiteY27" fmla="*/ 941450 h 1724025"/>
                <a:gd name="connsiteX28" fmla="*/ 797107 w 1235075"/>
                <a:gd name="connsiteY28" fmla="*/ 941450 h 1724025"/>
                <a:gd name="connsiteX29" fmla="*/ 648022 w 1235075"/>
                <a:gd name="connsiteY29" fmla="*/ 543180 h 1724025"/>
                <a:gd name="connsiteX30" fmla="*/ 479491 w 1235075"/>
                <a:gd name="connsiteY30" fmla="*/ 1086473 h 1724025"/>
                <a:gd name="connsiteX31" fmla="*/ 330406 w 1235075"/>
                <a:gd name="connsiteY31" fmla="*/ 268287 h 1724025"/>
                <a:gd name="connsiteX32" fmla="*/ 345476 w 1235075"/>
                <a:gd name="connsiteY32" fmla="*/ 0 h 1724025"/>
                <a:gd name="connsiteX33" fmla="*/ 494462 w 1235075"/>
                <a:gd name="connsiteY33" fmla="*/ 830647 h 1724025"/>
                <a:gd name="connsiteX34" fmla="*/ 641289 w 1235075"/>
                <a:gd name="connsiteY34" fmla="*/ 359082 h 1724025"/>
                <a:gd name="connsiteX35" fmla="*/ 839937 w 1235075"/>
                <a:gd name="connsiteY35" fmla="*/ 880399 h 1724025"/>
                <a:gd name="connsiteX36" fmla="*/ 919829 w 1235075"/>
                <a:gd name="connsiteY36" fmla="*/ 880399 h 1724025"/>
                <a:gd name="connsiteX37" fmla="*/ 921988 w 1235075"/>
                <a:gd name="connsiteY37" fmla="*/ 880399 h 1724025"/>
                <a:gd name="connsiteX38" fmla="*/ 1060178 w 1235075"/>
                <a:gd name="connsiteY38" fmla="*/ 809016 h 1724025"/>
                <a:gd name="connsiteX39" fmla="*/ 1235075 w 1235075"/>
                <a:gd name="connsiteY39" fmla="*/ 986393 h 1724025"/>
                <a:gd name="connsiteX40" fmla="*/ 1060178 w 1235075"/>
                <a:gd name="connsiteY40" fmla="*/ 1161608 h 1724025"/>
                <a:gd name="connsiteX41" fmla="*/ 932784 w 1235075"/>
                <a:gd name="connsiteY41" fmla="*/ 1105366 h 1724025"/>
                <a:gd name="connsiteX42" fmla="*/ 915510 w 1235075"/>
                <a:gd name="connsiteY42" fmla="*/ 1090224 h 1724025"/>
                <a:gd name="connsiteX43" fmla="*/ 697429 w 1235075"/>
                <a:gd name="connsiteY43" fmla="*/ 1090224 h 1724025"/>
                <a:gd name="connsiteX44" fmla="*/ 660722 w 1235075"/>
                <a:gd name="connsiteY44" fmla="*/ 1010188 h 1724025"/>
                <a:gd name="connsiteX45" fmla="*/ 449118 w 1235075"/>
                <a:gd name="connsiteY45" fmla="*/ 1724025 h 1724025"/>
                <a:gd name="connsiteX46" fmla="*/ 304450 w 1235075"/>
                <a:gd name="connsiteY46" fmla="*/ 934478 h 1724025"/>
                <a:gd name="connsiteX47" fmla="*/ 261266 w 1235075"/>
                <a:gd name="connsiteY47" fmla="*/ 1092387 h 1724025"/>
                <a:gd name="connsiteX48" fmla="*/ 2159 w 1235075"/>
                <a:gd name="connsiteY48" fmla="*/ 1092387 h 1724025"/>
                <a:gd name="connsiteX49" fmla="*/ 0 w 1235075"/>
                <a:gd name="connsiteY49" fmla="*/ 871747 h 1724025"/>
                <a:gd name="connsiteX50" fmla="*/ 97165 w 1235075"/>
                <a:gd name="connsiteY50" fmla="*/ 871747 h 1724025"/>
                <a:gd name="connsiteX51" fmla="*/ 345476 w 1235075"/>
                <a:gd name="connsiteY51" fmla="*/ 0 h 1724025"/>
                <a:gd name="connsiteX0" fmla="*/ 1060564 w 1235075"/>
                <a:gd name="connsiteY0" fmla="*/ 869950 h 1724025"/>
                <a:gd name="connsiteX1" fmla="*/ 963613 w 1235075"/>
                <a:gd name="connsiteY1" fmla="*/ 1043240 h 1724025"/>
                <a:gd name="connsiteX2" fmla="*/ 1060564 w 1235075"/>
                <a:gd name="connsiteY2" fmla="*/ 1101725 h 1724025"/>
                <a:gd name="connsiteX3" fmla="*/ 1174751 w 1235075"/>
                <a:gd name="connsiteY3" fmla="*/ 986921 h 1724025"/>
                <a:gd name="connsiteX4" fmla="*/ 1060564 w 1235075"/>
                <a:gd name="connsiteY4" fmla="*/ 869950 h 1724025"/>
                <a:gd name="connsiteX5" fmla="*/ 330406 w 1235075"/>
                <a:gd name="connsiteY5" fmla="*/ 268287 h 1724025"/>
                <a:gd name="connsiteX6" fmla="*/ 142430 w 1235075"/>
                <a:gd name="connsiteY6" fmla="*/ 932792 h 1724025"/>
                <a:gd name="connsiteX7" fmla="*/ 60325 w 1235075"/>
                <a:gd name="connsiteY7" fmla="*/ 932792 h 1724025"/>
                <a:gd name="connsiteX8" fmla="*/ 62486 w 1235075"/>
                <a:gd name="connsiteY8" fmla="*/ 1032360 h 1724025"/>
                <a:gd name="connsiteX9" fmla="*/ 213731 w 1235075"/>
                <a:gd name="connsiteY9" fmla="*/ 1032360 h 1724025"/>
                <a:gd name="connsiteX10" fmla="*/ 315282 w 1235075"/>
                <a:gd name="connsiteY10" fmla="*/ 664393 h 1724025"/>
                <a:gd name="connsiteX11" fmla="*/ 462206 w 1235075"/>
                <a:gd name="connsiteY11" fmla="*/ 1465262 h 1724025"/>
                <a:gd name="connsiteX12" fmla="*/ 650182 w 1235075"/>
                <a:gd name="connsiteY12" fmla="*/ 837554 h 1724025"/>
                <a:gd name="connsiteX13" fmla="*/ 736608 w 1235075"/>
                <a:gd name="connsiteY13" fmla="*/ 1030195 h 1724025"/>
                <a:gd name="connsiteX14" fmla="*/ 892175 w 1235075"/>
                <a:gd name="connsiteY14" fmla="*/ 1030195 h 1724025"/>
                <a:gd name="connsiteX15" fmla="*/ 892175 w 1235075"/>
                <a:gd name="connsiteY15" fmla="*/ 1023702 h 1724025"/>
                <a:gd name="connsiteX16" fmla="*/ 890014 w 1235075"/>
                <a:gd name="connsiteY16" fmla="*/ 1021537 h 1724025"/>
                <a:gd name="connsiteX17" fmla="*/ 887854 w 1235075"/>
                <a:gd name="connsiteY17" fmla="*/ 1006386 h 1724025"/>
                <a:gd name="connsiteX18" fmla="*/ 887854 w 1235075"/>
                <a:gd name="connsiteY18" fmla="*/ 1002057 h 1724025"/>
                <a:gd name="connsiteX19" fmla="*/ 887854 w 1235075"/>
                <a:gd name="connsiteY19" fmla="*/ 986905 h 1724025"/>
                <a:gd name="connsiteX20" fmla="*/ 887854 w 1235075"/>
                <a:gd name="connsiteY20" fmla="*/ 973918 h 1724025"/>
                <a:gd name="connsiteX21" fmla="*/ 887854 w 1235075"/>
                <a:gd name="connsiteY21" fmla="*/ 969589 h 1724025"/>
                <a:gd name="connsiteX22" fmla="*/ 887854 w 1235075"/>
                <a:gd name="connsiteY22" fmla="*/ 963095 h 1724025"/>
                <a:gd name="connsiteX23" fmla="*/ 890014 w 1235075"/>
                <a:gd name="connsiteY23" fmla="*/ 958766 h 1724025"/>
                <a:gd name="connsiteX24" fmla="*/ 890014 w 1235075"/>
                <a:gd name="connsiteY24" fmla="*/ 952273 h 1724025"/>
                <a:gd name="connsiteX25" fmla="*/ 892175 w 1235075"/>
                <a:gd name="connsiteY25" fmla="*/ 945779 h 1724025"/>
                <a:gd name="connsiteX26" fmla="*/ 892175 w 1235075"/>
                <a:gd name="connsiteY26" fmla="*/ 941450 h 1724025"/>
                <a:gd name="connsiteX27" fmla="*/ 885693 w 1235075"/>
                <a:gd name="connsiteY27" fmla="*/ 941450 h 1724025"/>
                <a:gd name="connsiteX28" fmla="*/ 797107 w 1235075"/>
                <a:gd name="connsiteY28" fmla="*/ 941450 h 1724025"/>
                <a:gd name="connsiteX29" fmla="*/ 648022 w 1235075"/>
                <a:gd name="connsiteY29" fmla="*/ 543180 h 1724025"/>
                <a:gd name="connsiteX30" fmla="*/ 479491 w 1235075"/>
                <a:gd name="connsiteY30" fmla="*/ 1086473 h 1724025"/>
                <a:gd name="connsiteX31" fmla="*/ 330406 w 1235075"/>
                <a:gd name="connsiteY31" fmla="*/ 268287 h 1724025"/>
                <a:gd name="connsiteX32" fmla="*/ 345476 w 1235075"/>
                <a:gd name="connsiteY32" fmla="*/ 0 h 1724025"/>
                <a:gd name="connsiteX33" fmla="*/ 494462 w 1235075"/>
                <a:gd name="connsiteY33" fmla="*/ 830647 h 1724025"/>
                <a:gd name="connsiteX34" fmla="*/ 641289 w 1235075"/>
                <a:gd name="connsiteY34" fmla="*/ 359082 h 1724025"/>
                <a:gd name="connsiteX35" fmla="*/ 839937 w 1235075"/>
                <a:gd name="connsiteY35" fmla="*/ 880399 h 1724025"/>
                <a:gd name="connsiteX36" fmla="*/ 919829 w 1235075"/>
                <a:gd name="connsiteY36" fmla="*/ 880399 h 1724025"/>
                <a:gd name="connsiteX37" fmla="*/ 921988 w 1235075"/>
                <a:gd name="connsiteY37" fmla="*/ 880399 h 1724025"/>
                <a:gd name="connsiteX38" fmla="*/ 1060178 w 1235075"/>
                <a:gd name="connsiteY38" fmla="*/ 809016 h 1724025"/>
                <a:gd name="connsiteX39" fmla="*/ 1235075 w 1235075"/>
                <a:gd name="connsiteY39" fmla="*/ 986393 h 1724025"/>
                <a:gd name="connsiteX40" fmla="*/ 1060178 w 1235075"/>
                <a:gd name="connsiteY40" fmla="*/ 1161608 h 1724025"/>
                <a:gd name="connsiteX41" fmla="*/ 932784 w 1235075"/>
                <a:gd name="connsiteY41" fmla="*/ 1105366 h 1724025"/>
                <a:gd name="connsiteX42" fmla="*/ 915510 w 1235075"/>
                <a:gd name="connsiteY42" fmla="*/ 1090224 h 1724025"/>
                <a:gd name="connsiteX43" fmla="*/ 697429 w 1235075"/>
                <a:gd name="connsiteY43" fmla="*/ 1090224 h 1724025"/>
                <a:gd name="connsiteX44" fmla="*/ 660722 w 1235075"/>
                <a:gd name="connsiteY44" fmla="*/ 1010188 h 1724025"/>
                <a:gd name="connsiteX45" fmla="*/ 449118 w 1235075"/>
                <a:gd name="connsiteY45" fmla="*/ 1724025 h 1724025"/>
                <a:gd name="connsiteX46" fmla="*/ 304450 w 1235075"/>
                <a:gd name="connsiteY46" fmla="*/ 934478 h 1724025"/>
                <a:gd name="connsiteX47" fmla="*/ 261266 w 1235075"/>
                <a:gd name="connsiteY47" fmla="*/ 1092387 h 1724025"/>
                <a:gd name="connsiteX48" fmla="*/ 2159 w 1235075"/>
                <a:gd name="connsiteY48" fmla="*/ 1092387 h 1724025"/>
                <a:gd name="connsiteX49" fmla="*/ 0 w 1235075"/>
                <a:gd name="connsiteY49" fmla="*/ 871747 h 1724025"/>
                <a:gd name="connsiteX50" fmla="*/ 97165 w 1235075"/>
                <a:gd name="connsiteY50" fmla="*/ 871747 h 1724025"/>
                <a:gd name="connsiteX51" fmla="*/ 345476 w 1235075"/>
                <a:gd name="connsiteY51" fmla="*/ 0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235075" h="1724025">
                  <a:moveTo>
                    <a:pt x="1060564" y="869950"/>
                  </a:moveTo>
                  <a:cubicBezTo>
                    <a:pt x="1000609" y="873621"/>
                    <a:pt x="921703" y="928411"/>
                    <a:pt x="963613" y="1043240"/>
                  </a:cubicBezTo>
                  <a:cubicBezTo>
                    <a:pt x="983003" y="1080064"/>
                    <a:pt x="1019629" y="1101725"/>
                    <a:pt x="1060564" y="1101725"/>
                  </a:cubicBezTo>
                  <a:cubicBezTo>
                    <a:pt x="1123044" y="1101725"/>
                    <a:pt x="1174751" y="1049738"/>
                    <a:pt x="1174751" y="986921"/>
                  </a:cubicBezTo>
                  <a:cubicBezTo>
                    <a:pt x="1174751" y="921937"/>
                    <a:pt x="1123044" y="869950"/>
                    <a:pt x="1060564" y="869950"/>
                  </a:cubicBezTo>
                  <a:close/>
                  <a:moveTo>
                    <a:pt x="330406" y="268287"/>
                  </a:moveTo>
                  <a:lnTo>
                    <a:pt x="142430" y="932792"/>
                  </a:lnTo>
                  <a:lnTo>
                    <a:pt x="60325" y="932792"/>
                  </a:lnTo>
                  <a:cubicBezTo>
                    <a:pt x="61045" y="965981"/>
                    <a:pt x="61766" y="999171"/>
                    <a:pt x="62486" y="1032360"/>
                  </a:cubicBezTo>
                  <a:lnTo>
                    <a:pt x="213731" y="1032360"/>
                  </a:lnTo>
                  <a:lnTo>
                    <a:pt x="315282" y="664393"/>
                  </a:lnTo>
                  <a:lnTo>
                    <a:pt x="462206" y="1465262"/>
                  </a:lnTo>
                  <a:lnTo>
                    <a:pt x="650182" y="837554"/>
                  </a:lnTo>
                  <a:lnTo>
                    <a:pt x="736608" y="1030195"/>
                  </a:lnTo>
                  <a:lnTo>
                    <a:pt x="892175" y="1030195"/>
                  </a:lnTo>
                  <a:lnTo>
                    <a:pt x="892175" y="1023702"/>
                  </a:lnTo>
                  <a:lnTo>
                    <a:pt x="890014" y="1021537"/>
                  </a:lnTo>
                  <a:cubicBezTo>
                    <a:pt x="890014" y="1015044"/>
                    <a:pt x="890014" y="1010715"/>
                    <a:pt x="887854" y="1006386"/>
                  </a:cubicBezTo>
                  <a:lnTo>
                    <a:pt x="887854" y="1002057"/>
                  </a:lnTo>
                  <a:lnTo>
                    <a:pt x="887854" y="986905"/>
                  </a:lnTo>
                  <a:lnTo>
                    <a:pt x="887854" y="973918"/>
                  </a:lnTo>
                  <a:lnTo>
                    <a:pt x="887854" y="969589"/>
                  </a:lnTo>
                  <a:lnTo>
                    <a:pt x="887854" y="963095"/>
                  </a:lnTo>
                  <a:cubicBezTo>
                    <a:pt x="890014" y="960931"/>
                    <a:pt x="890014" y="958766"/>
                    <a:pt x="890014" y="958766"/>
                  </a:cubicBezTo>
                  <a:lnTo>
                    <a:pt x="890014" y="952273"/>
                  </a:lnTo>
                  <a:cubicBezTo>
                    <a:pt x="892175" y="950108"/>
                    <a:pt x="892175" y="947944"/>
                    <a:pt x="892175" y="945779"/>
                  </a:cubicBezTo>
                  <a:lnTo>
                    <a:pt x="892175" y="941450"/>
                  </a:lnTo>
                  <a:lnTo>
                    <a:pt x="885693" y="941450"/>
                  </a:lnTo>
                  <a:lnTo>
                    <a:pt x="797107" y="941450"/>
                  </a:lnTo>
                  <a:lnTo>
                    <a:pt x="648022" y="543180"/>
                  </a:lnTo>
                  <a:lnTo>
                    <a:pt x="479491" y="1086473"/>
                  </a:lnTo>
                  <a:lnTo>
                    <a:pt x="330406" y="268287"/>
                  </a:lnTo>
                  <a:close/>
                  <a:moveTo>
                    <a:pt x="345476" y="0"/>
                  </a:moveTo>
                  <a:lnTo>
                    <a:pt x="494462" y="830647"/>
                  </a:lnTo>
                  <a:lnTo>
                    <a:pt x="641289" y="359082"/>
                  </a:lnTo>
                  <a:lnTo>
                    <a:pt x="839937" y="880399"/>
                  </a:lnTo>
                  <a:lnTo>
                    <a:pt x="919829" y="880399"/>
                  </a:lnTo>
                  <a:lnTo>
                    <a:pt x="921988" y="880399"/>
                  </a:lnTo>
                  <a:cubicBezTo>
                    <a:pt x="954376" y="834973"/>
                    <a:pt x="1006197" y="809016"/>
                    <a:pt x="1060178" y="809016"/>
                  </a:cubicBezTo>
                  <a:cubicBezTo>
                    <a:pt x="1157343" y="809016"/>
                    <a:pt x="1235075" y="889052"/>
                    <a:pt x="1235075" y="986393"/>
                  </a:cubicBezTo>
                  <a:cubicBezTo>
                    <a:pt x="1235075" y="1083735"/>
                    <a:pt x="1157343" y="1161608"/>
                    <a:pt x="1060178" y="1161608"/>
                  </a:cubicBezTo>
                  <a:cubicBezTo>
                    <a:pt x="1012675" y="1161608"/>
                    <a:pt x="965172" y="1139977"/>
                    <a:pt x="932784" y="1105366"/>
                  </a:cubicBezTo>
                  <a:lnTo>
                    <a:pt x="915510" y="1090224"/>
                  </a:lnTo>
                  <a:lnTo>
                    <a:pt x="697429" y="1090224"/>
                  </a:lnTo>
                  <a:lnTo>
                    <a:pt x="660722" y="1010188"/>
                  </a:lnTo>
                  <a:lnTo>
                    <a:pt x="449118" y="1724025"/>
                  </a:lnTo>
                  <a:lnTo>
                    <a:pt x="304450" y="934478"/>
                  </a:lnTo>
                  <a:lnTo>
                    <a:pt x="261266" y="1092387"/>
                  </a:lnTo>
                  <a:lnTo>
                    <a:pt x="2159" y="1092387"/>
                  </a:lnTo>
                  <a:cubicBezTo>
                    <a:pt x="1439" y="1018840"/>
                    <a:pt x="720" y="945294"/>
                    <a:pt x="0" y="871747"/>
                  </a:cubicBezTo>
                  <a:lnTo>
                    <a:pt x="97165" y="871747"/>
                  </a:lnTo>
                  <a:lnTo>
                    <a:pt x="3454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7" name="Freeform: Shape 336">
              <a:extLst>
                <a:ext uri="{FF2B5EF4-FFF2-40B4-BE49-F238E27FC236}">
                  <a16:creationId xmlns:a16="http://schemas.microsoft.com/office/drawing/2014/main" id="{6B1ECE18-22A4-4EA5-A123-B36D2BB06D17}"/>
                </a:ext>
              </a:extLst>
            </p:cNvPr>
            <p:cNvSpPr>
              <a:spLocks/>
            </p:cNvSpPr>
            <p:nvPr/>
          </p:nvSpPr>
          <p:spPr bwMode="auto">
            <a:xfrm>
              <a:off x="-709613" y="4652963"/>
              <a:ext cx="358775" cy="712788"/>
            </a:xfrm>
            <a:custGeom>
              <a:avLst/>
              <a:gdLst>
                <a:gd name="connsiteX0" fmla="*/ 137295 w 358775"/>
                <a:gd name="connsiteY0" fmla="*/ 80962 h 712788"/>
                <a:gd name="connsiteX1" fmla="*/ 85725 w 358775"/>
                <a:gd name="connsiteY1" fmla="*/ 156710 h 712788"/>
                <a:gd name="connsiteX2" fmla="*/ 92171 w 358775"/>
                <a:gd name="connsiteY2" fmla="*/ 161038 h 712788"/>
                <a:gd name="connsiteX3" fmla="*/ 201757 w 358775"/>
                <a:gd name="connsiteY3" fmla="*/ 357981 h 712788"/>
                <a:gd name="connsiteX4" fmla="*/ 92171 w 358775"/>
                <a:gd name="connsiteY4" fmla="*/ 557089 h 712788"/>
                <a:gd name="connsiteX5" fmla="*/ 90023 w 358775"/>
                <a:gd name="connsiteY5" fmla="*/ 557089 h 712788"/>
                <a:gd name="connsiteX6" fmla="*/ 143741 w 358775"/>
                <a:gd name="connsiteY6" fmla="*/ 635000 h 712788"/>
                <a:gd name="connsiteX7" fmla="*/ 148038 w 358775"/>
                <a:gd name="connsiteY7" fmla="*/ 630672 h 712788"/>
                <a:gd name="connsiteX8" fmla="*/ 298450 w 358775"/>
                <a:gd name="connsiteY8" fmla="*/ 357981 h 712788"/>
                <a:gd name="connsiteX9" fmla="*/ 148038 w 358775"/>
                <a:gd name="connsiteY9" fmla="*/ 85291 h 712788"/>
                <a:gd name="connsiteX10" fmla="*/ 137295 w 358775"/>
                <a:gd name="connsiteY10" fmla="*/ 80962 h 712788"/>
                <a:gd name="connsiteX11" fmla="*/ 118159 w 358775"/>
                <a:gd name="connsiteY11" fmla="*/ 0 h 712788"/>
                <a:gd name="connsiteX12" fmla="*/ 180462 w 358775"/>
                <a:gd name="connsiteY12" fmla="*/ 32498 h 712788"/>
                <a:gd name="connsiteX13" fmla="*/ 358775 w 358775"/>
                <a:gd name="connsiteY13" fmla="*/ 357477 h 712788"/>
                <a:gd name="connsiteX14" fmla="*/ 180462 w 358775"/>
                <a:gd name="connsiteY14" fmla="*/ 682457 h 712788"/>
                <a:gd name="connsiteX15" fmla="*/ 178313 w 358775"/>
                <a:gd name="connsiteY15" fmla="*/ 684623 h 712788"/>
                <a:gd name="connsiteX16" fmla="*/ 122456 w 358775"/>
                <a:gd name="connsiteY16" fmla="*/ 712788 h 712788"/>
                <a:gd name="connsiteX17" fmla="*/ 2148 w 358775"/>
                <a:gd name="connsiteY17" fmla="*/ 535133 h 712788"/>
                <a:gd name="connsiteX18" fmla="*/ 60154 w 358775"/>
                <a:gd name="connsiteY18" fmla="*/ 504801 h 712788"/>
                <a:gd name="connsiteX19" fmla="*/ 141791 w 358775"/>
                <a:gd name="connsiteY19" fmla="*/ 357477 h 712788"/>
                <a:gd name="connsiteX20" fmla="*/ 60154 w 358775"/>
                <a:gd name="connsiteY20" fmla="*/ 212320 h 712788"/>
                <a:gd name="connsiteX21" fmla="*/ 0 w 358775"/>
                <a:gd name="connsiteY21" fmla="*/ 179822 h 712788"/>
                <a:gd name="connsiteX22" fmla="*/ 118159 w 358775"/>
                <a:gd name="connsiteY22" fmla="*/ 0 h 712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8775" h="712788">
                  <a:moveTo>
                    <a:pt x="137295" y="80962"/>
                  </a:moveTo>
                  <a:cubicBezTo>
                    <a:pt x="137295" y="80962"/>
                    <a:pt x="137295" y="80962"/>
                    <a:pt x="85725" y="156710"/>
                  </a:cubicBezTo>
                  <a:cubicBezTo>
                    <a:pt x="85725" y="156710"/>
                    <a:pt x="85725" y="156710"/>
                    <a:pt x="92171" y="161038"/>
                  </a:cubicBezTo>
                  <a:cubicBezTo>
                    <a:pt x="160931" y="204322"/>
                    <a:pt x="201757" y="277905"/>
                    <a:pt x="201757" y="357981"/>
                  </a:cubicBezTo>
                  <a:cubicBezTo>
                    <a:pt x="201757" y="438057"/>
                    <a:pt x="160931" y="511640"/>
                    <a:pt x="92171" y="557089"/>
                  </a:cubicBezTo>
                  <a:cubicBezTo>
                    <a:pt x="92171" y="557089"/>
                    <a:pt x="92171" y="557089"/>
                    <a:pt x="90023" y="557089"/>
                  </a:cubicBezTo>
                  <a:cubicBezTo>
                    <a:pt x="90023" y="557089"/>
                    <a:pt x="90023" y="557089"/>
                    <a:pt x="143741" y="635000"/>
                  </a:cubicBezTo>
                  <a:lnTo>
                    <a:pt x="148038" y="630672"/>
                  </a:lnTo>
                  <a:cubicBezTo>
                    <a:pt x="242583" y="570074"/>
                    <a:pt x="298450" y="468356"/>
                    <a:pt x="298450" y="357981"/>
                  </a:cubicBezTo>
                  <a:cubicBezTo>
                    <a:pt x="298450" y="249771"/>
                    <a:pt x="242583" y="148053"/>
                    <a:pt x="148038" y="85291"/>
                  </a:cubicBezTo>
                  <a:cubicBezTo>
                    <a:pt x="148038" y="85291"/>
                    <a:pt x="148038" y="85291"/>
                    <a:pt x="137295" y="80962"/>
                  </a:cubicBezTo>
                  <a:close/>
                  <a:moveTo>
                    <a:pt x="118159" y="0"/>
                  </a:moveTo>
                  <a:cubicBezTo>
                    <a:pt x="118159" y="0"/>
                    <a:pt x="118159" y="0"/>
                    <a:pt x="180462" y="32498"/>
                  </a:cubicBezTo>
                  <a:cubicBezTo>
                    <a:pt x="292176" y="106160"/>
                    <a:pt x="358775" y="227486"/>
                    <a:pt x="358775" y="357477"/>
                  </a:cubicBezTo>
                  <a:cubicBezTo>
                    <a:pt x="358775" y="487469"/>
                    <a:pt x="292176" y="608795"/>
                    <a:pt x="180462" y="682457"/>
                  </a:cubicBezTo>
                  <a:lnTo>
                    <a:pt x="178313" y="684623"/>
                  </a:lnTo>
                  <a:cubicBezTo>
                    <a:pt x="178313" y="684623"/>
                    <a:pt x="178313" y="684623"/>
                    <a:pt x="122456" y="712788"/>
                  </a:cubicBezTo>
                  <a:cubicBezTo>
                    <a:pt x="122456" y="712788"/>
                    <a:pt x="122456" y="712788"/>
                    <a:pt x="2148" y="535133"/>
                  </a:cubicBezTo>
                  <a:cubicBezTo>
                    <a:pt x="2148" y="535133"/>
                    <a:pt x="2148" y="535133"/>
                    <a:pt x="60154" y="504801"/>
                  </a:cubicBezTo>
                  <a:cubicBezTo>
                    <a:pt x="111714" y="470137"/>
                    <a:pt x="141791" y="415974"/>
                    <a:pt x="141791" y="357477"/>
                  </a:cubicBezTo>
                  <a:cubicBezTo>
                    <a:pt x="141791" y="298981"/>
                    <a:pt x="111714" y="244818"/>
                    <a:pt x="60154" y="212320"/>
                  </a:cubicBezTo>
                  <a:cubicBezTo>
                    <a:pt x="60154" y="212320"/>
                    <a:pt x="60154" y="212320"/>
                    <a:pt x="0" y="179822"/>
                  </a:cubicBezTo>
                  <a:cubicBezTo>
                    <a:pt x="0" y="179822"/>
                    <a:pt x="0" y="179822"/>
                    <a:pt x="1181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6" name="Freeform: Shape 335">
              <a:extLst>
                <a:ext uri="{FF2B5EF4-FFF2-40B4-BE49-F238E27FC236}">
                  <a16:creationId xmlns:a16="http://schemas.microsoft.com/office/drawing/2014/main" id="{1DA64DB6-F46F-464C-971D-5DB7BDA86BE9}"/>
                </a:ext>
              </a:extLst>
            </p:cNvPr>
            <p:cNvSpPr>
              <a:spLocks/>
            </p:cNvSpPr>
            <p:nvPr/>
          </p:nvSpPr>
          <p:spPr bwMode="auto">
            <a:xfrm>
              <a:off x="-541338" y="4384675"/>
              <a:ext cx="481013" cy="1225550"/>
            </a:xfrm>
            <a:custGeom>
              <a:avLst/>
              <a:gdLst>
                <a:gd name="connsiteX0" fmla="*/ 131107 w 481013"/>
                <a:gd name="connsiteY0" fmla="*/ 80963 h 1225550"/>
                <a:gd name="connsiteX1" fmla="*/ 85725 w 481013"/>
                <a:gd name="connsiteY1" fmla="*/ 152410 h 1225550"/>
                <a:gd name="connsiteX2" fmla="*/ 90047 w 481013"/>
                <a:gd name="connsiteY2" fmla="*/ 154576 h 1225550"/>
                <a:gd name="connsiteX3" fmla="*/ 334246 w 481013"/>
                <a:gd name="connsiteY3" fmla="*/ 615735 h 1225550"/>
                <a:gd name="connsiteX4" fmla="*/ 92208 w 481013"/>
                <a:gd name="connsiteY4" fmla="*/ 1074729 h 1225550"/>
                <a:gd name="connsiteX5" fmla="*/ 137590 w 481013"/>
                <a:gd name="connsiteY5" fmla="*/ 1146176 h 1225550"/>
                <a:gd name="connsiteX6" fmla="*/ 420688 w 481013"/>
                <a:gd name="connsiteY6" fmla="*/ 615735 h 1225550"/>
                <a:gd name="connsiteX7" fmla="*/ 137590 w 481013"/>
                <a:gd name="connsiteY7" fmla="*/ 85293 h 1225550"/>
                <a:gd name="connsiteX8" fmla="*/ 131107 w 481013"/>
                <a:gd name="connsiteY8" fmla="*/ 80963 h 1225550"/>
                <a:gd name="connsiteX9" fmla="*/ 110007 w 481013"/>
                <a:gd name="connsiteY9" fmla="*/ 0 h 1225550"/>
                <a:gd name="connsiteX10" fmla="*/ 170404 w 481013"/>
                <a:gd name="connsiteY10" fmla="*/ 32479 h 1225550"/>
                <a:gd name="connsiteX11" fmla="*/ 481013 w 481013"/>
                <a:gd name="connsiteY11" fmla="*/ 614941 h 1225550"/>
                <a:gd name="connsiteX12" fmla="*/ 170404 w 481013"/>
                <a:gd name="connsiteY12" fmla="*/ 1197402 h 1225550"/>
                <a:gd name="connsiteX13" fmla="*/ 168247 w 481013"/>
                <a:gd name="connsiteY13" fmla="*/ 1197402 h 1225550"/>
                <a:gd name="connsiteX14" fmla="*/ 118636 w 481013"/>
                <a:gd name="connsiteY14" fmla="*/ 1225550 h 1225550"/>
                <a:gd name="connsiteX15" fmla="*/ 6471 w 481013"/>
                <a:gd name="connsiteY15" fmla="*/ 1052328 h 1225550"/>
                <a:gd name="connsiteX16" fmla="*/ 58239 w 481013"/>
                <a:gd name="connsiteY16" fmla="*/ 1024179 h 1225550"/>
                <a:gd name="connsiteX17" fmla="*/ 273940 w 481013"/>
                <a:gd name="connsiteY17" fmla="*/ 614941 h 1225550"/>
                <a:gd name="connsiteX18" fmla="*/ 58239 w 481013"/>
                <a:gd name="connsiteY18" fmla="*/ 205702 h 1225550"/>
                <a:gd name="connsiteX19" fmla="*/ 0 w 481013"/>
                <a:gd name="connsiteY19" fmla="*/ 173223 h 1225550"/>
                <a:gd name="connsiteX20" fmla="*/ 110007 w 481013"/>
                <a:gd name="connsiteY20" fmla="*/ 0 h 122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1013" h="1225550">
                  <a:moveTo>
                    <a:pt x="131107" y="80963"/>
                  </a:moveTo>
                  <a:cubicBezTo>
                    <a:pt x="131107" y="80963"/>
                    <a:pt x="131107" y="80963"/>
                    <a:pt x="85725" y="152410"/>
                  </a:cubicBezTo>
                  <a:cubicBezTo>
                    <a:pt x="85725" y="152410"/>
                    <a:pt x="85725" y="152410"/>
                    <a:pt x="90047" y="154576"/>
                  </a:cubicBezTo>
                  <a:cubicBezTo>
                    <a:pt x="243482" y="258499"/>
                    <a:pt x="334246" y="431704"/>
                    <a:pt x="334246" y="615735"/>
                  </a:cubicBezTo>
                  <a:cubicBezTo>
                    <a:pt x="334246" y="799765"/>
                    <a:pt x="243482" y="970806"/>
                    <a:pt x="92208" y="1074729"/>
                  </a:cubicBezTo>
                  <a:cubicBezTo>
                    <a:pt x="92208" y="1074729"/>
                    <a:pt x="92208" y="1074729"/>
                    <a:pt x="137590" y="1146176"/>
                  </a:cubicBezTo>
                  <a:cubicBezTo>
                    <a:pt x="314796" y="1027098"/>
                    <a:pt x="420688" y="827911"/>
                    <a:pt x="420688" y="615735"/>
                  </a:cubicBezTo>
                  <a:cubicBezTo>
                    <a:pt x="420688" y="403558"/>
                    <a:pt x="314796" y="204372"/>
                    <a:pt x="137590" y="85293"/>
                  </a:cubicBezTo>
                  <a:cubicBezTo>
                    <a:pt x="137590" y="85293"/>
                    <a:pt x="137590" y="85293"/>
                    <a:pt x="131107" y="80963"/>
                  </a:cubicBezTo>
                  <a:close/>
                  <a:moveTo>
                    <a:pt x="110007" y="0"/>
                  </a:moveTo>
                  <a:cubicBezTo>
                    <a:pt x="110007" y="0"/>
                    <a:pt x="110007" y="0"/>
                    <a:pt x="170404" y="32479"/>
                  </a:cubicBezTo>
                  <a:cubicBezTo>
                    <a:pt x="364535" y="164562"/>
                    <a:pt x="481013" y="381090"/>
                    <a:pt x="481013" y="614941"/>
                  </a:cubicBezTo>
                  <a:cubicBezTo>
                    <a:pt x="481013" y="848791"/>
                    <a:pt x="364535" y="1065319"/>
                    <a:pt x="170404" y="1197402"/>
                  </a:cubicBezTo>
                  <a:cubicBezTo>
                    <a:pt x="170404" y="1197402"/>
                    <a:pt x="170404" y="1197402"/>
                    <a:pt x="168247" y="1197402"/>
                  </a:cubicBezTo>
                  <a:cubicBezTo>
                    <a:pt x="168247" y="1197402"/>
                    <a:pt x="168247" y="1197402"/>
                    <a:pt x="118636" y="1225550"/>
                  </a:cubicBezTo>
                  <a:cubicBezTo>
                    <a:pt x="118636" y="1225550"/>
                    <a:pt x="118636" y="1225550"/>
                    <a:pt x="6471" y="1052328"/>
                  </a:cubicBezTo>
                  <a:cubicBezTo>
                    <a:pt x="6471" y="1052328"/>
                    <a:pt x="6471" y="1052328"/>
                    <a:pt x="58239" y="1024179"/>
                  </a:cubicBezTo>
                  <a:cubicBezTo>
                    <a:pt x="194131" y="933237"/>
                    <a:pt x="273940" y="779502"/>
                    <a:pt x="273940" y="614941"/>
                  </a:cubicBezTo>
                  <a:cubicBezTo>
                    <a:pt x="273940" y="450379"/>
                    <a:pt x="194131" y="298809"/>
                    <a:pt x="58239" y="205702"/>
                  </a:cubicBezTo>
                  <a:cubicBezTo>
                    <a:pt x="58239" y="205702"/>
                    <a:pt x="58239" y="205702"/>
                    <a:pt x="0" y="173223"/>
                  </a:cubicBezTo>
                  <a:cubicBezTo>
                    <a:pt x="0" y="173223"/>
                    <a:pt x="0" y="173223"/>
                    <a:pt x="1100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96" name="Group 195">
            <a:extLst>
              <a:ext uri="{FF2B5EF4-FFF2-40B4-BE49-F238E27FC236}">
                <a16:creationId xmlns:a16="http://schemas.microsoft.com/office/drawing/2014/main" id="{5A4A4664-15CD-491B-A8A6-48BA82E035CE}"/>
              </a:ext>
            </a:extLst>
          </p:cNvPr>
          <p:cNvGrpSpPr/>
          <p:nvPr/>
        </p:nvGrpSpPr>
        <p:grpSpPr>
          <a:xfrm>
            <a:off x="5794964" y="1756671"/>
            <a:ext cx="184305" cy="145750"/>
            <a:chOff x="242824" y="5199515"/>
            <a:chExt cx="1135060" cy="897618"/>
          </a:xfrm>
        </p:grpSpPr>
        <p:sp>
          <p:nvSpPr>
            <p:cNvPr id="197" name="Freeform: Shape 196">
              <a:extLst>
                <a:ext uri="{FF2B5EF4-FFF2-40B4-BE49-F238E27FC236}">
                  <a16:creationId xmlns:a16="http://schemas.microsoft.com/office/drawing/2014/main" id="{8009BDE1-180C-4B2A-95A8-1C77E5A66192}"/>
                </a:ext>
              </a:extLst>
            </p:cNvPr>
            <p:cNvSpPr/>
            <p:nvPr/>
          </p:nvSpPr>
          <p:spPr bwMode="auto">
            <a:xfrm>
              <a:off x="242824" y="5199515"/>
              <a:ext cx="1135060" cy="897618"/>
            </a:xfrm>
            <a:custGeom>
              <a:avLst/>
              <a:gdLst>
                <a:gd name="connsiteX0" fmla="*/ 780161 w 1135060"/>
                <a:gd name="connsiteY0" fmla="*/ 75430 h 897618"/>
                <a:gd name="connsiteX1" fmla="*/ 780161 w 1135060"/>
                <a:gd name="connsiteY1" fmla="*/ 835525 h 897618"/>
                <a:gd name="connsiteX2" fmla="*/ 991616 w 1135060"/>
                <a:gd name="connsiteY2" fmla="*/ 776470 h 897618"/>
                <a:gd name="connsiteX3" fmla="*/ 991616 w 1135060"/>
                <a:gd name="connsiteY3" fmla="*/ 279265 h 897618"/>
                <a:gd name="connsiteX4" fmla="*/ 879221 w 1135060"/>
                <a:gd name="connsiteY4" fmla="*/ 279265 h 897618"/>
                <a:gd name="connsiteX5" fmla="*/ 739833 w 1135060"/>
                <a:gd name="connsiteY5" fmla="*/ 72037 h 897618"/>
                <a:gd name="connsiteX6" fmla="*/ 621071 w 1135060"/>
                <a:gd name="connsiteY6" fmla="*/ 288146 h 897618"/>
                <a:gd name="connsiteX7" fmla="*/ 196640 w 1135060"/>
                <a:gd name="connsiteY7" fmla="*/ 309562 h 897618"/>
                <a:gd name="connsiteX8" fmla="*/ 196640 w 1135060"/>
                <a:gd name="connsiteY8" fmla="*/ 790453 h 897618"/>
                <a:gd name="connsiteX9" fmla="*/ 739833 w 1135060"/>
                <a:gd name="connsiteY9" fmla="*/ 833286 h 897618"/>
                <a:gd name="connsiteX10" fmla="*/ 817710 w 1135060"/>
                <a:gd name="connsiteY10" fmla="*/ 66195 h 897618"/>
                <a:gd name="connsiteX11" fmla="*/ 893640 w 1135060"/>
                <a:gd name="connsiteY11" fmla="*/ 231684 h 897618"/>
                <a:gd name="connsiteX12" fmla="*/ 1071784 w 1135060"/>
                <a:gd name="connsiteY12" fmla="*/ 244339 h 897618"/>
                <a:gd name="connsiteX13" fmla="*/ 1004615 w 1135060"/>
                <a:gd name="connsiteY13" fmla="*/ 115842 h 897618"/>
                <a:gd name="connsiteX14" fmla="*/ 683372 w 1135060"/>
                <a:gd name="connsiteY14" fmla="*/ 62302 h 897618"/>
                <a:gd name="connsiteX15" fmla="*/ 190799 w 1135060"/>
                <a:gd name="connsiteY15" fmla="*/ 110975 h 897618"/>
                <a:gd name="connsiteX16" fmla="*/ 97347 w 1135060"/>
                <a:gd name="connsiteY16" fmla="*/ 266729 h 897618"/>
                <a:gd name="connsiteX17" fmla="*/ 584079 w 1135060"/>
                <a:gd name="connsiteY17" fmla="*/ 231685 h 897618"/>
                <a:gd name="connsiteX18" fmla="*/ 761250 w 1135060"/>
                <a:gd name="connsiteY18" fmla="*/ 0 h 897618"/>
                <a:gd name="connsiteX19" fmla="*/ 1029926 w 1135060"/>
                <a:gd name="connsiteY19" fmla="*/ 81771 h 897618"/>
                <a:gd name="connsiteX20" fmla="*/ 1135060 w 1135060"/>
                <a:gd name="connsiteY20" fmla="*/ 282305 h 897618"/>
                <a:gd name="connsiteX21" fmla="*/ 1027979 w 1135060"/>
                <a:gd name="connsiteY21" fmla="*/ 282305 h 897618"/>
                <a:gd name="connsiteX22" fmla="*/ 1027979 w 1135060"/>
                <a:gd name="connsiteY22" fmla="*/ 809923 h 897618"/>
                <a:gd name="connsiteX23" fmla="*/ 752647 w 1135060"/>
                <a:gd name="connsiteY23" fmla="*/ 897618 h 897618"/>
                <a:gd name="connsiteX24" fmla="*/ 157701 w 1135060"/>
                <a:gd name="connsiteY24" fmla="*/ 839127 h 897618"/>
                <a:gd name="connsiteX25" fmla="*/ 157701 w 1135060"/>
                <a:gd name="connsiteY25" fmla="*/ 315403 h 897618"/>
                <a:gd name="connsiteX26" fmla="*/ 0 w 1135060"/>
                <a:gd name="connsiteY26" fmla="*/ 315403 h 897618"/>
                <a:gd name="connsiteX27" fmla="*/ 155754 w 1135060"/>
                <a:gd name="connsiteY27" fmla="*/ 66196 h 897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35060" h="897618">
                  <a:moveTo>
                    <a:pt x="780161" y="75430"/>
                  </a:moveTo>
                  <a:lnTo>
                    <a:pt x="780161" y="835525"/>
                  </a:lnTo>
                  <a:lnTo>
                    <a:pt x="991616" y="776470"/>
                  </a:lnTo>
                  <a:lnTo>
                    <a:pt x="991616" y="279265"/>
                  </a:lnTo>
                  <a:lnTo>
                    <a:pt x="879221" y="279265"/>
                  </a:lnTo>
                  <a:close/>
                  <a:moveTo>
                    <a:pt x="739833" y="72037"/>
                  </a:moveTo>
                  <a:lnTo>
                    <a:pt x="621071" y="288146"/>
                  </a:lnTo>
                  <a:lnTo>
                    <a:pt x="196640" y="309562"/>
                  </a:lnTo>
                  <a:lnTo>
                    <a:pt x="196640" y="790453"/>
                  </a:lnTo>
                  <a:lnTo>
                    <a:pt x="739833" y="833286"/>
                  </a:lnTo>
                  <a:close/>
                  <a:moveTo>
                    <a:pt x="817710" y="66195"/>
                  </a:moveTo>
                  <a:lnTo>
                    <a:pt x="893640" y="231684"/>
                  </a:lnTo>
                  <a:lnTo>
                    <a:pt x="1071784" y="244339"/>
                  </a:lnTo>
                  <a:lnTo>
                    <a:pt x="1004615" y="115842"/>
                  </a:lnTo>
                  <a:close/>
                  <a:moveTo>
                    <a:pt x="683372" y="62302"/>
                  </a:moveTo>
                  <a:lnTo>
                    <a:pt x="190799" y="110975"/>
                  </a:lnTo>
                  <a:lnTo>
                    <a:pt x="97347" y="266729"/>
                  </a:lnTo>
                  <a:lnTo>
                    <a:pt x="584079" y="231685"/>
                  </a:lnTo>
                  <a:close/>
                  <a:moveTo>
                    <a:pt x="761250" y="0"/>
                  </a:moveTo>
                  <a:lnTo>
                    <a:pt x="1029926" y="81771"/>
                  </a:lnTo>
                  <a:lnTo>
                    <a:pt x="1135060" y="282305"/>
                  </a:lnTo>
                  <a:lnTo>
                    <a:pt x="1027979" y="282305"/>
                  </a:lnTo>
                  <a:lnTo>
                    <a:pt x="1027979" y="809923"/>
                  </a:lnTo>
                  <a:lnTo>
                    <a:pt x="752647" y="897618"/>
                  </a:lnTo>
                  <a:lnTo>
                    <a:pt x="157701" y="839127"/>
                  </a:lnTo>
                  <a:lnTo>
                    <a:pt x="157701" y="315403"/>
                  </a:lnTo>
                  <a:lnTo>
                    <a:pt x="0" y="315403"/>
                  </a:lnTo>
                  <a:lnTo>
                    <a:pt x="155754" y="66196"/>
                  </a:ln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8" name="Rectangle: Rounded Corners 197">
              <a:extLst>
                <a:ext uri="{FF2B5EF4-FFF2-40B4-BE49-F238E27FC236}">
                  <a16:creationId xmlns:a16="http://schemas.microsoft.com/office/drawing/2014/main" id="{3EE5137D-AF7B-473D-B4EF-27E6BF4313E8}"/>
                </a:ext>
              </a:extLst>
            </p:cNvPr>
            <p:cNvSpPr/>
            <p:nvPr/>
          </p:nvSpPr>
          <p:spPr bwMode="auto">
            <a:xfrm rot="212772">
              <a:off x="509276" y="5882402"/>
              <a:ext cx="266615" cy="57110"/>
            </a:xfrm>
            <a:prstGeom prst="roundRect">
              <a:avLst>
                <a:gd name="adj" fmla="val 50000"/>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99" name="Group 198">
              <a:extLst>
                <a:ext uri="{FF2B5EF4-FFF2-40B4-BE49-F238E27FC236}">
                  <a16:creationId xmlns:a16="http://schemas.microsoft.com/office/drawing/2014/main" id="{A04DE850-6BA4-40F3-B0C6-4ACCDA9A1264}"/>
                </a:ext>
              </a:extLst>
            </p:cNvPr>
            <p:cNvGrpSpPr/>
            <p:nvPr/>
          </p:nvGrpSpPr>
          <p:grpSpPr>
            <a:xfrm rot="21423090">
              <a:off x="510655" y="5622395"/>
              <a:ext cx="122528" cy="215798"/>
              <a:chOff x="2920647" y="4046992"/>
              <a:chExt cx="239779" cy="422302"/>
            </a:xfrm>
            <a:solidFill>
              <a:srgbClr val="002050"/>
            </a:solidFill>
          </p:grpSpPr>
          <p:sp>
            <p:nvSpPr>
              <p:cNvPr id="203" name="Rectangle: Rounded Corners 202">
                <a:extLst>
                  <a:ext uri="{FF2B5EF4-FFF2-40B4-BE49-F238E27FC236}">
                    <a16:creationId xmlns:a16="http://schemas.microsoft.com/office/drawing/2014/main" id="{E34B9244-7EF9-4D30-84E8-717E7B9447CC}"/>
                  </a:ext>
                </a:extLst>
              </p:cNvPr>
              <p:cNvSpPr/>
              <p:nvPr/>
            </p:nvSpPr>
            <p:spPr bwMode="auto">
              <a:xfrm rot="5566499">
                <a:off x="2855570" y="4262149"/>
                <a:ext cx="348568" cy="6572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4" name="Isosceles Triangle 9">
                <a:extLst>
                  <a:ext uri="{FF2B5EF4-FFF2-40B4-BE49-F238E27FC236}">
                    <a16:creationId xmlns:a16="http://schemas.microsoft.com/office/drawing/2014/main" id="{5552B3F9-0332-4945-B12D-2424EC143368}"/>
                  </a:ext>
                </a:extLst>
              </p:cNvPr>
              <p:cNvSpPr/>
              <p:nvPr/>
            </p:nvSpPr>
            <p:spPr bwMode="auto">
              <a:xfrm rot="222834">
                <a:off x="2920647" y="4046992"/>
                <a:ext cx="239779" cy="147470"/>
              </a:xfrm>
              <a:custGeom>
                <a:avLst/>
                <a:gdLst>
                  <a:gd name="connsiteX0" fmla="*/ 0 w 744220"/>
                  <a:gd name="connsiteY0" fmla="*/ 641569 h 641569"/>
                  <a:gd name="connsiteX1" fmla="*/ 372110 w 744220"/>
                  <a:gd name="connsiteY1" fmla="*/ 0 h 641569"/>
                  <a:gd name="connsiteX2" fmla="*/ 744220 w 744220"/>
                  <a:gd name="connsiteY2" fmla="*/ 641569 h 641569"/>
                  <a:gd name="connsiteX3" fmla="*/ 0 w 744220"/>
                  <a:gd name="connsiteY3" fmla="*/ 641569 h 641569"/>
                  <a:gd name="connsiteX0" fmla="*/ 0 w 744220"/>
                  <a:gd name="connsiteY0" fmla="*/ 641569 h 641569"/>
                  <a:gd name="connsiteX1" fmla="*/ 372110 w 744220"/>
                  <a:gd name="connsiteY1" fmla="*/ 0 h 641569"/>
                  <a:gd name="connsiteX2" fmla="*/ 723900 w 744220"/>
                  <a:gd name="connsiteY2" fmla="*/ 604520 h 641569"/>
                  <a:gd name="connsiteX3" fmla="*/ 744220 w 744220"/>
                  <a:gd name="connsiteY3" fmla="*/ 641569 h 641569"/>
                  <a:gd name="connsiteX4" fmla="*/ 0 w 744220"/>
                  <a:gd name="connsiteY4" fmla="*/ 641569 h 641569"/>
                  <a:gd name="connsiteX0" fmla="*/ 0 w 744220"/>
                  <a:gd name="connsiteY0" fmla="*/ 641569 h 642620"/>
                  <a:gd name="connsiteX1" fmla="*/ 372110 w 744220"/>
                  <a:gd name="connsiteY1" fmla="*/ 0 h 642620"/>
                  <a:gd name="connsiteX2" fmla="*/ 723900 w 744220"/>
                  <a:gd name="connsiteY2" fmla="*/ 604520 h 642620"/>
                  <a:gd name="connsiteX3" fmla="*/ 744220 w 744220"/>
                  <a:gd name="connsiteY3" fmla="*/ 641569 h 642620"/>
                  <a:gd name="connsiteX4" fmla="*/ 698500 w 744220"/>
                  <a:gd name="connsiteY4" fmla="*/ 642620 h 642620"/>
                  <a:gd name="connsiteX5" fmla="*/ 0 w 744220"/>
                  <a:gd name="connsiteY5"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36334"/>
                  <a:gd name="connsiteY0" fmla="*/ 641569 h 642620"/>
                  <a:gd name="connsiteX1" fmla="*/ 372110 w 736334"/>
                  <a:gd name="connsiteY1" fmla="*/ 0 h 642620"/>
                  <a:gd name="connsiteX2" fmla="*/ 723900 w 736334"/>
                  <a:gd name="connsiteY2" fmla="*/ 604520 h 642620"/>
                  <a:gd name="connsiteX3" fmla="*/ 698500 w 736334"/>
                  <a:gd name="connsiteY3" fmla="*/ 642620 h 642620"/>
                  <a:gd name="connsiteX4" fmla="*/ 0 w 736334"/>
                  <a:gd name="connsiteY4" fmla="*/ 641569 h 642620"/>
                  <a:gd name="connsiteX0" fmla="*/ 0 w 737461"/>
                  <a:gd name="connsiteY0" fmla="*/ 641569 h 642620"/>
                  <a:gd name="connsiteX1" fmla="*/ 372110 w 737461"/>
                  <a:gd name="connsiteY1" fmla="*/ 0 h 642620"/>
                  <a:gd name="connsiteX2" fmla="*/ 723900 w 737461"/>
                  <a:gd name="connsiteY2" fmla="*/ 604520 h 642620"/>
                  <a:gd name="connsiteX3" fmla="*/ 698500 w 737461"/>
                  <a:gd name="connsiteY3" fmla="*/ 642620 h 642620"/>
                  <a:gd name="connsiteX4" fmla="*/ 0 w 737461"/>
                  <a:gd name="connsiteY4" fmla="*/ 641569 h 642620"/>
                  <a:gd name="connsiteX0" fmla="*/ 0 w 738071"/>
                  <a:gd name="connsiteY0" fmla="*/ 641569 h 644004"/>
                  <a:gd name="connsiteX1" fmla="*/ 372110 w 738071"/>
                  <a:gd name="connsiteY1" fmla="*/ 0 h 644004"/>
                  <a:gd name="connsiteX2" fmla="*/ 723900 w 738071"/>
                  <a:gd name="connsiteY2" fmla="*/ 604520 h 644004"/>
                  <a:gd name="connsiteX3" fmla="*/ 698500 w 738071"/>
                  <a:gd name="connsiteY3" fmla="*/ 642620 h 644004"/>
                  <a:gd name="connsiteX4" fmla="*/ 0 w 738071"/>
                  <a:gd name="connsiteY4" fmla="*/ 641569 h 644004"/>
                  <a:gd name="connsiteX0" fmla="*/ 0 w 731341"/>
                  <a:gd name="connsiteY0" fmla="*/ 641569 h 644004"/>
                  <a:gd name="connsiteX1" fmla="*/ 372110 w 731341"/>
                  <a:gd name="connsiteY1" fmla="*/ 0 h 644004"/>
                  <a:gd name="connsiteX2" fmla="*/ 723900 w 731341"/>
                  <a:gd name="connsiteY2" fmla="*/ 604520 h 644004"/>
                  <a:gd name="connsiteX3" fmla="*/ 698500 w 731341"/>
                  <a:gd name="connsiteY3" fmla="*/ 642620 h 644004"/>
                  <a:gd name="connsiteX4" fmla="*/ 0 w 731341"/>
                  <a:gd name="connsiteY4" fmla="*/ 641569 h 644004"/>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0 w 730699"/>
                  <a:gd name="connsiteY4" fmla="*/ 641569 h 642835"/>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40640 w 730699"/>
                  <a:gd name="connsiteY4" fmla="*/ 642620 h 642835"/>
                  <a:gd name="connsiteX5" fmla="*/ 0 w 730699"/>
                  <a:gd name="connsiteY5" fmla="*/ 641569 h 642835"/>
                  <a:gd name="connsiteX0" fmla="*/ 0 w 730699"/>
                  <a:gd name="connsiteY0" fmla="*/ 641569 h 642835"/>
                  <a:gd name="connsiteX1" fmla="*/ 30480 w 730699"/>
                  <a:gd name="connsiteY1" fmla="*/ 584200 h 642835"/>
                  <a:gd name="connsiteX2" fmla="*/ 372110 w 730699"/>
                  <a:gd name="connsiteY2" fmla="*/ 0 h 642835"/>
                  <a:gd name="connsiteX3" fmla="*/ 723900 w 730699"/>
                  <a:gd name="connsiteY3" fmla="*/ 604520 h 642835"/>
                  <a:gd name="connsiteX4" fmla="*/ 698500 w 730699"/>
                  <a:gd name="connsiteY4" fmla="*/ 642620 h 642835"/>
                  <a:gd name="connsiteX5" fmla="*/ 40640 w 730699"/>
                  <a:gd name="connsiteY5" fmla="*/ 642620 h 642835"/>
                  <a:gd name="connsiteX6" fmla="*/ 0 w 730699"/>
                  <a:gd name="connsiteY6" fmla="*/ 641569 h 642835"/>
                  <a:gd name="connsiteX0" fmla="*/ 10160 w 700219"/>
                  <a:gd name="connsiteY0" fmla="*/ 642620 h 642835"/>
                  <a:gd name="connsiteX1" fmla="*/ 0 w 700219"/>
                  <a:gd name="connsiteY1" fmla="*/ 584200 h 642835"/>
                  <a:gd name="connsiteX2" fmla="*/ 341630 w 700219"/>
                  <a:gd name="connsiteY2" fmla="*/ 0 h 642835"/>
                  <a:gd name="connsiteX3" fmla="*/ 693420 w 700219"/>
                  <a:gd name="connsiteY3" fmla="*/ 604520 h 642835"/>
                  <a:gd name="connsiteX4" fmla="*/ 668020 w 700219"/>
                  <a:gd name="connsiteY4" fmla="*/ 642620 h 642835"/>
                  <a:gd name="connsiteX5" fmla="*/ 10160 w 700219"/>
                  <a:gd name="connsiteY5" fmla="*/ 642620 h 642835"/>
                  <a:gd name="connsiteX0" fmla="*/ 20557 w 710616"/>
                  <a:gd name="connsiteY0" fmla="*/ 642620 h 642835"/>
                  <a:gd name="connsiteX1" fmla="*/ 10397 w 710616"/>
                  <a:gd name="connsiteY1" fmla="*/ 584200 h 642835"/>
                  <a:gd name="connsiteX2" fmla="*/ 352027 w 710616"/>
                  <a:gd name="connsiteY2" fmla="*/ 0 h 642835"/>
                  <a:gd name="connsiteX3" fmla="*/ 703817 w 710616"/>
                  <a:gd name="connsiteY3" fmla="*/ 604520 h 642835"/>
                  <a:gd name="connsiteX4" fmla="*/ 678417 w 710616"/>
                  <a:gd name="connsiteY4" fmla="*/ 642620 h 642835"/>
                  <a:gd name="connsiteX5" fmla="*/ 20557 w 710616"/>
                  <a:gd name="connsiteY5" fmla="*/ 642620 h 642835"/>
                  <a:gd name="connsiteX0" fmla="*/ 28893 w 718952"/>
                  <a:gd name="connsiteY0" fmla="*/ 642620 h 642835"/>
                  <a:gd name="connsiteX1" fmla="*/ 18733 w 718952"/>
                  <a:gd name="connsiteY1" fmla="*/ 584200 h 642835"/>
                  <a:gd name="connsiteX2" fmla="*/ 360363 w 718952"/>
                  <a:gd name="connsiteY2" fmla="*/ 0 h 642835"/>
                  <a:gd name="connsiteX3" fmla="*/ 712153 w 718952"/>
                  <a:gd name="connsiteY3" fmla="*/ 604520 h 642835"/>
                  <a:gd name="connsiteX4" fmla="*/ 686753 w 718952"/>
                  <a:gd name="connsiteY4" fmla="*/ 642620 h 642835"/>
                  <a:gd name="connsiteX5" fmla="*/ 28893 w 718952"/>
                  <a:gd name="connsiteY5"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712153 w 718952"/>
                  <a:gd name="connsiteY4" fmla="*/ 604520 h 642835"/>
                  <a:gd name="connsiteX5" fmla="*/ 686753 w 718952"/>
                  <a:gd name="connsiteY5" fmla="*/ 642620 h 642835"/>
                  <a:gd name="connsiteX6" fmla="*/ 28893 w 718952"/>
                  <a:gd name="connsiteY6"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387033 w 718952"/>
                  <a:gd name="connsiteY4" fmla="*/ 43180 h 642835"/>
                  <a:gd name="connsiteX5" fmla="*/ 712153 w 718952"/>
                  <a:gd name="connsiteY5" fmla="*/ 604520 h 642835"/>
                  <a:gd name="connsiteX6" fmla="*/ 686753 w 718952"/>
                  <a:gd name="connsiteY6" fmla="*/ 642620 h 642835"/>
                  <a:gd name="connsiteX7" fmla="*/ 28893 w 718952"/>
                  <a:gd name="connsiteY7" fmla="*/ 642620 h 642835"/>
                  <a:gd name="connsiteX0" fmla="*/ 28893 w 718952"/>
                  <a:gd name="connsiteY0" fmla="*/ 599440 h 599655"/>
                  <a:gd name="connsiteX1" fmla="*/ 18733 w 718952"/>
                  <a:gd name="connsiteY1" fmla="*/ 541020 h 599655"/>
                  <a:gd name="connsiteX2" fmla="*/ 333693 w 718952"/>
                  <a:gd name="connsiteY2" fmla="*/ 0 h 599655"/>
                  <a:gd name="connsiteX3" fmla="*/ 387033 w 718952"/>
                  <a:gd name="connsiteY3" fmla="*/ 0 h 599655"/>
                  <a:gd name="connsiteX4" fmla="*/ 712153 w 718952"/>
                  <a:gd name="connsiteY4" fmla="*/ 561340 h 599655"/>
                  <a:gd name="connsiteX5" fmla="*/ 686753 w 718952"/>
                  <a:gd name="connsiteY5" fmla="*/ 599440 h 599655"/>
                  <a:gd name="connsiteX6" fmla="*/ 28893 w 718952"/>
                  <a:gd name="connsiteY6" fmla="*/ 599440 h 599655"/>
                  <a:gd name="connsiteX0" fmla="*/ 28893 w 718952"/>
                  <a:gd name="connsiteY0" fmla="*/ 622017 h 622232"/>
                  <a:gd name="connsiteX1" fmla="*/ 18733 w 718952"/>
                  <a:gd name="connsiteY1" fmla="*/ 563597 h 622232"/>
                  <a:gd name="connsiteX2" fmla="*/ 333693 w 718952"/>
                  <a:gd name="connsiteY2" fmla="*/ 22577 h 622232"/>
                  <a:gd name="connsiteX3" fmla="*/ 387033 w 718952"/>
                  <a:gd name="connsiteY3" fmla="*/ 22577 h 622232"/>
                  <a:gd name="connsiteX4" fmla="*/ 712153 w 718952"/>
                  <a:gd name="connsiteY4" fmla="*/ 583917 h 622232"/>
                  <a:gd name="connsiteX5" fmla="*/ 686753 w 718952"/>
                  <a:gd name="connsiteY5" fmla="*/ 622017 h 622232"/>
                  <a:gd name="connsiteX6" fmla="*/ 28893 w 718952"/>
                  <a:gd name="connsiteY6" fmla="*/ 622017 h 622232"/>
                  <a:gd name="connsiteX0" fmla="*/ 28893 w 718952"/>
                  <a:gd name="connsiteY0" fmla="*/ 630382 h 630597"/>
                  <a:gd name="connsiteX1" fmla="*/ 18733 w 718952"/>
                  <a:gd name="connsiteY1" fmla="*/ 571962 h 630597"/>
                  <a:gd name="connsiteX2" fmla="*/ 333693 w 718952"/>
                  <a:gd name="connsiteY2" fmla="*/ 30942 h 630597"/>
                  <a:gd name="connsiteX3" fmla="*/ 387033 w 718952"/>
                  <a:gd name="connsiteY3" fmla="*/ 30942 h 630597"/>
                  <a:gd name="connsiteX4" fmla="*/ 712153 w 718952"/>
                  <a:gd name="connsiteY4" fmla="*/ 592282 h 630597"/>
                  <a:gd name="connsiteX5" fmla="*/ 686753 w 718952"/>
                  <a:gd name="connsiteY5" fmla="*/ 630382 h 630597"/>
                  <a:gd name="connsiteX6" fmla="*/ 28893 w 718952"/>
                  <a:gd name="connsiteY6" fmla="*/ 630382 h 630597"/>
                  <a:gd name="connsiteX0" fmla="*/ 28893 w 718952"/>
                  <a:gd name="connsiteY0" fmla="*/ 631218 h 631433"/>
                  <a:gd name="connsiteX1" fmla="*/ 18733 w 718952"/>
                  <a:gd name="connsiteY1" fmla="*/ 572798 h 631433"/>
                  <a:gd name="connsiteX2" fmla="*/ 333693 w 718952"/>
                  <a:gd name="connsiteY2" fmla="*/ 31778 h 631433"/>
                  <a:gd name="connsiteX3" fmla="*/ 387033 w 718952"/>
                  <a:gd name="connsiteY3" fmla="*/ 31778 h 631433"/>
                  <a:gd name="connsiteX4" fmla="*/ 712153 w 718952"/>
                  <a:gd name="connsiteY4" fmla="*/ 593118 h 631433"/>
                  <a:gd name="connsiteX5" fmla="*/ 686753 w 718952"/>
                  <a:gd name="connsiteY5" fmla="*/ 631218 h 631433"/>
                  <a:gd name="connsiteX6" fmla="*/ 28893 w 718952"/>
                  <a:gd name="connsiteY6" fmla="*/ 631218 h 631433"/>
                  <a:gd name="connsiteX0" fmla="*/ 28893 w 718952"/>
                  <a:gd name="connsiteY0" fmla="*/ 630383 h 630598"/>
                  <a:gd name="connsiteX1" fmla="*/ 18733 w 718952"/>
                  <a:gd name="connsiteY1" fmla="*/ 571963 h 630598"/>
                  <a:gd name="connsiteX2" fmla="*/ 333693 w 718952"/>
                  <a:gd name="connsiteY2" fmla="*/ 30943 h 630598"/>
                  <a:gd name="connsiteX3" fmla="*/ 387033 w 718952"/>
                  <a:gd name="connsiteY3" fmla="*/ 30943 h 630598"/>
                  <a:gd name="connsiteX4" fmla="*/ 712153 w 718952"/>
                  <a:gd name="connsiteY4" fmla="*/ 592283 h 630598"/>
                  <a:gd name="connsiteX5" fmla="*/ 686753 w 718952"/>
                  <a:gd name="connsiteY5" fmla="*/ 630383 h 630598"/>
                  <a:gd name="connsiteX6" fmla="*/ 28893 w 718952"/>
                  <a:gd name="connsiteY6" fmla="*/ 630383 h 630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952" h="630598">
                    <a:moveTo>
                      <a:pt x="28893" y="630383"/>
                    </a:moveTo>
                    <a:cubicBezTo>
                      <a:pt x="-12594" y="618530"/>
                      <a:pt x="-3280" y="601596"/>
                      <a:pt x="18733" y="571963"/>
                    </a:cubicBezTo>
                    <a:lnTo>
                      <a:pt x="333693" y="30943"/>
                    </a:lnTo>
                    <a:cubicBezTo>
                      <a:pt x="359093" y="-19857"/>
                      <a:pt x="371793" y="463"/>
                      <a:pt x="387033" y="30943"/>
                    </a:cubicBezTo>
                    <a:lnTo>
                      <a:pt x="712153" y="592283"/>
                    </a:lnTo>
                    <a:cubicBezTo>
                      <a:pt x="724006" y="612603"/>
                      <a:pt x="723160" y="632923"/>
                      <a:pt x="686753" y="630383"/>
                    </a:cubicBezTo>
                    <a:lnTo>
                      <a:pt x="28893" y="63038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200" name="Group 199">
              <a:extLst>
                <a:ext uri="{FF2B5EF4-FFF2-40B4-BE49-F238E27FC236}">
                  <a16:creationId xmlns:a16="http://schemas.microsoft.com/office/drawing/2014/main" id="{5DC7080F-34AD-4EC2-97EF-AC4259AB1169}"/>
                </a:ext>
              </a:extLst>
            </p:cNvPr>
            <p:cNvGrpSpPr/>
            <p:nvPr/>
          </p:nvGrpSpPr>
          <p:grpSpPr>
            <a:xfrm rot="21423090">
              <a:off x="659595" y="5629839"/>
              <a:ext cx="122528" cy="215798"/>
              <a:chOff x="2920647" y="4046992"/>
              <a:chExt cx="239779" cy="422302"/>
            </a:xfrm>
            <a:solidFill>
              <a:srgbClr val="002050"/>
            </a:solidFill>
          </p:grpSpPr>
          <p:sp>
            <p:nvSpPr>
              <p:cNvPr id="201" name="Rectangle: Rounded Corners 200">
                <a:extLst>
                  <a:ext uri="{FF2B5EF4-FFF2-40B4-BE49-F238E27FC236}">
                    <a16:creationId xmlns:a16="http://schemas.microsoft.com/office/drawing/2014/main" id="{2D091CDA-B80B-4B77-A8F7-D035F229C71D}"/>
                  </a:ext>
                </a:extLst>
              </p:cNvPr>
              <p:cNvSpPr/>
              <p:nvPr/>
            </p:nvSpPr>
            <p:spPr bwMode="auto">
              <a:xfrm rot="5566499">
                <a:off x="2855570" y="4262149"/>
                <a:ext cx="348568" cy="6572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2" name="Isosceles Triangle 9">
                <a:extLst>
                  <a:ext uri="{FF2B5EF4-FFF2-40B4-BE49-F238E27FC236}">
                    <a16:creationId xmlns:a16="http://schemas.microsoft.com/office/drawing/2014/main" id="{4AA315AD-F505-412B-B8D9-F7742530B66B}"/>
                  </a:ext>
                </a:extLst>
              </p:cNvPr>
              <p:cNvSpPr/>
              <p:nvPr/>
            </p:nvSpPr>
            <p:spPr bwMode="auto">
              <a:xfrm rot="222834">
                <a:off x="2920647" y="4046992"/>
                <a:ext cx="239779" cy="147470"/>
              </a:xfrm>
              <a:custGeom>
                <a:avLst/>
                <a:gdLst>
                  <a:gd name="connsiteX0" fmla="*/ 0 w 744220"/>
                  <a:gd name="connsiteY0" fmla="*/ 641569 h 641569"/>
                  <a:gd name="connsiteX1" fmla="*/ 372110 w 744220"/>
                  <a:gd name="connsiteY1" fmla="*/ 0 h 641569"/>
                  <a:gd name="connsiteX2" fmla="*/ 744220 w 744220"/>
                  <a:gd name="connsiteY2" fmla="*/ 641569 h 641569"/>
                  <a:gd name="connsiteX3" fmla="*/ 0 w 744220"/>
                  <a:gd name="connsiteY3" fmla="*/ 641569 h 641569"/>
                  <a:gd name="connsiteX0" fmla="*/ 0 w 744220"/>
                  <a:gd name="connsiteY0" fmla="*/ 641569 h 641569"/>
                  <a:gd name="connsiteX1" fmla="*/ 372110 w 744220"/>
                  <a:gd name="connsiteY1" fmla="*/ 0 h 641569"/>
                  <a:gd name="connsiteX2" fmla="*/ 723900 w 744220"/>
                  <a:gd name="connsiteY2" fmla="*/ 604520 h 641569"/>
                  <a:gd name="connsiteX3" fmla="*/ 744220 w 744220"/>
                  <a:gd name="connsiteY3" fmla="*/ 641569 h 641569"/>
                  <a:gd name="connsiteX4" fmla="*/ 0 w 744220"/>
                  <a:gd name="connsiteY4" fmla="*/ 641569 h 641569"/>
                  <a:gd name="connsiteX0" fmla="*/ 0 w 744220"/>
                  <a:gd name="connsiteY0" fmla="*/ 641569 h 642620"/>
                  <a:gd name="connsiteX1" fmla="*/ 372110 w 744220"/>
                  <a:gd name="connsiteY1" fmla="*/ 0 h 642620"/>
                  <a:gd name="connsiteX2" fmla="*/ 723900 w 744220"/>
                  <a:gd name="connsiteY2" fmla="*/ 604520 h 642620"/>
                  <a:gd name="connsiteX3" fmla="*/ 744220 w 744220"/>
                  <a:gd name="connsiteY3" fmla="*/ 641569 h 642620"/>
                  <a:gd name="connsiteX4" fmla="*/ 698500 w 744220"/>
                  <a:gd name="connsiteY4" fmla="*/ 642620 h 642620"/>
                  <a:gd name="connsiteX5" fmla="*/ 0 w 744220"/>
                  <a:gd name="connsiteY5"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36334"/>
                  <a:gd name="connsiteY0" fmla="*/ 641569 h 642620"/>
                  <a:gd name="connsiteX1" fmla="*/ 372110 w 736334"/>
                  <a:gd name="connsiteY1" fmla="*/ 0 h 642620"/>
                  <a:gd name="connsiteX2" fmla="*/ 723900 w 736334"/>
                  <a:gd name="connsiteY2" fmla="*/ 604520 h 642620"/>
                  <a:gd name="connsiteX3" fmla="*/ 698500 w 736334"/>
                  <a:gd name="connsiteY3" fmla="*/ 642620 h 642620"/>
                  <a:gd name="connsiteX4" fmla="*/ 0 w 736334"/>
                  <a:gd name="connsiteY4" fmla="*/ 641569 h 642620"/>
                  <a:gd name="connsiteX0" fmla="*/ 0 w 737461"/>
                  <a:gd name="connsiteY0" fmla="*/ 641569 h 642620"/>
                  <a:gd name="connsiteX1" fmla="*/ 372110 w 737461"/>
                  <a:gd name="connsiteY1" fmla="*/ 0 h 642620"/>
                  <a:gd name="connsiteX2" fmla="*/ 723900 w 737461"/>
                  <a:gd name="connsiteY2" fmla="*/ 604520 h 642620"/>
                  <a:gd name="connsiteX3" fmla="*/ 698500 w 737461"/>
                  <a:gd name="connsiteY3" fmla="*/ 642620 h 642620"/>
                  <a:gd name="connsiteX4" fmla="*/ 0 w 737461"/>
                  <a:gd name="connsiteY4" fmla="*/ 641569 h 642620"/>
                  <a:gd name="connsiteX0" fmla="*/ 0 w 738071"/>
                  <a:gd name="connsiteY0" fmla="*/ 641569 h 644004"/>
                  <a:gd name="connsiteX1" fmla="*/ 372110 w 738071"/>
                  <a:gd name="connsiteY1" fmla="*/ 0 h 644004"/>
                  <a:gd name="connsiteX2" fmla="*/ 723900 w 738071"/>
                  <a:gd name="connsiteY2" fmla="*/ 604520 h 644004"/>
                  <a:gd name="connsiteX3" fmla="*/ 698500 w 738071"/>
                  <a:gd name="connsiteY3" fmla="*/ 642620 h 644004"/>
                  <a:gd name="connsiteX4" fmla="*/ 0 w 738071"/>
                  <a:gd name="connsiteY4" fmla="*/ 641569 h 644004"/>
                  <a:gd name="connsiteX0" fmla="*/ 0 w 731341"/>
                  <a:gd name="connsiteY0" fmla="*/ 641569 h 644004"/>
                  <a:gd name="connsiteX1" fmla="*/ 372110 w 731341"/>
                  <a:gd name="connsiteY1" fmla="*/ 0 h 644004"/>
                  <a:gd name="connsiteX2" fmla="*/ 723900 w 731341"/>
                  <a:gd name="connsiteY2" fmla="*/ 604520 h 644004"/>
                  <a:gd name="connsiteX3" fmla="*/ 698500 w 731341"/>
                  <a:gd name="connsiteY3" fmla="*/ 642620 h 644004"/>
                  <a:gd name="connsiteX4" fmla="*/ 0 w 731341"/>
                  <a:gd name="connsiteY4" fmla="*/ 641569 h 644004"/>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0 w 730699"/>
                  <a:gd name="connsiteY4" fmla="*/ 641569 h 642835"/>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40640 w 730699"/>
                  <a:gd name="connsiteY4" fmla="*/ 642620 h 642835"/>
                  <a:gd name="connsiteX5" fmla="*/ 0 w 730699"/>
                  <a:gd name="connsiteY5" fmla="*/ 641569 h 642835"/>
                  <a:gd name="connsiteX0" fmla="*/ 0 w 730699"/>
                  <a:gd name="connsiteY0" fmla="*/ 641569 h 642835"/>
                  <a:gd name="connsiteX1" fmla="*/ 30480 w 730699"/>
                  <a:gd name="connsiteY1" fmla="*/ 584200 h 642835"/>
                  <a:gd name="connsiteX2" fmla="*/ 372110 w 730699"/>
                  <a:gd name="connsiteY2" fmla="*/ 0 h 642835"/>
                  <a:gd name="connsiteX3" fmla="*/ 723900 w 730699"/>
                  <a:gd name="connsiteY3" fmla="*/ 604520 h 642835"/>
                  <a:gd name="connsiteX4" fmla="*/ 698500 w 730699"/>
                  <a:gd name="connsiteY4" fmla="*/ 642620 h 642835"/>
                  <a:gd name="connsiteX5" fmla="*/ 40640 w 730699"/>
                  <a:gd name="connsiteY5" fmla="*/ 642620 h 642835"/>
                  <a:gd name="connsiteX6" fmla="*/ 0 w 730699"/>
                  <a:gd name="connsiteY6" fmla="*/ 641569 h 642835"/>
                  <a:gd name="connsiteX0" fmla="*/ 10160 w 700219"/>
                  <a:gd name="connsiteY0" fmla="*/ 642620 h 642835"/>
                  <a:gd name="connsiteX1" fmla="*/ 0 w 700219"/>
                  <a:gd name="connsiteY1" fmla="*/ 584200 h 642835"/>
                  <a:gd name="connsiteX2" fmla="*/ 341630 w 700219"/>
                  <a:gd name="connsiteY2" fmla="*/ 0 h 642835"/>
                  <a:gd name="connsiteX3" fmla="*/ 693420 w 700219"/>
                  <a:gd name="connsiteY3" fmla="*/ 604520 h 642835"/>
                  <a:gd name="connsiteX4" fmla="*/ 668020 w 700219"/>
                  <a:gd name="connsiteY4" fmla="*/ 642620 h 642835"/>
                  <a:gd name="connsiteX5" fmla="*/ 10160 w 700219"/>
                  <a:gd name="connsiteY5" fmla="*/ 642620 h 642835"/>
                  <a:gd name="connsiteX0" fmla="*/ 20557 w 710616"/>
                  <a:gd name="connsiteY0" fmla="*/ 642620 h 642835"/>
                  <a:gd name="connsiteX1" fmla="*/ 10397 w 710616"/>
                  <a:gd name="connsiteY1" fmla="*/ 584200 h 642835"/>
                  <a:gd name="connsiteX2" fmla="*/ 352027 w 710616"/>
                  <a:gd name="connsiteY2" fmla="*/ 0 h 642835"/>
                  <a:gd name="connsiteX3" fmla="*/ 703817 w 710616"/>
                  <a:gd name="connsiteY3" fmla="*/ 604520 h 642835"/>
                  <a:gd name="connsiteX4" fmla="*/ 678417 w 710616"/>
                  <a:gd name="connsiteY4" fmla="*/ 642620 h 642835"/>
                  <a:gd name="connsiteX5" fmla="*/ 20557 w 710616"/>
                  <a:gd name="connsiteY5" fmla="*/ 642620 h 642835"/>
                  <a:gd name="connsiteX0" fmla="*/ 28893 w 718952"/>
                  <a:gd name="connsiteY0" fmla="*/ 642620 h 642835"/>
                  <a:gd name="connsiteX1" fmla="*/ 18733 w 718952"/>
                  <a:gd name="connsiteY1" fmla="*/ 584200 h 642835"/>
                  <a:gd name="connsiteX2" fmla="*/ 360363 w 718952"/>
                  <a:gd name="connsiteY2" fmla="*/ 0 h 642835"/>
                  <a:gd name="connsiteX3" fmla="*/ 712153 w 718952"/>
                  <a:gd name="connsiteY3" fmla="*/ 604520 h 642835"/>
                  <a:gd name="connsiteX4" fmla="*/ 686753 w 718952"/>
                  <a:gd name="connsiteY4" fmla="*/ 642620 h 642835"/>
                  <a:gd name="connsiteX5" fmla="*/ 28893 w 718952"/>
                  <a:gd name="connsiteY5"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712153 w 718952"/>
                  <a:gd name="connsiteY4" fmla="*/ 604520 h 642835"/>
                  <a:gd name="connsiteX5" fmla="*/ 686753 w 718952"/>
                  <a:gd name="connsiteY5" fmla="*/ 642620 h 642835"/>
                  <a:gd name="connsiteX6" fmla="*/ 28893 w 718952"/>
                  <a:gd name="connsiteY6"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387033 w 718952"/>
                  <a:gd name="connsiteY4" fmla="*/ 43180 h 642835"/>
                  <a:gd name="connsiteX5" fmla="*/ 712153 w 718952"/>
                  <a:gd name="connsiteY5" fmla="*/ 604520 h 642835"/>
                  <a:gd name="connsiteX6" fmla="*/ 686753 w 718952"/>
                  <a:gd name="connsiteY6" fmla="*/ 642620 h 642835"/>
                  <a:gd name="connsiteX7" fmla="*/ 28893 w 718952"/>
                  <a:gd name="connsiteY7" fmla="*/ 642620 h 642835"/>
                  <a:gd name="connsiteX0" fmla="*/ 28893 w 718952"/>
                  <a:gd name="connsiteY0" fmla="*/ 599440 h 599655"/>
                  <a:gd name="connsiteX1" fmla="*/ 18733 w 718952"/>
                  <a:gd name="connsiteY1" fmla="*/ 541020 h 599655"/>
                  <a:gd name="connsiteX2" fmla="*/ 333693 w 718952"/>
                  <a:gd name="connsiteY2" fmla="*/ 0 h 599655"/>
                  <a:gd name="connsiteX3" fmla="*/ 387033 w 718952"/>
                  <a:gd name="connsiteY3" fmla="*/ 0 h 599655"/>
                  <a:gd name="connsiteX4" fmla="*/ 712153 w 718952"/>
                  <a:gd name="connsiteY4" fmla="*/ 561340 h 599655"/>
                  <a:gd name="connsiteX5" fmla="*/ 686753 w 718952"/>
                  <a:gd name="connsiteY5" fmla="*/ 599440 h 599655"/>
                  <a:gd name="connsiteX6" fmla="*/ 28893 w 718952"/>
                  <a:gd name="connsiteY6" fmla="*/ 599440 h 599655"/>
                  <a:gd name="connsiteX0" fmla="*/ 28893 w 718952"/>
                  <a:gd name="connsiteY0" fmla="*/ 622017 h 622232"/>
                  <a:gd name="connsiteX1" fmla="*/ 18733 w 718952"/>
                  <a:gd name="connsiteY1" fmla="*/ 563597 h 622232"/>
                  <a:gd name="connsiteX2" fmla="*/ 333693 w 718952"/>
                  <a:gd name="connsiteY2" fmla="*/ 22577 h 622232"/>
                  <a:gd name="connsiteX3" fmla="*/ 387033 w 718952"/>
                  <a:gd name="connsiteY3" fmla="*/ 22577 h 622232"/>
                  <a:gd name="connsiteX4" fmla="*/ 712153 w 718952"/>
                  <a:gd name="connsiteY4" fmla="*/ 583917 h 622232"/>
                  <a:gd name="connsiteX5" fmla="*/ 686753 w 718952"/>
                  <a:gd name="connsiteY5" fmla="*/ 622017 h 622232"/>
                  <a:gd name="connsiteX6" fmla="*/ 28893 w 718952"/>
                  <a:gd name="connsiteY6" fmla="*/ 622017 h 622232"/>
                  <a:gd name="connsiteX0" fmla="*/ 28893 w 718952"/>
                  <a:gd name="connsiteY0" fmla="*/ 630382 h 630597"/>
                  <a:gd name="connsiteX1" fmla="*/ 18733 w 718952"/>
                  <a:gd name="connsiteY1" fmla="*/ 571962 h 630597"/>
                  <a:gd name="connsiteX2" fmla="*/ 333693 w 718952"/>
                  <a:gd name="connsiteY2" fmla="*/ 30942 h 630597"/>
                  <a:gd name="connsiteX3" fmla="*/ 387033 w 718952"/>
                  <a:gd name="connsiteY3" fmla="*/ 30942 h 630597"/>
                  <a:gd name="connsiteX4" fmla="*/ 712153 w 718952"/>
                  <a:gd name="connsiteY4" fmla="*/ 592282 h 630597"/>
                  <a:gd name="connsiteX5" fmla="*/ 686753 w 718952"/>
                  <a:gd name="connsiteY5" fmla="*/ 630382 h 630597"/>
                  <a:gd name="connsiteX6" fmla="*/ 28893 w 718952"/>
                  <a:gd name="connsiteY6" fmla="*/ 630382 h 630597"/>
                  <a:gd name="connsiteX0" fmla="*/ 28893 w 718952"/>
                  <a:gd name="connsiteY0" fmla="*/ 631218 h 631433"/>
                  <a:gd name="connsiteX1" fmla="*/ 18733 w 718952"/>
                  <a:gd name="connsiteY1" fmla="*/ 572798 h 631433"/>
                  <a:gd name="connsiteX2" fmla="*/ 333693 w 718952"/>
                  <a:gd name="connsiteY2" fmla="*/ 31778 h 631433"/>
                  <a:gd name="connsiteX3" fmla="*/ 387033 w 718952"/>
                  <a:gd name="connsiteY3" fmla="*/ 31778 h 631433"/>
                  <a:gd name="connsiteX4" fmla="*/ 712153 w 718952"/>
                  <a:gd name="connsiteY4" fmla="*/ 593118 h 631433"/>
                  <a:gd name="connsiteX5" fmla="*/ 686753 w 718952"/>
                  <a:gd name="connsiteY5" fmla="*/ 631218 h 631433"/>
                  <a:gd name="connsiteX6" fmla="*/ 28893 w 718952"/>
                  <a:gd name="connsiteY6" fmla="*/ 631218 h 631433"/>
                  <a:gd name="connsiteX0" fmla="*/ 28893 w 718952"/>
                  <a:gd name="connsiteY0" fmla="*/ 630383 h 630598"/>
                  <a:gd name="connsiteX1" fmla="*/ 18733 w 718952"/>
                  <a:gd name="connsiteY1" fmla="*/ 571963 h 630598"/>
                  <a:gd name="connsiteX2" fmla="*/ 333693 w 718952"/>
                  <a:gd name="connsiteY2" fmla="*/ 30943 h 630598"/>
                  <a:gd name="connsiteX3" fmla="*/ 387033 w 718952"/>
                  <a:gd name="connsiteY3" fmla="*/ 30943 h 630598"/>
                  <a:gd name="connsiteX4" fmla="*/ 712153 w 718952"/>
                  <a:gd name="connsiteY4" fmla="*/ 592283 h 630598"/>
                  <a:gd name="connsiteX5" fmla="*/ 686753 w 718952"/>
                  <a:gd name="connsiteY5" fmla="*/ 630383 h 630598"/>
                  <a:gd name="connsiteX6" fmla="*/ 28893 w 718952"/>
                  <a:gd name="connsiteY6" fmla="*/ 630383 h 630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952" h="630598">
                    <a:moveTo>
                      <a:pt x="28893" y="630383"/>
                    </a:moveTo>
                    <a:cubicBezTo>
                      <a:pt x="-12594" y="618530"/>
                      <a:pt x="-3280" y="601596"/>
                      <a:pt x="18733" y="571963"/>
                    </a:cubicBezTo>
                    <a:lnTo>
                      <a:pt x="333693" y="30943"/>
                    </a:lnTo>
                    <a:cubicBezTo>
                      <a:pt x="359093" y="-19857"/>
                      <a:pt x="371793" y="463"/>
                      <a:pt x="387033" y="30943"/>
                    </a:cubicBezTo>
                    <a:lnTo>
                      <a:pt x="712153" y="592283"/>
                    </a:lnTo>
                    <a:cubicBezTo>
                      <a:pt x="724006" y="612603"/>
                      <a:pt x="723160" y="632923"/>
                      <a:pt x="686753" y="630383"/>
                    </a:cubicBezTo>
                    <a:lnTo>
                      <a:pt x="28893" y="63038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grpSp>
        <p:nvGrpSpPr>
          <p:cNvPr id="184" name="Group 183">
            <a:extLst>
              <a:ext uri="{FF2B5EF4-FFF2-40B4-BE49-F238E27FC236}">
                <a16:creationId xmlns:a16="http://schemas.microsoft.com/office/drawing/2014/main" id="{32626DC7-D157-4336-B304-FCE83CAFDED0}"/>
              </a:ext>
            </a:extLst>
          </p:cNvPr>
          <p:cNvGrpSpPr/>
          <p:nvPr/>
        </p:nvGrpSpPr>
        <p:grpSpPr>
          <a:xfrm>
            <a:off x="10386238" y="5460696"/>
            <a:ext cx="264749" cy="390014"/>
            <a:chOff x="-855663" y="3543300"/>
            <a:chExt cx="608013" cy="895693"/>
          </a:xfrm>
          <a:solidFill>
            <a:srgbClr val="002050"/>
          </a:solidFill>
        </p:grpSpPr>
        <p:sp>
          <p:nvSpPr>
            <p:cNvPr id="185" name="Freeform: Shape 184">
              <a:extLst>
                <a:ext uri="{FF2B5EF4-FFF2-40B4-BE49-F238E27FC236}">
                  <a16:creationId xmlns:a16="http://schemas.microsoft.com/office/drawing/2014/main" id="{F57727D3-715A-4776-9BA2-A25840FC50B6}"/>
                </a:ext>
              </a:extLst>
            </p:cNvPr>
            <p:cNvSpPr>
              <a:spLocks/>
            </p:cNvSpPr>
            <p:nvPr/>
          </p:nvSpPr>
          <p:spPr bwMode="auto">
            <a:xfrm>
              <a:off x="-855663" y="3543300"/>
              <a:ext cx="608013" cy="895693"/>
            </a:xfrm>
            <a:custGeom>
              <a:avLst/>
              <a:gdLst>
                <a:gd name="connsiteX0" fmla="*/ 304007 w 608013"/>
                <a:gd name="connsiteY0" fmla="*/ 61913 h 895693"/>
                <a:gd name="connsiteX1" fmla="*/ 60325 w 608013"/>
                <a:gd name="connsiteY1" fmla="*/ 305966 h 895693"/>
                <a:gd name="connsiteX2" fmla="*/ 107155 w 608013"/>
                <a:gd name="connsiteY2" fmla="*/ 473234 h 895693"/>
                <a:gd name="connsiteX3" fmla="*/ 304007 w 608013"/>
                <a:gd name="connsiteY3" fmla="*/ 804863 h 895693"/>
                <a:gd name="connsiteX4" fmla="*/ 500858 w 608013"/>
                <a:gd name="connsiteY4" fmla="*/ 473234 h 895693"/>
                <a:gd name="connsiteX5" fmla="*/ 547688 w 608013"/>
                <a:gd name="connsiteY5" fmla="*/ 305966 h 895693"/>
                <a:gd name="connsiteX6" fmla="*/ 304007 w 608013"/>
                <a:gd name="connsiteY6" fmla="*/ 61913 h 895693"/>
                <a:gd name="connsiteX7" fmla="*/ 304007 w 608013"/>
                <a:gd name="connsiteY7" fmla="*/ 0 h 895693"/>
                <a:gd name="connsiteX8" fmla="*/ 608013 w 608013"/>
                <a:gd name="connsiteY8" fmla="*/ 305165 h 895693"/>
                <a:gd name="connsiteX9" fmla="*/ 553342 w 608013"/>
                <a:gd name="connsiteY9" fmla="*/ 503897 h 895693"/>
                <a:gd name="connsiteX10" fmla="*/ 330100 w 608013"/>
                <a:gd name="connsiteY10" fmla="*/ 880573 h 895693"/>
                <a:gd name="connsiteX11" fmla="*/ 319331 w 608013"/>
                <a:gd name="connsiteY11" fmla="*/ 891382 h 895693"/>
                <a:gd name="connsiteX12" fmla="*/ 277913 w 608013"/>
                <a:gd name="connsiteY12" fmla="*/ 880573 h 895693"/>
                <a:gd name="connsiteX13" fmla="*/ 54672 w 608013"/>
                <a:gd name="connsiteY13" fmla="*/ 503897 h 895693"/>
                <a:gd name="connsiteX14" fmla="*/ 0 w 608013"/>
                <a:gd name="connsiteY14" fmla="*/ 305165 h 895693"/>
                <a:gd name="connsiteX15" fmla="*/ 304007 w 608013"/>
                <a:gd name="connsiteY15" fmla="*/ 0 h 89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8013" h="895693">
                  <a:moveTo>
                    <a:pt x="304007" y="61913"/>
                  </a:moveTo>
                  <a:cubicBezTo>
                    <a:pt x="169319" y="61913"/>
                    <a:pt x="60325" y="171073"/>
                    <a:pt x="60325" y="305966"/>
                  </a:cubicBezTo>
                  <a:cubicBezTo>
                    <a:pt x="60325" y="351207"/>
                    <a:pt x="85605" y="437124"/>
                    <a:pt x="107155" y="473234"/>
                  </a:cubicBezTo>
                  <a:cubicBezTo>
                    <a:pt x="107155" y="473234"/>
                    <a:pt x="107155" y="473234"/>
                    <a:pt x="304007" y="804863"/>
                  </a:cubicBezTo>
                  <a:cubicBezTo>
                    <a:pt x="304007" y="804863"/>
                    <a:pt x="304007" y="804863"/>
                    <a:pt x="500858" y="473234"/>
                  </a:cubicBezTo>
                  <a:cubicBezTo>
                    <a:pt x="522408" y="437124"/>
                    <a:pt x="547688" y="351207"/>
                    <a:pt x="547688" y="305966"/>
                  </a:cubicBezTo>
                  <a:cubicBezTo>
                    <a:pt x="547688" y="171073"/>
                    <a:pt x="438694" y="61913"/>
                    <a:pt x="304007" y="61913"/>
                  </a:cubicBezTo>
                  <a:close/>
                  <a:moveTo>
                    <a:pt x="304007" y="0"/>
                  </a:moveTo>
                  <a:cubicBezTo>
                    <a:pt x="471749" y="0"/>
                    <a:pt x="608013" y="136784"/>
                    <a:pt x="608013" y="305165"/>
                  </a:cubicBezTo>
                  <a:cubicBezTo>
                    <a:pt x="608013" y="369192"/>
                    <a:pt x="583577" y="452759"/>
                    <a:pt x="553342" y="503897"/>
                  </a:cubicBezTo>
                  <a:cubicBezTo>
                    <a:pt x="553342" y="503897"/>
                    <a:pt x="553342" y="503897"/>
                    <a:pt x="330100" y="880573"/>
                  </a:cubicBezTo>
                  <a:cubicBezTo>
                    <a:pt x="327615" y="885146"/>
                    <a:pt x="323887" y="888888"/>
                    <a:pt x="319331" y="891382"/>
                  </a:cubicBezTo>
                  <a:cubicBezTo>
                    <a:pt x="304835" y="900113"/>
                    <a:pt x="286197" y="895124"/>
                    <a:pt x="277913" y="880573"/>
                  </a:cubicBezTo>
                  <a:cubicBezTo>
                    <a:pt x="277913" y="880573"/>
                    <a:pt x="277913" y="880573"/>
                    <a:pt x="54672" y="503897"/>
                  </a:cubicBezTo>
                  <a:cubicBezTo>
                    <a:pt x="24437" y="452759"/>
                    <a:pt x="0" y="369192"/>
                    <a:pt x="0" y="305165"/>
                  </a:cubicBezTo>
                  <a:cubicBezTo>
                    <a:pt x="0" y="136784"/>
                    <a:pt x="136265" y="0"/>
                    <a:pt x="3040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6C3FAD7-391C-42BC-AB42-8C4ABAE17137}"/>
                </a:ext>
              </a:extLst>
            </p:cNvPr>
            <p:cNvSpPr>
              <a:spLocks noChangeArrowheads="1"/>
            </p:cNvSpPr>
            <p:nvPr/>
          </p:nvSpPr>
          <p:spPr bwMode="auto">
            <a:xfrm>
              <a:off x="-703264" y="3695700"/>
              <a:ext cx="303214" cy="306388"/>
            </a:xfrm>
            <a:custGeom>
              <a:avLst/>
              <a:gdLst>
                <a:gd name="connsiteX0" fmla="*/ 151607 w 303214"/>
                <a:gd name="connsiteY0" fmla="*/ 61913 h 306388"/>
                <a:gd name="connsiteX1" fmla="*/ 60325 w 303214"/>
                <a:gd name="connsiteY1" fmla="*/ 153195 h 306388"/>
                <a:gd name="connsiteX2" fmla="*/ 151607 w 303214"/>
                <a:gd name="connsiteY2" fmla="*/ 244477 h 306388"/>
                <a:gd name="connsiteX3" fmla="*/ 242889 w 303214"/>
                <a:gd name="connsiteY3" fmla="*/ 153195 h 306388"/>
                <a:gd name="connsiteX4" fmla="*/ 151607 w 303214"/>
                <a:gd name="connsiteY4" fmla="*/ 61913 h 306388"/>
                <a:gd name="connsiteX5" fmla="*/ 151607 w 303214"/>
                <a:gd name="connsiteY5" fmla="*/ 0 h 306388"/>
                <a:gd name="connsiteX6" fmla="*/ 303214 w 303214"/>
                <a:gd name="connsiteY6" fmla="*/ 153194 h 306388"/>
                <a:gd name="connsiteX7" fmla="*/ 151607 w 303214"/>
                <a:gd name="connsiteY7" fmla="*/ 306388 h 306388"/>
                <a:gd name="connsiteX8" fmla="*/ 0 w 303214"/>
                <a:gd name="connsiteY8" fmla="*/ 153194 h 306388"/>
                <a:gd name="connsiteX9" fmla="*/ 151607 w 303214"/>
                <a:gd name="connsiteY9" fmla="*/ 0 h 306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214" h="306388">
                  <a:moveTo>
                    <a:pt x="151607" y="61913"/>
                  </a:moveTo>
                  <a:cubicBezTo>
                    <a:pt x="101193" y="61913"/>
                    <a:pt x="60325" y="102781"/>
                    <a:pt x="60325" y="153195"/>
                  </a:cubicBezTo>
                  <a:cubicBezTo>
                    <a:pt x="60325" y="203609"/>
                    <a:pt x="101193" y="244477"/>
                    <a:pt x="151607" y="244477"/>
                  </a:cubicBezTo>
                  <a:cubicBezTo>
                    <a:pt x="202021" y="244477"/>
                    <a:pt x="242889" y="203609"/>
                    <a:pt x="242889" y="153195"/>
                  </a:cubicBezTo>
                  <a:cubicBezTo>
                    <a:pt x="242889" y="102781"/>
                    <a:pt x="202021" y="61913"/>
                    <a:pt x="151607" y="61913"/>
                  </a:cubicBezTo>
                  <a:close/>
                  <a:moveTo>
                    <a:pt x="151607" y="0"/>
                  </a:moveTo>
                  <a:cubicBezTo>
                    <a:pt x="235337" y="0"/>
                    <a:pt x="303214" y="68587"/>
                    <a:pt x="303214" y="153194"/>
                  </a:cubicBezTo>
                  <a:cubicBezTo>
                    <a:pt x="303214" y="237801"/>
                    <a:pt x="235337" y="306388"/>
                    <a:pt x="151607" y="306388"/>
                  </a:cubicBezTo>
                  <a:cubicBezTo>
                    <a:pt x="67877" y="306388"/>
                    <a:pt x="0" y="237801"/>
                    <a:pt x="0" y="153194"/>
                  </a:cubicBezTo>
                  <a:cubicBezTo>
                    <a:pt x="0" y="68587"/>
                    <a:pt x="67877" y="0"/>
                    <a:pt x="1516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1" name="Group 180">
            <a:extLst>
              <a:ext uri="{FF2B5EF4-FFF2-40B4-BE49-F238E27FC236}">
                <a16:creationId xmlns:a16="http://schemas.microsoft.com/office/drawing/2014/main" id="{CA136177-DA6C-4BFD-891C-361131C87F85}"/>
              </a:ext>
            </a:extLst>
          </p:cNvPr>
          <p:cNvGrpSpPr/>
          <p:nvPr/>
        </p:nvGrpSpPr>
        <p:grpSpPr>
          <a:xfrm>
            <a:off x="7890657" y="5460696"/>
            <a:ext cx="264749" cy="390014"/>
            <a:chOff x="-855663" y="3543300"/>
            <a:chExt cx="608013" cy="895693"/>
          </a:xfrm>
          <a:solidFill>
            <a:srgbClr val="002050"/>
          </a:solidFill>
        </p:grpSpPr>
        <p:sp>
          <p:nvSpPr>
            <p:cNvPr id="182" name="Freeform: Shape 181">
              <a:extLst>
                <a:ext uri="{FF2B5EF4-FFF2-40B4-BE49-F238E27FC236}">
                  <a16:creationId xmlns:a16="http://schemas.microsoft.com/office/drawing/2014/main" id="{CC33EDCE-0177-4AD5-9345-7740D9F15631}"/>
                </a:ext>
              </a:extLst>
            </p:cNvPr>
            <p:cNvSpPr>
              <a:spLocks/>
            </p:cNvSpPr>
            <p:nvPr/>
          </p:nvSpPr>
          <p:spPr bwMode="auto">
            <a:xfrm>
              <a:off x="-855663" y="3543300"/>
              <a:ext cx="608013" cy="895693"/>
            </a:xfrm>
            <a:custGeom>
              <a:avLst/>
              <a:gdLst>
                <a:gd name="connsiteX0" fmla="*/ 304007 w 608013"/>
                <a:gd name="connsiteY0" fmla="*/ 61913 h 895693"/>
                <a:gd name="connsiteX1" fmla="*/ 60325 w 608013"/>
                <a:gd name="connsiteY1" fmla="*/ 305966 h 895693"/>
                <a:gd name="connsiteX2" fmla="*/ 107155 w 608013"/>
                <a:gd name="connsiteY2" fmla="*/ 473234 h 895693"/>
                <a:gd name="connsiteX3" fmla="*/ 304007 w 608013"/>
                <a:gd name="connsiteY3" fmla="*/ 804863 h 895693"/>
                <a:gd name="connsiteX4" fmla="*/ 500858 w 608013"/>
                <a:gd name="connsiteY4" fmla="*/ 473234 h 895693"/>
                <a:gd name="connsiteX5" fmla="*/ 547688 w 608013"/>
                <a:gd name="connsiteY5" fmla="*/ 305966 h 895693"/>
                <a:gd name="connsiteX6" fmla="*/ 304007 w 608013"/>
                <a:gd name="connsiteY6" fmla="*/ 61913 h 895693"/>
                <a:gd name="connsiteX7" fmla="*/ 304007 w 608013"/>
                <a:gd name="connsiteY7" fmla="*/ 0 h 895693"/>
                <a:gd name="connsiteX8" fmla="*/ 608013 w 608013"/>
                <a:gd name="connsiteY8" fmla="*/ 305165 h 895693"/>
                <a:gd name="connsiteX9" fmla="*/ 553342 w 608013"/>
                <a:gd name="connsiteY9" fmla="*/ 503897 h 895693"/>
                <a:gd name="connsiteX10" fmla="*/ 330100 w 608013"/>
                <a:gd name="connsiteY10" fmla="*/ 880573 h 895693"/>
                <a:gd name="connsiteX11" fmla="*/ 319331 w 608013"/>
                <a:gd name="connsiteY11" fmla="*/ 891382 h 895693"/>
                <a:gd name="connsiteX12" fmla="*/ 277913 w 608013"/>
                <a:gd name="connsiteY12" fmla="*/ 880573 h 895693"/>
                <a:gd name="connsiteX13" fmla="*/ 54672 w 608013"/>
                <a:gd name="connsiteY13" fmla="*/ 503897 h 895693"/>
                <a:gd name="connsiteX14" fmla="*/ 0 w 608013"/>
                <a:gd name="connsiteY14" fmla="*/ 305165 h 895693"/>
                <a:gd name="connsiteX15" fmla="*/ 304007 w 608013"/>
                <a:gd name="connsiteY15" fmla="*/ 0 h 89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8013" h="895693">
                  <a:moveTo>
                    <a:pt x="304007" y="61913"/>
                  </a:moveTo>
                  <a:cubicBezTo>
                    <a:pt x="169319" y="61913"/>
                    <a:pt x="60325" y="171073"/>
                    <a:pt x="60325" y="305966"/>
                  </a:cubicBezTo>
                  <a:cubicBezTo>
                    <a:pt x="60325" y="351207"/>
                    <a:pt x="85605" y="437124"/>
                    <a:pt x="107155" y="473234"/>
                  </a:cubicBezTo>
                  <a:cubicBezTo>
                    <a:pt x="107155" y="473234"/>
                    <a:pt x="107155" y="473234"/>
                    <a:pt x="304007" y="804863"/>
                  </a:cubicBezTo>
                  <a:cubicBezTo>
                    <a:pt x="304007" y="804863"/>
                    <a:pt x="304007" y="804863"/>
                    <a:pt x="500858" y="473234"/>
                  </a:cubicBezTo>
                  <a:cubicBezTo>
                    <a:pt x="522408" y="437124"/>
                    <a:pt x="547688" y="351207"/>
                    <a:pt x="547688" y="305966"/>
                  </a:cubicBezTo>
                  <a:cubicBezTo>
                    <a:pt x="547688" y="171073"/>
                    <a:pt x="438694" y="61913"/>
                    <a:pt x="304007" y="61913"/>
                  </a:cubicBezTo>
                  <a:close/>
                  <a:moveTo>
                    <a:pt x="304007" y="0"/>
                  </a:moveTo>
                  <a:cubicBezTo>
                    <a:pt x="471749" y="0"/>
                    <a:pt x="608013" y="136784"/>
                    <a:pt x="608013" y="305165"/>
                  </a:cubicBezTo>
                  <a:cubicBezTo>
                    <a:pt x="608013" y="369192"/>
                    <a:pt x="583577" y="452759"/>
                    <a:pt x="553342" y="503897"/>
                  </a:cubicBezTo>
                  <a:cubicBezTo>
                    <a:pt x="553342" y="503897"/>
                    <a:pt x="553342" y="503897"/>
                    <a:pt x="330100" y="880573"/>
                  </a:cubicBezTo>
                  <a:cubicBezTo>
                    <a:pt x="327615" y="885146"/>
                    <a:pt x="323887" y="888888"/>
                    <a:pt x="319331" y="891382"/>
                  </a:cubicBezTo>
                  <a:cubicBezTo>
                    <a:pt x="304835" y="900113"/>
                    <a:pt x="286197" y="895124"/>
                    <a:pt x="277913" y="880573"/>
                  </a:cubicBezTo>
                  <a:cubicBezTo>
                    <a:pt x="277913" y="880573"/>
                    <a:pt x="277913" y="880573"/>
                    <a:pt x="54672" y="503897"/>
                  </a:cubicBezTo>
                  <a:cubicBezTo>
                    <a:pt x="24437" y="452759"/>
                    <a:pt x="0" y="369192"/>
                    <a:pt x="0" y="305165"/>
                  </a:cubicBezTo>
                  <a:cubicBezTo>
                    <a:pt x="0" y="136784"/>
                    <a:pt x="136265" y="0"/>
                    <a:pt x="3040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7CCC49F7-59EF-45FF-864A-41A4B411D798}"/>
                </a:ext>
              </a:extLst>
            </p:cNvPr>
            <p:cNvSpPr>
              <a:spLocks noChangeArrowheads="1"/>
            </p:cNvSpPr>
            <p:nvPr/>
          </p:nvSpPr>
          <p:spPr bwMode="auto">
            <a:xfrm>
              <a:off x="-703264" y="3695700"/>
              <a:ext cx="303214" cy="306388"/>
            </a:xfrm>
            <a:custGeom>
              <a:avLst/>
              <a:gdLst>
                <a:gd name="connsiteX0" fmla="*/ 151607 w 303214"/>
                <a:gd name="connsiteY0" fmla="*/ 61913 h 306388"/>
                <a:gd name="connsiteX1" fmla="*/ 60325 w 303214"/>
                <a:gd name="connsiteY1" fmla="*/ 153195 h 306388"/>
                <a:gd name="connsiteX2" fmla="*/ 151607 w 303214"/>
                <a:gd name="connsiteY2" fmla="*/ 244477 h 306388"/>
                <a:gd name="connsiteX3" fmla="*/ 242889 w 303214"/>
                <a:gd name="connsiteY3" fmla="*/ 153195 h 306388"/>
                <a:gd name="connsiteX4" fmla="*/ 151607 w 303214"/>
                <a:gd name="connsiteY4" fmla="*/ 61913 h 306388"/>
                <a:gd name="connsiteX5" fmla="*/ 151607 w 303214"/>
                <a:gd name="connsiteY5" fmla="*/ 0 h 306388"/>
                <a:gd name="connsiteX6" fmla="*/ 303214 w 303214"/>
                <a:gd name="connsiteY6" fmla="*/ 153194 h 306388"/>
                <a:gd name="connsiteX7" fmla="*/ 151607 w 303214"/>
                <a:gd name="connsiteY7" fmla="*/ 306388 h 306388"/>
                <a:gd name="connsiteX8" fmla="*/ 0 w 303214"/>
                <a:gd name="connsiteY8" fmla="*/ 153194 h 306388"/>
                <a:gd name="connsiteX9" fmla="*/ 151607 w 303214"/>
                <a:gd name="connsiteY9" fmla="*/ 0 h 306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214" h="306388">
                  <a:moveTo>
                    <a:pt x="151607" y="61913"/>
                  </a:moveTo>
                  <a:cubicBezTo>
                    <a:pt x="101193" y="61913"/>
                    <a:pt x="60325" y="102781"/>
                    <a:pt x="60325" y="153195"/>
                  </a:cubicBezTo>
                  <a:cubicBezTo>
                    <a:pt x="60325" y="203609"/>
                    <a:pt x="101193" y="244477"/>
                    <a:pt x="151607" y="244477"/>
                  </a:cubicBezTo>
                  <a:cubicBezTo>
                    <a:pt x="202021" y="244477"/>
                    <a:pt x="242889" y="203609"/>
                    <a:pt x="242889" y="153195"/>
                  </a:cubicBezTo>
                  <a:cubicBezTo>
                    <a:pt x="242889" y="102781"/>
                    <a:pt x="202021" y="61913"/>
                    <a:pt x="151607" y="61913"/>
                  </a:cubicBezTo>
                  <a:close/>
                  <a:moveTo>
                    <a:pt x="151607" y="0"/>
                  </a:moveTo>
                  <a:cubicBezTo>
                    <a:pt x="235337" y="0"/>
                    <a:pt x="303214" y="68587"/>
                    <a:pt x="303214" y="153194"/>
                  </a:cubicBezTo>
                  <a:cubicBezTo>
                    <a:pt x="303214" y="237801"/>
                    <a:pt x="235337" y="306388"/>
                    <a:pt x="151607" y="306388"/>
                  </a:cubicBezTo>
                  <a:cubicBezTo>
                    <a:pt x="67877" y="306388"/>
                    <a:pt x="0" y="237801"/>
                    <a:pt x="0" y="153194"/>
                  </a:cubicBezTo>
                  <a:cubicBezTo>
                    <a:pt x="0" y="68587"/>
                    <a:pt x="67877" y="0"/>
                    <a:pt x="1516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8" name="Group 177">
            <a:extLst>
              <a:ext uri="{FF2B5EF4-FFF2-40B4-BE49-F238E27FC236}">
                <a16:creationId xmlns:a16="http://schemas.microsoft.com/office/drawing/2014/main" id="{E6F36F51-7F65-4A75-882E-1DA24F7DC2F2}"/>
              </a:ext>
            </a:extLst>
          </p:cNvPr>
          <p:cNvGrpSpPr/>
          <p:nvPr/>
        </p:nvGrpSpPr>
        <p:grpSpPr>
          <a:xfrm>
            <a:off x="5195772" y="5460696"/>
            <a:ext cx="264749" cy="390014"/>
            <a:chOff x="-855663" y="3543300"/>
            <a:chExt cx="608013" cy="895693"/>
          </a:xfrm>
          <a:solidFill>
            <a:srgbClr val="002050"/>
          </a:solidFill>
        </p:grpSpPr>
        <p:sp>
          <p:nvSpPr>
            <p:cNvPr id="179" name="Freeform: Shape 178">
              <a:extLst>
                <a:ext uri="{FF2B5EF4-FFF2-40B4-BE49-F238E27FC236}">
                  <a16:creationId xmlns:a16="http://schemas.microsoft.com/office/drawing/2014/main" id="{4D76E156-3683-4318-BCD3-0F23524D4B39}"/>
                </a:ext>
              </a:extLst>
            </p:cNvPr>
            <p:cNvSpPr>
              <a:spLocks/>
            </p:cNvSpPr>
            <p:nvPr/>
          </p:nvSpPr>
          <p:spPr bwMode="auto">
            <a:xfrm>
              <a:off x="-855663" y="3543300"/>
              <a:ext cx="608013" cy="895693"/>
            </a:xfrm>
            <a:custGeom>
              <a:avLst/>
              <a:gdLst>
                <a:gd name="connsiteX0" fmla="*/ 304007 w 608013"/>
                <a:gd name="connsiteY0" fmla="*/ 61913 h 895693"/>
                <a:gd name="connsiteX1" fmla="*/ 60325 w 608013"/>
                <a:gd name="connsiteY1" fmla="*/ 305966 h 895693"/>
                <a:gd name="connsiteX2" fmla="*/ 107155 w 608013"/>
                <a:gd name="connsiteY2" fmla="*/ 473234 h 895693"/>
                <a:gd name="connsiteX3" fmla="*/ 304007 w 608013"/>
                <a:gd name="connsiteY3" fmla="*/ 804863 h 895693"/>
                <a:gd name="connsiteX4" fmla="*/ 500858 w 608013"/>
                <a:gd name="connsiteY4" fmla="*/ 473234 h 895693"/>
                <a:gd name="connsiteX5" fmla="*/ 547688 w 608013"/>
                <a:gd name="connsiteY5" fmla="*/ 305966 h 895693"/>
                <a:gd name="connsiteX6" fmla="*/ 304007 w 608013"/>
                <a:gd name="connsiteY6" fmla="*/ 61913 h 895693"/>
                <a:gd name="connsiteX7" fmla="*/ 304007 w 608013"/>
                <a:gd name="connsiteY7" fmla="*/ 0 h 895693"/>
                <a:gd name="connsiteX8" fmla="*/ 608013 w 608013"/>
                <a:gd name="connsiteY8" fmla="*/ 305165 h 895693"/>
                <a:gd name="connsiteX9" fmla="*/ 553342 w 608013"/>
                <a:gd name="connsiteY9" fmla="*/ 503897 h 895693"/>
                <a:gd name="connsiteX10" fmla="*/ 330100 w 608013"/>
                <a:gd name="connsiteY10" fmla="*/ 880573 h 895693"/>
                <a:gd name="connsiteX11" fmla="*/ 319331 w 608013"/>
                <a:gd name="connsiteY11" fmla="*/ 891382 h 895693"/>
                <a:gd name="connsiteX12" fmla="*/ 277913 w 608013"/>
                <a:gd name="connsiteY12" fmla="*/ 880573 h 895693"/>
                <a:gd name="connsiteX13" fmla="*/ 54672 w 608013"/>
                <a:gd name="connsiteY13" fmla="*/ 503897 h 895693"/>
                <a:gd name="connsiteX14" fmla="*/ 0 w 608013"/>
                <a:gd name="connsiteY14" fmla="*/ 305165 h 895693"/>
                <a:gd name="connsiteX15" fmla="*/ 304007 w 608013"/>
                <a:gd name="connsiteY15" fmla="*/ 0 h 89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8013" h="895693">
                  <a:moveTo>
                    <a:pt x="304007" y="61913"/>
                  </a:moveTo>
                  <a:cubicBezTo>
                    <a:pt x="169319" y="61913"/>
                    <a:pt x="60325" y="171073"/>
                    <a:pt x="60325" y="305966"/>
                  </a:cubicBezTo>
                  <a:cubicBezTo>
                    <a:pt x="60325" y="351207"/>
                    <a:pt x="85605" y="437124"/>
                    <a:pt x="107155" y="473234"/>
                  </a:cubicBezTo>
                  <a:cubicBezTo>
                    <a:pt x="107155" y="473234"/>
                    <a:pt x="107155" y="473234"/>
                    <a:pt x="304007" y="804863"/>
                  </a:cubicBezTo>
                  <a:cubicBezTo>
                    <a:pt x="304007" y="804863"/>
                    <a:pt x="304007" y="804863"/>
                    <a:pt x="500858" y="473234"/>
                  </a:cubicBezTo>
                  <a:cubicBezTo>
                    <a:pt x="522408" y="437124"/>
                    <a:pt x="547688" y="351207"/>
                    <a:pt x="547688" y="305966"/>
                  </a:cubicBezTo>
                  <a:cubicBezTo>
                    <a:pt x="547688" y="171073"/>
                    <a:pt x="438694" y="61913"/>
                    <a:pt x="304007" y="61913"/>
                  </a:cubicBezTo>
                  <a:close/>
                  <a:moveTo>
                    <a:pt x="304007" y="0"/>
                  </a:moveTo>
                  <a:cubicBezTo>
                    <a:pt x="471749" y="0"/>
                    <a:pt x="608013" y="136784"/>
                    <a:pt x="608013" y="305165"/>
                  </a:cubicBezTo>
                  <a:cubicBezTo>
                    <a:pt x="608013" y="369192"/>
                    <a:pt x="583577" y="452759"/>
                    <a:pt x="553342" y="503897"/>
                  </a:cubicBezTo>
                  <a:cubicBezTo>
                    <a:pt x="553342" y="503897"/>
                    <a:pt x="553342" y="503897"/>
                    <a:pt x="330100" y="880573"/>
                  </a:cubicBezTo>
                  <a:cubicBezTo>
                    <a:pt x="327615" y="885146"/>
                    <a:pt x="323887" y="888888"/>
                    <a:pt x="319331" y="891382"/>
                  </a:cubicBezTo>
                  <a:cubicBezTo>
                    <a:pt x="304835" y="900113"/>
                    <a:pt x="286197" y="895124"/>
                    <a:pt x="277913" y="880573"/>
                  </a:cubicBezTo>
                  <a:cubicBezTo>
                    <a:pt x="277913" y="880573"/>
                    <a:pt x="277913" y="880573"/>
                    <a:pt x="54672" y="503897"/>
                  </a:cubicBezTo>
                  <a:cubicBezTo>
                    <a:pt x="24437" y="452759"/>
                    <a:pt x="0" y="369192"/>
                    <a:pt x="0" y="305165"/>
                  </a:cubicBezTo>
                  <a:cubicBezTo>
                    <a:pt x="0" y="136784"/>
                    <a:pt x="136265" y="0"/>
                    <a:pt x="3040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7C0CDA46-7B7B-4E91-A82F-61CF5CA5A750}"/>
                </a:ext>
              </a:extLst>
            </p:cNvPr>
            <p:cNvSpPr>
              <a:spLocks noChangeArrowheads="1"/>
            </p:cNvSpPr>
            <p:nvPr/>
          </p:nvSpPr>
          <p:spPr bwMode="auto">
            <a:xfrm>
              <a:off x="-703264" y="3695700"/>
              <a:ext cx="303214" cy="306388"/>
            </a:xfrm>
            <a:custGeom>
              <a:avLst/>
              <a:gdLst>
                <a:gd name="connsiteX0" fmla="*/ 151607 w 303214"/>
                <a:gd name="connsiteY0" fmla="*/ 61913 h 306388"/>
                <a:gd name="connsiteX1" fmla="*/ 60325 w 303214"/>
                <a:gd name="connsiteY1" fmla="*/ 153195 h 306388"/>
                <a:gd name="connsiteX2" fmla="*/ 151607 w 303214"/>
                <a:gd name="connsiteY2" fmla="*/ 244477 h 306388"/>
                <a:gd name="connsiteX3" fmla="*/ 242889 w 303214"/>
                <a:gd name="connsiteY3" fmla="*/ 153195 h 306388"/>
                <a:gd name="connsiteX4" fmla="*/ 151607 w 303214"/>
                <a:gd name="connsiteY4" fmla="*/ 61913 h 306388"/>
                <a:gd name="connsiteX5" fmla="*/ 151607 w 303214"/>
                <a:gd name="connsiteY5" fmla="*/ 0 h 306388"/>
                <a:gd name="connsiteX6" fmla="*/ 303214 w 303214"/>
                <a:gd name="connsiteY6" fmla="*/ 153194 h 306388"/>
                <a:gd name="connsiteX7" fmla="*/ 151607 w 303214"/>
                <a:gd name="connsiteY7" fmla="*/ 306388 h 306388"/>
                <a:gd name="connsiteX8" fmla="*/ 0 w 303214"/>
                <a:gd name="connsiteY8" fmla="*/ 153194 h 306388"/>
                <a:gd name="connsiteX9" fmla="*/ 151607 w 303214"/>
                <a:gd name="connsiteY9" fmla="*/ 0 h 306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214" h="306388">
                  <a:moveTo>
                    <a:pt x="151607" y="61913"/>
                  </a:moveTo>
                  <a:cubicBezTo>
                    <a:pt x="101193" y="61913"/>
                    <a:pt x="60325" y="102781"/>
                    <a:pt x="60325" y="153195"/>
                  </a:cubicBezTo>
                  <a:cubicBezTo>
                    <a:pt x="60325" y="203609"/>
                    <a:pt x="101193" y="244477"/>
                    <a:pt x="151607" y="244477"/>
                  </a:cubicBezTo>
                  <a:cubicBezTo>
                    <a:pt x="202021" y="244477"/>
                    <a:pt x="242889" y="203609"/>
                    <a:pt x="242889" y="153195"/>
                  </a:cubicBezTo>
                  <a:cubicBezTo>
                    <a:pt x="242889" y="102781"/>
                    <a:pt x="202021" y="61913"/>
                    <a:pt x="151607" y="61913"/>
                  </a:cubicBezTo>
                  <a:close/>
                  <a:moveTo>
                    <a:pt x="151607" y="0"/>
                  </a:moveTo>
                  <a:cubicBezTo>
                    <a:pt x="235337" y="0"/>
                    <a:pt x="303214" y="68587"/>
                    <a:pt x="303214" y="153194"/>
                  </a:cubicBezTo>
                  <a:cubicBezTo>
                    <a:pt x="303214" y="237801"/>
                    <a:pt x="235337" y="306388"/>
                    <a:pt x="151607" y="306388"/>
                  </a:cubicBezTo>
                  <a:cubicBezTo>
                    <a:pt x="67877" y="306388"/>
                    <a:pt x="0" y="237801"/>
                    <a:pt x="0" y="153194"/>
                  </a:cubicBezTo>
                  <a:cubicBezTo>
                    <a:pt x="0" y="68587"/>
                    <a:pt x="67877" y="0"/>
                    <a:pt x="1516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a:extLst>
              <a:ext uri="{FF2B5EF4-FFF2-40B4-BE49-F238E27FC236}">
                <a16:creationId xmlns:a16="http://schemas.microsoft.com/office/drawing/2014/main" id="{FBA0CF8D-D92B-48EF-AAD1-73D8E7A8F656}"/>
              </a:ext>
            </a:extLst>
          </p:cNvPr>
          <p:cNvGrpSpPr/>
          <p:nvPr/>
        </p:nvGrpSpPr>
        <p:grpSpPr>
          <a:xfrm>
            <a:off x="2888029" y="5460696"/>
            <a:ext cx="264749" cy="390014"/>
            <a:chOff x="-855663" y="3543300"/>
            <a:chExt cx="608013" cy="895693"/>
          </a:xfrm>
          <a:solidFill>
            <a:srgbClr val="002050"/>
          </a:solidFill>
        </p:grpSpPr>
        <p:sp>
          <p:nvSpPr>
            <p:cNvPr id="176" name="Freeform: Shape 175">
              <a:extLst>
                <a:ext uri="{FF2B5EF4-FFF2-40B4-BE49-F238E27FC236}">
                  <a16:creationId xmlns:a16="http://schemas.microsoft.com/office/drawing/2014/main" id="{69001884-E6A6-4081-87D4-6A896DD8AD98}"/>
                </a:ext>
              </a:extLst>
            </p:cNvPr>
            <p:cNvSpPr>
              <a:spLocks/>
            </p:cNvSpPr>
            <p:nvPr/>
          </p:nvSpPr>
          <p:spPr bwMode="auto">
            <a:xfrm>
              <a:off x="-855663" y="3543300"/>
              <a:ext cx="608013" cy="895693"/>
            </a:xfrm>
            <a:custGeom>
              <a:avLst/>
              <a:gdLst>
                <a:gd name="connsiteX0" fmla="*/ 304007 w 608013"/>
                <a:gd name="connsiteY0" fmla="*/ 61913 h 895693"/>
                <a:gd name="connsiteX1" fmla="*/ 60325 w 608013"/>
                <a:gd name="connsiteY1" fmla="*/ 305966 h 895693"/>
                <a:gd name="connsiteX2" fmla="*/ 107155 w 608013"/>
                <a:gd name="connsiteY2" fmla="*/ 473234 h 895693"/>
                <a:gd name="connsiteX3" fmla="*/ 304007 w 608013"/>
                <a:gd name="connsiteY3" fmla="*/ 804863 h 895693"/>
                <a:gd name="connsiteX4" fmla="*/ 500858 w 608013"/>
                <a:gd name="connsiteY4" fmla="*/ 473234 h 895693"/>
                <a:gd name="connsiteX5" fmla="*/ 547688 w 608013"/>
                <a:gd name="connsiteY5" fmla="*/ 305966 h 895693"/>
                <a:gd name="connsiteX6" fmla="*/ 304007 w 608013"/>
                <a:gd name="connsiteY6" fmla="*/ 61913 h 895693"/>
                <a:gd name="connsiteX7" fmla="*/ 304007 w 608013"/>
                <a:gd name="connsiteY7" fmla="*/ 0 h 895693"/>
                <a:gd name="connsiteX8" fmla="*/ 608013 w 608013"/>
                <a:gd name="connsiteY8" fmla="*/ 305165 h 895693"/>
                <a:gd name="connsiteX9" fmla="*/ 553342 w 608013"/>
                <a:gd name="connsiteY9" fmla="*/ 503897 h 895693"/>
                <a:gd name="connsiteX10" fmla="*/ 330100 w 608013"/>
                <a:gd name="connsiteY10" fmla="*/ 880573 h 895693"/>
                <a:gd name="connsiteX11" fmla="*/ 319331 w 608013"/>
                <a:gd name="connsiteY11" fmla="*/ 891382 h 895693"/>
                <a:gd name="connsiteX12" fmla="*/ 277913 w 608013"/>
                <a:gd name="connsiteY12" fmla="*/ 880573 h 895693"/>
                <a:gd name="connsiteX13" fmla="*/ 54672 w 608013"/>
                <a:gd name="connsiteY13" fmla="*/ 503897 h 895693"/>
                <a:gd name="connsiteX14" fmla="*/ 0 w 608013"/>
                <a:gd name="connsiteY14" fmla="*/ 305165 h 895693"/>
                <a:gd name="connsiteX15" fmla="*/ 304007 w 608013"/>
                <a:gd name="connsiteY15" fmla="*/ 0 h 89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8013" h="895693">
                  <a:moveTo>
                    <a:pt x="304007" y="61913"/>
                  </a:moveTo>
                  <a:cubicBezTo>
                    <a:pt x="169319" y="61913"/>
                    <a:pt x="60325" y="171073"/>
                    <a:pt x="60325" y="305966"/>
                  </a:cubicBezTo>
                  <a:cubicBezTo>
                    <a:pt x="60325" y="351207"/>
                    <a:pt x="85605" y="437124"/>
                    <a:pt x="107155" y="473234"/>
                  </a:cubicBezTo>
                  <a:cubicBezTo>
                    <a:pt x="107155" y="473234"/>
                    <a:pt x="107155" y="473234"/>
                    <a:pt x="304007" y="804863"/>
                  </a:cubicBezTo>
                  <a:cubicBezTo>
                    <a:pt x="304007" y="804863"/>
                    <a:pt x="304007" y="804863"/>
                    <a:pt x="500858" y="473234"/>
                  </a:cubicBezTo>
                  <a:cubicBezTo>
                    <a:pt x="522408" y="437124"/>
                    <a:pt x="547688" y="351207"/>
                    <a:pt x="547688" y="305966"/>
                  </a:cubicBezTo>
                  <a:cubicBezTo>
                    <a:pt x="547688" y="171073"/>
                    <a:pt x="438694" y="61913"/>
                    <a:pt x="304007" y="61913"/>
                  </a:cubicBezTo>
                  <a:close/>
                  <a:moveTo>
                    <a:pt x="304007" y="0"/>
                  </a:moveTo>
                  <a:cubicBezTo>
                    <a:pt x="471749" y="0"/>
                    <a:pt x="608013" y="136784"/>
                    <a:pt x="608013" y="305165"/>
                  </a:cubicBezTo>
                  <a:cubicBezTo>
                    <a:pt x="608013" y="369192"/>
                    <a:pt x="583577" y="452759"/>
                    <a:pt x="553342" y="503897"/>
                  </a:cubicBezTo>
                  <a:cubicBezTo>
                    <a:pt x="553342" y="503897"/>
                    <a:pt x="553342" y="503897"/>
                    <a:pt x="330100" y="880573"/>
                  </a:cubicBezTo>
                  <a:cubicBezTo>
                    <a:pt x="327615" y="885146"/>
                    <a:pt x="323887" y="888888"/>
                    <a:pt x="319331" y="891382"/>
                  </a:cubicBezTo>
                  <a:cubicBezTo>
                    <a:pt x="304835" y="900113"/>
                    <a:pt x="286197" y="895124"/>
                    <a:pt x="277913" y="880573"/>
                  </a:cubicBezTo>
                  <a:cubicBezTo>
                    <a:pt x="277913" y="880573"/>
                    <a:pt x="277913" y="880573"/>
                    <a:pt x="54672" y="503897"/>
                  </a:cubicBezTo>
                  <a:cubicBezTo>
                    <a:pt x="24437" y="452759"/>
                    <a:pt x="0" y="369192"/>
                    <a:pt x="0" y="305165"/>
                  </a:cubicBezTo>
                  <a:cubicBezTo>
                    <a:pt x="0" y="136784"/>
                    <a:pt x="136265" y="0"/>
                    <a:pt x="3040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331E74AF-1F31-47C2-8662-812909EAE442}"/>
                </a:ext>
              </a:extLst>
            </p:cNvPr>
            <p:cNvSpPr>
              <a:spLocks noChangeArrowheads="1"/>
            </p:cNvSpPr>
            <p:nvPr/>
          </p:nvSpPr>
          <p:spPr bwMode="auto">
            <a:xfrm>
              <a:off x="-703264" y="3695700"/>
              <a:ext cx="303214" cy="306388"/>
            </a:xfrm>
            <a:custGeom>
              <a:avLst/>
              <a:gdLst>
                <a:gd name="connsiteX0" fmla="*/ 151607 w 303214"/>
                <a:gd name="connsiteY0" fmla="*/ 61913 h 306388"/>
                <a:gd name="connsiteX1" fmla="*/ 60325 w 303214"/>
                <a:gd name="connsiteY1" fmla="*/ 153195 h 306388"/>
                <a:gd name="connsiteX2" fmla="*/ 151607 w 303214"/>
                <a:gd name="connsiteY2" fmla="*/ 244477 h 306388"/>
                <a:gd name="connsiteX3" fmla="*/ 242889 w 303214"/>
                <a:gd name="connsiteY3" fmla="*/ 153195 h 306388"/>
                <a:gd name="connsiteX4" fmla="*/ 151607 w 303214"/>
                <a:gd name="connsiteY4" fmla="*/ 61913 h 306388"/>
                <a:gd name="connsiteX5" fmla="*/ 151607 w 303214"/>
                <a:gd name="connsiteY5" fmla="*/ 0 h 306388"/>
                <a:gd name="connsiteX6" fmla="*/ 303214 w 303214"/>
                <a:gd name="connsiteY6" fmla="*/ 153194 h 306388"/>
                <a:gd name="connsiteX7" fmla="*/ 151607 w 303214"/>
                <a:gd name="connsiteY7" fmla="*/ 306388 h 306388"/>
                <a:gd name="connsiteX8" fmla="*/ 0 w 303214"/>
                <a:gd name="connsiteY8" fmla="*/ 153194 h 306388"/>
                <a:gd name="connsiteX9" fmla="*/ 151607 w 303214"/>
                <a:gd name="connsiteY9" fmla="*/ 0 h 306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214" h="306388">
                  <a:moveTo>
                    <a:pt x="151607" y="61913"/>
                  </a:moveTo>
                  <a:cubicBezTo>
                    <a:pt x="101193" y="61913"/>
                    <a:pt x="60325" y="102781"/>
                    <a:pt x="60325" y="153195"/>
                  </a:cubicBezTo>
                  <a:cubicBezTo>
                    <a:pt x="60325" y="203609"/>
                    <a:pt x="101193" y="244477"/>
                    <a:pt x="151607" y="244477"/>
                  </a:cubicBezTo>
                  <a:cubicBezTo>
                    <a:pt x="202021" y="244477"/>
                    <a:pt x="242889" y="203609"/>
                    <a:pt x="242889" y="153195"/>
                  </a:cubicBezTo>
                  <a:cubicBezTo>
                    <a:pt x="242889" y="102781"/>
                    <a:pt x="202021" y="61913"/>
                    <a:pt x="151607" y="61913"/>
                  </a:cubicBezTo>
                  <a:close/>
                  <a:moveTo>
                    <a:pt x="151607" y="0"/>
                  </a:moveTo>
                  <a:cubicBezTo>
                    <a:pt x="235337" y="0"/>
                    <a:pt x="303214" y="68587"/>
                    <a:pt x="303214" y="153194"/>
                  </a:cubicBezTo>
                  <a:cubicBezTo>
                    <a:pt x="303214" y="237801"/>
                    <a:pt x="235337" y="306388"/>
                    <a:pt x="151607" y="306388"/>
                  </a:cubicBezTo>
                  <a:cubicBezTo>
                    <a:pt x="67877" y="306388"/>
                    <a:pt x="0" y="237801"/>
                    <a:pt x="0" y="153194"/>
                  </a:cubicBezTo>
                  <a:cubicBezTo>
                    <a:pt x="0" y="68587"/>
                    <a:pt x="67877" y="0"/>
                    <a:pt x="1516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5" name="TextBox 24"/>
          <p:cNvSpPr txBox="1"/>
          <p:nvPr/>
        </p:nvSpPr>
        <p:spPr>
          <a:xfrm>
            <a:off x="9067669" y="2199960"/>
            <a:ext cx="1495117" cy="271554"/>
          </a:xfrm>
          <a:prstGeom prst="rect">
            <a:avLst/>
          </a:prstGeom>
          <a:noFill/>
        </p:spPr>
        <p:txBody>
          <a:bodyPr wrap="non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SMART CONTRACT</a:t>
            </a:r>
          </a:p>
        </p:txBody>
      </p:sp>
      <p:sp>
        <p:nvSpPr>
          <p:cNvPr id="26" name="TextBox 25"/>
          <p:cNvSpPr txBox="1"/>
          <p:nvPr/>
        </p:nvSpPr>
        <p:spPr>
          <a:xfrm>
            <a:off x="610989" y="5815211"/>
            <a:ext cx="1072730" cy="303481"/>
          </a:xfrm>
          <a:prstGeom prst="rect">
            <a:avLst/>
          </a:prstGeom>
          <a:noFill/>
        </p:spPr>
        <p:txBody>
          <a:bodyPr wrap="non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err="1">
                <a:ln>
                  <a:noFill/>
                </a:ln>
                <a:solidFill>
                  <a:srgbClr val="002050"/>
                </a:solidFill>
                <a:effectLst/>
                <a:uLnTx/>
                <a:uFillTx/>
                <a:latin typeface="Segoe UI"/>
                <a:ea typeface="+mn-ea"/>
                <a:cs typeface="+mn-cs"/>
              </a:rPr>
              <a:t>IoT</a:t>
            </a:r>
            <a:r>
              <a:rPr kumimoji="0" lang="en-US" sz="1372" b="0" i="0" u="none" strike="noStrike" kern="1200" cap="none" spc="0" normalizeH="0" baseline="0" noProof="0">
                <a:ln>
                  <a:noFill/>
                </a:ln>
                <a:solidFill>
                  <a:srgbClr val="002050"/>
                </a:solidFill>
                <a:effectLst/>
                <a:uLnTx/>
                <a:uFillTx/>
                <a:latin typeface="Segoe UI"/>
                <a:ea typeface="+mn-ea"/>
                <a:cs typeface="+mn-cs"/>
              </a:rPr>
              <a:t> Enabled</a:t>
            </a:r>
          </a:p>
        </p:txBody>
      </p:sp>
      <p:sp>
        <p:nvSpPr>
          <p:cNvPr id="35" name="TextBox 34"/>
          <p:cNvSpPr txBox="1"/>
          <p:nvPr/>
        </p:nvSpPr>
        <p:spPr>
          <a:xfrm>
            <a:off x="10685270" y="1633565"/>
            <a:ext cx="1334294" cy="920266"/>
          </a:xfrm>
          <a:prstGeom prst="rect">
            <a:avLst/>
          </a:prstGeom>
          <a:noFill/>
        </p:spPr>
        <p:txBody>
          <a:bodyPr wrap="squar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a:ln>
                  <a:noFill/>
                </a:ln>
                <a:solidFill>
                  <a:srgbClr val="002050"/>
                </a:solidFill>
                <a:effectLst/>
                <a:uLnTx/>
                <a:uFillTx/>
                <a:latin typeface="Segoe UI"/>
                <a:ea typeface="+mn-ea"/>
                <a:cs typeface="+mn-cs"/>
              </a:rPr>
              <a:t>The package has to be maintained at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Temperature</a:t>
            </a:r>
            <a:br>
              <a:rPr kumimoji="0" lang="en-US" sz="1078"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br>
            <a:r>
              <a:rPr kumimoji="0" lang="en-US" sz="1078"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lt; 10º C</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Humidity &lt; 65%</a:t>
            </a:r>
          </a:p>
        </p:txBody>
      </p:sp>
      <p:grpSp>
        <p:nvGrpSpPr>
          <p:cNvPr id="8" name="Group 7">
            <a:extLst>
              <a:ext uri="{FF2B5EF4-FFF2-40B4-BE49-F238E27FC236}">
                <a16:creationId xmlns:a16="http://schemas.microsoft.com/office/drawing/2014/main" id="{EAD1F125-E633-4246-9E88-375EB15406BF}"/>
              </a:ext>
            </a:extLst>
          </p:cNvPr>
          <p:cNvGrpSpPr/>
          <p:nvPr/>
        </p:nvGrpSpPr>
        <p:grpSpPr>
          <a:xfrm>
            <a:off x="3275873" y="5389586"/>
            <a:ext cx="496591" cy="633775"/>
            <a:chOff x="3117200" y="5406498"/>
            <a:chExt cx="506549" cy="646483"/>
          </a:xfrm>
        </p:grpSpPr>
        <p:sp>
          <p:nvSpPr>
            <p:cNvPr id="47" name="TextBox 46"/>
            <p:cNvSpPr txBox="1"/>
            <p:nvPr/>
          </p:nvSpPr>
          <p:spPr>
            <a:xfrm>
              <a:off x="3117200" y="5406498"/>
              <a:ext cx="506549" cy="215444"/>
            </a:xfrm>
            <a:prstGeom prst="rect">
              <a:avLst/>
            </a:prstGeom>
            <a:noFill/>
          </p:spPr>
          <p:txBody>
            <a:bodyPr wrap="none" lIns="0" tIns="0" rIns="0" bIns="0"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Origin</a:t>
              </a:r>
            </a:p>
          </p:txBody>
        </p:sp>
        <p:sp>
          <p:nvSpPr>
            <p:cNvPr id="48" name="TextBox 47"/>
            <p:cNvSpPr txBox="1"/>
            <p:nvPr/>
          </p:nvSpPr>
          <p:spPr>
            <a:xfrm>
              <a:off x="3117200" y="5683649"/>
              <a:ext cx="301365" cy="369332"/>
            </a:xfrm>
            <a:prstGeom prst="rect">
              <a:avLst/>
            </a:prstGeom>
            <a:noFill/>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rPr>
                <a:t>8ºC</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rPr>
                <a:t>60%</a:t>
              </a:r>
            </a:p>
          </p:txBody>
        </p:sp>
      </p:grpSp>
      <p:cxnSp>
        <p:nvCxnSpPr>
          <p:cNvPr id="50" name="Straight Connector 49"/>
          <p:cNvCxnSpPr/>
          <p:nvPr/>
        </p:nvCxnSpPr>
        <p:spPr>
          <a:xfrm>
            <a:off x="4482292" y="5486329"/>
            <a:ext cx="0" cy="521168"/>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80" name="TextBox 79"/>
          <p:cNvSpPr txBox="1"/>
          <p:nvPr/>
        </p:nvSpPr>
        <p:spPr>
          <a:xfrm>
            <a:off x="2577683" y="6202733"/>
            <a:ext cx="9286759" cy="181036"/>
          </a:xfrm>
          <a:prstGeom prst="rect">
            <a:avLst/>
          </a:prstGeom>
          <a:noFill/>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0000"/>
                </a:solidFill>
                <a:effectLst/>
                <a:uLnTx/>
                <a:uFillTx/>
                <a:latin typeface="Segoe UI"/>
                <a:ea typeface="+mn-ea"/>
                <a:cs typeface="+mn-cs"/>
              </a:rPr>
              <a:t>At various points in the journey, the </a:t>
            </a:r>
            <a:r>
              <a:rPr kumimoji="0" lang="en-US" sz="1176" b="0" i="0" u="none" strike="noStrike" kern="1200" cap="none" spc="0" normalizeH="0" baseline="0" noProof="0" err="1">
                <a:ln>
                  <a:noFill/>
                </a:ln>
                <a:solidFill>
                  <a:srgbClr val="000000"/>
                </a:solidFill>
                <a:effectLst/>
                <a:uLnTx/>
                <a:uFillTx/>
                <a:latin typeface="Segoe UI"/>
                <a:ea typeface="+mn-ea"/>
                <a:cs typeface="+mn-cs"/>
              </a:rPr>
              <a:t>IoT</a:t>
            </a:r>
            <a:r>
              <a:rPr kumimoji="0" lang="en-US" sz="1176" b="0" i="0" u="none" strike="noStrike" kern="1200" cap="none" spc="0" normalizeH="0" baseline="0" noProof="0">
                <a:ln>
                  <a:noFill/>
                </a:ln>
                <a:solidFill>
                  <a:srgbClr val="000000"/>
                </a:solidFill>
                <a:effectLst/>
                <a:uLnTx/>
                <a:uFillTx/>
                <a:latin typeface="Segoe UI"/>
                <a:ea typeface="+mn-ea"/>
                <a:cs typeface="+mn-cs"/>
              </a:rPr>
              <a:t> device from the package sends the Temperature &amp; Humidity data which are recorded on the blockchain </a:t>
            </a:r>
          </a:p>
        </p:txBody>
      </p:sp>
      <p:sp>
        <p:nvSpPr>
          <p:cNvPr id="89" name="TextBox 88"/>
          <p:cNvSpPr txBox="1"/>
          <p:nvPr/>
        </p:nvSpPr>
        <p:spPr>
          <a:xfrm>
            <a:off x="1316321" y="3900994"/>
            <a:ext cx="526764" cy="512935"/>
          </a:xfrm>
          <a:prstGeom prst="rect">
            <a:avLst/>
          </a:prstGeom>
          <a:noFill/>
        </p:spPr>
        <p:txBody>
          <a:bodyPr wrap="squar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0000"/>
                </a:solidFill>
                <a:effectLst/>
                <a:uLnTx/>
                <a:uFillTx/>
                <a:latin typeface="Segoe UI Semibold" panose="020B0702040204020203" pitchFamily="34" charset="0"/>
                <a:ea typeface="+mn-ea"/>
                <a:cs typeface="Segoe UI Semibold" panose="020B0702040204020203" pitchFamily="34" charset="0"/>
              </a:rPr>
              <a:t>11ºC</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0000"/>
                </a:solidFill>
                <a:effectLst/>
                <a:uLnTx/>
                <a:uFillTx/>
                <a:latin typeface="Segoe UI Semibold" panose="020B0702040204020203" pitchFamily="34" charset="0"/>
                <a:ea typeface="+mn-ea"/>
                <a:cs typeface="Segoe UI Semibold" panose="020B0702040204020203" pitchFamily="34" charset="0"/>
              </a:rPr>
              <a:t>66%</a:t>
            </a:r>
          </a:p>
        </p:txBody>
      </p:sp>
      <p:sp>
        <p:nvSpPr>
          <p:cNvPr id="93" name="Rectangle 92"/>
          <p:cNvSpPr/>
          <p:nvPr/>
        </p:nvSpPr>
        <p:spPr>
          <a:xfrm>
            <a:off x="8013731" y="4611000"/>
            <a:ext cx="3730057" cy="519599"/>
          </a:xfrm>
          <a:prstGeom prst="rect">
            <a:avLst/>
          </a:prstGeom>
          <a:no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000000"/>
                </a:solidFill>
                <a:effectLst/>
                <a:uLnTx/>
                <a:uFillTx/>
                <a:latin typeface="Segoe UI"/>
                <a:ea typeface="+mn-ea"/>
                <a:cs typeface="+mn-cs"/>
              </a:rPr>
              <a:t>The conditions of the contract have been violated.</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000000"/>
                </a:solidFill>
                <a:effectLst/>
                <a:uLnTx/>
                <a:uFillTx/>
                <a:latin typeface="Segoe UI"/>
                <a:ea typeface="+mn-ea"/>
                <a:cs typeface="+mn-cs"/>
              </a:rPr>
              <a:t>Carrier 2 is liable for penalty as the temperature of the package before it reached the retail store was above the prescribed limit</a:t>
            </a:r>
          </a:p>
        </p:txBody>
      </p:sp>
      <p:cxnSp>
        <p:nvCxnSpPr>
          <p:cNvPr id="98" name="Straight Arrow Connector 97"/>
          <p:cNvCxnSpPr>
            <a:cxnSpLocks/>
            <a:endCxn id="93" idx="2"/>
          </p:cNvCxnSpPr>
          <p:nvPr/>
        </p:nvCxnSpPr>
        <p:spPr>
          <a:xfrm flipH="1" flipV="1">
            <a:off x="9878760" y="5130599"/>
            <a:ext cx="502327" cy="448407"/>
          </a:xfrm>
          <a:prstGeom prst="bentConnector4">
            <a:avLst>
              <a:gd name="adj1" fmla="val 100380"/>
              <a:gd name="adj2" fmla="val 64514"/>
            </a:avLst>
          </a:prstGeom>
          <a:ln w="9525">
            <a:prstDash val="dash"/>
            <a:tailEnd type="triangle"/>
          </a:ln>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31B678FE-8F54-40F2-A7BE-2DF8AA9570F8}"/>
              </a:ext>
            </a:extLst>
          </p:cNvPr>
          <p:cNvSpPr>
            <a:spLocks noGrp="1"/>
          </p:cNvSpPr>
          <p:nvPr>
            <p:ph type="title"/>
          </p:nvPr>
        </p:nvSpPr>
        <p:spPr>
          <a:xfrm>
            <a:off x="526269" y="89198"/>
            <a:ext cx="11307666" cy="1325563"/>
          </a:xfrm>
        </p:spPr>
        <p:txBody>
          <a:bodyPr/>
          <a:lstStyle/>
          <a:p>
            <a:r>
              <a:rPr lang="en-US" dirty="0"/>
              <a:t>Blockchain in Action: Refrigerated Transportation</a:t>
            </a:r>
          </a:p>
        </p:txBody>
      </p:sp>
      <p:sp>
        <p:nvSpPr>
          <p:cNvPr id="3" name="Rectangle 2">
            <a:extLst>
              <a:ext uri="{FF2B5EF4-FFF2-40B4-BE49-F238E27FC236}">
                <a16:creationId xmlns:a16="http://schemas.microsoft.com/office/drawing/2014/main" id="{19BF580B-08CF-4DAC-AE7D-06C695CA61C4}"/>
              </a:ext>
            </a:extLst>
          </p:cNvPr>
          <p:cNvSpPr/>
          <p:nvPr/>
        </p:nvSpPr>
        <p:spPr bwMode="auto">
          <a:xfrm>
            <a:off x="2577683" y="5226969"/>
            <a:ext cx="9166105" cy="83932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TextBox 115"/>
          <p:cNvSpPr txBox="1"/>
          <p:nvPr/>
        </p:nvSpPr>
        <p:spPr>
          <a:xfrm>
            <a:off x="6397619" y="5083024"/>
            <a:ext cx="1526232" cy="301727"/>
          </a:xfrm>
          <a:prstGeom prst="rect">
            <a:avLst/>
          </a:prstGeom>
          <a:solidFill>
            <a:srgbClr val="E6E6E6"/>
          </a:solidFill>
        </p:spPr>
        <p:txBody>
          <a:bodyPr wrap="non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SHARED LEDGER</a:t>
            </a:r>
          </a:p>
        </p:txBody>
      </p:sp>
      <p:grpSp>
        <p:nvGrpSpPr>
          <p:cNvPr id="7" name="Group 6">
            <a:extLst>
              <a:ext uri="{FF2B5EF4-FFF2-40B4-BE49-F238E27FC236}">
                <a16:creationId xmlns:a16="http://schemas.microsoft.com/office/drawing/2014/main" id="{1BA04AD2-6EC1-4124-BF5C-8D221467041E}"/>
              </a:ext>
            </a:extLst>
          </p:cNvPr>
          <p:cNvGrpSpPr/>
          <p:nvPr/>
        </p:nvGrpSpPr>
        <p:grpSpPr>
          <a:xfrm>
            <a:off x="5581459" y="5389586"/>
            <a:ext cx="655629" cy="633775"/>
            <a:chOff x="4992479" y="5406498"/>
            <a:chExt cx="668775" cy="646483"/>
          </a:xfrm>
        </p:grpSpPr>
        <p:sp>
          <p:nvSpPr>
            <p:cNvPr id="87" name="TextBox 86">
              <a:extLst>
                <a:ext uri="{FF2B5EF4-FFF2-40B4-BE49-F238E27FC236}">
                  <a16:creationId xmlns:a16="http://schemas.microsoft.com/office/drawing/2014/main" id="{74F5AAF8-034F-45C8-92E0-972BE9F61F41}"/>
                </a:ext>
              </a:extLst>
            </p:cNvPr>
            <p:cNvSpPr txBox="1"/>
            <p:nvPr/>
          </p:nvSpPr>
          <p:spPr>
            <a:xfrm>
              <a:off x="4992479" y="5406498"/>
              <a:ext cx="668775" cy="215382"/>
            </a:xfrm>
            <a:prstGeom prst="rect">
              <a:avLst/>
            </a:prstGeom>
            <a:noFill/>
          </p:spPr>
          <p:txBody>
            <a:bodyPr wrap="none" lIns="0" tIns="0" rIns="0" bIns="0"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Carrier 1</a:t>
              </a:r>
            </a:p>
          </p:txBody>
        </p:sp>
        <p:sp>
          <p:nvSpPr>
            <p:cNvPr id="91" name="TextBox 90">
              <a:extLst>
                <a:ext uri="{FF2B5EF4-FFF2-40B4-BE49-F238E27FC236}">
                  <a16:creationId xmlns:a16="http://schemas.microsoft.com/office/drawing/2014/main" id="{C87E7C59-0AD5-4EAD-850E-BDE1FD4B00A2}"/>
                </a:ext>
              </a:extLst>
            </p:cNvPr>
            <p:cNvSpPr txBox="1"/>
            <p:nvPr/>
          </p:nvSpPr>
          <p:spPr>
            <a:xfrm>
              <a:off x="4992479" y="5683649"/>
              <a:ext cx="440090" cy="369332"/>
            </a:xfrm>
            <a:prstGeom prst="rect">
              <a:avLst/>
            </a:prstGeom>
            <a:noFill/>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rPr>
                <a:t>9ºC</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rPr>
                <a:t>64%</a:t>
              </a:r>
            </a:p>
          </p:txBody>
        </p:sp>
      </p:grpSp>
      <p:grpSp>
        <p:nvGrpSpPr>
          <p:cNvPr id="6" name="Group 5">
            <a:extLst>
              <a:ext uri="{FF2B5EF4-FFF2-40B4-BE49-F238E27FC236}">
                <a16:creationId xmlns:a16="http://schemas.microsoft.com/office/drawing/2014/main" id="{4CA92548-0D2F-431D-BFA5-D3D2E42DD8C1}"/>
              </a:ext>
            </a:extLst>
          </p:cNvPr>
          <p:cNvGrpSpPr/>
          <p:nvPr/>
        </p:nvGrpSpPr>
        <p:grpSpPr>
          <a:xfrm>
            <a:off x="8280960" y="5389586"/>
            <a:ext cx="890950" cy="633775"/>
            <a:chOff x="6922552" y="5406498"/>
            <a:chExt cx="908818" cy="646483"/>
          </a:xfrm>
        </p:grpSpPr>
        <p:sp>
          <p:nvSpPr>
            <p:cNvPr id="94" name="TextBox 93">
              <a:extLst>
                <a:ext uri="{FF2B5EF4-FFF2-40B4-BE49-F238E27FC236}">
                  <a16:creationId xmlns:a16="http://schemas.microsoft.com/office/drawing/2014/main" id="{0FADE9DB-3858-4BE0-B54A-88C380EF152D}"/>
                </a:ext>
              </a:extLst>
            </p:cNvPr>
            <p:cNvSpPr txBox="1"/>
            <p:nvPr/>
          </p:nvSpPr>
          <p:spPr>
            <a:xfrm>
              <a:off x="6922552" y="5406498"/>
              <a:ext cx="908818" cy="215382"/>
            </a:xfrm>
            <a:prstGeom prst="rect">
              <a:avLst/>
            </a:prstGeom>
            <a:noFill/>
          </p:spPr>
          <p:txBody>
            <a:bodyPr wrap="none" lIns="0" tIns="0" rIns="0" bIns="0"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Warehouse</a:t>
              </a:r>
            </a:p>
          </p:txBody>
        </p:sp>
        <p:sp>
          <p:nvSpPr>
            <p:cNvPr id="95" name="TextBox 94">
              <a:extLst>
                <a:ext uri="{FF2B5EF4-FFF2-40B4-BE49-F238E27FC236}">
                  <a16:creationId xmlns:a16="http://schemas.microsoft.com/office/drawing/2014/main" id="{549BC61A-A235-4776-8FE4-8BD189E7EB40}"/>
                </a:ext>
              </a:extLst>
            </p:cNvPr>
            <p:cNvSpPr txBox="1"/>
            <p:nvPr/>
          </p:nvSpPr>
          <p:spPr>
            <a:xfrm>
              <a:off x="6922552" y="5683649"/>
              <a:ext cx="440090" cy="369332"/>
            </a:xfrm>
            <a:prstGeom prst="rect">
              <a:avLst/>
            </a:prstGeom>
            <a:noFill/>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rPr>
                <a:t>9ºC</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rPr>
                <a:t>64%</a:t>
              </a:r>
            </a:p>
          </p:txBody>
        </p:sp>
      </p:grpSp>
      <p:grpSp>
        <p:nvGrpSpPr>
          <p:cNvPr id="5" name="Group 4">
            <a:extLst>
              <a:ext uri="{FF2B5EF4-FFF2-40B4-BE49-F238E27FC236}">
                <a16:creationId xmlns:a16="http://schemas.microsoft.com/office/drawing/2014/main" id="{FC7A2AA9-C2A9-44D4-9D70-7068AB813593}"/>
              </a:ext>
            </a:extLst>
          </p:cNvPr>
          <p:cNvGrpSpPr/>
          <p:nvPr/>
        </p:nvGrpSpPr>
        <p:grpSpPr>
          <a:xfrm>
            <a:off x="10770417" y="5389586"/>
            <a:ext cx="682879" cy="633775"/>
            <a:chOff x="8860364" y="5406498"/>
            <a:chExt cx="696572" cy="646483"/>
          </a:xfrm>
        </p:grpSpPr>
        <p:sp>
          <p:nvSpPr>
            <p:cNvPr id="97" name="TextBox 96">
              <a:extLst>
                <a:ext uri="{FF2B5EF4-FFF2-40B4-BE49-F238E27FC236}">
                  <a16:creationId xmlns:a16="http://schemas.microsoft.com/office/drawing/2014/main" id="{E00D5263-5092-4FC3-805B-6300D351006D}"/>
                </a:ext>
              </a:extLst>
            </p:cNvPr>
            <p:cNvSpPr txBox="1"/>
            <p:nvPr/>
          </p:nvSpPr>
          <p:spPr>
            <a:xfrm>
              <a:off x="8860364" y="5406498"/>
              <a:ext cx="696572" cy="215382"/>
            </a:xfrm>
            <a:prstGeom prst="rect">
              <a:avLst/>
            </a:prstGeom>
            <a:noFill/>
          </p:spPr>
          <p:txBody>
            <a:bodyPr wrap="none" lIns="0" tIns="0" rIns="0" bIns="0"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Carrier 2</a:t>
              </a:r>
            </a:p>
          </p:txBody>
        </p:sp>
        <p:sp>
          <p:nvSpPr>
            <p:cNvPr id="99" name="TextBox 98">
              <a:extLst>
                <a:ext uri="{FF2B5EF4-FFF2-40B4-BE49-F238E27FC236}">
                  <a16:creationId xmlns:a16="http://schemas.microsoft.com/office/drawing/2014/main" id="{61E6FCB1-159B-4BB4-A142-6BEB3F039706}"/>
                </a:ext>
              </a:extLst>
            </p:cNvPr>
            <p:cNvSpPr txBox="1"/>
            <p:nvPr/>
          </p:nvSpPr>
          <p:spPr>
            <a:xfrm>
              <a:off x="8860364" y="5683649"/>
              <a:ext cx="440090" cy="369332"/>
            </a:xfrm>
            <a:prstGeom prst="rect">
              <a:avLst/>
            </a:prstGeom>
            <a:noFill/>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FF0000"/>
                  </a:solidFill>
                  <a:effectLst/>
                  <a:uLnTx/>
                  <a:uFillTx/>
                  <a:latin typeface="Segoe UI Semibold" panose="020B0702040204020203" pitchFamily="34" charset="0"/>
                  <a:ea typeface="+mn-ea"/>
                  <a:cs typeface="Segoe UI Semibold" panose="020B0702040204020203" pitchFamily="34" charset="0"/>
                </a:rPr>
                <a:t>11ºC</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FF0000"/>
                  </a:solidFill>
                  <a:effectLst/>
                  <a:uLnTx/>
                  <a:uFillTx/>
                  <a:latin typeface="Segoe UI Semibold" panose="020B0702040204020203" pitchFamily="34" charset="0"/>
                  <a:ea typeface="+mn-ea"/>
                  <a:cs typeface="Segoe UI Semibold" panose="020B0702040204020203" pitchFamily="34" charset="0"/>
                </a:rPr>
                <a:t>66%</a:t>
              </a:r>
            </a:p>
          </p:txBody>
        </p:sp>
      </p:grpSp>
      <p:cxnSp>
        <p:nvCxnSpPr>
          <p:cNvPr id="101" name="Straight Connector 100">
            <a:extLst>
              <a:ext uri="{FF2B5EF4-FFF2-40B4-BE49-F238E27FC236}">
                <a16:creationId xmlns:a16="http://schemas.microsoft.com/office/drawing/2014/main" id="{817D368B-0FEE-471A-8E67-8D29AC2BE106}"/>
              </a:ext>
            </a:extLst>
          </p:cNvPr>
          <p:cNvCxnSpPr/>
          <p:nvPr/>
        </p:nvCxnSpPr>
        <p:spPr>
          <a:xfrm>
            <a:off x="7181814" y="5486329"/>
            <a:ext cx="0" cy="521168"/>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6151C836-4289-44D2-9E23-3E422BF00590}"/>
              </a:ext>
            </a:extLst>
          </p:cNvPr>
          <p:cNvCxnSpPr/>
          <p:nvPr/>
        </p:nvCxnSpPr>
        <p:spPr>
          <a:xfrm>
            <a:off x="9671260" y="5486329"/>
            <a:ext cx="0" cy="521168"/>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1306605" y="1477592"/>
            <a:ext cx="959050" cy="271554"/>
          </a:xfrm>
          <a:prstGeom prst="rect">
            <a:avLst/>
          </a:prstGeom>
          <a:noFill/>
        </p:spPr>
        <p:txBody>
          <a:bodyPr wrap="non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PRODUCER</a:t>
            </a:r>
          </a:p>
        </p:txBody>
      </p:sp>
      <p:sp>
        <p:nvSpPr>
          <p:cNvPr id="16" name="TextBox 15"/>
          <p:cNvSpPr txBox="1"/>
          <p:nvPr/>
        </p:nvSpPr>
        <p:spPr>
          <a:xfrm>
            <a:off x="1306605" y="1686332"/>
            <a:ext cx="2514722" cy="422417"/>
          </a:xfrm>
          <a:prstGeom prst="rect">
            <a:avLst/>
          </a:prstGeom>
          <a:noFill/>
        </p:spPr>
        <p:txBody>
          <a:bodyPr wrap="squar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a:ln>
                  <a:noFill/>
                </a:ln>
                <a:solidFill>
                  <a:srgbClr val="002050"/>
                </a:solidFill>
                <a:effectLst/>
                <a:uLnTx/>
                <a:uFillTx/>
                <a:latin typeface="Segoe UI"/>
                <a:ea typeface="+mn-ea"/>
                <a:cs typeface="+mn-cs"/>
              </a:rPr>
              <a:t>Milk producer supplies Milk to Food Processing Company </a:t>
            </a:r>
          </a:p>
        </p:txBody>
      </p:sp>
      <p:sp>
        <p:nvSpPr>
          <p:cNvPr id="9" name="Arrow: U-Turn 8">
            <a:extLst>
              <a:ext uri="{FF2B5EF4-FFF2-40B4-BE49-F238E27FC236}">
                <a16:creationId xmlns:a16="http://schemas.microsoft.com/office/drawing/2014/main" id="{1D76CE91-C686-4A10-8180-F55DD50C5922}"/>
              </a:ext>
            </a:extLst>
          </p:cNvPr>
          <p:cNvSpPr/>
          <p:nvPr/>
        </p:nvSpPr>
        <p:spPr bwMode="auto">
          <a:xfrm rot="5400000">
            <a:off x="4802931" y="-2971759"/>
            <a:ext cx="1557870" cy="10130914"/>
          </a:xfrm>
          <a:prstGeom prst="uturnArrow">
            <a:avLst>
              <a:gd name="adj1" fmla="val 0"/>
              <a:gd name="adj2" fmla="val 0"/>
              <a:gd name="adj3" fmla="val 0"/>
              <a:gd name="adj4" fmla="val 50521"/>
              <a:gd name="adj5" fmla="val 80332"/>
            </a:avLst>
          </a:prstGeom>
          <a:solidFill>
            <a:schemeClr val="accent1"/>
          </a:solidFill>
          <a:ln w="571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Arrow: U-Turn 127">
            <a:extLst>
              <a:ext uri="{FF2B5EF4-FFF2-40B4-BE49-F238E27FC236}">
                <a16:creationId xmlns:a16="http://schemas.microsoft.com/office/drawing/2014/main" id="{6C2330C4-86B2-4156-A57D-D5A646F7B4F6}"/>
              </a:ext>
            </a:extLst>
          </p:cNvPr>
          <p:cNvSpPr/>
          <p:nvPr/>
        </p:nvSpPr>
        <p:spPr bwMode="auto">
          <a:xfrm rot="5400000" flipH="1" flipV="1">
            <a:off x="4680916" y="-1292731"/>
            <a:ext cx="1557870" cy="9886880"/>
          </a:xfrm>
          <a:prstGeom prst="uturnArrow">
            <a:avLst>
              <a:gd name="adj1" fmla="val 0"/>
              <a:gd name="adj2" fmla="val 0"/>
              <a:gd name="adj3" fmla="val 0"/>
              <a:gd name="adj4" fmla="val 50521"/>
              <a:gd name="adj5" fmla="val 20410"/>
            </a:avLst>
          </a:prstGeom>
          <a:solidFill>
            <a:schemeClr val="accent1"/>
          </a:solidFill>
          <a:ln w="571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TextBox 138">
            <a:extLst>
              <a:ext uri="{FF2B5EF4-FFF2-40B4-BE49-F238E27FC236}">
                <a16:creationId xmlns:a16="http://schemas.microsoft.com/office/drawing/2014/main" id="{A18239D0-2D01-4DC6-B5A3-94A9CE02B141}"/>
              </a:ext>
            </a:extLst>
          </p:cNvPr>
          <p:cNvSpPr txBox="1"/>
          <p:nvPr/>
        </p:nvSpPr>
        <p:spPr>
          <a:xfrm>
            <a:off x="6041164" y="1477592"/>
            <a:ext cx="1226330" cy="271554"/>
          </a:xfrm>
          <a:prstGeom prst="rect">
            <a:avLst/>
          </a:prstGeom>
          <a:noFill/>
        </p:spPr>
        <p:txBody>
          <a:bodyPr wrap="non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Food Processor</a:t>
            </a:r>
          </a:p>
        </p:txBody>
      </p:sp>
      <p:sp>
        <p:nvSpPr>
          <p:cNvPr id="140" name="TextBox 139">
            <a:extLst>
              <a:ext uri="{FF2B5EF4-FFF2-40B4-BE49-F238E27FC236}">
                <a16:creationId xmlns:a16="http://schemas.microsoft.com/office/drawing/2014/main" id="{1A01D377-4C02-4DDF-84B6-F302AAB9880B}"/>
              </a:ext>
            </a:extLst>
          </p:cNvPr>
          <p:cNvSpPr txBox="1"/>
          <p:nvPr/>
        </p:nvSpPr>
        <p:spPr>
          <a:xfrm>
            <a:off x="6041165" y="1686332"/>
            <a:ext cx="2514722" cy="422417"/>
          </a:xfrm>
          <a:prstGeom prst="rect">
            <a:avLst/>
          </a:prstGeom>
          <a:noFill/>
        </p:spPr>
        <p:txBody>
          <a:bodyPr wrap="squar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a:ln>
                  <a:noFill/>
                </a:ln>
                <a:solidFill>
                  <a:srgbClr val="002050"/>
                </a:solidFill>
                <a:effectLst/>
                <a:uLnTx/>
                <a:uFillTx/>
                <a:latin typeface="Segoe UI"/>
                <a:ea typeface="+mn-ea"/>
                <a:cs typeface="+mn-cs"/>
              </a:rPr>
              <a:t>The milk product is sealed in an IoT enabled package for shipping</a:t>
            </a:r>
          </a:p>
        </p:txBody>
      </p:sp>
      <p:sp>
        <p:nvSpPr>
          <p:cNvPr id="142" name="TextBox 141">
            <a:extLst>
              <a:ext uri="{FF2B5EF4-FFF2-40B4-BE49-F238E27FC236}">
                <a16:creationId xmlns:a16="http://schemas.microsoft.com/office/drawing/2014/main" id="{B01DBAC2-E089-476B-BD48-1FAFD244CD13}"/>
              </a:ext>
            </a:extLst>
          </p:cNvPr>
          <p:cNvSpPr txBox="1"/>
          <p:nvPr/>
        </p:nvSpPr>
        <p:spPr>
          <a:xfrm>
            <a:off x="7942250" y="3019881"/>
            <a:ext cx="883493" cy="271554"/>
          </a:xfrm>
          <a:prstGeom prst="rect">
            <a:avLst/>
          </a:prstGeom>
          <a:noFill/>
        </p:spPr>
        <p:txBody>
          <a:bodyPr wrap="non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CARRIER 1</a:t>
            </a:r>
          </a:p>
        </p:txBody>
      </p:sp>
      <p:sp>
        <p:nvSpPr>
          <p:cNvPr id="143" name="TextBox 142">
            <a:extLst>
              <a:ext uri="{FF2B5EF4-FFF2-40B4-BE49-F238E27FC236}">
                <a16:creationId xmlns:a16="http://schemas.microsoft.com/office/drawing/2014/main" id="{C625D323-2D4E-4B0C-B9EB-8D04F9CF9804}"/>
              </a:ext>
            </a:extLst>
          </p:cNvPr>
          <p:cNvSpPr txBox="1"/>
          <p:nvPr/>
        </p:nvSpPr>
        <p:spPr>
          <a:xfrm>
            <a:off x="7942251" y="3228621"/>
            <a:ext cx="2743019" cy="422417"/>
          </a:xfrm>
          <a:prstGeom prst="rect">
            <a:avLst/>
          </a:prstGeom>
          <a:noFill/>
        </p:spPr>
        <p:txBody>
          <a:bodyPr wrap="squar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a:ln>
                  <a:noFill/>
                </a:ln>
                <a:solidFill>
                  <a:srgbClr val="002050"/>
                </a:solidFill>
                <a:effectLst/>
                <a:uLnTx/>
                <a:uFillTx/>
                <a:latin typeface="Segoe UI"/>
                <a:ea typeface="+mn-ea"/>
                <a:cs typeface="+mn-cs"/>
              </a:rPr>
              <a:t>The terms of shipping are registered using a smart contract on the Blockchain</a:t>
            </a:r>
          </a:p>
        </p:txBody>
      </p:sp>
      <p:sp>
        <p:nvSpPr>
          <p:cNvPr id="145" name="TextBox 144">
            <a:extLst>
              <a:ext uri="{FF2B5EF4-FFF2-40B4-BE49-F238E27FC236}">
                <a16:creationId xmlns:a16="http://schemas.microsoft.com/office/drawing/2014/main" id="{533DB5AE-D954-4E52-AD0C-4DB2327A93C4}"/>
              </a:ext>
            </a:extLst>
          </p:cNvPr>
          <p:cNvSpPr txBox="1"/>
          <p:nvPr/>
        </p:nvSpPr>
        <p:spPr>
          <a:xfrm>
            <a:off x="4746508" y="3034934"/>
            <a:ext cx="957313" cy="273280"/>
          </a:xfrm>
          <a:prstGeom prst="rect">
            <a:avLst/>
          </a:prstGeom>
          <a:noFill/>
        </p:spPr>
        <p:txBody>
          <a:bodyPr wrap="non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Warehouse</a:t>
            </a:r>
          </a:p>
        </p:txBody>
      </p:sp>
      <p:sp>
        <p:nvSpPr>
          <p:cNvPr id="148" name="TextBox 147">
            <a:extLst>
              <a:ext uri="{FF2B5EF4-FFF2-40B4-BE49-F238E27FC236}">
                <a16:creationId xmlns:a16="http://schemas.microsoft.com/office/drawing/2014/main" id="{B66AB9BE-542F-4528-B3D2-E74CE5EB6FEB}"/>
              </a:ext>
            </a:extLst>
          </p:cNvPr>
          <p:cNvSpPr txBox="1"/>
          <p:nvPr/>
        </p:nvSpPr>
        <p:spPr>
          <a:xfrm>
            <a:off x="1681705" y="3035797"/>
            <a:ext cx="905494" cy="271554"/>
          </a:xfrm>
          <a:prstGeom prst="rect">
            <a:avLst/>
          </a:prstGeom>
          <a:noFill/>
        </p:spPr>
        <p:txBody>
          <a:bodyPr wrap="non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CARRIER 2</a:t>
            </a:r>
          </a:p>
        </p:txBody>
      </p:sp>
      <p:sp>
        <p:nvSpPr>
          <p:cNvPr id="150" name="TextBox 149">
            <a:extLst>
              <a:ext uri="{FF2B5EF4-FFF2-40B4-BE49-F238E27FC236}">
                <a16:creationId xmlns:a16="http://schemas.microsoft.com/office/drawing/2014/main" id="{07D6000C-C39B-46D1-97A3-E15FD543C6FA}"/>
              </a:ext>
            </a:extLst>
          </p:cNvPr>
          <p:cNvSpPr txBox="1"/>
          <p:nvPr/>
        </p:nvSpPr>
        <p:spPr>
          <a:xfrm>
            <a:off x="5307127" y="4022147"/>
            <a:ext cx="976549" cy="273280"/>
          </a:xfrm>
          <a:prstGeom prst="rect">
            <a:avLst/>
          </a:prstGeom>
          <a:noFill/>
        </p:spPr>
        <p:txBody>
          <a:bodyPr wrap="non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Retail Store</a:t>
            </a:r>
          </a:p>
        </p:txBody>
      </p:sp>
      <p:sp>
        <p:nvSpPr>
          <p:cNvPr id="152" name="TextBox 151">
            <a:extLst>
              <a:ext uri="{FF2B5EF4-FFF2-40B4-BE49-F238E27FC236}">
                <a16:creationId xmlns:a16="http://schemas.microsoft.com/office/drawing/2014/main" id="{16CE4D1C-EAA3-4277-B32E-393CAF4688DB}"/>
              </a:ext>
            </a:extLst>
          </p:cNvPr>
          <p:cNvSpPr txBox="1"/>
          <p:nvPr/>
        </p:nvSpPr>
        <p:spPr>
          <a:xfrm>
            <a:off x="957166" y="4509583"/>
            <a:ext cx="1495117" cy="452590"/>
          </a:xfrm>
          <a:prstGeom prst="rect">
            <a:avLst/>
          </a:prstGeom>
          <a:noFill/>
        </p:spPr>
        <p:txBody>
          <a:bodyPr wrap="non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SMART CONTRACT</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UPDATED</a:t>
            </a:r>
          </a:p>
        </p:txBody>
      </p:sp>
      <p:grpSp>
        <p:nvGrpSpPr>
          <p:cNvPr id="187" name="Group 186">
            <a:extLst>
              <a:ext uri="{FF2B5EF4-FFF2-40B4-BE49-F238E27FC236}">
                <a16:creationId xmlns:a16="http://schemas.microsoft.com/office/drawing/2014/main" id="{18D77DC5-5123-4A03-9EF7-7EA958F2DA45}"/>
              </a:ext>
            </a:extLst>
          </p:cNvPr>
          <p:cNvGrpSpPr/>
          <p:nvPr/>
        </p:nvGrpSpPr>
        <p:grpSpPr>
          <a:xfrm>
            <a:off x="882892" y="5415555"/>
            <a:ext cx="550266" cy="435156"/>
            <a:chOff x="242824" y="5199515"/>
            <a:chExt cx="1135060" cy="897618"/>
          </a:xfrm>
        </p:grpSpPr>
        <p:sp>
          <p:nvSpPr>
            <p:cNvPr id="188" name="Freeform: Shape 187">
              <a:extLst>
                <a:ext uri="{FF2B5EF4-FFF2-40B4-BE49-F238E27FC236}">
                  <a16:creationId xmlns:a16="http://schemas.microsoft.com/office/drawing/2014/main" id="{96435412-6E51-431D-B850-997CDE96A401}"/>
                </a:ext>
              </a:extLst>
            </p:cNvPr>
            <p:cNvSpPr/>
            <p:nvPr/>
          </p:nvSpPr>
          <p:spPr bwMode="auto">
            <a:xfrm>
              <a:off x="242824" y="5199515"/>
              <a:ext cx="1135060" cy="897618"/>
            </a:xfrm>
            <a:custGeom>
              <a:avLst/>
              <a:gdLst>
                <a:gd name="connsiteX0" fmla="*/ 780161 w 1135060"/>
                <a:gd name="connsiteY0" fmla="*/ 75430 h 897618"/>
                <a:gd name="connsiteX1" fmla="*/ 780161 w 1135060"/>
                <a:gd name="connsiteY1" fmla="*/ 835525 h 897618"/>
                <a:gd name="connsiteX2" fmla="*/ 991616 w 1135060"/>
                <a:gd name="connsiteY2" fmla="*/ 776470 h 897618"/>
                <a:gd name="connsiteX3" fmla="*/ 991616 w 1135060"/>
                <a:gd name="connsiteY3" fmla="*/ 279265 h 897618"/>
                <a:gd name="connsiteX4" fmla="*/ 879221 w 1135060"/>
                <a:gd name="connsiteY4" fmla="*/ 279265 h 897618"/>
                <a:gd name="connsiteX5" fmla="*/ 739833 w 1135060"/>
                <a:gd name="connsiteY5" fmla="*/ 72037 h 897618"/>
                <a:gd name="connsiteX6" fmla="*/ 621071 w 1135060"/>
                <a:gd name="connsiteY6" fmla="*/ 288146 h 897618"/>
                <a:gd name="connsiteX7" fmla="*/ 196640 w 1135060"/>
                <a:gd name="connsiteY7" fmla="*/ 309562 h 897618"/>
                <a:gd name="connsiteX8" fmla="*/ 196640 w 1135060"/>
                <a:gd name="connsiteY8" fmla="*/ 790453 h 897618"/>
                <a:gd name="connsiteX9" fmla="*/ 739833 w 1135060"/>
                <a:gd name="connsiteY9" fmla="*/ 833286 h 897618"/>
                <a:gd name="connsiteX10" fmla="*/ 817710 w 1135060"/>
                <a:gd name="connsiteY10" fmla="*/ 66195 h 897618"/>
                <a:gd name="connsiteX11" fmla="*/ 893640 w 1135060"/>
                <a:gd name="connsiteY11" fmla="*/ 231684 h 897618"/>
                <a:gd name="connsiteX12" fmla="*/ 1071784 w 1135060"/>
                <a:gd name="connsiteY12" fmla="*/ 244339 h 897618"/>
                <a:gd name="connsiteX13" fmla="*/ 1004615 w 1135060"/>
                <a:gd name="connsiteY13" fmla="*/ 115842 h 897618"/>
                <a:gd name="connsiteX14" fmla="*/ 683372 w 1135060"/>
                <a:gd name="connsiteY14" fmla="*/ 62302 h 897618"/>
                <a:gd name="connsiteX15" fmla="*/ 190799 w 1135060"/>
                <a:gd name="connsiteY15" fmla="*/ 110975 h 897618"/>
                <a:gd name="connsiteX16" fmla="*/ 97347 w 1135060"/>
                <a:gd name="connsiteY16" fmla="*/ 266729 h 897618"/>
                <a:gd name="connsiteX17" fmla="*/ 584079 w 1135060"/>
                <a:gd name="connsiteY17" fmla="*/ 231685 h 897618"/>
                <a:gd name="connsiteX18" fmla="*/ 761250 w 1135060"/>
                <a:gd name="connsiteY18" fmla="*/ 0 h 897618"/>
                <a:gd name="connsiteX19" fmla="*/ 1029926 w 1135060"/>
                <a:gd name="connsiteY19" fmla="*/ 81771 h 897618"/>
                <a:gd name="connsiteX20" fmla="*/ 1135060 w 1135060"/>
                <a:gd name="connsiteY20" fmla="*/ 282305 h 897618"/>
                <a:gd name="connsiteX21" fmla="*/ 1027979 w 1135060"/>
                <a:gd name="connsiteY21" fmla="*/ 282305 h 897618"/>
                <a:gd name="connsiteX22" fmla="*/ 1027979 w 1135060"/>
                <a:gd name="connsiteY22" fmla="*/ 809923 h 897618"/>
                <a:gd name="connsiteX23" fmla="*/ 752647 w 1135060"/>
                <a:gd name="connsiteY23" fmla="*/ 897618 h 897618"/>
                <a:gd name="connsiteX24" fmla="*/ 157701 w 1135060"/>
                <a:gd name="connsiteY24" fmla="*/ 839127 h 897618"/>
                <a:gd name="connsiteX25" fmla="*/ 157701 w 1135060"/>
                <a:gd name="connsiteY25" fmla="*/ 315403 h 897618"/>
                <a:gd name="connsiteX26" fmla="*/ 0 w 1135060"/>
                <a:gd name="connsiteY26" fmla="*/ 315403 h 897618"/>
                <a:gd name="connsiteX27" fmla="*/ 155754 w 1135060"/>
                <a:gd name="connsiteY27" fmla="*/ 66196 h 897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35060" h="897618">
                  <a:moveTo>
                    <a:pt x="780161" y="75430"/>
                  </a:moveTo>
                  <a:lnTo>
                    <a:pt x="780161" y="835525"/>
                  </a:lnTo>
                  <a:lnTo>
                    <a:pt x="991616" y="776470"/>
                  </a:lnTo>
                  <a:lnTo>
                    <a:pt x="991616" y="279265"/>
                  </a:lnTo>
                  <a:lnTo>
                    <a:pt x="879221" y="279265"/>
                  </a:lnTo>
                  <a:close/>
                  <a:moveTo>
                    <a:pt x="739833" y="72037"/>
                  </a:moveTo>
                  <a:lnTo>
                    <a:pt x="621071" y="288146"/>
                  </a:lnTo>
                  <a:lnTo>
                    <a:pt x="196640" y="309562"/>
                  </a:lnTo>
                  <a:lnTo>
                    <a:pt x="196640" y="790453"/>
                  </a:lnTo>
                  <a:lnTo>
                    <a:pt x="739833" y="833286"/>
                  </a:lnTo>
                  <a:close/>
                  <a:moveTo>
                    <a:pt x="817710" y="66195"/>
                  </a:moveTo>
                  <a:lnTo>
                    <a:pt x="893640" y="231684"/>
                  </a:lnTo>
                  <a:lnTo>
                    <a:pt x="1071784" y="244339"/>
                  </a:lnTo>
                  <a:lnTo>
                    <a:pt x="1004615" y="115842"/>
                  </a:lnTo>
                  <a:close/>
                  <a:moveTo>
                    <a:pt x="683372" y="62302"/>
                  </a:moveTo>
                  <a:lnTo>
                    <a:pt x="190799" y="110975"/>
                  </a:lnTo>
                  <a:lnTo>
                    <a:pt x="97347" y="266729"/>
                  </a:lnTo>
                  <a:lnTo>
                    <a:pt x="584079" y="231685"/>
                  </a:lnTo>
                  <a:close/>
                  <a:moveTo>
                    <a:pt x="761250" y="0"/>
                  </a:moveTo>
                  <a:lnTo>
                    <a:pt x="1029926" y="81771"/>
                  </a:lnTo>
                  <a:lnTo>
                    <a:pt x="1135060" y="282305"/>
                  </a:lnTo>
                  <a:lnTo>
                    <a:pt x="1027979" y="282305"/>
                  </a:lnTo>
                  <a:lnTo>
                    <a:pt x="1027979" y="809923"/>
                  </a:lnTo>
                  <a:lnTo>
                    <a:pt x="752647" y="897618"/>
                  </a:lnTo>
                  <a:lnTo>
                    <a:pt x="157701" y="839127"/>
                  </a:lnTo>
                  <a:lnTo>
                    <a:pt x="157701" y="315403"/>
                  </a:lnTo>
                  <a:lnTo>
                    <a:pt x="0" y="315403"/>
                  </a:lnTo>
                  <a:lnTo>
                    <a:pt x="155754" y="66196"/>
                  </a:ln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Rectangle: Rounded Corners 188">
              <a:extLst>
                <a:ext uri="{FF2B5EF4-FFF2-40B4-BE49-F238E27FC236}">
                  <a16:creationId xmlns:a16="http://schemas.microsoft.com/office/drawing/2014/main" id="{51AB75BC-76CE-4B6C-A511-376814561C5D}"/>
                </a:ext>
              </a:extLst>
            </p:cNvPr>
            <p:cNvSpPr/>
            <p:nvPr/>
          </p:nvSpPr>
          <p:spPr bwMode="auto">
            <a:xfrm rot="212772">
              <a:off x="509276" y="5882402"/>
              <a:ext cx="266615" cy="57110"/>
            </a:xfrm>
            <a:prstGeom prst="roundRect">
              <a:avLst>
                <a:gd name="adj" fmla="val 50000"/>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90" name="Group 189">
              <a:extLst>
                <a:ext uri="{FF2B5EF4-FFF2-40B4-BE49-F238E27FC236}">
                  <a16:creationId xmlns:a16="http://schemas.microsoft.com/office/drawing/2014/main" id="{4E16D21D-1AB2-4B2C-B924-1E46E062C2D4}"/>
                </a:ext>
              </a:extLst>
            </p:cNvPr>
            <p:cNvGrpSpPr/>
            <p:nvPr/>
          </p:nvGrpSpPr>
          <p:grpSpPr>
            <a:xfrm rot="21423090">
              <a:off x="510655" y="5622395"/>
              <a:ext cx="122528" cy="215798"/>
              <a:chOff x="2920647" y="4046992"/>
              <a:chExt cx="239779" cy="422302"/>
            </a:xfrm>
            <a:solidFill>
              <a:srgbClr val="002050"/>
            </a:solidFill>
          </p:grpSpPr>
          <p:sp>
            <p:nvSpPr>
              <p:cNvPr id="194" name="Rectangle: Rounded Corners 193">
                <a:extLst>
                  <a:ext uri="{FF2B5EF4-FFF2-40B4-BE49-F238E27FC236}">
                    <a16:creationId xmlns:a16="http://schemas.microsoft.com/office/drawing/2014/main" id="{5DA190A3-830A-4D9A-9B98-C902C2243505}"/>
                  </a:ext>
                </a:extLst>
              </p:cNvPr>
              <p:cNvSpPr/>
              <p:nvPr/>
            </p:nvSpPr>
            <p:spPr bwMode="auto">
              <a:xfrm rot="5566499">
                <a:off x="2855570" y="4262149"/>
                <a:ext cx="348568" cy="6572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5" name="Isosceles Triangle 9">
                <a:extLst>
                  <a:ext uri="{FF2B5EF4-FFF2-40B4-BE49-F238E27FC236}">
                    <a16:creationId xmlns:a16="http://schemas.microsoft.com/office/drawing/2014/main" id="{359A3032-DC4D-4DCA-887E-762C7121C145}"/>
                  </a:ext>
                </a:extLst>
              </p:cNvPr>
              <p:cNvSpPr/>
              <p:nvPr/>
            </p:nvSpPr>
            <p:spPr bwMode="auto">
              <a:xfrm rot="222834">
                <a:off x="2920647" y="4046992"/>
                <a:ext cx="239779" cy="147470"/>
              </a:xfrm>
              <a:custGeom>
                <a:avLst/>
                <a:gdLst>
                  <a:gd name="connsiteX0" fmla="*/ 0 w 744220"/>
                  <a:gd name="connsiteY0" fmla="*/ 641569 h 641569"/>
                  <a:gd name="connsiteX1" fmla="*/ 372110 w 744220"/>
                  <a:gd name="connsiteY1" fmla="*/ 0 h 641569"/>
                  <a:gd name="connsiteX2" fmla="*/ 744220 w 744220"/>
                  <a:gd name="connsiteY2" fmla="*/ 641569 h 641569"/>
                  <a:gd name="connsiteX3" fmla="*/ 0 w 744220"/>
                  <a:gd name="connsiteY3" fmla="*/ 641569 h 641569"/>
                  <a:gd name="connsiteX0" fmla="*/ 0 w 744220"/>
                  <a:gd name="connsiteY0" fmla="*/ 641569 h 641569"/>
                  <a:gd name="connsiteX1" fmla="*/ 372110 w 744220"/>
                  <a:gd name="connsiteY1" fmla="*/ 0 h 641569"/>
                  <a:gd name="connsiteX2" fmla="*/ 723900 w 744220"/>
                  <a:gd name="connsiteY2" fmla="*/ 604520 h 641569"/>
                  <a:gd name="connsiteX3" fmla="*/ 744220 w 744220"/>
                  <a:gd name="connsiteY3" fmla="*/ 641569 h 641569"/>
                  <a:gd name="connsiteX4" fmla="*/ 0 w 744220"/>
                  <a:gd name="connsiteY4" fmla="*/ 641569 h 641569"/>
                  <a:gd name="connsiteX0" fmla="*/ 0 w 744220"/>
                  <a:gd name="connsiteY0" fmla="*/ 641569 h 642620"/>
                  <a:gd name="connsiteX1" fmla="*/ 372110 w 744220"/>
                  <a:gd name="connsiteY1" fmla="*/ 0 h 642620"/>
                  <a:gd name="connsiteX2" fmla="*/ 723900 w 744220"/>
                  <a:gd name="connsiteY2" fmla="*/ 604520 h 642620"/>
                  <a:gd name="connsiteX3" fmla="*/ 744220 w 744220"/>
                  <a:gd name="connsiteY3" fmla="*/ 641569 h 642620"/>
                  <a:gd name="connsiteX4" fmla="*/ 698500 w 744220"/>
                  <a:gd name="connsiteY4" fmla="*/ 642620 h 642620"/>
                  <a:gd name="connsiteX5" fmla="*/ 0 w 744220"/>
                  <a:gd name="connsiteY5"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36334"/>
                  <a:gd name="connsiteY0" fmla="*/ 641569 h 642620"/>
                  <a:gd name="connsiteX1" fmla="*/ 372110 w 736334"/>
                  <a:gd name="connsiteY1" fmla="*/ 0 h 642620"/>
                  <a:gd name="connsiteX2" fmla="*/ 723900 w 736334"/>
                  <a:gd name="connsiteY2" fmla="*/ 604520 h 642620"/>
                  <a:gd name="connsiteX3" fmla="*/ 698500 w 736334"/>
                  <a:gd name="connsiteY3" fmla="*/ 642620 h 642620"/>
                  <a:gd name="connsiteX4" fmla="*/ 0 w 736334"/>
                  <a:gd name="connsiteY4" fmla="*/ 641569 h 642620"/>
                  <a:gd name="connsiteX0" fmla="*/ 0 w 737461"/>
                  <a:gd name="connsiteY0" fmla="*/ 641569 h 642620"/>
                  <a:gd name="connsiteX1" fmla="*/ 372110 w 737461"/>
                  <a:gd name="connsiteY1" fmla="*/ 0 h 642620"/>
                  <a:gd name="connsiteX2" fmla="*/ 723900 w 737461"/>
                  <a:gd name="connsiteY2" fmla="*/ 604520 h 642620"/>
                  <a:gd name="connsiteX3" fmla="*/ 698500 w 737461"/>
                  <a:gd name="connsiteY3" fmla="*/ 642620 h 642620"/>
                  <a:gd name="connsiteX4" fmla="*/ 0 w 737461"/>
                  <a:gd name="connsiteY4" fmla="*/ 641569 h 642620"/>
                  <a:gd name="connsiteX0" fmla="*/ 0 w 738071"/>
                  <a:gd name="connsiteY0" fmla="*/ 641569 h 644004"/>
                  <a:gd name="connsiteX1" fmla="*/ 372110 w 738071"/>
                  <a:gd name="connsiteY1" fmla="*/ 0 h 644004"/>
                  <a:gd name="connsiteX2" fmla="*/ 723900 w 738071"/>
                  <a:gd name="connsiteY2" fmla="*/ 604520 h 644004"/>
                  <a:gd name="connsiteX3" fmla="*/ 698500 w 738071"/>
                  <a:gd name="connsiteY3" fmla="*/ 642620 h 644004"/>
                  <a:gd name="connsiteX4" fmla="*/ 0 w 738071"/>
                  <a:gd name="connsiteY4" fmla="*/ 641569 h 644004"/>
                  <a:gd name="connsiteX0" fmla="*/ 0 w 731341"/>
                  <a:gd name="connsiteY0" fmla="*/ 641569 h 644004"/>
                  <a:gd name="connsiteX1" fmla="*/ 372110 w 731341"/>
                  <a:gd name="connsiteY1" fmla="*/ 0 h 644004"/>
                  <a:gd name="connsiteX2" fmla="*/ 723900 w 731341"/>
                  <a:gd name="connsiteY2" fmla="*/ 604520 h 644004"/>
                  <a:gd name="connsiteX3" fmla="*/ 698500 w 731341"/>
                  <a:gd name="connsiteY3" fmla="*/ 642620 h 644004"/>
                  <a:gd name="connsiteX4" fmla="*/ 0 w 731341"/>
                  <a:gd name="connsiteY4" fmla="*/ 641569 h 644004"/>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0 w 730699"/>
                  <a:gd name="connsiteY4" fmla="*/ 641569 h 642835"/>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40640 w 730699"/>
                  <a:gd name="connsiteY4" fmla="*/ 642620 h 642835"/>
                  <a:gd name="connsiteX5" fmla="*/ 0 w 730699"/>
                  <a:gd name="connsiteY5" fmla="*/ 641569 h 642835"/>
                  <a:gd name="connsiteX0" fmla="*/ 0 w 730699"/>
                  <a:gd name="connsiteY0" fmla="*/ 641569 h 642835"/>
                  <a:gd name="connsiteX1" fmla="*/ 30480 w 730699"/>
                  <a:gd name="connsiteY1" fmla="*/ 584200 h 642835"/>
                  <a:gd name="connsiteX2" fmla="*/ 372110 w 730699"/>
                  <a:gd name="connsiteY2" fmla="*/ 0 h 642835"/>
                  <a:gd name="connsiteX3" fmla="*/ 723900 w 730699"/>
                  <a:gd name="connsiteY3" fmla="*/ 604520 h 642835"/>
                  <a:gd name="connsiteX4" fmla="*/ 698500 w 730699"/>
                  <a:gd name="connsiteY4" fmla="*/ 642620 h 642835"/>
                  <a:gd name="connsiteX5" fmla="*/ 40640 w 730699"/>
                  <a:gd name="connsiteY5" fmla="*/ 642620 h 642835"/>
                  <a:gd name="connsiteX6" fmla="*/ 0 w 730699"/>
                  <a:gd name="connsiteY6" fmla="*/ 641569 h 642835"/>
                  <a:gd name="connsiteX0" fmla="*/ 10160 w 700219"/>
                  <a:gd name="connsiteY0" fmla="*/ 642620 h 642835"/>
                  <a:gd name="connsiteX1" fmla="*/ 0 w 700219"/>
                  <a:gd name="connsiteY1" fmla="*/ 584200 h 642835"/>
                  <a:gd name="connsiteX2" fmla="*/ 341630 w 700219"/>
                  <a:gd name="connsiteY2" fmla="*/ 0 h 642835"/>
                  <a:gd name="connsiteX3" fmla="*/ 693420 w 700219"/>
                  <a:gd name="connsiteY3" fmla="*/ 604520 h 642835"/>
                  <a:gd name="connsiteX4" fmla="*/ 668020 w 700219"/>
                  <a:gd name="connsiteY4" fmla="*/ 642620 h 642835"/>
                  <a:gd name="connsiteX5" fmla="*/ 10160 w 700219"/>
                  <a:gd name="connsiteY5" fmla="*/ 642620 h 642835"/>
                  <a:gd name="connsiteX0" fmla="*/ 20557 w 710616"/>
                  <a:gd name="connsiteY0" fmla="*/ 642620 h 642835"/>
                  <a:gd name="connsiteX1" fmla="*/ 10397 w 710616"/>
                  <a:gd name="connsiteY1" fmla="*/ 584200 h 642835"/>
                  <a:gd name="connsiteX2" fmla="*/ 352027 w 710616"/>
                  <a:gd name="connsiteY2" fmla="*/ 0 h 642835"/>
                  <a:gd name="connsiteX3" fmla="*/ 703817 w 710616"/>
                  <a:gd name="connsiteY3" fmla="*/ 604520 h 642835"/>
                  <a:gd name="connsiteX4" fmla="*/ 678417 w 710616"/>
                  <a:gd name="connsiteY4" fmla="*/ 642620 h 642835"/>
                  <a:gd name="connsiteX5" fmla="*/ 20557 w 710616"/>
                  <a:gd name="connsiteY5" fmla="*/ 642620 h 642835"/>
                  <a:gd name="connsiteX0" fmla="*/ 28893 w 718952"/>
                  <a:gd name="connsiteY0" fmla="*/ 642620 h 642835"/>
                  <a:gd name="connsiteX1" fmla="*/ 18733 w 718952"/>
                  <a:gd name="connsiteY1" fmla="*/ 584200 h 642835"/>
                  <a:gd name="connsiteX2" fmla="*/ 360363 w 718952"/>
                  <a:gd name="connsiteY2" fmla="*/ 0 h 642835"/>
                  <a:gd name="connsiteX3" fmla="*/ 712153 w 718952"/>
                  <a:gd name="connsiteY3" fmla="*/ 604520 h 642835"/>
                  <a:gd name="connsiteX4" fmla="*/ 686753 w 718952"/>
                  <a:gd name="connsiteY4" fmla="*/ 642620 h 642835"/>
                  <a:gd name="connsiteX5" fmla="*/ 28893 w 718952"/>
                  <a:gd name="connsiteY5"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712153 w 718952"/>
                  <a:gd name="connsiteY4" fmla="*/ 604520 h 642835"/>
                  <a:gd name="connsiteX5" fmla="*/ 686753 w 718952"/>
                  <a:gd name="connsiteY5" fmla="*/ 642620 h 642835"/>
                  <a:gd name="connsiteX6" fmla="*/ 28893 w 718952"/>
                  <a:gd name="connsiteY6"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387033 w 718952"/>
                  <a:gd name="connsiteY4" fmla="*/ 43180 h 642835"/>
                  <a:gd name="connsiteX5" fmla="*/ 712153 w 718952"/>
                  <a:gd name="connsiteY5" fmla="*/ 604520 h 642835"/>
                  <a:gd name="connsiteX6" fmla="*/ 686753 w 718952"/>
                  <a:gd name="connsiteY6" fmla="*/ 642620 h 642835"/>
                  <a:gd name="connsiteX7" fmla="*/ 28893 w 718952"/>
                  <a:gd name="connsiteY7" fmla="*/ 642620 h 642835"/>
                  <a:gd name="connsiteX0" fmla="*/ 28893 w 718952"/>
                  <a:gd name="connsiteY0" fmla="*/ 599440 h 599655"/>
                  <a:gd name="connsiteX1" fmla="*/ 18733 w 718952"/>
                  <a:gd name="connsiteY1" fmla="*/ 541020 h 599655"/>
                  <a:gd name="connsiteX2" fmla="*/ 333693 w 718952"/>
                  <a:gd name="connsiteY2" fmla="*/ 0 h 599655"/>
                  <a:gd name="connsiteX3" fmla="*/ 387033 w 718952"/>
                  <a:gd name="connsiteY3" fmla="*/ 0 h 599655"/>
                  <a:gd name="connsiteX4" fmla="*/ 712153 w 718952"/>
                  <a:gd name="connsiteY4" fmla="*/ 561340 h 599655"/>
                  <a:gd name="connsiteX5" fmla="*/ 686753 w 718952"/>
                  <a:gd name="connsiteY5" fmla="*/ 599440 h 599655"/>
                  <a:gd name="connsiteX6" fmla="*/ 28893 w 718952"/>
                  <a:gd name="connsiteY6" fmla="*/ 599440 h 599655"/>
                  <a:gd name="connsiteX0" fmla="*/ 28893 w 718952"/>
                  <a:gd name="connsiteY0" fmla="*/ 622017 h 622232"/>
                  <a:gd name="connsiteX1" fmla="*/ 18733 w 718952"/>
                  <a:gd name="connsiteY1" fmla="*/ 563597 h 622232"/>
                  <a:gd name="connsiteX2" fmla="*/ 333693 w 718952"/>
                  <a:gd name="connsiteY2" fmla="*/ 22577 h 622232"/>
                  <a:gd name="connsiteX3" fmla="*/ 387033 w 718952"/>
                  <a:gd name="connsiteY3" fmla="*/ 22577 h 622232"/>
                  <a:gd name="connsiteX4" fmla="*/ 712153 w 718952"/>
                  <a:gd name="connsiteY4" fmla="*/ 583917 h 622232"/>
                  <a:gd name="connsiteX5" fmla="*/ 686753 w 718952"/>
                  <a:gd name="connsiteY5" fmla="*/ 622017 h 622232"/>
                  <a:gd name="connsiteX6" fmla="*/ 28893 w 718952"/>
                  <a:gd name="connsiteY6" fmla="*/ 622017 h 622232"/>
                  <a:gd name="connsiteX0" fmla="*/ 28893 w 718952"/>
                  <a:gd name="connsiteY0" fmla="*/ 630382 h 630597"/>
                  <a:gd name="connsiteX1" fmla="*/ 18733 w 718952"/>
                  <a:gd name="connsiteY1" fmla="*/ 571962 h 630597"/>
                  <a:gd name="connsiteX2" fmla="*/ 333693 w 718952"/>
                  <a:gd name="connsiteY2" fmla="*/ 30942 h 630597"/>
                  <a:gd name="connsiteX3" fmla="*/ 387033 w 718952"/>
                  <a:gd name="connsiteY3" fmla="*/ 30942 h 630597"/>
                  <a:gd name="connsiteX4" fmla="*/ 712153 w 718952"/>
                  <a:gd name="connsiteY4" fmla="*/ 592282 h 630597"/>
                  <a:gd name="connsiteX5" fmla="*/ 686753 w 718952"/>
                  <a:gd name="connsiteY5" fmla="*/ 630382 h 630597"/>
                  <a:gd name="connsiteX6" fmla="*/ 28893 w 718952"/>
                  <a:gd name="connsiteY6" fmla="*/ 630382 h 630597"/>
                  <a:gd name="connsiteX0" fmla="*/ 28893 w 718952"/>
                  <a:gd name="connsiteY0" fmla="*/ 631218 h 631433"/>
                  <a:gd name="connsiteX1" fmla="*/ 18733 w 718952"/>
                  <a:gd name="connsiteY1" fmla="*/ 572798 h 631433"/>
                  <a:gd name="connsiteX2" fmla="*/ 333693 w 718952"/>
                  <a:gd name="connsiteY2" fmla="*/ 31778 h 631433"/>
                  <a:gd name="connsiteX3" fmla="*/ 387033 w 718952"/>
                  <a:gd name="connsiteY3" fmla="*/ 31778 h 631433"/>
                  <a:gd name="connsiteX4" fmla="*/ 712153 w 718952"/>
                  <a:gd name="connsiteY4" fmla="*/ 593118 h 631433"/>
                  <a:gd name="connsiteX5" fmla="*/ 686753 w 718952"/>
                  <a:gd name="connsiteY5" fmla="*/ 631218 h 631433"/>
                  <a:gd name="connsiteX6" fmla="*/ 28893 w 718952"/>
                  <a:gd name="connsiteY6" fmla="*/ 631218 h 631433"/>
                  <a:gd name="connsiteX0" fmla="*/ 28893 w 718952"/>
                  <a:gd name="connsiteY0" fmla="*/ 630383 h 630598"/>
                  <a:gd name="connsiteX1" fmla="*/ 18733 w 718952"/>
                  <a:gd name="connsiteY1" fmla="*/ 571963 h 630598"/>
                  <a:gd name="connsiteX2" fmla="*/ 333693 w 718952"/>
                  <a:gd name="connsiteY2" fmla="*/ 30943 h 630598"/>
                  <a:gd name="connsiteX3" fmla="*/ 387033 w 718952"/>
                  <a:gd name="connsiteY3" fmla="*/ 30943 h 630598"/>
                  <a:gd name="connsiteX4" fmla="*/ 712153 w 718952"/>
                  <a:gd name="connsiteY4" fmla="*/ 592283 h 630598"/>
                  <a:gd name="connsiteX5" fmla="*/ 686753 w 718952"/>
                  <a:gd name="connsiteY5" fmla="*/ 630383 h 630598"/>
                  <a:gd name="connsiteX6" fmla="*/ 28893 w 718952"/>
                  <a:gd name="connsiteY6" fmla="*/ 630383 h 630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952" h="630598">
                    <a:moveTo>
                      <a:pt x="28893" y="630383"/>
                    </a:moveTo>
                    <a:cubicBezTo>
                      <a:pt x="-12594" y="618530"/>
                      <a:pt x="-3280" y="601596"/>
                      <a:pt x="18733" y="571963"/>
                    </a:cubicBezTo>
                    <a:lnTo>
                      <a:pt x="333693" y="30943"/>
                    </a:lnTo>
                    <a:cubicBezTo>
                      <a:pt x="359093" y="-19857"/>
                      <a:pt x="371793" y="463"/>
                      <a:pt x="387033" y="30943"/>
                    </a:cubicBezTo>
                    <a:lnTo>
                      <a:pt x="712153" y="592283"/>
                    </a:lnTo>
                    <a:cubicBezTo>
                      <a:pt x="724006" y="612603"/>
                      <a:pt x="723160" y="632923"/>
                      <a:pt x="686753" y="630383"/>
                    </a:cubicBezTo>
                    <a:lnTo>
                      <a:pt x="28893" y="63038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91" name="Group 190">
              <a:extLst>
                <a:ext uri="{FF2B5EF4-FFF2-40B4-BE49-F238E27FC236}">
                  <a16:creationId xmlns:a16="http://schemas.microsoft.com/office/drawing/2014/main" id="{20ADF539-C536-43E6-9333-17B44C8403D4}"/>
                </a:ext>
              </a:extLst>
            </p:cNvPr>
            <p:cNvGrpSpPr/>
            <p:nvPr/>
          </p:nvGrpSpPr>
          <p:grpSpPr>
            <a:xfrm rot="21423090">
              <a:off x="659595" y="5629839"/>
              <a:ext cx="122528" cy="215798"/>
              <a:chOff x="2920647" y="4046992"/>
              <a:chExt cx="239779" cy="422302"/>
            </a:xfrm>
            <a:solidFill>
              <a:srgbClr val="002050"/>
            </a:solidFill>
          </p:grpSpPr>
          <p:sp>
            <p:nvSpPr>
              <p:cNvPr id="192" name="Rectangle: Rounded Corners 191">
                <a:extLst>
                  <a:ext uri="{FF2B5EF4-FFF2-40B4-BE49-F238E27FC236}">
                    <a16:creationId xmlns:a16="http://schemas.microsoft.com/office/drawing/2014/main" id="{2170966D-0332-4883-BE8D-F764AEA5EB23}"/>
                  </a:ext>
                </a:extLst>
              </p:cNvPr>
              <p:cNvSpPr/>
              <p:nvPr/>
            </p:nvSpPr>
            <p:spPr bwMode="auto">
              <a:xfrm rot="5566499">
                <a:off x="2855570" y="4262149"/>
                <a:ext cx="348568" cy="6572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3" name="Isosceles Triangle 9">
                <a:extLst>
                  <a:ext uri="{FF2B5EF4-FFF2-40B4-BE49-F238E27FC236}">
                    <a16:creationId xmlns:a16="http://schemas.microsoft.com/office/drawing/2014/main" id="{FEB4A6BF-8E51-4BA9-AD16-A36000CAE4DD}"/>
                  </a:ext>
                </a:extLst>
              </p:cNvPr>
              <p:cNvSpPr/>
              <p:nvPr/>
            </p:nvSpPr>
            <p:spPr bwMode="auto">
              <a:xfrm rot="222834">
                <a:off x="2920647" y="4046992"/>
                <a:ext cx="239779" cy="147470"/>
              </a:xfrm>
              <a:custGeom>
                <a:avLst/>
                <a:gdLst>
                  <a:gd name="connsiteX0" fmla="*/ 0 w 744220"/>
                  <a:gd name="connsiteY0" fmla="*/ 641569 h 641569"/>
                  <a:gd name="connsiteX1" fmla="*/ 372110 w 744220"/>
                  <a:gd name="connsiteY1" fmla="*/ 0 h 641569"/>
                  <a:gd name="connsiteX2" fmla="*/ 744220 w 744220"/>
                  <a:gd name="connsiteY2" fmla="*/ 641569 h 641569"/>
                  <a:gd name="connsiteX3" fmla="*/ 0 w 744220"/>
                  <a:gd name="connsiteY3" fmla="*/ 641569 h 641569"/>
                  <a:gd name="connsiteX0" fmla="*/ 0 w 744220"/>
                  <a:gd name="connsiteY0" fmla="*/ 641569 h 641569"/>
                  <a:gd name="connsiteX1" fmla="*/ 372110 w 744220"/>
                  <a:gd name="connsiteY1" fmla="*/ 0 h 641569"/>
                  <a:gd name="connsiteX2" fmla="*/ 723900 w 744220"/>
                  <a:gd name="connsiteY2" fmla="*/ 604520 h 641569"/>
                  <a:gd name="connsiteX3" fmla="*/ 744220 w 744220"/>
                  <a:gd name="connsiteY3" fmla="*/ 641569 h 641569"/>
                  <a:gd name="connsiteX4" fmla="*/ 0 w 744220"/>
                  <a:gd name="connsiteY4" fmla="*/ 641569 h 641569"/>
                  <a:gd name="connsiteX0" fmla="*/ 0 w 744220"/>
                  <a:gd name="connsiteY0" fmla="*/ 641569 h 642620"/>
                  <a:gd name="connsiteX1" fmla="*/ 372110 w 744220"/>
                  <a:gd name="connsiteY1" fmla="*/ 0 h 642620"/>
                  <a:gd name="connsiteX2" fmla="*/ 723900 w 744220"/>
                  <a:gd name="connsiteY2" fmla="*/ 604520 h 642620"/>
                  <a:gd name="connsiteX3" fmla="*/ 744220 w 744220"/>
                  <a:gd name="connsiteY3" fmla="*/ 641569 h 642620"/>
                  <a:gd name="connsiteX4" fmla="*/ 698500 w 744220"/>
                  <a:gd name="connsiteY4" fmla="*/ 642620 h 642620"/>
                  <a:gd name="connsiteX5" fmla="*/ 0 w 744220"/>
                  <a:gd name="connsiteY5"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36334"/>
                  <a:gd name="connsiteY0" fmla="*/ 641569 h 642620"/>
                  <a:gd name="connsiteX1" fmla="*/ 372110 w 736334"/>
                  <a:gd name="connsiteY1" fmla="*/ 0 h 642620"/>
                  <a:gd name="connsiteX2" fmla="*/ 723900 w 736334"/>
                  <a:gd name="connsiteY2" fmla="*/ 604520 h 642620"/>
                  <a:gd name="connsiteX3" fmla="*/ 698500 w 736334"/>
                  <a:gd name="connsiteY3" fmla="*/ 642620 h 642620"/>
                  <a:gd name="connsiteX4" fmla="*/ 0 w 736334"/>
                  <a:gd name="connsiteY4" fmla="*/ 641569 h 642620"/>
                  <a:gd name="connsiteX0" fmla="*/ 0 w 737461"/>
                  <a:gd name="connsiteY0" fmla="*/ 641569 h 642620"/>
                  <a:gd name="connsiteX1" fmla="*/ 372110 w 737461"/>
                  <a:gd name="connsiteY1" fmla="*/ 0 h 642620"/>
                  <a:gd name="connsiteX2" fmla="*/ 723900 w 737461"/>
                  <a:gd name="connsiteY2" fmla="*/ 604520 h 642620"/>
                  <a:gd name="connsiteX3" fmla="*/ 698500 w 737461"/>
                  <a:gd name="connsiteY3" fmla="*/ 642620 h 642620"/>
                  <a:gd name="connsiteX4" fmla="*/ 0 w 737461"/>
                  <a:gd name="connsiteY4" fmla="*/ 641569 h 642620"/>
                  <a:gd name="connsiteX0" fmla="*/ 0 w 738071"/>
                  <a:gd name="connsiteY0" fmla="*/ 641569 h 644004"/>
                  <a:gd name="connsiteX1" fmla="*/ 372110 w 738071"/>
                  <a:gd name="connsiteY1" fmla="*/ 0 h 644004"/>
                  <a:gd name="connsiteX2" fmla="*/ 723900 w 738071"/>
                  <a:gd name="connsiteY2" fmla="*/ 604520 h 644004"/>
                  <a:gd name="connsiteX3" fmla="*/ 698500 w 738071"/>
                  <a:gd name="connsiteY3" fmla="*/ 642620 h 644004"/>
                  <a:gd name="connsiteX4" fmla="*/ 0 w 738071"/>
                  <a:gd name="connsiteY4" fmla="*/ 641569 h 644004"/>
                  <a:gd name="connsiteX0" fmla="*/ 0 w 731341"/>
                  <a:gd name="connsiteY0" fmla="*/ 641569 h 644004"/>
                  <a:gd name="connsiteX1" fmla="*/ 372110 w 731341"/>
                  <a:gd name="connsiteY1" fmla="*/ 0 h 644004"/>
                  <a:gd name="connsiteX2" fmla="*/ 723900 w 731341"/>
                  <a:gd name="connsiteY2" fmla="*/ 604520 h 644004"/>
                  <a:gd name="connsiteX3" fmla="*/ 698500 w 731341"/>
                  <a:gd name="connsiteY3" fmla="*/ 642620 h 644004"/>
                  <a:gd name="connsiteX4" fmla="*/ 0 w 731341"/>
                  <a:gd name="connsiteY4" fmla="*/ 641569 h 644004"/>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0 w 730699"/>
                  <a:gd name="connsiteY4" fmla="*/ 641569 h 642835"/>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40640 w 730699"/>
                  <a:gd name="connsiteY4" fmla="*/ 642620 h 642835"/>
                  <a:gd name="connsiteX5" fmla="*/ 0 w 730699"/>
                  <a:gd name="connsiteY5" fmla="*/ 641569 h 642835"/>
                  <a:gd name="connsiteX0" fmla="*/ 0 w 730699"/>
                  <a:gd name="connsiteY0" fmla="*/ 641569 h 642835"/>
                  <a:gd name="connsiteX1" fmla="*/ 30480 w 730699"/>
                  <a:gd name="connsiteY1" fmla="*/ 584200 h 642835"/>
                  <a:gd name="connsiteX2" fmla="*/ 372110 w 730699"/>
                  <a:gd name="connsiteY2" fmla="*/ 0 h 642835"/>
                  <a:gd name="connsiteX3" fmla="*/ 723900 w 730699"/>
                  <a:gd name="connsiteY3" fmla="*/ 604520 h 642835"/>
                  <a:gd name="connsiteX4" fmla="*/ 698500 w 730699"/>
                  <a:gd name="connsiteY4" fmla="*/ 642620 h 642835"/>
                  <a:gd name="connsiteX5" fmla="*/ 40640 w 730699"/>
                  <a:gd name="connsiteY5" fmla="*/ 642620 h 642835"/>
                  <a:gd name="connsiteX6" fmla="*/ 0 w 730699"/>
                  <a:gd name="connsiteY6" fmla="*/ 641569 h 642835"/>
                  <a:gd name="connsiteX0" fmla="*/ 10160 w 700219"/>
                  <a:gd name="connsiteY0" fmla="*/ 642620 h 642835"/>
                  <a:gd name="connsiteX1" fmla="*/ 0 w 700219"/>
                  <a:gd name="connsiteY1" fmla="*/ 584200 h 642835"/>
                  <a:gd name="connsiteX2" fmla="*/ 341630 w 700219"/>
                  <a:gd name="connsiteY2" fmla="*/ 0 h 642835"/>
                  <a:gd name="connsiteX3" fmla="*/ 693420 w 700219"/>
                  <a:gd name="connsiteY3" fmla="*/ 604520 h 642835"/>
                  <a:gd name="connsiteX4" fmla="*/ 668020 w 700219"/>
                  <a:gd name="connsiteY4" fmla="*/ 642620 h 642835"/>
                  <a:gd name="connsiteX5" fmla="*/ 10160 w 700219"/>
                  <a:gd name="connsiteY5" fmla="*/ 642620 h 642835"/>
                  <a:gd name="connsiteX0" fmla="*/ 20557 w 710616"/>
                  <a:gd name="connsiteY0" fmla="*/ 642620 h 642835"/>
                  <a:gd name="connsiteX1" fmla="*/ 10397 w 710616"/>
                  <a:gd name="connsiteY1" fmla="*/ 584200 h 642835"/>
                  <a:gd name="connsiteX2" fmla="*/ 352027 w 710616"/>
                  <a:gd name="connsiteY2" fmla="*/ 0 h 642835"/>
                  <a:gd name="connsiteX3" fmla="*/ 703817 w 710616"/>
                  <a:gd name="connsiteY3" fmla="*/ 604520 h 642835"/>
                  <a:gd name="connsiteX4" fmla="*/ 678417 w 710616"/>
                  <a:gd name="connsiteY4" fmla="*/ 642620 h 642835"/>
                  <a:gd name="connsiteX5" fmla="*/ 20557 w 710616"/>
                  <a:gd name="connsiteY5" fmla="*/ 642620 h 642835"/>
                  <a:gd name="connsiteX0" fmla="*/ 28893 w 718952"/>
                  <a:gd name="connsiteY0" fmla="*/ 642620 h 642835"/>
                  <a:gd name="connsiteX1" fmla="*/ 18733 w 718952"/>
                  <a:gd name="connsiteY1" fmla="*/ 584200 h 642835"/>
                  <a:gd name="connsiteX2" fmla="*/ 360363 w 718952"/>
                  <a:gd name="connsiteY2" fmla="*/ 0 h 642835"/>
                  <a:gd name="connsiteX3" fmla="*/ 712153 w 718952"/>
                  <a:gd name="connsiteY3" fmla="*/ 604520 h 642835"/>
                  <a:gd name="connsiteX4" fmla="*/ 686753 w 718952"/>
                  <a:gd name="connsiteY4" fmla="*/ 642620 h 642835"/>
                  <a:gd name="connsiteX5" fmla="*/ 28893 w 718952"/>
                  <a:gd name="connsiteY5"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712153 w 718952"/>
                  <a:gd name="connsiteY4" fmla="*/ 604520 h 642835"/>
                  <a:gd name="connsiteX5" fmla="*/ 686753 w 718952"/>
                  <a:gd name="connsiteY5" fmla="*/ 642620 h 642835"/>
                  <a:gd name="connsiteX6" fmla="*/ 28893 w 718952"/>
                  <a:gd name="connsiteY6"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387033 w 718952"/>
                  <a:gd name="connsiteY4" fmla="*/ 43180 h 642835"/>
                  <a:gd name="connsiteX5" fmla="*/ 712153 w 718952"/>
                  <a:gd name="connsiteY5" fmla="*/ 604520 h 642835"/>
                  <a:gd name="connsiteX6" fmla="*/ 686753 w 718952"/>
                  <a:gd name="connsiteY6" fmla="*/ 642620 h 642835"/>
                  <a:gd name="connsiteX7" fmla="*/ 28893 w 718952"/>
                  <a:gd name="connsiteY7" fmla="*/ 642620 h 642835"/>
                  <a:gd name="connsiteX0" fmla="*/ 28893 w 718952"/>
                  <a:gd name="connsiteY0" fmla="*/ 599440 h 599655"/>
                  <a:gd name="connsiteX1" fmla="*/ 18733 w 718952"/>
                  <a:gd name="connsiteY1" fmla="*/ 541020 h 599655"/>
                  <a:gd name="connsiteX2" fmla="*/ 333693 w 718952"/>
                  <a:gd name="connsiteY2" fmla="*/ 0 h 599655"/>
                  <a:gd name="connsiteX3" fmla="*/ 387033 w 718952"/>
                  <a:gd name="connsiteY3" fmla="*/ 0 h 599655"/>
                  <a:gd name="connsiteX4" fmla="*/ 712153 w 718952"/>
                  <a:gd name="connsiteY4" fmla="*/ 561340 h 599655"/>
                  <a:gd name="connsiteX5" fmla="*/ 686753 w 718952"/>
                  <a:gd name="connsiteY5" fmla="*/ 599440 h 599655"/>
                  <a:gd name="connsiteX6" fmla="*/ 28893 w 718952"/>
                  <a:gd name="connsiteY6" fmla="*/ 599440 h 599655"/>
                  <a:gd name="connsiteX0" fmla="*/ 28893 w 718952"/>
                  <a:gd name="connsiteY0" fmla="*/ 622017 h 622232"/>
                  <a:gd name="connsiteX1" fmla="*/ 18733 w 718952"/>
                  <a:gd name="connsiteY1" fmla="*/ 563597 h 622232"/>
                  <a:gd name="connsiteX2" fmla="*/ 333693 w 718952"/>
                  <a:gd name="connsiteY2" fmla="*/ 22577 h 622232"/>
                  <a:gd name="connsiteX3" fmla="*/ 387033 w 718952"/>
                  <a:gd name="connsiteY3" fmla="*/ 22577 h 622232"/>
                  <a:gd name="connsiteX4" fmla="*/ 712153 w 718952"/>
                  <a:gd name="connsiteY4" fmla="*/ 583917 h 622232"/>
                  <a:gd name="connsiteX5" fmla="*/ 686753 w 718952"/>
                  <a:gd name="connsiteY5" fmla="*/ 622017 h 622232"/>
                  <a:gd name="connsiteX6" fmla="*/ 28893 w 718952"/>
                  <a:gd name="connsiteY6" fmla="*/ 622017 h 622232"/>
                  <a:gd name="connsiteX0" fmla="*/ 28893 w 718952"/>
                  <a:gd name="connsiteY0" fmla="*/ 630382 h 630597"/>
                  <a:gd name="connsiteX1" fmla="*/ 18733 w 718952"/>
                  <a:gd name="connsiteY1" fmla="*/ 571962 h 630597"/>
                  <a:gd name="connsiteX2" fmla="*/ 333693 w 718952"/>
                  <a:gd name="connsiteY2" fmla="*/ 30942 h 630597"/>
                  <a:gd name="connsiteX3" fmla="*/ 387033 w 718952"/>
                  <a:gd name="connsiteY3" fmla="*/ 30942 h 630597"/>
                  <a:gd name="connsiteX4" fmla="*/ 712153 w 718952"/>
                  <a:gd name="connsiteY4" fmla="*/ 592282 h 630597"/>
                  <a:gd name="connsiteX5" fmla="*/ 686753 w 718952"/>
                  <a:gd name="connsiteY5" fmla="*/ 630382 h 630597"/>
                  <a:gd name="connsiteX6" fmla="*/ 28893 w 718952"/>
                  <a:gd name="connsiteY6" fmla="*/ 630382 h 630597"/>
                  <a:gd name="connsiteX0" fmla="*/ 28893 w 718952"/>
                  <a:gd name="connsiteY0" fmla="*/ 631218 h 631433"/>
                  <a:gd name="connsiteX1" fmla="*/ 18733 w 718952"/>
                  <a:gd name="connsiteY1" fmla="*/ 572798 h 631433"/>
                  <a:gd name="connsiteX2" fmla="*/ 333693 w 718952"/>
                  <a:gd name="connsiteY2" fmla="*/ 31778 h 631433"/>
                  <a:gd name="connsiteX3" fmla="*/ 387033 w 718952"/>
                  <a:gd name="connsiteY3" fmla="*/ 31778 h 631433"/>
                  <a:gd name="connsiteX4" fmla="*/ 712153 w 718952"/>
                  <a:gd name="connsiteY4" fmla="*/ 593118 h 631433"/>
                  <a:gd name="connsiteX5" fmla="*/ 686753 w 718952"/>
                  <a:gd name="connsiteY5" fmla="*/ 631218 h 631433"/>
                  <a:gd name="connsiteX6" fmla="*/ 28893 w 718952"/>
                  <a:gd name="connsiteY6" fmla="*/ 631218 h 631433"/>
                  <a:gd name="connsiteX0" fmla="*/ 28893 w 718952"/>
                  <a:gd name="connsiteY0" fmla="*/ 630383 h 630598"/>
                  <a:gd name="connsiteX1" fmla="*/ 18733 w 718952"/>
                  <a:gd name="connsiteY1" fmla="*/ 571963 h 630598"/>
                  <a:gd name="connsiteX2" fmla="*/ 333693 w 718952"/>
                  <a:gd name="connsiteY2" fmla="*/ 30943 h 630598"/>
                  <a:gd name="connsiteX3" fmla="*/ 387033 w 718952"/>
                  <a:gd name="connsiteY3" fmla="*/ 30943 h 630598"/>
                  <a:gd name="connsiteX4" fmla="*/ 712153 w 718952"/>
                  <a:gd name="connsiteY4" fmla="*/ 592283 h 630598"/>
                  <a:gd name="connsiteX5" fmla="*/ 686753 w 718952"/>
                  <a:gd name="connsiteY5" fmla="*/ 630383 h 630598"/>
                  <a:gd name="connsiteX6" fmla="*/ 28893 w 718952"/>
                  <a:gd name="connsiteY6" fmla="*/ 630383 h 630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952" h="630598">
                    <a:moveTo>
                      <a:pt x="28893" y="630383"/>
                    </a:moveTo>
                    <a:cubicBezTo>
                      <a:pt x="-12594" y="618530"/>
                      <a:pt x="-3280" y="601596"/>
                      <a:pt x="18733" y="571963"/>
                    </a:cubicBezTo>
                    <a:lnTo>
                      <a:pt x="333693" y="30943"/>
                    </a:lnTo>
                    <a:cubicBezTo>
                      <a:pt x="359093" y="-19857"/>
                      <a:pt x="371793" y="463"/>
                      <a:pt x="387033" y="30943"/>
                    </a:cubicBezTo>
                    <a:lnTo>
                      <a:pt x="712153" y="592283"/>
                    </a:lnTo>
                    <a:cubicBezTo>
                      <a:pt x="724006" y="612603"/>
                      <a:pt x="723160" y="632923"/>
                      <a:pt x="686753" y="630383"/>
                    </a:cubicBezTo>
                    <a:lnTo>
                      <a:pt x="28893" y="63038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grpSp>
        <p:nvGrpSpPr>
          <p:cNvPr id="217" name="Group 216">
            <a:extLst>
              <a:ext uri="{FF2B5EF4-FFF2-40B4-BE49-F238E27FC236}">
                <a16:creationId xmlns:a16="http://schemas.microsoft.com/office/drawing/2014/main" id="{20542D95-2622-4E46-813B-C3440970CD59}"/>
              </a:ext>
            </a:extLst>
          </p:cNvPr>
          <p:cNvGrpSpPr/>
          <p:nvPr/>
        </p:nvGrpSpPr>
        <p:grpSpPr>
          <a:xfrm>
            <a:off x="9628985" y="1798540"/>
            <a:ext cx="372486" cy="369140"/>
            <a:chOff x="8504238" y="2065338"/>
            <a:chExt cx="530225" cy="525462"/>
          </a:xfrm>
          <a:solidFill>
            <a:srgbClr val="002050"/>
          </a:solidFill>
        </p:grpSpPr>
        <p:sp>
          <p:nvSpPr>
            <p:cNvPr id="216" name="Freeform: Shape 215">
              <a:extLst>
                <a:ext uri="{FF2B5EF4-FFF2-40B4-BE49-F238E27FC236}">
                  <a16:creationId xmlns:a16="http://schemas.microsoft.com/office/drawing/2014/main" id="{790DAE9A-9A24-4982-865A-BCBBD281CB91}"/>
                </a:ext>
              </a:extLst>
            </p:cNvPr>
            <p:cNvSpPr>
              <a:spLocks/>
            </p:cNvSpPr>
            <p:nvPr/>
          </p:nvSpPr>
          <p:spPr bwMode="auto">
            <a:xfrm>
              <a:off x="8504238" y="2065338"/>
              <a:ext cx="530225" cy="525462"/>
            </a:xfrm>
            <a:custGeom>
              <a:avLst/>
              <a:gdLst>
                <a:gd name="connsiteX0" fmla="*/ 59754 w 530225"/>
                <a:gd name="connsiteY0" fmla="*/ 401637 h 525462"/>
                <a:gd name="connsiteX1" fmla="*/ 20638 w 530225"/>
                <a:gd name="connsiteY1" fmla="*/ 440585 h 525462"/>
                <a:gd name="connsiteX2" fmla="*/ 86750 w 530225"/>
                <a:gd name="connsiteY2" fmla="*/ 506412 h 525462"/>
                <a:gd name="connsiteX3" fmla="*/ 388938 w 530225"/>
                <a:gd name="connsiteY3" fmla="*/ 506412 h 525462"/>
                <a:gd name="connsiteX4" fmla="*/ 357810 w 530225"/>
                <a:gd name="connsiteY4" fmla="*/ 440585 h 525462"/>
                <a:gd name="connsiteX5" fmla="*/ 357810 w 530225"/>
                <a:gd name="connsiteY5" fmla="*/ 401637 h 525462"/>
                <a:gd name="connsiteX6" fmla="*/ 59754 w 530225"/>
                <a:gd name="connsiteY6" fmla="*/ 401637 h 525462"/>
                <a:gd name="connsiteX7" fmla="*/ 157567 w 530225"/>
                <a:gd name="connsiteY7" fmla="*/ 20637 h 525462"/>
                <a:gd name="connsiteX8" fmla="*/ 113873 w 530225"/>
                <a:gd name="connsiteY8" fmla="*/ 63970 h 525462"/>
                <a:gd name="connsiteX9" fmla="*/ 111125 w 530225"/>
                <a:gd name="connsiteY9" fmla="*/ 380828 h 525462"/>
                <a:gd name="connsiteX10" fmla="*/ 367515 w 530225"/>
                <a:gd name="connsiteY10" fmla="*/ 380828 h 525462"/>
                <a:gd name="connsiteX11" fmla="*/ 377683 w 530225"/>
                <a:gd name="connsiteY11" fmla="*/ 391041 h 525462"/>
                <a:gd name="connsiteX12" fmla="*/ 377683 w 530225"/>
                <a:gd name="connsiteY12" fmla="*/ 440170 h 525462"/>
                <a:gd name="connsiteX13" fmla="*/ 443636 w 530225"/>
                <a:gd name="connsiteY13" fmla="*/ 506412 h 525462"/>
                <a:gd name="connsiteX14" fmla="*/ 509588 w 530225"/>
                <a:gd name="connsiteY14" fmla="*/ 440998 h 525462"/>
                <a:gd name="connsiteX15" fmla="*/ 509588 w 530225"/>
                <a:gd name="connsiteY15" fmla="*/ 64522 h 525462"/>
                <a:gd name="connsiteX16" fmla="*/ 465894 w 530225"/>
                <a:gd name="connsiteY16" fmla="*/ 20637 h 525462"/>
                <a:gd name="connsiteX17" fmla="*/ 157567 w 530225"/>
                <a:gd name="connsiteY17" fmla="*/ 20637 h 525462"/>
                <a:gd name="connsiteX18" fmla="*/ 156839 w 530225"/>
                <a:gd name="connsiteY18" fmla="*/ 0 h 525462"/>
                <a:gd name="connsiteX19" fmla="*/ 465563 w 530225"/>
                <a:gd name="connsiteY19" fmla="*/ 0 h 525462"/>
                <a:gd name="connsiteX20" fmla="*/ 530225 w 530225"/>
                <a:gd name="connsiteY20" fmla="*/ 64202 h 525462"/>
                <a:gd name="connsiteX21" fmla="*/ 530225 w 530225"/>
                <a:gd name="connsiteY21" fmla="*/ 439217 h 525462"/>
                <a:gd name="connsiteX22" fmla="*/ 443276 w 530225"/>
                <a:gd name="connsiteY22" fmla="*/ 525462 h 525462"/>
                <a:gd name="connsiteX23" fmla="*/ 439699 w 530225"/>
                <a:gd name="connsiteY23" fmla="*/ 525462 h 525462"/>
                <a:gd name="connsiteX24" fmla="*/ 439148 w 530225"/>
                <a:gd name="connsiteY24" fmla="*/ 525462 h 525462"/>
                <a:gd name="connsiteX25" fmla="*/ 83372 w 530225"/>
                <a:gd name="connsiteY25" fmla="*/ 525462 h 525462"/>
                <a:gd name="connsiteX26" fmla="*/ 80896 w 530225"/>
                <a:gd name="connsiteY26" fmla="*/ 525462 h 525462"/>
                <a:gd name="connsiteX27" fmla="*/ 0 w 530225"/>
                <a:gd name="connsiteY27" fmla="*/ 439217 h 525462"/>
                <a:gd name="connsiteX28" fmla="*/ 59158 w 530225"/>
                <a:gd name="connsiteY28" fmla="*/ 379975 h 525462"/>
                <a:gd name="connsiteX29" fmla="*/ 90251 w 530225"/>
                <a:gd name="connsiteY29" fmla="*/ 379975 h 525462"/>
                <a:gd name="connsiteX30" fmla="*/ 93003 w 530225"/>
                <a:gd name="connsiteY30" fmla="*/ 63375 h 525462"/>
                <a:gd name="connsiteX31" fmla="*/ 156839 w 530225"/>
                <a:gd name="connsiteY31" fmla="*/ 0 h 525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0225" h="525462">
                  <a:moveTo>
                    <a:pt x="59754" y="401637"/>
                  </a:moveTo>
                  <a:cubicBezTo>
                    <a:pt x="38268" y="401637"/>
                    <a:pt x="20638" y="419191"/>
                    <a:pt x="20638" y="440585"/>
                  </a:cubicBezTo>
                  <a:cubicBezTo>
                    <a:pt x="20638" y="477064"/>
                    <a:pt x="50388" y="506412"/>
                    <a:pt x="86750" y="506412"/>
                  </a:cubicBezTo>
                  <a:lnTo>
                    <a:pt x="388938" y="506412"/>
                  </a:lnTo>
                  <a:cubicBezTo>
                    <a:pt x="369380" y="490504"/>
                    <a:pt x="357810" y="466093"/>
                    <a:pt x="357810" y="440585"/>
                  </a:cubicBezTo>
                  <a:cubicBezTo>
                    <a:pt x="357810" y="440585"/>
                    <a:pt x="357810" y="440585"/>
                    <a:pt x="357810" y="401637"/>
                  </a:cubicBezTo>
                  <a:cubicBezTo>
                    <a:pt x="357810" y="401637"/>
                    <a:pt x="357810" y="401637"/>
                    <a:pt x="59754" y="401637"/>
                  </a:cubicBezTo>
                  <a:close/>
                  <a:moveTo>
                    <a:pt x="157567" y="20637"/>
                  </a:moveTo>
                  <a:cubicBezTo>
                    <a:pt x="134208" y="20637"/>
                    <a:pt x="113873" y="39682"/>
                    <a:pt x="113873" y="63970"/>
                  </a:cubicBezTo>
                  <a:cubicBezTo>
                    <a:pt x="113873" y="63970"/>
                    <a:pt x="113873" y="63970"/>
                    <a:pt x="111125" y="380828"/>
                  </a:cubicBezTo>
                  <a:cubicBezTo>
                    <a:pt x="111125" y="380828"/>
                    <a:pt x="111125" y="380828"/>
                    <a:pt x="367515" y="380828"/>
                  </a:cubicBezTo>
                  <a:cubicBezTo>
                    <a:pt x="373011" y="380828"/>
                    <a:pt x="377683" y="385520"/>
                    <a:pt x="377683" y="391041"/>
                  </a:cubicBezTo>
                  <a:cubicBezTo>
                    <a:pt x="377683" y="391041"/>
                    <a:pt x="377683" y="391041"/>
                    <a:pt x="377683" y="440170"/>
                  </a:cubicBezTo>
                  <a:cubicBezTo>
                    <a:pt x="377683" y="476879"/>
                    <a:pt x="407362" y="506412"/>
                    <a:pt x="443636" y="506412"/>
                  </a:cubicBezTo>
                  <a:cubicBezTo>
                    <a:pt x="479909" y="506412"/>
                    <a:pt x="509588" y="476879"/>
                    <a:pt x="509588" y="440998"/>
                  </a:cubicBezTo>
                  <a:cubicBezTo>
                    <a:pt x="509588" y="440998"/>
                    <a:pt x="509588" y="440998"/>
                    <a:pt x="509588" y="64522"/>
                  </a:cubicBezTo>
                  <a:cubicBezTo>
                    <a:pt x="509588" y="40234"/>
                    <a:pt x="490077" y="20637"/>
                    <a:pt x="465894" y="20637"/>
                  </a:cubicBezTo>
                  <a:cubicBezTo>
                    <a:pt x="465894" y="20637"/>
                    <a:pt x="465894" y="20637"/>
                    <a:pt x="157567" y="20637"/>
                  </a:cubicBezTo>
                  <a:close/>
                  <a:moveTo>
                    <a:pt x="156839" y="0"/>
                  </a:moveTo>
                  <a:cubicBezTo>
                    <a:pt x="156839" y="0"/>
                    <a:pt x="156839" y="0"/>
                    <a:pt x="465563" y="0"/>
                  </a:cubicBezTo>
                  <a:cubicBezTo>
                    <a:pt x="501058" y="0"/>
                    <a:pt x="529400" y="28381"/>
                    <a:pt x="530225" y="64202"/>
                  </a:cubicBezTo>
                  <a:cubicBezTo>
                    <a:pt x="530225" y="64202"/>
                    <a:pt x="530225" y="64202"/>
                    <a:pt x="530225" y="439217"/>
                  </a:cubicBezTo>
                  <a:cubicBezTo>
                    <a:pt x="529400" y="487162"/>
                    <a:pt x="491153" y="525462"/>
                    <a:pt x="443276" y="525462"/>
                  </a:cubicBezTo>
                  <a:cubicBezTo>
                    <a:pt x="443276" y="525462"/>
                    <a:pt x="443276" y="525462"/>
                    <a:pt x="439699" y="525462"/>
                  </a:cubicBezTo>
                  <a:cubicBezTo>
                    <a:pt x="439699" y="525462"/>
                    <a:pt x="439699" y="525462"/>
                    <a:pt x="439148" y="525462"/>
                  </a:cubicBezTo>
                  <a:cubicBezTo>
                    <a:pt x="439148" y="525462"/>
                    <a:pt x="439148" y="525462"/>
                    <a:pt x="83372" y="525462"/>
                  </a:cubicBezTo>
                  <a:cubicBezTo>
                    <a:pt x="82822" y="525462"/>
                    <a:pt x="81446" y="525462"/>
                    <a:pt x="80896" y="525462"/>
                  </a:cubicBezTo>
                  <a:cubicBezTo>
                    <a:pt x="34945" y="522707"/>
                    <a:pt x="0" y="484957"/>
                    <a:pt x="0" y="439217"/>
                  </a:cubicBezTo>
                  <a:cubicBezTo>
                    <a:pt x="0" y="406703"/>
                    <a:pt x="26140" y="379975"/>
                    <a:pt x="59158" y="379975"/>
                  </a:cubicBezTo>
                  <a:cubicBezTo>
                    <a:pt x="59158" y="379975"/>
                    <a:pt x="59158" y="379975"/>
                    <a:pt x="90251" y="379975"/>
                  </a:cubicBezTo>
                  <a:cubicBezTo>
                    <a:pt x="90251" y="379975"/>
                    <a:pt x="90251" y="379975"/>
                    <a:pt x="93003" y="63375"/>
                  </a:cubicBezTo>
                  <a:cubicBezTo>
                    <a:pt x="93553" y="28381"/>
                    <a:pt x="121894" y="0"/>
                    <a:pt x="1568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2" name="Freeform 23">
              <a:extLst>
                <a:ext uri="{FF2B5EF4-FFF2-40B4-BE49-F238E27FC236}">
                  <a16:creationId xmlns:a16="http://schemas.microsoft.com/office/drawing/2014/main" id="{168BF77C-A8D5-46F8-9780-E8CF0C5381F5}"/>
                </a:ext>
              </a:extLst>
            </p:cNvPr>
            <p:cNvSpPr>
              <a:spLocks/>
            </p:cNvSpPr>
            <p:nvPr/>
          </p:nvSpPr>
          <p:spPr bwMode="auto">
            <a:xfrm>
              <a:off x="8680451" y="2171700"/>
              <a:ext cx="138113" cy="19050"/>
            </a:xfrm>
            <a:custGeom>
              <a:avLst/>
              <a:gdLst>
                <a:gd name="T0" fmla="*/ 37 w 502"/>
                <a:gd name="T1" fmla="*/ 73 h 73"/>
                <a:gd name="T2" fmla="*/ 465 w 502"/>
                <a:gd name="T3" fmla="*/ 73 h 73"/>
                <a:gd name="T4" fmla="*/ 502 w 502"/>
                <a:gd name="T5" fmla="*/ 36 h 73"/>
                <a:gd name="T6" fmla="*/ 465 w 502"/>
                <a:gd name="T7" fmla="*/ 0 h 73"/>
                <a:gd name="T8" fmla="*/ 37 w 502"/>
                <a:gd name="T9" fmla="*/ 0 h 73"/>
                <a:gd name="T10" fmla="*/ 0 w 502"/>
                <a:gd name="T11" fmla="*/ 36 h 73"/>
                <a:gd name="T12" fmla="*/ 37 w 502"/>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502" h="73">
                  <a:moveTo>
                    <a:pt x="37" y="73"/>
                  </a:moveTo>
                  <a:cubicBezTo>
                    <a:pt x="465" y="73"/>
                    <a:pt x="465" y="73"/>
                    <a:pt x="465" y="73"/>
                  </a:cubicBezTo>
                  <a:cubicBezTo>
                    <a:pt x="485" y="73"/>
                    <a:pt x="502" y="56"/>
                    <a:pt x="502" y="36"/>
                  </a:cubicBezTo>
                  <a:cubicBezTo>
                    <a:pt x="502" y="17"/>
                    <a:pt x="485" y="0"/>
                    <a:pt x="465" y="0"/>
                  </a:cubicBezTo>
                  <a:cubicBezTo>
                    <a:pt x="37" y="0"/>
                    <a:pt x="37" y="0"/>
                    <a:pt x="37" y="0"/>
                  </a:cubicBezTo>
                  <a:cubicBezTo>
                    <a:pt x="17" y="0"/>
                    <a:pt x="0" y="17"/>
                    <a:pt x="0" y="36"/>
                  </a:cubicBezTo>
                  <a:cubicBezTo>
                    <a:pt x="0" y="56"/>
                    <a:pt x="15" y="73"/>
                    <a:pt x="37"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3" name="Freeform 24">
              <a:extLst>
                <a:ext uri="{FF2B5EF4-FFF2-40B4-BE49-F238E27FC236}">
                  <a16:creationId xmlns:a16="http://schemas.microsoft.com/office/drawing/2014/main" id="{47DB0A3B-49CF-403B-AC59-7F6E5187955A}"/>
                </a:ext>
              </a:extLst>
            </p:cNvPr>
            <p:cNvSpPr>
              <a:spLocks/>
            </p:cNvSpPr>
            <p:nvPr/>
          </p:nvSpPr>
          <p:spPr bwMode="auto">
            <a:xfrm>
              <a:off x="8680451" y="2259013"/>
              <a:ext cx="260350" cy="20637"/>
            </a:xfrm>
            <a:custGeom>
              <a:avLst/>
              <a:gdLst>
                <a:gd name="T0" fmla="*/ 906 w 943"/>
                <a:gd name="T1" fmla="*/ 0 h 73"/>
                <a:gd name="T2" fmla="*/ 37 w 943"/>
                <a:gd name="T3" fmla="*/ 0 h 73"/>
                <a:gd name="T4" fmla="*/ 0 w 943"/>
                <a:gd name="T5" fmla="*/ 37 h 73"/>
                <a:gd name="T6" fmla="*/ 37 w 943"/>
                <a:gd name="T7" fmla="*/ 73 h 73"/>
                <a:gd name="T8" fmla="*/ 906 w 943"/>
                <a:gd name="T9" fmla="*/ 73 h 73"/>
                <a:gd name="T10" fmla="*/ 943 w 943"/>
                <a:gd name="T11" fmla="*/ 37 h 73"/>
                <a:gd name="T12" fmla="*/ 906 w 943"/>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943" h="73">
                  <a:moveTo>
                    <a:pt x="906" y="0"/>
                  </a:moveTo>
                  <a:cubicBezTo>
                    <a:pt x="37" y="0"/>
                    <a:pt x="37" y="0"/>
                    <a:pt x="37" y="0"/>
                  </a:cubicBezTo>
                  <a:cubicBezTo>
                    <a:pt x="17" y="0"/>
                    <a:pt x="0" y="17"/>
                    <a:pt x="0" y="37"/>
                  </a:cubicBezTo>
                  <a:cubicBezTo>
                    <a:pt x="0" y="56"/>
                    <a:pt x="17" y="73"/>
                    <a:pt x="37" y="73"/>
                  </a:cubicBezTo>
                  <a:cubicBezTo>
                    <a:pt x="906" y="73"/>
                    <a:pt x="906" y="73"/>
                    <a:pt x="906" y="73"/>
                  </a:cubicBezTo>
                  <a:cubicBezTo>
                    <a:pt x="926" y="73"/>
                    <a:pt x="943" y="56"/>
                    <a:pt x="943" y="37"/>
                  </a:cubicBezTo>
                  <a:cubicBezTo>
                    <a:pt x="943" y="17"/>
                    <a:pt x="926" y="0"/>
                    <a:pt x="90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4" name="Freeform 25">
              <a:extLst>
                <a:ext uri="{FF2B5EF4-FFF2-40B4-BE49-F238E27FC236}">
                  <a16:creationId xmlns:a16="http://schemas.microsoft.com/office/drawing/2014/main" id="{B55DB9B4-32E3-46F8-8845-28A94A669A89}"/>
                </a:ext>
              </a:extLst>
            </p:cNvPr>
            <p:cNvSpPr>
              <a:spLocks/>
            </p:cNvSpPr>
            <p:nvPr/>
          </p:nvSpPr>
          <p:spPr bwMode="auto">
            <a:xfrm>
              <a:off x="8680451" y="2346325"/>
              <a:ext cx="260350" cy="20637"/>
            </a:xfrm>
            <a:custGeom>
              <a:avLst/>
              <a:gdLst>
                <a:gd name="T0" fmla="*/ 906 w 943"/>
                <a:gd name="T1" fmla="*/ 0 h 74"/>
                <a:gd name="T2" fmla="*/ 37 w 943"/>
                <a:gd name="T3" fmla="*/ 0 h 74"/>
                <a:gd name="T4" fmla="*/ 0 w 943"/>
                <a:gd name="T5" fmla="*/ 37 h 74"/>
                <a:gd name="T6" fmla="*/ 37 w 943"/>
                <a:gd name="T7" fmla="*/ 74 h 74"/>
                <a:gd name="T8" fmla="*/ 906 w 943"/>
                <a:gd name="T9" fmla="*/ 74 h 74"/>
                <a:gd name="T10" fmla="*/ 943 w 943"/>
                <a:gd name="T11" fmla="*/ 37 h 74"/>
                <a:gd name="T12" fmla="*/ 906 w 943"/>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943" h="74">
                  <a:moveTo>
                    <a:pt x="906" y="0"/>
                  </a:moveTo>
                  <a:cubicBezTo>
                    <a:pt x="37" y="0"/>
                    <a:pt x="37" y="0"/>
                    <a:pt x="37" y="0"/>
                  </a:cubicBezTo>
                  <a:cubicBezTo>
                    <a:pt x="17" y="0"/>
                    <a:pt x="0" y="17"/>
                    <a:pt x="0" y="37"/>
                  </a:cubicBezTo>
                  <a:cubicBezTo>
                    <a:pt x="0" y="56"/>
                    <a:pt x="17" y="74"/>
                    <a:pt x="37" y="74"/>
                  </a:cubicBezTo>
                  <a:cubicBezTo>
                    <a:pt x="906" y="74"/>
                    <a:pt x="906" y="74"/>
                    <a:pt x="906" y="74"/>
                  </a:cubicBezTo>
                  <a:cubicBezTo>
                    <a:pt x="926" y="74"/>
                    <a:pt x="943" y="56"/>
                    <a:pt x="943" y="37"/>
                  </a:cubicBezTo>
                  <a:cubicBezTo>
                    <a:pt x="943" y="17"/>
                    <a:pt x="926" y="0"/>
                    <a:pt x="90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18" name="Group 217">
            <a:extLst>
              <a:ext uri="{FF2B5EF4-FFF2-40B4-BE49-F238E27FC236}">
                <a16:creationId xmlns:a16="http://schemas.microsoft.com/office/drawing/2014/main" id="{2B260127-BEDA-48A8-9EC6-E650D9796762}"/>
              </a:ext>
            </a:extLst>
          </p:cNvPr>
          <p:cNvGrpSpPr/>
          <p:nvPr/>
        </p:nvGrpSpPr>
        <p:grpSpPr>
          <a:xfrm>
            <a:off x="591527" y="4551307"/>
            <a:ext cx="372486" cy="369140"/>
            <a:chOff x="8504238" y="2065338"/>
            <a:chExt cx="530225" cy="525462"/>
          </a:xfrm>
          <a:solidFill>
            <a:srgbClr val="002050"/>
          </a:solidFill>
        </p:grpSpPr>
        <p:sp>
          <p:nvSpPr>
            <p:cNvPr id="219" name="Freeform: Shape 218">
              <a:extLst>
                <a:ext uri="{FF2B5EF4-FFF2-40B4-BE49-F238E27FC236}">
                  <a16:creationId xmlns:a16="http://schemas.microsoft.com/office/drawing/2014/main" id="{9BAD6BEF-5765-49A8-A218-5FFDEC9B8F1E}"/>
                </a:ext>
              </a:extLst>
            </p:cNvPr>
            <p:cNvSpPr>
              <a:spLocks/>
            </p:cNvSpPr>
            <p:nvPr/>
          </p:nvSpPr>
          <p:spPr bwMode="auto">
            <a:xfrm>
              <a:off x="8504238" y="2065338"/>
              <a:ext cx="530225" cy="525462"/>
            </a:xfrm>
            <a:custGeom>
              <a:avLst/>
              <a:gdLst>
                <a:gd name="connsiteX0" fmla="*/ 59754 w 530225"/>
                <a:gd name="connsiteY0" fmla="*/ 401637 h 525462"/>
                <a:gd name="connsiteX1" fmla="*/ 20638 w 530225"/>
                <a:gd name="connsiteY1" fmla="*/ 440585 h 525462"/>
                <a:gd name="connsiteX2" fmla="*/ 86750 w 530225"/>
                <a:gd name="connsiteY2" fmla="*/ 506412 h 525462"/>
                <a:gd name="connsiteX3" fmla="*/ 388938 w 530225"/>
                <a:gd name="connsiteY3" fmla="*/ 506412 h 525462"/>
                <a:gd name="connsiteX4" fmla="*/ 357810 w 530225"/>
                <a:gd name="connsiteY4" fmla="*/ 440585 h 525462"/>
                <a:gd name="connsiteX5" fmla="*/ 357810 w 530225"/>
                <a:gd name="connsiteY5" fmla="*/ 401637 h 525462"/>
                <a:gd name="connsiteX6" fmla="*/ 59754 w 530225"/>
                <a:gd name="connsiteY6" fmla="*/ 401637 h 525462"/>
                <a:gd name="connsiteX7" fmla="*/ 157567 w 530225"/>
                <a:gd name="connsiteY7" fmla="*/ 20637 h 525462"/>
                <a:gd name="connsiteX8" fmla="*/ 113873 w 530225"/>
                <a:gd name="connsiteY8" fmla="*/ 63970 h 525462"/>
                <a:gd name="connsiteX9" fmla="*/ 111125 w 530225"/>
                <a:gd name="connsiteY9" fmla="*/ 380828 h 525462"/>
                <a:gd name="connsiteX10" fmla="*/ 367515 w 530225"/>
                <a:gd name="connsiteY10" fmla="*/ 380828 h 525462"/>
                <a:gd name="connsiteX11" fmla="*/ 377683 w 530225"/>
                <a:gd name="connsiteY11" fmla="*/ 391041 h 525462"/>
                <a:gd name="connsiteX12" fmla="*/ 377683 w 530225"/>
                <a:gd name="connsiteY12" fmla="*/ 440170 h 525462"/>
                <a:gd name="connsiteX13" fmla="*/ 443636 w 530225"/>
                <a:gd name="connsiteY13" fmla="*/ 506412 h 525462"/>
                <a:gd name="connsiteX14" fmla="*/ 509588 w 530225"/>
                <a:gd name="connsiteY14" fmla="*/ 440998 h 525462"/>
                <a:gd name="connsiteX15" fmla="*/ 509588 w 530225"/>
                <a:gd name="connsiteY15" fmla="*/ 64522 h 525462"/>
                <a:gd name="connsiteX16" fmla="*/ 465894 w 530225"/>
                <a:gd name="connsiteY16" fmla="*/ 20637 h 525462"/>
                <a:gd name="connsiteX17" fmla="*/ 157567 w 530225"/>
                <a:gd name="connsiteY17" fmla="*/ 20637 h 525462"/>
                <a:gd name="connsiteX18" fmla="*/ 156839 w 530225"/>
                <a:gd name="connsiteY18" fmla="*/ 0 h 525462"/>
                <a:gd name="connsiteX19" fmla="*/ 465563 w 530225"/>
                <a:gd name="connsiteY19" fmla="*/ 0 h 525462"/>
                <a:gd name="connsiteX20" fmla="*/ 530225 w 530225"/>
                <a:gd name="connsiteY20" fmla="*/ 64202 h 525462"/>
                <a:gd name="connsiteX21" fmla="*/ 530225 w 530225"/>
                <a:gd name="connsiteY21" fmla="*/ 439217 h 525462"/>
                <a:gd name="connsiteX22" fmla="*/ 443276 w 530225"/>
                <a:gd name="connsiteY22" fmla="*/ 525462 h 525462"/>
                <a:gd name="connsiteX23" fmla="*/ 439699 w 530225"/>
                <a:gd name="connsiteY23" fmla="*/ 525462 h 525462"/>
                <a:gd name="connsiteX24" fmla="*/ 439148 w 530225"/>
                <a:gd name="connsiteY24" fmla="*/ 525462 h 525462"/>
                <a:gd name="connsiteX25" fmla="*/ 83372 w 530225"/>
                <a:gd name="connsiteY25" fmla="*/ 525462 h 525462"/>
                <a:gd name="connsiteX26" fmla="*/ 80896 w 530225"/>
                <a:gd name="connsiteY26" fmla="*/ 525462 h 525462"/>
                <a:gd name="connsiteX27" fmla="*/ 0 w 530225"/>
                <a:gd name="connsiteY27" fmla="*/ 439217 h 525462"/>
                <a:gd name="connsiteX28" fmla="*/ 59158 w 530225"/>
                <a:gd name="connsiteY28" fmla="*/ 379975 h 525462"/>
                <a:gd name="connsiteX29" fmla="*/ 90251 w 530225"/>
                <a:gd name="connsiteY29" fmla="*/ 379975 h 525462"/>
                <a:gd name="connsiteX30" fmla="*/ 93003 w 530225"/>
                <a:gd name="connsiteY30" fmla="*/ 63375 h 525462"/>
                <a:gd name="connsiteX31" fmla="*/ 156839 w 530225"/>
                <a:gd name="connsiteY31" fmla="*/ 0 h 525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0225" h="525462">
                  <a:moveTo>
                    <a:pt x="59754" y="401637"/>
                  </a:moveTo>
                  <a:cubicBezTo>
                    <a:pt x="38268" y="401637"/>
                    <a:pt x="20638" y="419191"/>
                    <a:pt x="20638" y="440585"/>
                  </a:cubicBezTo>
                  <a:cubicBezTo>
                    <a:pt x="20638" y="477064"/>
                    <a:pt x="50388" y="506412"/>
                    <a:pt x="86750" y="506412"/>
                  </a:cubicBezTo>
                  <a:lnTo>
                    <a:pt x="388938" y="506412"/>
                  </a:lnTo>
                  <a:cubicBezTo>
                    <a:pt x="369380" y="490504"/>
                    <a:pt x="357810" y="466093"/>
                    <a:pt x="357810" y="440585"/>
                  </a:cubicBezTo>
                  <a:cubicBezTo>
                    <a:pt x="357810" y="440585"/>
                    <a:pt x="357810" y="440585"/>
                    <a:pt x="357810" y="401637"/>
                  </a:cubicBezTo>
                  <a:cubicBezTo>
                    <a:pt x="357810" y="401637"/>
                    <a:pt x="357810" y="401637"/>
                    <a:pt x="59754" y="401637"/>
                  </a:cubicBezTo>
                  <a:close/>
                  <a:moveTo>
                    <a:pt x="157567" y="20637"/>
                  </a:moveTo>
                  <a:cubicBezTo>
                    <a:pt x="134208" y="20637"/>
                    <a:pt x="113873" y="39682"/>
                    <a:pt x="113873" y="63970"/>
                  </a:cubicBezTo>
                  <a:cubicBezTo>
                    <a:pt x="113873" y="63970"/>
                    <a:pt x="113873" y="63970"/>
                    <a:pt x="111125" y="380828"/>
                  </a:cubicBezTo>
                  <a:cubicBezTo>
                    <a:pt x="111125" y="380828"/>
                    <a:pt x="111125" y="380828"/>
                    <a:pt x="367515" y="380828"/>
                  </a:cubicBezTo>
                  <a:cubicBezTo>
                    <a:pt x="373011" y="380828"/>
                    <a:pt x="377683" y="385520"/>
                    <a:pt x="377683" y="391041"/>
                  </a:cubicBezTo>
                  <a:cubicBezTo>
                    <a:pt x="377683" y="391041"/>
                    <a:pt x="377683" y="391041"/>
                    <a:pt x="377683" y="440170"/>
                  </a:cubicBezTo>
                  <a:cubicBezTo>
                    <a:pt x="377683" y="476879"/>
                    <a:pt x="407362" y="506412"/>
                    <a:pt x="443636" y="506412"/>
                  </a:cubicBezTo>
                  <a:cubicBezTo>
                    <a:pt x="479909" y="506412"/>
                    <a:pt x="509588" y="476879"/>
                    <a:pt x="509588" y="440998"/>
                  </a:cubicBezTo>
                  <a:cubicBezTo>
                    <a:pt x="509588" y="440998"/>
                    <a:pt x="509588" y="440998"/>
                    <a:pt x="509588" y="64522"/>
                  </a:cubicBezTo>
                  <a:cubicBezTo>
                    <a:pt x="509588" y="40234"/>
                    <a:pt x="490077" y="20637"/>
                    <a:pt x="465894" y="20637"/>
                  </a:cubicBezTo>
                  <a:cubicBezTo>
                    <a:pt x="465894" y="20637"/>
                    <a:pt x="465894" y="20637"/>
                    <a:pt x="157567" y="20637"/>
                  </a:cubicBezTo>
                  <a:close/>
                  <a:moveTo>
                    <a:pt x="156839" y="0"/>
                  </a:moveTo>
                  <a:cubicBezTo>
                    <a:pt x="156839" y="0"/>
                    <a:pt x="156839" y="0"/>
                    <a:pt x="465563" y="0"/>
                  </a:cubicBezTo>
                  <a:cubicBezTo>
                    <a:pt x="501058" y="0"/>
                    <a:pt x="529400" y="28381"/>
                    <a:pt x="530225" y="64202"/>
                  </a:cubicBezTo>
                  <a:cubicBezTo>
                    <a:pt x="530225" y="64202"/>
                    <a:pt x="530225" y="64202"/>
                    <a:pt x="530225" y="439217"/>
                  </a:cubicBezTo>
                  <a:cubicBezTo>
                    <a:pt x="529400" y="487162"/>
                    <a:pt x="491153" y="525462"/>
                    <a:pt x="443276" y="525462"/>
                  </a:cubicBezTo>
                  <a:cubicBezTo>
                    <a:pt x="443276" y="525462"/>
                    <a:pt x="443276" y="525462"/>
                    <a:pt x="439699" y="525462"/>
                  </a:cubicBezTo>
                  <a:cubicBezTo>
                    <a:pt x="439699" y="525462"/>
                    <a:pt x="439699" y="525462"/>
                    <a:pt x="439148" y="525462"/>
                  </a:cubicBezTo>
                  <a:cubicBezTo>
                    <a:pt x="439148" y="525462"/>
                    <a:pt x="439148" y="525462"/>
                    <a:pt x="83372" y="525462"/>
                  </a:cubicBezTo>
                  <a:cubicBezTo>
                    <a:pt x="82822" y="525462"/>
                    <a:pt x="81446" y="525462"/>
                    <a:pt x="80896" y="525462"/>
                  </a:cubicBezTo>
                  <a:cubicBezTo>
                    <a:pt x="34945" y="522707"/>
                    <a:pt x="0" y="484957"/>
                    <a:pt x="0" y="439217"/>
                  </a:cubicBezTo>
                  <a:cubicBezTo>
                    <a:pt x="0" y="406703"/>
                    <a:pt x="26140" y="379975"/>
                    <a:pt x="59158" y="379975"/>
                  </a:cubicBezTo>
                  <a:cubicBezTo>
                    <a:pt x="59158" y="379975"/>
                    <a:pt x="59158" y="379975"/>
                    <a:pt x="90251" y="379975"/>
                  </a:cubicBezTo>
                  <a:cubicBezTo>
                    <a:pt x="90251" y="379975"/>
                    <a:pt x="90251" y="379975"/>
                    <a:pt x="93003" y="63375"/>
                  </a:cubicBezTo>
                  <a:cubicBezTo>
                    <a:pt x="93553" y="28381"/>
                    <a:pt x="121894" y="0"/>
                    <a:pt x="1568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0" name="Freeform 23">
              <a:extLst>
                <a:ext uri="{FF2B5EF4-FFF2-40B4-BE49-F238E27FC236}">
                  <a16:creationId xmlns:a16="http://schemas.microsoft.com/office/drawing/2014/main" id="{BFB67189-877A-481F-9BEC-BE98BDDCCC21}"/>
                </a:ext>
              </a:extLst>
            </p:cNvPr>
            <p:cNvSpPr>
              <a:spLocks/>
            </p:cNvSpPr>
            <p:nvPr/>
          </p:nvSpPr>
          <p:spPr bwMode="auto">
            <a:xfrm>
              <a:off x="8680451" y="2171700"/>
              <a:ext cx="138113" cy="19050"/>
            </a:xfrm>
            <a:custGeom>
              <a:avLst/>
              <a:gdLst>
                <a:gd name="T0" fmla="*/ 37 w 502"/>
                <a:gd name="T1" fmla="*/ 73 h 73"/>
                <a:gd name="T2" fmla="*/ 465 w 502"/>
                <a:gd name="T3" fmla="*/ 73 h 73"/>
                <a:gd name="T4" fmla="*/ 502 w 502"/>
                <a:gd name="T5" fmla="*/ 36 h 73"/>
                <a:gd name="T6" fmla="*/ 465 w 502"/>
                <a:gd name="T7" fmla="*/ 0 h 73"/>
                <a:gd name="T8" fmla="*/ 37 w 502"/>
                <a:gd name="T9" fmla="*/ 0 h 73"/>
                <a:gd name="T10" fmla="*/ 0 w 502"/>
                <a:gd name="T11" fmla="*/ 36 h 73"/>
                <a:gd name="T12" fmla="*/ 37 w 502"/>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502" h="73">
                  <a:moveTo>
                    <a:pt x="37" y="73"/>
                  </a:moveTo>
                  <a:cubicBezTo>
                    <a:pt x="465" y="73"/>
                    <a:pt x="465" y="73"/>
                    <a:pt x="465" y="73"/>
                  </a:cubicBezTo>
                  <a:cubicBezTo>
                    <a:pt x="485" y="73"/>
                    <a:pt x="502" y="56"/>
                    <a:pt x="502" y="36"/>
                  </a:cubicBezTo>
                  <a:cubicBezTo>
                    <a:pt x="502" y="17"/>
                    <a:pt x="485" y="0"/>
                    <a:pt x="465" y="0"/>
                  </a:cubicBezTo>
                  <a:cubicBezTo>
                    <a:pt x="37" y="0"/>
                    <a:pt x="37" y="0"/>
                    <a:pt x="37" y="0"/>
                  </a:cubicBezTo>
                  <a:cubicBezTo>
                    <a:pt x="17" y="0"/>
                    <a:pt x="0" y="17"/>
                    <a:pt x="0" y="36"/>
                  </a:cubicBezTo>
                  <a:cubicBezTo>
                    <a:pt x="0" y="56"/>
                    <a:pt x="15" y="73"/>
                    <a:pt x="37"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1" name="Freeform 24">
              <a:extLst>
                <a:ext uri="{FF2B5EF4-FFF2-40B4-BE49-F238E27FC236}">
                  <a16:creationId xmlns:a16="http://schemas.microsoft.com/office/drawing/2014/main" id="{25886E75-79CB-4793-A14E-936CAECF31C7}"/>
                </a:ext>
              </a:extLst>
            </p:cNvPr>
            <p:cNvSpPr>
              <a:spLocks/>
            </p:cNvSpPr>
            <p:nvPr/>
          </p:nvSpPr>
          <p:spPr bwMode="auto">
            <a:xfrm>
              <a:off x="8680451" y="2259013"/>
              <a:ext cx="260350" cy="20637"/>
            </a:xfrm>
            <a:custGeom>
              <a:avLst/>
              <a:gdLst>
                <a:gd name="T0" fmla="*/ 906 w 943"/>
                <a:gd name="T1" fmla="*/ 0 h 73"/>
                <a:gd name="T2" fmla="*/ 37 w 943"/>
                <a:gd name="T3" fmla="*/ 0 h 73"/>
                <a:gd name="T4" fmla="*/ 0 w 943"/>
                <a:gd name="T5" fmla="*/ 37 h 73"/>
                <a:gd name="T6" fmla="*/ 37 w 943"/>
                <a:gd name="T7" fmla="*/ 73 h 73"/>
                <a:gd name="T8" fmla="*/ 906 w 943"/>
                <a:gd name="T9" fmla="*/ 73 h 73"/>
                <a:gd name="T10" fmla="*/ 943 w 943"/>
                <a:gd name="T11" fmla="*/ 37 h 73"/>
                <a:gd name="T12" fmla="*/ 906 w 943"/>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943" h="73">
                  <a:moveTo>
                    <a:pt x="906" y="0"/>
                  </a:moveTo>
                  <a:cubicBezTo>
                    <a:pt x="37" y="0"/>
                    <a:pt x="37" y="0"/>
                    <a:pt x="37" y="0"/>
                  </a:cubicBezTo>
                  <a:cubicBezTo>
                    <a:pt x="17" y="0"/>
                    <a:pt x="0" y="17"/>
                    <a:pt x="0" y="37"/>
                  </a:cubicBezTo>
                  <a:cubicBezTo>
                    <a:pt x="0" y="56"/>
                    <a:pt x="17" y="73"/>
                    <a:pt x="37" y="73"/>
                  </a:cubicBezTo>
                  <a:cubicBezTo>
                    <a:pt x="906" y="73"/>
                    <a:pt x="906" y="73"/>
                    <a:pt x="906" y="73"/>
                  </a:cubicBezTo>
                  <a:cubicBezTo>
                    <a:pt x="926" y="73"/>
                    <a:pt x="943" y="56"/>
                    <a:pt x="943" y="37"/>
                  </a:cubicBezTo>
                  <a:cubicBezTo>
                    <a:pt x="943" y="17"/>
                    <a:pt x="926" y="0"/>
                    <a:pt x="90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2" name="Freeform 25">
              <a:extLst>
                <a:ext uri="{FF2B5EF4-FFF2-40B4-BE49-F238E27FC236}">
                  <a16:creationId xmlns:a16="http://schemas.microsoft.com/office/drawing/2014/main" id="{6B1CCF58-1ED4-4D7B-9504-90459FFD9D94}"/>
                </a:ext>
              </a:extLst>
            </p:cNvPr>
            <p:cNvSpPr>
              <a:spLocks/>
            </p:cNvSpPr>
            <p:nvPr/>
          </p:nvSpPr>
          <p:spPr bwMode="auto">
            <a:xfrm>
              <a:off x="8680451" y="2346325"/>
              <a:ext cx="260350" cy="20637"/>
            </a:xfrm>
            <a:custGeom>
              <a:avLst/>
              <a:gdLst>
                <a:gd name="T0" fmla="*/ 906 w 943"/>
                <a:gd name="T1" fmla="*/ 0 h 74"/>
                <a:gd name="T2" fmla="*/ 37 w 943"/>
                <a:gd name="T3" fmla="*/ 0 h 74"/>
                <a:gd name="T4" fmla="*/ 0 w 943"/>
                <a:gd name="T5" fmla="*/ 37 h 74"/>
                <a:gd name="T6" fmla="*/ 37 w 943"/>
                <a:gd name="T7" fmla="*/ 74 h 74"/>
                <a:gd name="T8" fmla="*/ 906 w 943"/>
                <a:gd name="T9" fmla="*/ 74 h 74"/>
                <a:gd name="T10" fmla="*/ 943 w 943"/>
                <a:gd name="T11" fmla="*/ 37 h 74"/>
                <a:gd name="T12" fmla="*/ 906 w 943"/>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943" h="74">
                  <a:moveTo>
                    <a:pt x="906" y="0"/>
                  </a:moveTo>
                  <a:cubicBezTo>
                    <a:pt x="37" y="0"/>
                    <a:pt x="37" y="0"/>
                    <a:pt x="37" y="0"/>
                  </a:cubicBezTo>
                  <a:cubicBezTo>
                    <a:pt x="17" y="0"/>
                    <a:pt x="0" y="17"/>
                    <a:pt x="0" y="37"/>
                  </a:cubicBezTo>
                  <a:cubicBezTo>
                    <a:pt x="0" y="56"/>
                    <a:pt x="17" y="74"/>
                    <a:pt x="37" y="74"/>
                  </a:cubicBezTo>
                  <a:cubicBezTo>
                    <a:pt x="906" y="74"/>
                    <a:pt x="906" y="74"/>
                    <a:pt x="906" y="74"/>
                  </a:cubicBezTo>
                  <a:cubicBezTo>
                    <a:pt x="926" y="74"/>
                    <a:pt x="943" y="56"/>
                    <a:pt x="943" y="37"/>
                  </a:cubicBezTo>
                  <a:cubicBezTo>
                    <a:pt x="943" y="17"/>
                    <a:pt x="926" y="0"/>
                    <a:pt x="90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42" name="Group 241">
            <a:extLst>
              <a:ext uri="{FF2B5EF4-FFF2-40B4-BE49-F238E27FC236}">
                <a16:creationId xmlns:a16="http://schemas.microsoft.com/office/drawing/2014/main" id="{B2CA96D9-7D36-4963-9CDE-CA68625E1DB7}"/>
              </a:ext>
            </a:extLst>
          </p:cNvPr>
          <p:cNvGrpSpPr/>
          <p:nvPr/>
        </p:nvGrpSpPr>
        <p:grpSpPr>
          <a:xfrm>
            <a:off x="5442427" y="1574824"/>
            <a:ext cx="326665" cy="334764"/>
            <a:chOff x="4398963" y="1860550"/>
            <a:chExt cx="768350" cy="787400"/>
          </a:xfrm>
          <a:solidFill>
            <a:srgbClr val="002050"/>
          </a:solidFill>
        </p:grpSpPr>
        <p:sp>
          <p:nvSpPr>
            <p:cNvPr id="238" name="Freeform: Shape 237">
              <a:extLst>
                <a:ext uri="{FF2B5EF4-FFF2-40B4-BE49-F238E27FC236}">
                  <a16:creationId xmlns:a16="http://schemas.microsoft.com/office/drawing/2014/main" id="{670FCB70-BDBF-437A-88F8-87EC6A73A2FC}"/>
                </a:ext>
              </a:extLst>
            </p:cNvPr>
            <p:cNvSpPr>
              <a:spLocks/>
            </p:cNvSpPr>
            <p:nvPr/>
          </p:nvSpPr>
          <p:spPr bwMode="auto">
            <a:xfrm>
              <a:off x="4398963" y="1860550"/>
              <a:ext cx="768350" cy="787400"/>
            </a:xfrm>
            <a:custGeom>
              <a:avLst/>
              <a:gdLst>
                <a:gd name="connsiteX0" fmla="*/ 468313 w 768350"/>
                <a:gd name="connsiteY0" fmla="*/ 349250 h 787400"/>
                <a:gd name="connsiteX1" fmla="*/ 303213 w 768350"/>
                <a:gd name="connsiteY1" fmla="*/ 431800 h 787400"/>
                <a:gd name="connsiteX2" fmla="*/ 303213 w 768350"/>
                <a:gd name="connsiteY2" fmla="*/ 350838 h 787400"/>
                <a:gd name="connsiteX3" fmla="*/ 150813 w 768350"/>
                <a:gd name="connsiteY3" fmla="*/ 434975 h 787400"/>
                <a:gd name="connsiteX4" fmla="*/ 150813 w 768350"/>
                <a:gd name="connsiteY4" fmla="*/ 350838 h 787400"/>
                <a:gd name="connsiteX5" fmla="*/ 33338 w 768350"/>
                <a:gd name="connsiteY5" fmla="*/ 415925 h 787400"/>
                <a:gd name="connsiteX6" fmla="*/ 33338 w 768350"/>
                <a:gd name="connsiteY6" fmla="*/ 754063 h 787400"/>
                <a:gd name="connsiteX7" fmla="*/ 735013 w 768350"/>
                <a:gd name="connsiteY7" fmla="*/ 754063 h 787400"/>
                <a:gd name="connsiteX8" fmla="*/ 735013 w 768350"/>
                <a:gd name="connsiteY8" fmla="*/ 422275 h 787400"/>
                <a:gd name="connsiteX9" fmla="*/ 468313 w 768350"/>
                <a:gd name="connsiteY9" fmla="*/ 422275 h 787400"/>
                <a:gd name="connsiteX10" fmla="*/ 568325 w 768350"/>
                <a:gd name="connsiteY10" fmla="*/ 190500 h 787400"/>
                <a:gd name="connsiteX11" fmla="*/ 542925 w 768350"/>
                <a:gd name="connsiteY11" fmla="*/ 388938 h 787400"/>
                <a:gd name="connsiteX12" fmla="*/ 701675 w 768350"/>
                <a:gd name="connsiteY12" fmla="*/ 388938 h 787400"/>
                <a:gd name="connsiteX13" fmla="*/ 674688 w 768350"/>
                <a:gd name="connsiteY13" fmla="*/ 190500 h 787400"/>
                <a:gd name="connsiteX14" fmla="*/ 577850 w 768350"/>
                <a:gd name="connsiteY14" fmla="*/ 115888 h 787400"/>
                <a:gd name="connsiteX15" fmla="*/ 571500 w 768350"/>
                <a:gd name="connsiteY15" fmla="*/ 157163 h 787400"/>
                <a:gd name="connsiteX16" fmla="*/ 671513 w 768350"/>
                <a:gd name="connsiteY16" fmla="*/ 157163 h 787400"/>
                <a:gd name="connsiteX17" fmla="*/ 665163 w 768350"/>
                <a:gd name="connsiteY17" fmla="*/ 115888 h 787400"/>
                <a:gd name="connsiteX18" fmla="*/ 588963 w 768350"/>
                <a:gd name="connsiteY18" fmla="*/ 33338 h 787400"/>
                <a:gd name="connsiteX19" fmla="*/ 581025 w 768350"/>
                <a:gd name="connsiteY19" fmla="*/ 82551 h 787400"/>
                <a:gd name="connsiteX20" fmla="*/ 661988 w 768350"/>
                <a:gd name="connsiteY20" fmla="*/ 82551 h 787400"/>
                <a:gd name="connsiteX21" fmla="*/ 654051 w 768350"/>
                <a:gd name="connsiteY21" fmla="*/ 33338 h 787400"/>
                <a:gd name="connsiteX22" fmla="*/ 558800 w 768350"/>
                <a:gd name="connsiteY22" fmla="*/ 0 h 787400"/>
                <a:gd name="connsiteX23" fmla="*/ 684213 w 768350"/>
                <a:gd name="connsiteY23" fmla="*/ 0 h 787400"/>
                <a:gd name="connsiteX24" fmla="*/ 735013 w 768350"/>
                <a:gd name="connsiteY24" fmla="*/ 388938 h 787400"/>
                <a:gd name="connsiteX25" fmla="*/ 768350 w 768350"/>
                <a:gd name="connsiteY25" fmla="*/ 388938 h 787400"/>
                <a:gd name="connsiteX26" fmla="*/ 768350 w 768350"/>
                <a:gd name="connsiteY26" fmla="*/ 787400 h 787400"/>
                <a:gd name="connsiteX27" fmla="*/ 0 w 768350"/>
                <a:gd name="connsiteY27" fmla="*/ 787400 h 787400"/>
                <a:gd name="connsiteX28" fmla="*/ 0 w 768350"/>
                <a:gd name="connsiteY28" fmla="*/ 396875 h 787400"/>
                <a:gd name="connsiteX29" fmla="*/ 184150 w 768350"/>
                <a:gd name="connsiteY29" fmla="*/ 293688 h 787400"/>
                <a:gd name="connsiteX30" fmla="*/ 184150 w 768350"/>
                <a:gd name="connsiteY30" fmla="*/ 377825 h 787400"/>
                <a:gd name="connsiteX31" fmla="*/ 336550 w 768350"/>
                <a:gd name="connsiteY31" fmla="*/ 293688 h 787400"/>
                <a:gd name="connsiteX32" fmla="*/ 336550 w 768350"/>
                <a:gd name="connsiteY32" fmla="*/ 377825 h 787400"/>
                <a:gd name="connsiteX33" fmla="*/ 503238 w 768350"/>
                <a:gd name="connsiteY33" fmla="*/ 295275 h 787400"/>
                <a:gd name="connsiteX34" fmla="*/ 503238 w 768350"/>
                <a:gd name="connsiteY34" fmla="*/ 388938 h 787400"/>
                <a:gd name="connsiteX35" fmla="*/ 509588 w 768350"/>
                <a:gd name="connsiteY35" fmla="*/ 388938 h 78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68350" h="787400">
                  <a:moveTo>
                    <a:pt x="468313" y="349250"/>
                  </a:moveTo>
                  <a:lnTo>
                    <a:pt x="303213" y="431800"/>
                  </a:lnTo>
                  <a:lnTo>
                    <a:pt x="303213" y="350838"/>
                  </a:lnTo>
                  <a:lnTo>
                    <a:pt x="150813" y="434975"/>
                  </a:lnTo>
                  <a:lnTo>
                    <a:pt x="150813" y="350838"/>
                  </a:lnTo>
                  <a:lnTo>
                    <a:pt x="33338" y="415925"/>
                  </a:lnTo>
                  <a:lnTo>
                    <a:pt x="33338" y="754063"/>
                  </a:lnTo>
                  <a:lnTo>
                    <a:pt x="735013" y="754063"/>
                  </a:lnTo>
                  <a:lnTo>
                    <a:pt x="735013" y="422275"/>
                  </a:lnTo>
                  <a:lnTo>
                    <a:pt x="468313" y="422275"/>
                  </a:lnTo>
                  <a:close/>
                  <a:moveTo>
                    <a:pt x="568325" y="190500"/>
                  </a:moveTo>
                  <a:lnTo>
                    <a:pt x="542925" y="388938"/>
                  </a:lnTo>
                  <a:lnTo>
                    <a:pt x="701675" y="388938"/>
                  </a:lnTo>
                  <a:lnTo>
                    <a:pt x="674688" y="190500"/>
                  </a:lnTo>
                  <a:close/>
                  <a:moveTo>
                    <a:pt x="577850" y="115888"/>
                  </a:moveTo>
                  <a:lnTo>
                    <a:pt x="571500" y="157163"/>
                  </a:lnTo>
                  <a:lnTo>
                    <a:pt x="671513" y="157163"/>
                  </a:lnTo>
                  <a:lnTo>
                    <a:pt x="665163" y="115888"/>
                  </a:lnTo>
                  <a:close/>
                  <a:moveTo>
                    <a:pt x="588963" y="33338"/>
                  </a:moveTo>
                  <a:lnTo>
                    <a:pt x="581025" y="82551"/>
                  </a:lnTo>
                  <a:lnTo>
                    <a:pt x="661988" y="82551"/>
                  </a:lnTo>
                  <a:lnTo>
                    <a:pt x="654051" y="33338"/>
                  </a:lnTo>
                  <a:close/>
                  <a:moveTo>
                    <a:pt x="558800" y="0"/>
                  </a:moveTo>
                  <a:lnTo>
                    <a:pt x="684213" y="0"/>
                  </a:lnTo>
                  <a:lnTo>
                    <a:pt x="735013" y="388938"/>
                  </a:lnTo>
                  <a:lnTo>
                    <a:pt x="768350" y="388938"/>
                  </a:lnTo>
                  <a:lnTo>
                    <a:pt x="768350" y="787400"/>
                  </a:lnTo>
                  <a:lnTo>
                    <a:pt x="0" y="787400"/>
                  </a:lnTo>
                  <a:lnTo>
                    <a:pt x="0" y="396875"/>
                  </a:lnTo>
                  <a:lnTo>
                    <a:pt x="184150" y="293688"/>
                  </a:lnTo>
                  <a:lnTo>
                    <a:pt x="184150" y="377825"/>
                  </a:lnTo>
                  <a:lnTo>
                    <a:pt x="336550" y="293688"/>
                  </a:lnTo>
                  <a:lnTo>
                    <a:pt x="336550" y="377825"/>
                  </a:lnTo>
                  <a:lnTo>
                    <a:pt x="503238" y="295275"/>
                  </a:lnTo>
                  <a:lnTo>
                    <a:pt x="503238" y="388938"/>
                  </a:lnTo>
                  <a:lnTo>
                    <a:pt x="509588" y="3889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9" name="Freeform: Shape 238">
              <a:extLst>
                <a:ext uri="{FF2B5EF4-FFF2-40B4-BE49-F238E27FC236}">
                  <a16:creationId xmlns:a16="http://schemas.microsoft.com/office/drawing/2014/main" id="{7D5FED30-61F8-44A8-A4BF-D5A07E8A3E05}"/>
                </a:ext>
              </a:extLst>
            </p:cNvPr>
            <p:cNvSpPr>
              <a:spLocks noChangeArrowheads="1"/>
            </p:cNvSpPr>
            <p:nvPr/>
          </p:nvSpPr>
          <p:spPr bwMode="auto">
            <a:xfrm>
              <a:off x="4491038" y="2403475"/>
              <a:ext cx="150813" cy="133350"/>
            </a:xfrm>
            <a:custGeom>
              <a:avLst/>
              <a:gdLst>
                <a:gd name="connsiteX0" fmla="*/ 33338 w 150813"/>
                <a:gd name="connsiteY0" fmla="*/ 33338 h 133350"/>
                <a:gd name="connsiteX1" fmla="*/ 33338 w 150813"/>
                <a:gd name="connsiteY1" fmla="*/ 100013 h 133350"/>
                <a:gd name="connsiteX2" fmla="*/ 115888 w 150813"/>
                <a:gd name="connsiteY2" fmla="*/ 100013 h 133350"/>
                <a:gd name="connsiteX3" fmla="*/ 115888 w 150813"/>
                <a:gd name="connsiteY3" fmla="*/ 33338 h 133350"/>
                <a:gd name="connsiteX4" fmla="*/ 0 w 150813"/>
                <a:gd name="connsiteY4" fmla="*/ 0 h 133350"/>
                <a:gd name="connsiteX5" fmla="*/ 150813 w 150813"/>
                <a:gd name="connsiteY5" fmla="*/ 0 h 133350"/>
                <a:gd name="connsiteX6" fmla="*/ 150813 w 150813"/>
                <a:gd name="connsiteY6" fmla="*/ 133350 h 133350"/>
                <a:gd name="connsiteX7" fmla="*/ 0 w 150813"/>
                <a:gd name="connsiteY7" fmla="*/ 13335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813" h="133350">
                  <a:moveTo>
                    <a:pt x="33338" y="33338"/>
                  </a:moveTo>
                  <a:lnTo>
                    <a:pt x="33338" y="100013"/>
                  </a:lnTo>
                  <a:lnTo>
                    <a:pt x="115888" y="100013"/>
                  </a:lnTo>
                  <a:lnTo>
                    <a:pt x="115888" y="33338"/>
                  </a:lnTo>
                  <a:close/>
                  <a:moveTo>
                    <a:pt x="0" y="0"/>
                  </a:moveTo>
                  <a:lnTo>
                    <a:pt x="150813" y="0"/>
                  </a:lnTo>
                  <a:lnTo>
                    <a:pt x="150813" y="133350"/>
                  </a:lnTo>
                  <a:lnTo>
                    <a:pt x="0" y="133350"/>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0" name="Freeform: Shape 239">
              <a:extLst>
                <a:ext uri="{FF2B5EF4-FFF2-40B4-BE49-F238E27FC236}">
                  <a16:creationId xmlns:a16="http://schemas.microsoft.com/office/drawing/2014/main" id="{767A578F-7210-4663-9A52-0EC3FD7D6D05}"/>
                </a:ext>
              </a:extLst>
            </p:cNvPr>
            <p:cNvSpPr>
              <a:spLocks noChangeArrowheads="1"/>
            </p:cNvSpPr>
            <p:nvPr/>
          </p:nvSpPr>
          <p:spPr bwMode="auto">
            <a:xfrm>
              <a:off x="4708526" y="2403475"/>
              <a:ext cx="149225" cy="133350"/>
            </a:xfrm>
            <a:custGeom>
              <a:avLst/>
              <a:gdLst>
                <a:gd name="connsiteX0" fmla="*/ 33337 w 149225"/>
                <a:gd name="connsiteY0" fmla="*/ 33338 h 133350"/>
                <a:gd name="connsiteX1" fmla="*/ 33337 w 149225"/>
                <a:gd name="connsiteY1" fmla="*/ 100013 h 133350"/>
                <a:gd name="connsiteX2" fmla="*/ 115887 w 149225"/>
                <a:gd name="connsiteY2" fmla="*/ 100013 h 133350"/>
                <a:gd name="connsiteX3" fmla="*/ 115887 w 149225"/>
                <a:gd name="connsiteY3" fmla="*/ 33338 h 133350"/>
                <a:gd name="connsiteX4" fmla="*/ 0 w 149225"/>
                <a:gd name="connsiteY4" fmla="*/ 0 h 133350"/>
                <a:gd name="connsiteX5" fmla="*/ 149225 w 149225"/>
                <a:gd name="connsiteY5" fmla="*/ 0 h 133350"/>
                <a:gd name="connsiteX6" fmla="*/ 149225 w 149225"/>
                <a:gd name="connsiteY6" fmla="*/ 133350 h 133350"/>
                <a:gd name="connsiteX7" fmla="*/ 0 w 149225"/>
                <a:gd name="connsiteY7" fmla="*/ 13335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225" h="133350">
                  <a:moveTo>
                    <a:pt x="33337" y="33338"/>
                  </a:moveTo>
                  <a:lnTo>
                    <a:pt x="33337" y="100013"/>
                  </a:lnTo>
                  <a:lnTo>
                    <a:pt x="115887" y="100013"/>
                  </a:lnTo>
                  <a:lnTo>
                    <a:pt x="115887" y="33338"/>
                  </a:lnTo>
                  <a:close/>
                  <a:moveTo>
                    <a:pt x="0" y="0"/>
                  </a:moveTo>
                  <a:lnTo>
                    <a:pt x="149225" y="0"/>
                  </a:lnTo>
                  <a:lnTo>
                    <a:pt x="149225" y="133350"/>
                  </a:lnTo>
                  <a:lnTo>
                    <a:pt x="0" y="133350"/>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1" name="Freeform: Shape 240">
              <a:extLst>
                <a:ext uri="{FF2B5EF4-FFF2-40B4-BE49-F238E27FC236}">
                  <a16:creationId xmlns:a16="http://schemas.microsoft.com/office/drawing/2014/main" id="{E35F29A2-5779-4AB1-BE58-EFB83D0B2952}"/>
                </a:ext>
              </a:extLst>
            </p:cNvPr>
            <p:cNvSpPr>
              <a:spLocks noChangeArrowheads="1"/>
            </p:cNvSpPr>
            <p:nvPr/>
          </p:nvSpPr>
          <p:spPr bwMode="auto">
            <a:xfrm>
              <a:off x="4924426" y="2403475"/>
              <a:ext cx="150813" cy="133350"/>
            </a:xfrm>
            <a:custGeom>
              <a:avLst/>
              <a:gdLst>
                <a:gd name="connsiteX0" fmla="*/ 33337 w 150813"/>
                <a:gd name="connsiteY0" fmla="*/ 33338 h 133350"/>
                <a:gd name="connsiteX1" fmla="*/ 33337 w 150813"/>
                <a:gd name="connsiteY1" fmla="*/ 100013 h 133350"/>
                <a:gd name="connsiteX2" fmla="*/ 117475 w 150813"/>
                <a:gd name="connsiteY2" fmla="*/ 100013 h 133350"/>
                <a:gd name="connsiteX3" fmla="*/ 117475 w 150813"/>
                <a:gd name="connsiteY3" fmla="*/ 33338 h 133350"/>
                <a:gd name="connsiteX4" fmla="*/ 0 w 150813"/>
                <a:gd name="connsiteY4" fmla="*/ 0 h 133350"/>
                <a:gd name="connsiteX5" fmla="*/ 150813 w 150813"/>
                <a:gd name="connsiteY5" fmla="*/ 0 h 133350"/>
                <a:gd name="connsiteX6" fmla="*/ 150813 w 150813"/>
                <a:gd name="connsiteY6" fmla="*/ 133350 h 133350"/>
                <a:gd name="connsiteX7" fmla="*/ 0 w 150813"/>
                <a:gd name="connsiteY7" fmla="*/ 13335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813" h="133350">
                  <a:moveTo>
                    <a:pt x="33337" y="33338"/>
                  </a:moveTo>
                  <a:lnTo>
                    <a:pt x="33337" y="100013"/>
                  </a:lnTo>
                  <a:lnTo>
                    <a:pt x="117475" y="100013"/>
                  </a:lnTo>
                  <a:lnTo>
                    <a:pt x="117475" y="33338"/>
                  </a:lnTo>
                  <a:close/>
                  <a:moveTo>
                    <a:pt x="0" y="0"/>
                  </a:moveTo>
                  <a:lnTo>
                    <a:pt x="150813" y="0"/>
                  </a:lnTo>
                  <a:lnTo>
                    <a:pt x="150813" y="133350"/>
                  </a:lnTo>
                  <a:lnTo>
                    <a:pt x="0" y="133350"/>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61" name="Group 260">
            <a:extLst>
              <a:ext uri="{FF2B5EF4-FFF2-40B4-BE49-F238E27FC236}">
                <a16:creationId xmlns:a16="http://schemas.microsoft.com/office/drawing/2014/main" id="{1465747F-1378-4BD2-B48C-E7F64A5D7270}"/>
              </a:ext>
            </a:extLst>
          </p:cNvPr>
          <p:cNvGrpSpPr/>
          <p:nvPr/>
        </p:nvGrpSpPr>
        <p:grpSpPr>
          <a:xfrm>
            <a:off x="807193" y="1522288"/>
            <a:ext cx="526862" cy="473647"/>
            <a:chOff x="3844110" y="1974423"/>
            <a:chExt cx="562019" cy="505253"/>
          </a:xfrm>
          <a:solidFill>
            <a:srgbClr val="002050"/>
          </a:solidFill>
        </p:grpSpPr>
        <p:sp>
          <p:nvSpPr>
            <p:cNvPr id="246" name="Oval 43">
              <a:extLst>
                <a:ext uri="{FF2B5EF4-FFF2-40B4-BE49-F238E27FC236}">
                  <a16:creationId xmlns:a16="http://schemas.microsoft.com/office/drawing/2014/main" id="{3B912453-00E6-4223-B2D2-B2781E0FC424}"/>
                </a:ext>
              </a:extLst>
            </p:cNvPr>
            <p:cNvSpPr>
              <a:spLocks noChangeArrowheads="1"/>
            </p:cNvSpPr>
            <p:nvPr/>
          </p:nvSpPr>
          <p:spPr bwMode="auto">
            <a:xfrm>
              <a:off x="4025901" y="2200275"/>
              <a:ext cx="49213" cy="492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7" name="Oval 44">
              <a:extLst>
                <a:ext uri="{FF2B5EF4-FFF2-40B4-BE49-F238E27FC236}">
                  <a16:creationId xmlns:a16="http://schemas.microsoft.com/office/drawing/2014/main" id="{89860154-142B-4BE4-8586-382B876CFA75}"/>
                </a:ext>
              </a:extLst>
            </p:cNvPr>
            <p:cNvSpPr>
              <a:spLocks noChangeArrowheads="1"/>
            </p:cNvSpPr>
            <p:nvPr/>
          </p:nvSpPr>
          <p:spPr bwMode="auto">
            <a:xfrm>
              <a:off x="4179888" y="2200275"/>
              <a:ext cx="49213" cy="492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0" name="Freeform: Shape 259">
              <a:extLst>
                <a:ext uri="{FF2B5EF4-FFF2-40B4-BE49-F238E27FC236}">
                  <a16:creationId xmlns:a16="http://schemas.microsoft.com/office/drawing/2014/main" id="{9FCAE6F1-88A5-47E5-B30C-5C9E8398E7A3}"/>
                </a:ext>
              </a:extLst>
            </p:cNvPr>
            <p:cNvSpPr>
              <a:spLocks/>
            </p:cNvSpPr>
            <p:nvPr/>
          </p:nvSpPr>
          <p:spPr bwMode="auto">
            <a:xfrm>
              <a:off x="3844110" y="1974423"/>
              <a:ext cx="562019" cy="505253"/>
            </a:xfrm>
            <a:custGeom>
              <a:avLst/>
              <a:gdLst>
                <a:gd name="connsiteX0" fmla="*/ 154803 w 562019"/>
                <a:gd name="connsiteY0" fmla="*/ 365552 h 505253"/>
                <a:gd name="connsiteX1" fmla="*/ 283519 w 562019"/>
                <a:gd name="connsiteY1" fmla="*/ 478265 h 505253"/>
                <a:gd name="connsiteX2" fmla="*/ 411978 w 562019"/>
                <a:gd name="connsiteY2" fmla="*/ 365552 h 505253"/>
                <a:gd name="connsiteX3" fmla="*/ 154803 w 562019"/>
                <a:gd name="connsiteY3" fmla="*/ 365552 h 505253"/>
                <a:gd name="connsiteX4" fmla="*/ 487731 w 562019"/>
                <a:gd name="connsiteY4" fmla="*/ 163940 h 505253"/>
                <a:gd name="connsiteX5" fmla="*/ 440553 w 562019"/>
                <a:gd name="connsiteY5" fmla="*/ 189340 h 505253"/>
                <a:gd name="connsiteX6" fmla="*/ 487731 w 562019"/>
                <a:gd name="connsiteY6" fmla="*/ 214740 h 505253"/>
                <a:gd name="connsiteX7" fmla="*/ 531041 w 562019"/>
                <a:gd name="connsiteY7" fmla="*/ 189340 h 505253"/>
                <a:gd name="connsiteX8" fmla="*/ 487731 w 562019"/>
                <a:gd name="connsiteY8" fmla="*/ 163940 h 505253"/>
                <a:gd name="connsiteX9" fmla="*/ 72702 w 562019"/>
                <a:gd name="connsiteY9" fmla="*/ 163940 h 505253"/>
                <a:gd name="connsiteX10" fmla="*/ 29391 w 562019"/>
                <a:gd name="connsiteY10" fmla="*/ 189340 h 505253"/>
                <a:gd name="connsiteX11" fmla="*/ 72702 w 562019"/>
                <a:gd name="connsiteY11" fmla="*/ 214740 h 505253"/>
                <a:gd name="connsiteX12" fmla="*/ 119879 w 562019"/>
                <a:gd name="connsiteY12" fmla="*/ 189340 h 505253"/>
                <a:gd name="connsiteX13" fmla="*/ 72702 w 562019"/>
                <a:gd name="connsiteY13" fmla="*/ 163940 h 505253"/>
                <a:gd name="connsiteX14" fmla="*/ 132578 w 562019"/>
                <a:gd name="connsiteY14" fmla="*/ 159177 h 505253"/>
                <a:gd name="connsiteX15" fmla="*/ 133769 w 562019"/>
                <a:gd name="connsiteY15" fmla="*/ 160765 h 505253"/>
                <a:gd name="connsiteX16" fmla="*/ 134166 w 562019"/>
                <a:gd name="connsiteY16" fmla="*/ 159706 h 505253"/>
                <a:gd name="connsiteX17" fmla="*/ 132578 w 562019"/>
                <a:gd name="connsiteY17" fmla="*/ 159177 h 505253"/>
                <a:gd name="connsiteX18" fmla="*/ 282598 w 562019"/>
                <a:gd name="connsiteY18" fmla="*/ 75040 h 505253"/>
                <a:gd name="connsiteX19" fmla="*/ 153216 w 562019"/>
                <a:gd name="connsiteY19" fmla="*/ 205144 h 505253"/>
                <a:gd name="connsiteX20" fmla="*/ 153216 w 562019"/>
                <a:gd name="connsiteY20" fmla="*/ 340153 h 505253"/>
                <a:gd name="connsiteX21" fmla="*/ 411979 w 562019"/>
                <a:gd name="connsiteY21" fmla="*/ 340153 h 505253"/>
                <a:gd name="connsiteX22" fmla="*/ 411979 w 562019"/>
                <a:gd name="connsiteY22" fmla="*/ 205144 h 505253"/>
                <a:gd name="connsiteX23" fmla="*/ 282598 w 562019"/>
                <a:gd name="connsiteY23" fmla="*/ 75040 h 505253"/>
                <a:gd name="connsiteX24" fmla="*/ 478654 w 562019"/>
                <a:gd name="connsiteY24" fmla="*/ 52815 h 505253"/>
                <a:gd name="connsiteX25" fmla="*/ 397691 w 562019"/>
                <a:gd name="connsiteY25" fmla="*/ 99054 h 505253"/>
                <a:gd name="connsiteX26" fmla="*/ 422366 w 562019"/>
                <a:gd name="connsiteY26" fmla="*/ 135365 h 505253"/>
                <a:gd name="connsiteX27" fmla="*/ 478654 w 562019"/>
                <a:gd name="connsiteY27" fmla="*/ 52815 h 505253"/>
                <a:gd name="connsiteX28" fmla="*/ 86541 w 562019"/>
                <a:gd name="connsiteY28" fmla="*/ 52815 h 505253"/>
                <a:gd name="connsiteX29" fmla="*/ 142830 w 562019"/>
                <a:gd name="connsiteY29" fmla="*/ 135365 h 505253"/>
                <a:gd name="connsiteX30" fmla="*/ 167504 w 562019"/>
                <a:gd name="connsiteY30" fmla="*/ 99054 h 505253"/>
                <a:gd name="connsiteX31" fmla="*/ 86541 w 562019"/>
                <a:gd name="connsiteY31" fmla="*/ 52815 h 505253"/>
                <a:gd name="connsiteX32" fmla="*/ 67679 w 562019"/>
                <a:gd name="connsiteY32" fmla="*/ 652 h 505253"/>
                <a:gd name="connsiteX33" fmla="*/ 82347 w 562019"/>
                <a:gd name="connsiteY33" fmla="*/ 5572 h 505253"/>
                <a:gd name="connsiteX34" fmla="*/ 195317 w 562019"/>
                <a:gd name="connsiteY34" fmla="*/ 75216 h 505253"/>
                <a:gd name="connsiteX35" fmla="*/ 283583 w 562019"/>
                <a:gd name="connsiteY35" fmla="*/ 47514 h 505253"/>
                <a:gd name="connsiteX36" fmla="*/ 371592 w 562019"/>
                <a:gd name="connsiteY36" fmla="*/ 75216 h 505253"/>
                <a:gd name="connsiteX37" fmla="*/ 484561 w 562019"/>
                <a:gd name="connsiteY37" fmla="*/ 5572 h 505253"/>
                <a:gd name="connsiteX38" fmla="*/ 499230 w 562019"/>
                <a:gd name="connsiteY38" fmla="*/ 652 h 505253"/>
                <a:gd name="connsiteX39" fmla="*/ 508494 w 562019"/>
                <a:gd name="connsiteY39" fmla="*/ 13080 h 505253"/>
                <a:gd name="connsiteX40" fmla="*/ 466805 w 562019"/>
                <a:gd name="connsiteY40" fmla="*/ 139424 h 505253"/>
                <a:gd name="connsiteX41" fmla="*/ 488679 w 562019"/>
                <a:gd name="connsiteY41" fmla="*/ 137094 h 505253"/>
                <a:gd name="connsiteX42" fmla="*/ 559703 w 562019"/>
                <a:gd name="connsiteY42" fmla="*/ 181107 h 505253"/>
                <a:gd name="connsiteX43" fmla="*/ 559703 w 562019"/>
                <a:gd name="connsiteY43" fmla="*/ 196383 h 505253"/>
                <a:gd name="connsiteX44" fmla="*/ 488679 w 562019"/>
                <a:gd name="connsiteY44" fmla="*/ 240137 h 505253"/>
                <a:gd name="connsiteX45" fmla="*/ 439528 w 562019"/>
                <a:gd name="connsiteY45" fmla="*/ 226933 h 505253"/>
                <a:gd name="connsiteX46" fmla="*/ 439528 w 562019"/>
                <a:gd name="connsiteY46" fmla="*/ 348358 h 505253"/>
                <a:gd name="connsiteX47" fmla="*/ 283583 w 562019"/>
                <a:gd name="connsiteY47" fmla="*/ 505253 h 505253"/>
                <a:gd name="connsiteX48" fmla="*/ 127638 w 562019"/>
                <a:gd name="connsiteY48" fmla="*/ 348358 h 505253"/>
                <a:gd name="connsiteX49" fmla="*/ 127638 w 562019"/>
                <a:gd name="connsiteY49" fmla="*/ 223567 h 505253"/>
                <a:gd name="connsiteX50" fmla="*/ 73341 w 562019"/>
                <a:gd name="connsiteY50" fmla="*/ 240137 h 505253"/>
                <a:gd name="connsiteX51" fmla="*/ 2316 w 562019"/>
                <a:gd name="connsiteY51" fmla="*/ 196383 h 505253"/>
                <a:gd name="connsiteX52" fmla="*/ 2316 w 562019"/>
                <a:gd name="connsiteY52" fmla="*/ 181107 h 505253"/>
                <a:gd name="connsiteX53" fmla="*/ 73341 w 562019"/>
                <a:gd name="connsiteY53" fmla="*/ 137094 h 505253"/>
                <a:gd name="connsiteX54" fmla="*/ 102162 w 562019"/>
                <a:gd name="connsiteY54" fmla="*/ 141236 h 505253"/>
                <a:gd name="connsiteX55" fmla="*/ 58672 w 562019"/>
                <a:gd name="connsiteY55" fmla="*/ 13080 h 505253"/>
                <a:gd name="connsiteX56" fmla="*/ 67679 w 562019"/>
                <a:gd name="connsiteY56" fmla="*/ 652 h 50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62019" h="505253">
                  <a:moveTo>
                    <a:pt x="154803" y="365552"/>
                  </a:moveTo>
                  <a:cubicBezTo>
                    <a:pt x="163556" y="429034"/>
                    <a:pt x="217874" y="478265"/>
                    <a:pt x="283519" y="478265"/>
                  </a:cubicBezTo>
                  <a:cubicBezTo>
                    <a:pt x="348907" y="478265"/>
                    <a:pt x="403226" y="429034"/>
                    <a:pt x="411978" y="365552"/>
                  </a:cubicBezTo>
                  <a:cubicBezTo>
                    <a:pt x="411978" y="365552"/>
                    <a:pt x="411978" y="365552"/>
                    <a:pt x="154803" y="365552"/>
                  </a:cubicBezTo>
                  <a:close/>
                  <a:moveTo>
                    <a:pt x="487731" y="163940"/>
                  </a:moveTo>
                  <a:cubicBezTo>
                    <a:pt x="460662" y="163940"/>
                    <a:pt x="440553" y="177295"/>
                    <a:pt x="440553" y="189340"/>
                  </a:cubicBezTo>
                  <a:cubicBezTo>
                    <a:pt x="440553" y="201385"/>
                    <a:pt x="460662" y="214740"/>
                    <a:pt x="487731" y="214740"/>
                  </a:cubicBezTo>
                  <a:cubicBezTo>
                    <a:pt x="505519" y="214740"/>
                    <a:pt x="522276" y="199029"/>
                    <a:pt x="531041" y="189340"/>
                  </a:cubicBezTo>
                  <a:cubicBezTo>
                    <a:pt x="521503" y="178604"/>
                    <a:pt x="504746" y="163940"/>
                    <a:pt x="487731" y="163940"/>
                  </a:cubicBezTo>
                  <a:close/>
                  <a:moveTo>
                    <a:pt x="72702" y="163940"/>
                  </a:moveTo>
                  <a:cubicBezTo>
                    <a:pt x="55687" y="163940"/>
                    <a:pt x="38930" y="178604"/>
                    <a:pt x="29391" y="189340"/>
                  </a:cubicBezTo>
                  <a:cubicBezTo>
                    <a:pt x="38930" y="200076"/>
                    <a:pt x="55687" y="214740"/>
                    <a:pt x="72702" y="214740"/>
                  </a:cubicBezTo>
                  <a:cubicBezTo>
                    <a:pt x="99771" y="214740"/>
                    <a:pt x="119879" y="201385"/>
                    <a:pt x="119879" y="189340"/>
                  </a:cubicBezTo>
                  <a:cubicBezTo>
                    <a:pt x="119879" y="177295"/>
                    <a:pt x="99771" y="163940"/>
                    <a:pt x="72702" y="163940"/>
                  </a:cubicBezTo>
                  <a:close/>
                  <a:moveTo>
                    <a:pt x="132578" y="159177"/>
                  </a:moveTo>
                  <a:cubicBezTo>
                    <a:pt x="132975" y="159706"/>
                    <a:pt x="133372" y="160236"/>
                    <a:pt x="133769" y="160765"/>
                  </a:cubicBezTo>
                  <a:cubicBezTo>
                    <a:pt x="133769" y="160236"/>
                    <a:pt x="133769" y="160236"/>
                    <a:pt x="134166" y="159706"/>
                  </a:cubicBezTo>
                  <a:cubicBezTo>
                    <a:pt x="133769" y="159706"/>
                    <a:pt x="133372" y="159706"/>
                    <a:pt x="132578" y="159177"/>
                  </a:cubicBezTo>
                  <a:close/>
                  <a:moveTo>
                    <a:pt x="282598" y="75040"/>
                  </a:moveTo>
                  <a:cubicBezTo>
                    <a:pt x="211232" y="75040"/>
                    <a:pt x="153216" y="133639"/>
                    <a:pt x="153216" y="205144"/>
                  </a:cubicBezTo>
                  <a:cubicBezTo>
                    <a:pt x="153216" y="205144"/>
                    <a:pt x="153216" y="205144"/>
                    <a:pt x="153216" y="340153"/>
                  </a:cubicBezTo>
                  <a:cubicBezTo>
                    <a:pt x="153216" y="340153"/>
                    <a:pt x="153216" y="340153"/>
                    <a:pt x="411979" y="340153"/>
                  </a:cubicBezTo>
                  <a:cubicBezTo>
                    <a:pt x="411979" y="340153"/>
                    <a:pt x="411979" y="340153"/>
                    <a:pt x="411979" y="205144"/>
                  </a:cubicBezTo>
                  <a:cubicBezTo>
                    <a:pt x="411979" y="133639"/>
                    <a:pt x="353963" y="75040"/>
                    <a:pt x="282598" y="75040"/>
                  </a:cubicBezTo>
                  <a:close/>
                  <a:moveTo>
                    <a:pt x="478654" y="52815"/>
                  </a:moveTo>
                  <a:cubicBezTo>
                    <a:pt x="449096" y="82073"/>
                    <a:pt x="418767" y="94090"/>
                    <a:pt x="397691" y="99054"/>
                  </a:cubicBezTo>
                  <a:cubicBezTo>
                    <a:pt x="407458" y="109764"/>
                    <a:pt x="415683" y="122042"/>
                    <a:pt x="422366" y="135365"/>
                  </a:cubicBezTo>
                  <a:cubicBezTo>
                    <a:pt x="451924" y="127789"/>
                    <a:pt x="471715" y="98531"/>
                    <a:pt x="478654" y="52815"/>
                  </a:cubicBezTo>
                  <a:close/>
                  <a:moveTo>
                    <a:pt x="86541" y="52815"/>
                  </a:moveTo>
                  <a:cubicBezTo>
                    <a:pt x="93481" y="98531"/>
                    <a:pt x="113272" y="127789"/>
                    <a:pt x="142830" y="135365"/>
                  </a:cubicBezTo>
                  <a:cubicBezTo>
                    <a:pt x="149255" y="122042"/>
                    <a:pt x="157737" y="109764"/>
                    <a:pt x="167504" y="99054"/>
                  </a:cubicBezTo>
                  <a:cubicBezTo>
                    <a:pt x="146171" y="94090"/>
                    <a:pt x="116099" y="82073"/>
                    <a:pt x="86541" y="52815"/>
                  </a:cubicBezTo>
                  <a:close/>
                  <a:moveTo>
                    <a:pt x="67679" y="652"/>
                  </a:moveTo>
                  <a:cubicBezTo>
                    <a:pt x="73341" y="-1160"/>
                    <a:pt x="79259" y="911"/>
                    <a:pt x="82347" y="5572"/>
                  </a:cubicBezTo>
                  <a:cubicBezTo>
                    <a:pt x="130726" y="75216"/>
                    <a:pt x="189913" y="75475"/>
                    <a:pt x="195317" y="75216"/>
                  </a:cubicBezTo>
                  <a:cubicBezTo>
                    <a:pt x="220279" y="57870"/>
                    <a:pt x="250901" y="47514"/>
                    <a:pt x="283583" y="47514"/>
                  </a:cubicBezTo>
                  <a:cubicBezTo>
                    <a:pt x="316264" y="47514"/>
                    <a:pt x="346630" y="57870"/>
                    <a:pt x="371592" y="75216"/>
                  </a:cubicBezTo>
                  <a:cubicBezTo>
                    <a:pt x="377253" y="75216"/>
                    <a:pt x="436183" y="75216"/>
                    <a:pt x="484561" y="5572"/>
                  </a:cubicBezTo>
                  <a:cubicBezTo>
                    <a:pt x="487907" y="911"/>
                    <a:pt x="493826" y="-1160"/>
                    <a:pt x="499230" y="652"/>
                  </a:cubicBezTo>
                  <a:cubicBezTo>
                    <a:pt x="504634" y="2206"/>
                    <a:pt x="508494" y="7384"/>
                    <a:pt x="508494" y="13080"/>
                  </a:cubicBezTo>
                  <a:cubicBezTo>
                    <a:pt x="508494" y="77029"/>
                    <a:pt x="490995" y="116900"/>
                    <a:pt x="466805" y="139424"/>
                  </a:cubicBezTo>
                  <a:cubicBezTo>
                    <a:pt x="473496" y="137871"/>
                    <a:pt x="480959" y="137094"/>
                    <a:pt x="488679" y="137094"/>
                  </a:cubicBezTo>
                  <a:cubicBezTo>
                    <a:pt x="528308" y="137094"/>
                    <a:pt x="558417" y="179295"/>
                    <a:pt x="559703" y="181107"/>
                  </a:cubicBezTo>
                  <a:cubicBezTo>
                    <a:pt x="562791" y="185509"/>
                    <a:pt x="562791" y="191722"/>
                    <a:pt x="559703" y="196383"/>
                  </a:cubicBezTo>
                  <a:cubicBezTo>
                    <a:pt x="558417" y="198195"/>
                    <a:pt x="528308" y="240137"/>
                    <a:pt x="488679" y="240137"/>
                  </a:cubicBezTo>
                  <a:cubicBezTo>
                    <a:pt x="469636" y="240137"/>
                    <a:pt x="452395" y="235218"/>
                    <a:pt x="439528" y="226933"/>
                  </a:cubicBezTo>
                  <a:cubicBezTo>
                    <a:pt x="439528" y="226933"/>
                    <a:pt x="439528" y="226933"/>
                    <a:pt x="439528" y="348358"/>
                  </a:cubicBezTo>
                  <a:cubicBezTo>
                    <a:pt x="439528" y="434832"/>
                    <a:pt x="369533" y="505253"/>
                    <a:pt x="283583" y="505253"/>
                  </a:cubicBezTo>
                  <a:cubicBezTo>
                    <a:pt x="197376" y="505253"/>
                    <a:pt x="127638" y="434832"/>
                    <a:pt x="127638" y="348358"/>
                  </a:cubicBezTo>
                  <a:cubicBezTo>
                    <a:pt x="127638" y="348358"/>
                    <a:pt x="127638" y="348358"/>
                    <a:pt x="127638" y="223567"/>
                  </a:cubicBezTo>
                  <a:cubicBezTo>
                    <a:pt x="114257" y="233665"/>
                    <a:pt x="94957" y="240137"/>
                    <a:pt x="73341" y="240137"/>
                  </a:cubicBezTo>
                  <a:cubicBezTo>
                    <a:pt x="33711" y="240137"/>
                    <a:pt x="3603" y="197936"/>
                    <a:pt x="2316" y="196383"/>
                  </a:cubicBezTo>
                  <a:cubicBezTo>
                    <a:pt x="-772" y="191722"/>
                    <a:pt x="-772" y="185509"/>
                    <a:pt x="2316" y="181107"/>
                  </a:cubicBezTo>
                  <a:cubicBezTo>
                    <a:pt x="3603" y="179295"/>
                    <a:pt x="33711" y="137094"/>
                    <a:pt x="73341" y="137094"/>
                  </a:cubicBezTo>
                  <a:cubicBezTo>
                    <a:pt x="83634" y="137094"/>
                    <a:pt x="93413" y="138647"/>
                    <a:pt x="102162" y="141236"/>
                  </a:cubicBezTo>
                  <a:cubicBezTo>
                    <a:pt x="76943" y="118971"/>
                    <a:pt x="58672" y="78582"/>
                    <a:pt x="58672" y="13080"/>
                  </a:cubicBezTo>
                  <a:cubicBezTo>
                    <a:pt x="58672" y="7384"/>
                    <a:pt x="62275" y="2206"/>
                    <a:pt x="67679" y="6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6" name="Rectangle 53">
              <a:extLst>
                <a:ext uri="{FF2B5EF4-FFF2-40B4-BE49-F238E27FC236}">
                  <a16:creationId xmlns:a16="http://schemas.microsoft.com/office/drawing/2014/main" id="{66600B68-302A-4E49-98FA-6ABF1076BBC2}"/>
                </a:ext>
              </a:extLst>
            </p:cNvPr>
            <p:cNvSpPr>
              <a:spLocks noChangeArrowheads="1"/>
            </p:cNvSpPr>
            <p:nvPr/>
          </p:nvSpPr>
          <p:spPr bwMode="auto">
            <a:xfrm>
              <a:off x="4071938" y="2363788"/>
              <a:ext cx="25400"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7" name="Rectangle 54">
              <a:extLst>
                <a:ext uri="{FF2B5EF4-FFF2-40B4-BE49-F238E27FC236}">
                  <a16:creationId xmlns:a16="http://schemas.microsoft.com/office/drawing/2014/main" id="{D19E63B4-5EE3-41F2-8AD6-3854EBD69DD7}"/>
                </a:ext>
              </a:extLst>
            </p:cNvPr>
            <p:cNvSpPr>
              <a:spLocks noChangeArrowheads="1"/>
            </p:cNvSpPr>
            <p:nvPr/>
          </p:nvSpPr>
          <p:spPr bwMode="auto">
            <a:xfrm>
              <a:off x="4151313" y="2363788"/>
              <a:ext cx="26988"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74" name="Freeform: Shape 273">
            <a:extLst>
              <a:ext uri="{FF2B5EF4-FFF2-40B4-BE49-F238E27FC236}">
                <a16:creationId xmlns:a16="http://schemas.microsoft.com/office/drawing/2014/main" id="{70295454-A164-450E-B726-469EB1BD5DAB}"/>
              </a:ext>
            </a:extLst>
          </p:cNvPr>
          <p:cNvSpPr>
            <a:spLocks/>
          </p:cNvSpPr>
          <p:nvPr/>
        </p:nvSpPr>
        <p:spPr bwMode="auto">
          <a:xfrm>
            <a:off x="7422428" y="3153513"/>
            <a:ext cx="500999" cy="318935"/>
          </a:xfrm>
          <a:custGeom>
            <a:avLst/>
            <a:gdLst>
              <a:gd name="connsiteX0" fmla="*/ 485776 w 615950"/>
              <a:gd name="connsiteY0" fmla="*/ 280987 h 392112"/>
              <a:gd name="connsiteX1" fmla="*/ 446088 w 615950"/>
              <a:gd name="connsiteY1" fmla="*/ 320675 h 392112"/>
              <a:gd name="connsiteX2" fmla="*/ 485776 w 615950"/>
              <a:gd name="connsiteY2" fmla="*/ 360363 h 392112"/>
              <a:gd name="connsiteX3" fmla="*/ 525464 w 615950"/>
              <a:gd name="connsiteY3" fmla="*/ 320675 h 392112"/>
              <a:gd name="connsiteX4" fmla="*/ 485776 w 615950"/>
              <a:gd name="connsiteY4" fmla="*/ 280987 h 392112"/>
              <a:gd name="connsiteX5" fmla="*/ 160338 w 615950"/>
              <a:gd name="connsiteY5" fmla="*/ 280987 h 392112"/>
              <a:gd name="connsiteX6" fmla="*/ 120650 w 615950"/>
              <a:gd name="connsiteY6" fmla="*/ 320675 h 392112"/>
              <a:gd name="connsiteX7" fmla="*/ 160338 w 615950"/>
              <a:gd name="connsiteY7" fmla="*/ 360362 h 392112"/>
              <a:gd name="connsiteX8" fmla="*/ 199374 w 615950"/>
              <a:gd name="connsiteY8" fmla="*/ 320024 h 392112"/>
              <a:gd name="connsiteX9" fmla="*/ 188965 w 615950"/>
              <a:gd name="connsiteY9" fmla="*/ 293674 h 392112"/>
              <a:gd name="connsiteX10" fmla="*/ 185711 w 615950"/>
              <a:gd name="connsiteY10" fmla="*/ 290421 h 392112"/>
              <a:gd name="connsiteX11" fmla="*/ 160338 w 615950"/>
              <a:gd name="connsiteY11" fmla="*/ 280987 h 392112"/>
              <a:gd name="connsiteX12" fmla="*/ 31750 w 615950"/>
              <a:gd name="connsiteY12" fmla="*/ 193675 h 392112"/>
              <a:gd name="connsiteX13" fmla="*/ 31750 w 615950"/>
              <a:gd name="connsiteY13" fmla="*/ 256421 h 392112"/>
              <a:gd name="connsiteX14" fmla="*/ 31750 w 615950"/>
              <a:gd name="connsiteY14" fmla="*/ 286689 h 392112"/>
              <a:gd name="connsiteX15" fmla="*/ 96831 w 615950"/>
              <a:gd name="connsiteY15" fmla="*/ 286689 h 392112"/>
              <a:gd name="connsiteX16" fmla="*/ 161584 w 615950"/>
              <a:gd name="connsiteY16" fmla="*/ 246826 h 392112"/>
              <a:gd name="connsiteX17" fmla="*/ 184150 w 615950"/>
              <a:gd name="connsiteY17" fmla="*/ 250715 h 392112"/>
              <a:gd name="connsiteX18" fmla="*/ 184150 w 615950"/>
              <a:gd name="connsiteY18" fmla="*/ 193675 h 392112"/>
              <a:gd name="connsiteX19" fmla="*/ 31750 w 615950"/>
              <a:gd name="connsiteY19" fmla="*/ 193675 h 392112"/>
              <a:gd name="connsiteX20" fmla="*/ 135757 w 615950"/>
              <a:gd name="connsiteY20" fmla="*/ 82550 h 392112"/>
              <a:gd name="connsiteX21" fmla="*/ 56748 w 615950"/>
              <a:gd name="connsiteY21" fmla="*/ 130798 h 392112"/>
              <a:gd name="connsiteX22" fmla="*/ 41275 w 615950"/>
              <a:gd name="connsiteY22" fmla="*/ 160337 h 392112"/>
              <a:gd name="connsiteX23" fmla="*/ 184150 w 615950"/>
              <a:gd name="connsiteY23" fmla="*/ 160337 h 392112"/>
              <a:gd name="connsiteX24" fmla="*/ 184150 w 615950"/>
              <a:gd name="connsiteY24" fmla="*/ 82550 h 392112"/>
              <a:gd name="connsiteX25" fmla="*/ 135757 w 615950"/>
              <a:gd name="connsiteY25" fmla="*/ 82550 h 392112"/>
              <a:gd name="connsiteX26" fmla="*/ 224070 w 615950"/>
              <a:gd name="connsiteY26" fmla="*/ 33337 h 392112"/>
              <a:gd name="connsiteX27" fmla="*/ 215900 w 615950"/>
              <a:gd name="connsiteY27" fmla="*/ 41173 h 392112"/>
              <a:gd name="connsiteX28" fmla="*/ 215900 w 615950"/>
              <a:gd name="connsiteY28" fmla="*/ 272319 h 392112"/>
              <a:gd name="connsiteX29" fmla="*/ 225704 w 615950"/>
              <a:gd name="connsiteY29" fmla="*/ 287337 h 392112"/>
              <a:gd name="connsiteX30" fmla="*/ 421782 w 615950"/>
              <a:gd name="connsiteY30" fmla="*/ 287337 h 392112"/>
              <a:gd name="connsiteX31" fmla="*/ 486488 w 615950"/>
              <a:gd name="connsiteY31" fmla="*/ 247507 h 392112"/>
              <a:gd name="connsiteX32" fmla="*/ 551194 w 615950"/>
              <a:gd name="connsiteY32" fmla="*/ 287337 h 392112"/>
              <a:gd name="connsiteX33" fmla="*/ 584200 w 615950"/>
              <a:gd name="connsiteY33" fmla="*/ 287337 h 392112"/>
              <a:gd name="connsiteX34" fmla="*/ 584200 w 615950"/>
              <a:gd name="connsiteY34" fmla="*/ 97000 h 392112"/>
              <a:gd name="connsiteX35" fmla="*/ 520148 w 615950"/>
              <a:gd name="connsiteY35" fmla="*/ 33337 h 392112"/>
              <a:gd name="connsiteX36" fmla="*/ 224070 w 615950"/>
              <a:gd name="connsiteY36" fmla="*/ 33337 h 392112"/>
              <a:gd name="connsiteX37" fmla="*/ 223833 w 615950"/>
              <a:gd name="connsiteY37" fmla="*/ 0 h 392112"/>
              <a:gd name="connsiteX38" fmla="*/ 519881 w 615950"/>
              <a:gd name="connsiteY38" fmla="*/ 0 h 392112"/>
              <a:gd name="connsiteX39" fmla="*/ 615950 w 615950"/>
              <a:gd name="connsiteY39" fmla="*/ 96222 h 392112"/>
              <a:gd name="connsiteX40" fmla="*/ 615950 w 615950"/>
              <a:gd name="connsiteY40" fmla="*/ 287680 h 392112"/>
              <a:gd name="connsiteX41" fmla="*/ 615950 w 615950"/>
              <a:gd name="connsiteY41" fmla="*/ 303772 h 392112"/>
              <a:gd name="connsiteX42" fmla="*/ 615950 w 615950"/>
              <a:gd name="connsiteY42" fmla="*/ 319864 h 392112"/>
              <a:gd name="connsiteX43" fmla="*/ 558440 w 615950"/>
              <a:gd name="connsiteY43" fmla="*/ 319864 h 392112"/>
              <a:gd name="connsiteX44" fmla="*/ 486225 w 615950"/>
              <a:gd name="connsiteY44" fmla="*/ 392112 h 392112"/>
              <a:gd name="connsiteX45" fmla="*/ 414337 w 615950"/>
              <a:gd name="connsiteY45" fmla="*/ 319864 h 392112"/>
              <a:gd name="connsiteX46" fmla="*/ 232656 w 615950"/>
              <a:gd name="connsiteY46" fmla="*/ 319864 h 392112"/>
              <a:gd name="connsiteX47" fmla="*/ 160768 w 615950"/>
              <a:gd name="connsiteY47" fmla="*/ 392112 h 392112"/>
              <a:gd name="connsiteX48" fmla="*/ 89533 w 615950"/>
              <a:gd name="connsiteY48" fmla="*/ 319864 h 392112"/>
              <a:gd name="connsiteX49" fmla="*/ 0 w 615950"/>
              <a:gd name="connsiteY49" fmla="*/ 319864 h 392112"/>
              <a:gd name="connsiteX50" fmla="*/ 0 w 615950"/>
              <a:gd name="connsiteY50" fmla="*/ 305414 h 392112"/>
              <a:gd name="connsiteX51" fmla="*/ 0 w 615950"/>
              <a:gd name="connsiteY51" fmla="*/ 287680 h 392112"/>
              <a:gd name="connsiteX52" fmla="*/ 0 w 615950"/>
              <a:gd name="connsiteY52" fmla="*/ 176680 h 392112"/>
              <a:gd name="connsiteX53" fmla="*/ 1634 w 615950"/>
              <a:gd name="connsiteY53" fmla="*/ 169456 h 392112"/>
              <a:gd name="connsiteX54" fmla="*/ 28755 w 615950"/>
              <a:gd name="connsiteY54" fmla="*/ 116583 h 392112"/>
              <a:gd name="connsiteX55" fmla="*/ 135934 w 615950"/>
              <a:gd name="connsiteY55" fmla="*/ 50574 h 392112"/>
              <a:gd name="connsiteX56" fmla="*/ 183968 w 615950"/>
              <a:gd name="connsiteY56" fmla="*/ 50574 h 392112"/>
              <a:gd name="connsiteX57" fmla="*/ 183968 w 615950"/>
              <a:gd name="connsiteY57" fmla="*/ 40065 h 392112"/>
              <a:gd name="connsiteX58" fmla="*/ 223833 w 615950"/>
              <a:gd name="connsiteY58" fmla="*/ 0 h 392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615950" h="392112">
                <a:moveTo>
                  <a:pt x="485776" y="280987"/>
                </a:moveTo>
                <a:cubicBezTo>
                  <a:pt x="463857" y="280987"/>
                  <a:pt x="446088" y="298756"/>
                  <a:pt x="446088" y="320675"/>
                </a:cubicBezTo>
                <a:cubicBezTo>
                  <a:pt x="446088" y="342594"/>
                  <a:pt x="463857" y="360363"/>
                  <a:pt x="485776" y="360363"/>
                </a:cubicBezTo>
                <a:cubicBezTo>
                  <a:pt x="507695" y="360363"/>
                  <a:pt x="525464" y="342594"/>
                  <a:pt x="525464" y="320675"/>
                </a:cubicBezTo>
                <a:cubicBezTo>
                  <a:pt x="525464" y="298756"/>
                  <a:pt x="507695" y="280987"/>
                  <a:pt x="485776" y="280987"/>
                </a:cubicBezTo>
                <a:close/>
                <a:moveTo>
                  <a:pt x="160338" y="280987"/>
                </a:moveTo>
                <a:cubicBezTo>
                  <a:pt x="137891" y="280987"/>
                  <a:pt x="120650" y="298228"/>
                  <a:pt x="120650" y="320675"/>
                </a:cubicBezTo>
                <a:cubicBezTo>
                  <a:pt x="120650" y="343121"/>
                  <a:pt x="137891" y="360362"/>
                  <a:pt x="160338" y="360362"/>
                </a:cubicBezTo>
                <a:cubicBezTo>
                  <a:pt x="181808" y="360362"/>
                  <a:pt x="200025" y="342145"/>
                  <a:pt x="199374" y="320024"/>
                </a:cubicBezTo>
                <a:cubicBezTo>
                  <a:pt x="199374" y="310265"/>
                  <a:pt x="195471" y="300831"/>
                  <a:pt x="188965" y="293674"/>
                </a:cubicBezTo>
                <a:cubicBezTo>
                  <a:pt x="188314" y="292698"/>
                  <a:pt x="186687" y="292048"/>
                  <a:pt x="185711" y="290421"/>
                </a:cubicBezTo>
                <a:cubicBezTo>
                  <a:pt x="179531" y="284891"/>
                  <a:pt x="169771" y="280987"/>
                  <a:pt x="160338" y="280987"/>
                </a:cubicBezTo>
                <a:close/>
                <a:moveTo>
                  <a:pt x="31750" y="193675"/>
                </a:moveTo>
                <a:cubicBezTo>
                  <a:pt x="31750" y="193675"/>
                  <a:pt x="31750" y="193675"/>
                  <a:pt x="31750" y="256421"/>
                </a:cubicBezTo>
                <a:lnTo>
                  <a:pt x="31750" y="286689"/>
                </a:lnTo>
                <a:cubicBezTo>
                  <a:pt x="31750" y="286689"/>
                  <a:pt x="31750" y="286689"/>
                  <a:pt x="96831" y="286689"/>
                </a:cubicBezTo>
                <a:cubicBezTo>
                  <a:pt x="108604" y="262706"/>
                  <a:pt x="133459" y="246826"/>
                  <a:pt x="161584" y="246826"/>
                </a:cubicBezTo>
                <a:cubicBezTo>
                  <a:pt x="169433" y="246826"/>
                  <a:pt x="176955" y="248446"/>
                  <a:pt x="184150" y="250715"/>
                </a:cubicBezTo>
                <a:cubicBezTo>
                  <a:pt x="184150" y="250715"/>
                  <a:pt x="184150" y="250715"/>
                  <a:pt x="184150" y="193675"/>
                </a:cubicBezTo>
                <a:cubicBezTo>
                  <a:pt x="184150" y="193675"/>
                  <a:pt x="184150" y="193675"/>
                  <a:pt x="31750" y="193675"/>
                </a:cubicBezTo>
                <a:close/>
                <a:moveTo>
                  <a:pt x="135757" y="82550"/>
                </a:moveTo>
                <a:cubicBezTo>
                  <a:pt x="101849" y="82550"/>
                  <a:pt x="71891" y="100930"/>
                  <a:pt x="56748" y="130798"/>
                </a:cubicBezTo>
                <a:lnTo>
                  <a:pt x="41275" y="160337"/>
                </a:lnTo>
                <a:cubicBezTo>
                  <a:pt x="41275" y="160337"/>
                  <a:pt x="41275" y="160337"/>
                  <a:pt x="184150" y="160337"/>
                </a:cubicBezTo>
                <a:cubicBezTo>
                  <a:pt x="184150" y="160337"/>
                  <a:pt x="184150" y="160337"/>
                  <a:pt x="184150" y="82550"/>
                </a:cubicBezTo>
                <a:cubicBezTo>
                  <a:pt x="184150" y="82550"/>
                  <a:pt x="184150" y="82550"/>
                  <a:pt x="135757" y="82550"/>
                </a:cubicBezTo>
                <a:close/>
                <a:moveTo>
                  <a:pt x="224070" y="33337"/>
                </a:moveTo>
                <a:cubicBezTo>
                  <a:pt x="219168" y="33337"/>
                  <a:pt x="215900" y="37255"/>
                  <a:pt x="215900" y="41173"/>
                </a:cubicBezTo>
                <a:cubicBezTo>
                  <a:pt x="215900" y="41173"/>
                  <a:pt x="215900" y="41173"/>
                  <a:pt x="215900" y="272319"/>
                </a:cubicBezTo>
                <a:cubicBezTo>
                  <a:pt x="219168" y="276890"/>
                  <a:pt x="223416" y="281787"/>
                  <a:pt x="225704" y="287337"/>
                </a:cubicBezTo>
                <a:cubicBezTo>
                  <a:pt x="225704" y="287337"/>
                  <a:pt x="225704" y="287337"/>
                  <a:pt x="421782" y="287337"/>
                </a:cubicBezTo>
                <a:cubicBezTo>
                  <a:pt x="433547" y="263504"/>
                  <a:pt x="457730" y="247507"/>
                  <a:pt x="486488" y="247507"/>
                </a:cubicBezTo>
                <a:cubicBezTo>
                  <a:pt x="515246" y="247507"/>
                  <a:pt x="539102" y="263504"/>
                  <a:pt x="551194" y="287337"/>
                </a:cubicBezTo>
                <a:cubicBezTo>
                  <a:pt x="551194" y="287337"/>
                  <a:pt x="551194" y="287337"/>
                  <a:pt x="584200" y="287337"/>
                </a:cubicBezTo>
                <a:cubicBezTo>
                  <a:pt x="584200" y="287337"/>
                  <a:pt x="584200" y="287337"/>
                  <a:pt x="584200" y="97000"/>
                </a:cubicBezTo>
                <a:cubicBezTo>
                  <a:pt x="584200" y="62067"/>
                  <a:pt x="555115" y="33337"/>
                  <a:pt x="520148" y="33337"/>
                </a:cubicBezTo>
                <a:cubicBezTo>
                  <a:pt x="520148" y="33337"/>
                  <a:pt x="520148" y="33337"/>
                  <a:pt x="224070" y="33337"/>
                </a:cubicBezTo>
                <a:close/>
                <a:moveTo>
                  <a:pt x="223833" y="0"/>
                </a:moveTo>
                <a:cubicBezTo>
                  <a:pt x="223833" y="0"/>
                  <a:pt x="223833" y="0"/>
                  <a:pt x="519881" y="0"/>
                </a:cubicBezTo>
                <a:cubicBezTo>
                  <a:pt x="572817" y="0"/>
                  <a:pt x="615950" y="43349"/>
                  <a:pt x="615950" y="96222"/>
                </a:cubicBezTo>
                <a:cubicBezTo>
                  <a:pt x="615950" y="96222"/>
                  <a:pt x="615950" y="96222"/>
                  <a:pt x="615950" y="287680"/>
                </a:cubicBezTo>
                <a:cubicBezTo>
                  <a:pt x="615950" y="287680"/>
                  <a:pt x="615950" y="287680"/>
                  <a:pt x="615950" y="303772"/>
                </a:cubicBezTo>
                <a:cubicBezTo>
                  <a:pt x="615950" y="303772"/>
                  <a:pt x="615950" y="303772"/>
                  <a:pt x="615950" y="319864"/>
                </a:cubicBezTo>
                <a:cubicBezTo>
                  <a:pt x="615950" y="319864"/>
                  <a:pt x="615950" y="319864"/>
                  <a:pt x="558440" y="319864"/>
                </a:cubicBezTo>
                <a:cubicBezTo>
                  <a:pt x="558440" y="359929"/>
                  <a:pt x="526417" y="392112"/>
                  <a:pt x="486225" y="392112"/>
                </a:cubicBezTo>
                <a:cubicBezTo>
                  <a:pt x="446360" y="392112"/>
                  <a:pt x="414337" y="359929"/>
                  <a:pt x="414337" y="319864"/>
                </a:cubicBezTo>
                <a:cubicBezTo>
                  <a:pt x="414337" y="319864"/>
                  <a:pt x="414337" y="319864"/>
                  <a:pt x="232656" y="319864"/>
                </a:cubicBezTo>
                <a:cubicBezTo>
                  <a:pt x="232656" y="359929"/>
                  <a:pt x="200633" y="392112"/>
                  <a:pt x="160768" y="392112"/>
                </a:cubicBezTo>
                <a:cubicBezTo>
                  <a:pt x="120903" y="392112"/>
                  <a:pt x="88880" y="359272"/>
                  <a:pt x="89533" y="319864"/>
                </a:cubicBezTo>
                <a:cubicBezTo>
                  <a:pt x="89533" y="319864"/>
                  <a:pt x="89533" y="319864"/>
                  <a:pt x="0" y="319864"/>
                </a:cubicBezTo>
                <a:cubicBezTo>
                  <a:pt x="0" y="319864"/>
                  <a:pt x="0" y="319864"/>
                  <a:pt x="0" y="305414"/>
                </a:cubicBezTo>
                <a:cubicBezTo>
                  <a:pt x="0" y="305414"/>
                  <a:pt x="0" y="305414"/>
                  <a:pt x="0" y="287680"/>
                </a:cubicBezTo>
                <a:cubicBezTo>
                  <a:pt x="0" y="287680"/>
                  <a:pt x="0" y="287680"/>
                  <a:pt x="0" y="176680"/>
                </a:cubicBezTo>
                <a:cubicBezTo>
                  <a:pt x="0" y="174382"/>
                  <a:pt x="654" y="172083"/>
                  <a:pt x="1634" y="169456"/>
                </a:cubicBezTo>
                <a:cubicBezTo>
                  <a:pt x="1634" y="169456"/>
                  <a:pt x="1634" y="169456"/>
                  <a:pt x="28755" y="116583"/>
                </a:cubicBezTo>
                <a:cubicBezTo>
                  <a:pt x="49668" y="75533"/>
                  <a:pt x="90514" y="50574"/>
                  <a:pt x="135934" y="50574"/>
                </a:cubicBezTo>
                <a:cubicBezTo>
                  <a:pt x="135934" y="50574"/>
                  <a:pt x="135934" y="50574"/>
                  <a:pt x="183968" y="50574"/>
                </a:cubicBezTo>
                <a:cubicBezTo>
                  <a:pt x="183968" y="50574"/>
                  <a:pt x="183968" y="50574"/>
                  <a:pt x="183968" y="40065"/>
                </a:cubicBezTo>
                <a:cubicBezTo>
                  <a:pt x="183968" y="17734"/>
                  <a:pt x="201613" y="0"/>
                  <a:pt x="223833" y="0"/>
                </a:cubicBezTo>
                <a:close/>
              </a:path>
            </a:pathLst>
          </a:custGeom>
          <a:solidFill>
            <a:srgbClr val="002050"/>
          </a:solidFill>
          <a:ln>
            <a:noFill/>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4" name="Freeform: Shape 283">
            <a:extLst>
              <a:ext uri="{FF2B5EF4-FFF2-40B4-BE49-F238E27FC236}">
                <a16:creationId xmlns:a16="http://schemas.microsoft.com/office/drawing/2014/main" id="{BCB2ADC1-F7AE-49B3-A316-0457A894E08A}"/>
              </a:ext>
            </a:extLst>
          </p:cNvPr>
          <p:cNvSpPr>
            <a:spLocks/>
          </p:cNvSpPr>
          <p:nvPr/>
        </p:nvSpPr>
        <p:spPr bwMode="auto">
          <a:xfrm>
            <a:off x="1280247" y="3007886"/>
            <a:ext cx="382634" cy="342326"/>
          </a:xfrm>
          <a:custGeom>
            <a:avLst/>
            <a:gdLst>
              <a:gd name="connsiteX0" fmla="*/ 803276 w 1009650"/>
              <a:gd name="connsiteY0" fmla="*/ 704850 h 903288"/>
              <a:gd name="connsiteX1" fmla="*/ 728663 w 1009650"/>
              <a:gd name="connsiteY1" fmla="*/ 779125 h 903288"/>
              <a:gd name="connsiteX2" fmla="*/ 803276 w 1009650"/>
              <a:gd name="connsiteY2" fmla="*/ 854075 h 903288"/>
              <a:gd name="connsiteX3" fmla="*/ 857051 w 1009650"/>
              <a:gd name="connsiteY3" fmla="*/ 830442 h 903288"/>
              <a:gd name="connsiteX4" fmla="*/ 877216 w 1009650"/>
              <a:gd name="connsiteY4" fmla="*/ 779800 h 903288"/>
              <a:gd name="connsiteX5" fmla="*/ 877216 w 1009650"/>
              <a:gd name="connsiteY5" fmla="*/ 779125 h 903288"/>
              <a:gd name="connsiteX6" fmla="*/ 803276 w 1009650"/>
              <a:gd name="connsiteY6" fmla="*/ 704850 h 903288"/>
              <a:gd name="connsiteX7" fmla="*/ 194129 w 1009650"/>
              <a:gd name="connsiteY7" fmla="*/ 704850 h 903288"/>
              <a:gd name="connsiteX8" fmla="*/ 119063 w 1009650"/>
              <a:gd name="connsiteY8" fmla="*/ 779125 h 903288"/>
              <a:gd name="connsiteX9" fmla="*/ 194129 w 1009650"/>
              <a:gd name="connsiteY9" fmla="*/ 854075 h 903288"/>
              <a:gd name="connsiteX10" fmla="*/ 269876 w 1009650"/>
              <a:gd name="connsiteY10" fmla="*/ 781151 h 903288"/>
              <a:gd name="connsiteX11" fmla="*/ 269876 w 1009650"/>
              <a:gd name="connsiteY11" fmla="*/ 776424 h 903288"/>
              <a:gd name="connsiteX12" fmla="*/ 194129 w 1009650"/>
              <a:gd name="connsiteY12" fmla="*/ 704850 h 903288"/>
              <a:gd name="connsiteX13" fmla="*/ 170285 w 1009650"/>
              <a:gd name="connsiteY13" fmla="*/ 401638 h 903288"/>
              <a:gd name="connsiteX14" fmla="*/ 49213 w 1009650"/>
              <a:gd name="connsiteY14" fmla="*/ 522558 h 903288"/>
              <a:gd name="connsiteX15" fmla="*/ 49213 w 1009650"/>
              <a:gd name="connsiteY15" fmla="*/ 750888 h 903288"/>
              <a:gd name="connsiteX16" fmla="*/ 73563 w 1009650"/>
              <a:gd name="connsiteY16" fmla="*/ 750888 h 903288"/>
              <a:gd name="connsiteX17" fmla="*/ 194635 w 1009650"/>
              <a:gd name="connsiteY17" fmla="*/ 652936 h 903288"/>
              <a:gd name="connsiteX18" fmla="*/ 315706 w 1009650"/>
              <a:gd name="connsiteY18" fmla="*/ 750888 h 903288"/>
              <a:gd name="connsiteX19" fmla="*/ 319088 w 1009650"/>
              <a:gd name="connsiteY19" fmla="*/ 750888 h 903288"/>
              <a:gd name="connsiteX20" fmla="*/ 319088 w 1009650"/>
              <a:gd name="connsiteY20" fmla="*/ 576601 h 903288"/>
              <a:gd name="connsiteX21" fmla="*/ 112116 w 1009650"/>
              <a:gd name="connsiteY21" fmla="*/ 576601 h 903288"/>
              <a:gd name="connsiteX22" fmla="*/ 87090 w 1009650"/>
              <a:gd name="connsiteY22" fmla="*/ 552282 h 903288"/>
              <a:gd name="connsiteX23" fmla="*/ 112116 w 1009650"/>
              <a:gd name="connsiteY23" fmla="*/ 527287 h 903288"/>
              <a:gd name="connsiteX24" fmla="*/ 319088 w 1009650"/>
              <a:gd name="connsiteY24" fmla="*/ 527287 h 903288"/>
              <a:gd name="connsiteX25" fmla="*/ 319088 w 1009650"/>
              <a:gd name="connsiteY25" fmla="*/ 401638 h 903288"/>
              <a:gd name="connsiteX26" fmla="*/ 170285 w 1009650"/>
              <a:gd name="connsiteY26" fmla="*/ 401638 h 903288"/>
              <a:gd name="connsiteX27" fmla="*/ 368300 w 1009650"/>
              <a:gd name="connsiteY27" fmla="*/ 50800 h 903288"/>
              <a:gd name="connsiteX28" fmla="*/ 368300 w 1009650"/>
              <a:gd name="connsiteY28" fmla="*/ 750888 h 903288"/>
              <a:gd name="connsiteX29" fmla="*/ 683339 w 1009650"/>
              <a:gd name="connsiteY29" fmla="*/ 750888 h 903288"/>
              <a:gd name="connsiteX30" fmla="*/ 804612 w 1009650"/>
              <a:gd name="connsiteY30" fmla="*/ 652713 h 903288"/>
              <a:gd name="connsiteX31" fmla="*/ 925886 w 1009650"/>
              <a:gd name="connsiteY31" fmla="*/ 750888 h 903288"/>
              <a:gd name="connsiteX32" fmla="*/ 960438 w 1009650"/>
              <a:gd name="connsiteY32" fmla="*/ 750888 h 903288"/>
              <a:gd name="connsiteX33" fmla="*/ 960438 w 1009650"/>
              <a:gd name="connsiteY33" fmla="*/ 50800 h 903288"/>
              <a:gd name="connsiteX34" fmla="*/ 344445 w 1009650"/>
              <a:gd name="connsiteY34" fmla="*/ 0 h 903288"/>
              <a:gd name="connsiteX35" fmla="*/ 985289 w 1009650"/>
              <a:gd name="connsiteY35" fmla="*/ 0 h 903288"/>
              <a:gd name="connsiteX36" fmla="*/ 1009650 w 1009650"/>
              <a:gd name="connsiteY36" fmla="*/ 25091 h 903288"/>
              <a:gd name="connsiteX37" fmla="*/ 1009650 w 1009650"/>
              <a:gd name="connsiteY37" fmla="*/ 775119 h 903288"/>
              <a:gd name="connsiteX38" fmla="*/ 985289 w 1009650"/>
              <a:gd name="connsiteY38" fmla="*/ 800210 h 903288"/>
              <a:gd name="connsiteX39" fmla="*/ 925738 w 1009650"/>
              <a:gd name="connsiteY39" fmla="*/ 800210 h 903288"/>
              <a:gd name="connsiteX40" fmla="*/ 803254 w 1009650"/>
              <a:gd name="connsiteY40" fmla="*/ 903288 h 903288"/>
              <a:gd name="connsiteX41" fmla="*/ 680093 w 1009650"/>
              <a:gd name="connsiteY41" fmla="*/ 800210 h 903288"/>
              <a:gd name="connsiteX42" fmla="*/ 318054 w 1009650"/>
              <a:gd name="connsiteY42" fmla="*/ 800210 h 903288"/>
              <a:gd name="connsiteX43" fmla="*/ 194892 w 1009650"/>
              <a:gd name="connsiteY43" fmla="*/ 903288 h 903288"/>
              <a:gd name="connsiteX44" fmla="*/ 71731 w 1009650"/>
              <a:gd name="connsiteY44" fmla="*/ 800210 h 903288"/>
              <a:gd name="connsiteX45" fmla="*/ 24362 w 1009650"/>
              <a:gd name="connsiteY45" fmla="*/ 800210 h 903288"/>
              <a:gd name="connsiteX46" fmla="*/ 0 w 1009650"/>
              <a:gd name="connsiteY46" fmla="*/ 775119 h 903288"/>
              <a:gd name="connsiteX47" fmla="*/ 0 w 1009650"/>
              <a:gd name="connsiteY47" fmla="*/ 511321 h 903288"/>
              <a:gd name="connsiteX48" fmla="*/ 6767 w 1009650"/>
              <a:gd name="connsiteY48" fmla="*/ 494367 h 903288"/>
              <a:gd name="connsiteX49" fmla="*/ 142786 w 1009650"/>
              <a:gd name="connsiteY49" fmla="*/ 358060 h 903288"/>
              <a:gd name="connsiteX50" fmla="*/ 160380 w 1009650"/>
              <a:gd name="connsiteY50" fmla="*/ 350601 h 903288"/>
              <a:gd name="connsiteX51" fmla="*/ 319407 w 1009650"/>
              <a:gd name="connsiteY51" fmla="*/ 350601 h 903288"/>
              <a:gd name="connsiteX52" fmla="*/ 319407 w 1009650"/>
              <a:gd name="connsiteY52" fmla="*/ 25091 h 903288"/>
              <a:gd name="connsiteX53" fmla="*/ 344445 w 1009650"/>
              <a:gd name="connsiteY53" fmla="*/ 0 h 903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09650" h="903288">
                <a:moveTo>
                  <a:pt x="803276" y="704850"/>
                </a:moveTo>
                <a:cubicBezTo>
                  <a:pt x="762272" y="704850"/>
                  <a:pt x="728663" y="737936"/>
                  <a:pt x="728663" y="779125"/>
                </a:cubicBezTo>
                <a:cubicBezTo>
                  <a:pt x="728663" y="820314"/>
                  <a:pt x="762272" y="854075"/>
                  <a:pt x="803276" y="854075"/>
                </a:cubicBezTo>
                <a:cubicBezTo>
                  <a:pt x="823441" y="854075"/>
                  <a:pt x="842935" y="845297"/>
                  <a:pt x="857051" y="830442"/>
                </a:cubicBezTo>
                <a:cubicBezTo>
                  <a:pt x="871166" y="816262"/>
                  <a:pt x="877888" y="798707"/>
                  <a:pt x="877216" y="779800"/>
                </a:cubicBezTo>
                <a:cubicBezTo>
                  <a:pt x="877216" y="779800"/>
                  <a:pt x="877216" y="779800"/>
                  <a:pt x="877216" y="779125"/>
                </a:cubicBezTo>
                <a:cubicBezTo>
                  <a:pt x="877216" y="737936"/>
                  <a:pt x="844279" y="704850"/>
                  <a:pt x="803276" y="704850"/>
                </a:cubicBezTo>
                <a:close/>
                <a:moveTo>
                  <a:pt x="194129" y="704850"/>
                </a:moveTo>
                <a:cubicBezTo>
                  <a:pt x="152501" y="704850"/>
                  <a:pt x="119063" y="737936"/>
                  <a:pt x="119063" y="779125"/>
                </a:cubicBezTo>
                <a:cubicBezTo>
                  <a:pt x="119063" y="820314"/>
                  <a:pt x="152501" y="854075"/>
                  <a:pt x="194129" y="854075"/>
                </a:cubicBezTo>
                <a:cubicBezTo>
                  <a:pt x="234391" y="854075"/>
                  <a:pt x="269876" y="819639"/>
                  <a:pt x="269876" y="781151"/>
                </a:cubicBezTo>
                <a:cubicBezTo>
                  <a:pt x="269876" y="781151"/>
                  <a:pt x="269876" y="781151"/>
                  <a:pt x="269876" y="776424"/>
                </a:cubicBezTo>
                <a:cubicBezTo>
                  <a:pt x="267829" y="735911"/>
                  <a:pt x="235073" y="704850"/>
                  <a:pt x="194129" y="704850"/>
                </a:cubicBezTo>
                <a:close/>
                <a:moveTo>
                  <a:pt x="170285" y="401638"/>
                </a:moveTo>
                <a:cubicBezTo>
                  <a:pt x="170285" y="401638"/>
                  <a:pt x="170285" y="401638"/>
                  <a:pt x="49213" y="522558"/>
                </a:cubicBezTo>
                <a:cubicBezTo>
                  <a:pt x="49213" y="522558"/>
                  <a:pt x="49213" y="522558"/>
                  <a:pt x="49213" y="750888"/>
                </a:cubicBezTo>
                <a:cubicBezTo>
                  <a:pt x="49213" y="750888"/>
                  <a:pt x="49213" y="750888"/>
                  <a:pt x="73563" y="750888"/>
                </a:cubicBezTo>
                <a:cubicBezTo>
                  <a:pt x="85738" y="694819"/>
                  <a:pt x="136466" y="652936"/>
                  <a:pt x="194635" y="652936"/>
                </a:cubicBezTo>
                <a:cubicBezTo>
                  <a:pt x="252803" y="652936"/>
                  <a:pt x="304208" y="694819"/>
                  <a:pt x="315706" y="750888"/>
                </a:cubicBezTo>
                <a:cubicBezTo>
                  <a:pt x="315706" y="750888"/>
                  <a:pt x="315706" y="750888"/>
                  <a:pt x="319088" y="750888"/>
                </a:cubicBezTo>
                <a:cubicBezTo>
                  <a:pt x="319088" y="750888"/>
                  <a:pt x="319088" y="750888"/>
                  <a:pt x="319088" y="576601"/>
                </a:cubicBezTo>
                <a:cubicBezTo>
                  <a:pt x="319088" y="576601"/>
                  <a:pt x="319088" y="576601"/>
                  <a:pt x="112116" y="576601"/>
                </a:cubicBezTo>
                <a:cubicBezTo>
                  <a:pt x="97236" y="576601"/>
                  <a:pt x="87090" y="566468"/>
                  <a:pt x="87090" y="552282"/>
                </a:cubicBezTo>
                <a:cubicBezTo>
                  <a:pt x="87090" y="537420"/>
                  <a:pt x="97236" y="527287"/>
                  <a:pt x="112116" y="527287"/>
                </a:cubicBezTo>
                <a:cubicBezTo>
                  <a:pt x="112116" y="527287"/>
                  <a:pt x="112116" y="527287"/>
                  <a:pt x="319088" y="527287"/>
                </a:cubicBezTo>
                <a:cubicBezTo>
                  <a:pt x="319088" y="527287"/>
                  <a:pt x="319088" y="527287"/>
                  <a:pt x="319088" y="401638"/>
                </a:cubicBezTo>
                <a:cubicBezTo>
                  <a:pt x="319088" y="401638"/>
                  <a:pt x="319088" y="401638"/>
                  <a:pt x="170285" y="401638"/>
                </a:cubicBezTo>
                <a:close/>
                <a:moveTo>
                  <a:pt x="368300" y="50800"/>
                </a:moveTo>
                <a:cubicBezTo>
                  <a:pt x="368300" y="50800"/>
                  <a:pt x="368300" y="50800"/>
                  <a:pt x="368300" y="750888"/>
                </a:cubicBezTo>
                <a:cubicBezTo>
                  <a:pt x="368300" y="750888"/>
                  <a:pt x="368300" y="750888"/>
                  <a:pt x="683339" y="750888"/>
                </a:cubicBezTo>
                <a:cubicBezTo>
                  <a:pt x="695534" y="694692"/>
                  <a:pt x="746347" y="652713"/>
                  <a:pt x="804612" y="652713"/>
                </a:cubicBezTo>
                <a:cubicBezTo>
                  <a:pt x="862878" y="652713"/>
                  <a:pt x="913690" y="694692"/>
                  <a:pt x="925886" y="750888"/>
                </a:cubicBezTo>
                <a:cubicBezTo>
                  <a:pt x="925886" y="750888"/>
                  <a:pt x="925886" y="750888"/>
                  <a:pt x="960438" y="750888"/>
                </a:cubicBezTo>
                <a:cubicBezTo>
                  <a:pt x="960438" y="750888"/>
                  <a:pt x="960438" y="750888"/>
                  <a:pt x="960438" y="50800"/>
                </a:cubicBezTo>
                <a:close/>
                <a:moveTo>
                  <a:pt x="344445" y="0"/>
                </a:moveTo>
                <a:cubicBezTo>
                  <a:pt x="344445" y="0"/>
                  <a:pt x="344445" y="0"/>
                  <a:pt x="985289" y="0"/>
                </a:cubicBezTo>
                <a:cubicBezTo>
                  <a:pt x="998823" y="0"/>
                  <a:pt x="1009650" y="11529"/>
                  <a:pt x="1009650" y="25091"/>
                </a:cubicBezTo>
                <a:cubicBezTo>
                  <a:pt x="1009650" y="25091"/>
                  <a:pt x="1009650" y="25091"/>
                  <a:pt x="1009650" y="775119"/>
                </a:cubicBezTo>
                <a:cubicBezTo>
                  <a:pt x="1009650" y="790038"/>
                  <a:pt x="999500" y="800210"/>
                  <a:pt x="985289" y="800210"/>
                </a:cubicBezTo>
                <a:cubicBezTo>
                  <a:pt x="985289" y="800210"/>
                  <a:pt x="985289" y="800210"/>
                  <a:pt x="925738" y="800210"/>
                </a:cubicBezTo>
                <a:cubicBezTo>
                  <a:pt x="915588" y="859209"/>
                  <a:pt x="864158" y="903288"/>
                  <a:pt x="803254" y="903288"/>
                </a:cubicBezTo>
                <a:cubicBezTo>
                  <a:pt x="741673" y="903288"/>
                  <a:pt x="690244" y="859209"/>
                  <a:pt x="680093" y="800210"/>
                </a:cubicBezTo>
                <a:cubicBezTo>
                  <a:pt x="680093" y="800210"/>
                  <a:pt x="680093" y="800210"/>
                  <a:pt x="318054" y="800210"/>
                </a:cubicBezTo>
                <a:cubicBezTo>
                  <a:pt x="307903" y="859209"/>
                  <a:pt x="255796" y="903288"/>
                  <a:pt x="194892" y="903288"/>
                </a:cubicBezTo>
                <a:cubicBezTo>
                  <a:pt x="133989" y="903288"/>
                  <a:pt x="82559" y="859209"/>
                  <a:pt x="71731" y="800210"/>
                </a:cubicBezTo>
                <a:cubicBezTo>
                  <a:pt x="71731" y="800210"/>
                  <a:pt x="71731" y="800210"/>
                  <a:pt x="24362" y="800210"/>
                </a:cubicBezTo>
                <a:cubicBezTo>
                  <a:pt x="10151" y="800210"/>
                  <a:pt x="0" y="790038"/>
                  <a:pt x="0" y="775119"/>
                </a:cubicBezTo>
                <a:cubicBezTo>
                  <a:pt x="0" y="775119"/>
                  <a:pt x="0" y="775119"/>
                  <a:pt x="0" y="511321"/>
                </a:cubicBezTo>
                <a:cubicBezTo>
                  <a:pt x="0" y="504539"/>
                  <a:pt x="2030" y="499114"/>
                  <a:pt x="6767" y="494367"/>
                </a:cubicBezTo>
                <a:cubicBezTo>
                  <a:pt x="6767" y="494367"/>
                  <a:pt x="6767" y="494367"/>
                  <a:pt x="142786" y="358060"/>
                </a:cubicBezTo>
                <a:cubicBezTo>
                  <a:pt x="148200" y="352635"/>
                  <a:pt x="153613" y="350601"/>
                  <a:pt x="160380" y="350601"/>
                </a:cubicBezTo>
                <a:cubicBezTo>
                  <a:pt x="160380" y="350601"/>
                  <a:pt x="160380" y="350601"/>
                  <a:pt x="319407" y="350601"/>
                </a:cubicBezTo>
                <a:cubicBezTo>
                  <a:pt x="319407" y="350601"/>
                  <a:pt x="319407" y="350601"/>
                  <a:pt x="319407" y="25091"/>
                </a:cubicBezTo>
                <a:cubicBezTo>
                  <a:pt x="319407" y="10172"/>
                  <a:pt x="329558" y="0"/>
                  <a:pt x="344445" y="0"/>
                </a:cubicBezTo>
                <a:close/>
              </a:path>
            </a:pathLst>
          </a:custGeom>
          <a:solidFill>
            <a:srgbClr val="002050"/>
          </a:solidFill>
          <a:ln>
            <a:noFill/>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302" name="Group 301">
            <a:extLst>
              <a:ext uri="{FF2B5EF4-FFF2-40B4-BE49-F238E27FC236}">
                <a16:creationId xmlns:a16="http://schemas.microsoft.com/office/drawing/2014/main" id="{BFEA88DD-4D4A-4F9F-91C1-BB0AA596149B}"/>
              </a:ext>
            </a:extLst>
          </p:cNvPr>
          <p:cNvGrpSpPr/>
          <p:nvPr/>
        </p:nvGrpSpPr>
        <p:grpSpPr>
          <a:xfrm>
            <a:off x="4344952" y="2944452"/>
            <a:ext cx="401554" cy="348344"/>
            <a:chOff x="3747563" y="1351343"/>
            <a:chExt cx="1168925" cy="1014032"/>
          </a:xfrm>
          <a:solidFill>
            <a:srgbClr val="002050"/>
          </a:solidFill>
        </p:grpSpPr>
        <p:sp>
          <p:nvSpPr>
            <p:cNvPr id="300" name="Freeform: Shape 299">
              <a:extLst>
                <a:ext uri="{FF2B5EF4-FFF2-40B4-BE49-F238E27FC236}">
                  <a16:creationId xmlns:a16="http://schemas.microsoft.com/office/drawing/2014/main" id="{FEF3D159-79AD-4258-9B20-C170C96FBCC6}"/>
                </a:ext>
              </a:extLst>
            </p:cNvPr>
            <p:cNvSpPr>
              <a:spLocks/>
            </p:cNvSpPr>
            <p:nvPr/>
          </p:nvSpPr>
          <p:spPr bwMode="auto">
            <a:xfrm>
              <a:off x="3747563" y="1351343"/>
              <a:ext cx="1168925" cy="1014032"/>
            </a:xfrm>
            <a:custGeom>
              <a:avLst/>
              <a:gdLst>
                <a:gd name="connsiteX0" fmla="*/ 583932 w 1168925"/>
                <a:gd name="connsiteY0" fmla="*/ 42482 h 1014032"/>
                <a:gd name="connsiteX1" fmla="*/ 87838 w 1168925"/>
                <a:gd name="connsiteY1" fmla="*/ 350725 h 1014032"/>
                <a:gd name="connsiteX2" fmla="*/ 97006 w 1168925"/>
                <a:gd name="connsiteY2" fmla="*/ 350725 h 1014032"/>
                <a:gd name="connsiteX3" fmla="*/ 116361 w 1168925"/>
                <a:gd name="connsiteY3" fmla="*/ 370086 h 1014032"/>
                <a:gd name="connsiteX4" fmla="*/ 116361 w 1168925"/>
                <a:gd name="connsiteY4" fmla="*/ 974344 h 1014032"/>
                <a:gd name="connsiteX5" fmla="*/ 194290 w 1168925"/>
                <a:gd name="connsiteY5" fmla="*/ 974344 h 1014032"/>
                <a:gd name="connsiteX6" fmla="*/ 194290 w 1168925"/>
                <a:gd name="connsiteY6" fmla="*/ 448038 h 1014032"/>
                <a:gd name="connsiteX7" fmla="*/ 213644 w 1168925"/>
                <a:gd name="connsiteY7" fmla="*/ 428677 h 1014032"/>
                <a:gd name="connsiteX8" fmla="*/ 954220 w 1168925"/>
                <a:gd name="connsiteY8" fmla="*/ 428677 h 1014032"/>
                <a:gd name="connsiteX9" fmla="*/ 973575 w 1168925"/>
                <a:gd name="connsiteY9" fmla="*/ 448038 h 1014032"/>
                <a:gd name="connsiteX10" fmla="*/ 973575 w 1168925"/>
                <a:gd name="connsiteY10" fmla="*/ 974344 h 1014032"/>
                <a:gd name="connsiteX11" fmla="*/ 1051503 w 1168925"/>
                <a:gd name="connsiteY11" fmla="*/ 974344 h 1014032"/>
                <a:gd name="connsiteX12" fmla="*/ 1051503 w 1168925"/>
                <a:gd name="connsiteY12" fmla="*/ 370086 h 1014032"/>
                <a:gd name="connsiteX13" fmla="*/ 1070858 w 1168925"/>
                <a:gd name="connsiteY13" fmla="*/ 350725 h 1014032"/>
                <a:gd name="connsiteX14" fmla="*/ 1080026 w 1168925"/>
                <a:gd name="connsiteY14" fmla="*/ 350725 h 1014032"/>
                <a:gd name="connsiteX15" fmla="*/ 583932 w 1168925"/>
                <a:gd name="connsiteY15" fmla="*/ 42482 h 1014032"/>
                <a:gd name="connsiteX16" fmla="*/ 583393 w 1168925"/>
                <a:gd name="connsiteY16" fmla="*/ 130 h 1014032"/>
                <a:gd name="connsiteX17" fmla="*/ 594604 w 1168925"/>
                <a:gd name="connsiteY17" fmla="*/ 2680 h 1014032"/>
                <a:gd name="connsiteX18" fmla="*/ 1159752 w 1168925"/>
                <a:gd name="connsiteY18" fmla="*/ 353568 h 1014032"/>
                <a:gd name="connsiteX19" fmla="*/ 1168925 w 1168925"/>
                <a:gd name="connsiteY19" fmla="*/ 370398 h 1014032"/>
                <a:gd name="connsiteX20" fmla="*/ 1149560 w 1168925"/>
                <a:gd name="connsiteY20" fmla="*/ 389779 h 1014032"/>
                <a:gd name="connsiteX21" fmla="*/ 1091466 w 1168925"/>
                <a:gd name="connsiteY21" fmla="*/ 389779 h 1014032"/>
                <a:gd name="connsiteX22" fmla="*/ 1091466 w 1168925"/>
                <a:gd name="connsiteY22" fmla="*/ 994652 h 1014032"/>
                <a:gd name="connsiteX23" fmla="*/ 1071591 w 1168925"/>
                <a:gd name="connsiteY23" fmla="*/ 1014032 h 1014032"/>
                <a:gd name="connsiteX24" fmla="*/ 954892 w 1168925"/>
                <a:gd name="connsiteY24" fmla="*/ 1014032 h 1014032"/>
                <a:gd name="connsiteX25" fmla="*/ 935528 w 1168925"/>
                <a:gd name="connsiteY25" fmla="*/ 994652 h 1014032"/>
                <a:gd name="connsiteX26" fmla="*/ 935528 w 1168925"/>
                <a:gd name="connsiteY26" fmla="*/ 467810 h 1014032"/>
                <a:gd name="connsiteX27" fmla="*/ 233805 w 1168925"/>
                <a:gd name="connsiteY27" fmla="*/ 467810 h 1014032"/>
                <a:gd name="connsiteX28" fmla="*/ 233805 w 1168925"/>
                <a:gd name="connsiteY28" fmla="*/ 994652 h 1014032"/>
                <a:gd name="connsiteX29" fmla="*/ 213931 w 1168925"/>
                <a:gd name="connsiteY29" fmla="*/ 1014032 h 1014032"/>
                <a:gd name="connsiteX30" fmla="*/ 97232 w 1168925"/>
                <a:gd name="connsiteY30" fmla="*/ 1014032 h 1014032"/>
                <a:gd name="connsiteX31" fmla="*/ 77867 w 1168925"/>
                <a:gd name="connsiteY31" fmla="*/ 994652 h 1014032"/>
                <a:gd name="connsiteX32" fmla="*/ 77867 w 1168925"/>
                <a:gd name="connsiteY32" fmla="*/ 389779 h 1014032"/>
                <a:gd name="connsiteX33" fmla="*/ 19263 w 1168925"/>
                <a:gd name="connsiteY33" fmla="*/ 389779 h 1014032"/>
                <a:gd name="connsiteX34" fmla="*/ 2956 w 1168925"/>
                <a:gd name="connsiteY34" fmla="*/ 380598 h 1014032"/>
                <a:gd name="connsiteX35" fmla="*/ 9071 w 1168925"/>
                <a:gd name="connsiteY35" fmla="*/ 353568 h 1014032"/>
                <a:gd name="connsiteX36" fmla="*/ 574220 w 1168925"/>
                <a:gd name="connsiteY36" fmla="*/ 2680 h 1014032"/>
                <a:gd name="connsiteX37" fmla="*/ 583393 w 1168925"/>
                <a:gd name="connsiteY37" fmla="*/ 130 h 101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68925" h="1014032">
                  <a:moveTo>
                    <a:pt x="583932" y="42482"/>
                  </a:moveTo>
                  <a:lnTo>
                    <a:pt x="87838" y="350725"/>
                  </a:lnTo>
                  <a:cubicBezTo>
                    <a:pt x="87838" y="350725"/>
                    <a:pt x="87838" y="350725"/>
                    <a:pt x="97006" y="350725"/>
                  </a:cubicBezTo>
                  <a:cubicBezTo>
                    <a:pt x="107702" y="350725"/>
                    <a:pt x="116361" y="359386"/>
                    <a:pt x="116361" y="370086"/>
                  </a:cubicBezTo>
                  <a:cubicBezTo>
                    <a:pt x="116361" y="370086"/>
                    <a:pt x="116361" y="370086"/>
                    <a:pt x="116361" y="974344"/>
                  </a:cubicBezTo>
                  <a:cubicBezTo>
                    <a:pt x="116361" y="974344"/>
                    <a:pt x="116361" y="974344"/>
                    <a:pt x="194290" y="974344"/>
                  </a:cubicBezTo>
                  <a:cubicBezTo>
                    <a:pt x="194290" y="974344"/>
                    <a:pt x="194290" y="974344"/>
                    <a:pt x="194290" y="448038"/>
                  </a:cubicBezTo>
                  <a:cubicBezTo>
                    <a:pt x="194290" y="437339"/>
                    <a:pt x="202948" y="428677"/>
                    <a:pt x="213644" y="428677"/>
                  </a:cubicBezTo>
                  <a:cubicBezTo>
                    <a:pt x="213644" y="428677"/>
                    <a:pt x="213644" y="428677"/>
                    <a:pt x="954220" y="428677"/>
                  </a:cubicBezTo>
                  <a:cubicBezTo>
                    <a:pt x="964916" y="428677"/>
                    <a:pt x="973575" y="437339"/>
                    <a:pt x="973575" y="448038"/>
                  </a:cubicBezTo>
                  <a:cubicBezTo>
                    <a:pt x="973575" y="448038"/>
                    <a:pt x="973575" y="448038"/>
                    <a:pt x="973575" y="974344"/>
                  </a:cubicBezTo>
                  <a:cubicBezTo>
                    <a:pt x="973575" y="974344"/>
                    <a:pt x="973575" y="974344"/>
                    <a:pt x="1051503" y="974344"/>
                  </a:cubicBezTo>
                  <a:cubicBezTo>
                    <a:pt x="1051503" y="974344"/>
                    <a:pt x="1051503" y="974344"/>
                    <a:pt x="1051503" y="370086"/>
                  </a:cubicBezTo>
                  <a:cubicBezTo>
                    <a:pt x="1051503" y="359386"/>
                    <a:pt x="1060162" y="350725"/>
                    <a:pt x="1070858" y="350725"/>
                  </a:cubicBezTo>
                  <a:cubicBezTo>
                    <a:pt x="1070858" y="350725"/>
                    <a:pt x="1070858" y="350725"/>
                    <a:pt x="1080026" y="350725"/>
                  </a:cubicBezTo>
                  <a:cubicBezTo>
                    <a:pt x="1080026" y="350725"/>
                    <a:pt x="1080026" y="350725"/>
                    <a:pt x="583932" y="42482"/>
                  </a:cubicBezTo>
                  <a:close/>
                  <a:moveTo>
                    <a:pt x="583393" y="130"/>
                  </a:moveTo>
                  <a:cubicBezTo>
                    <a:pt x="587469" y="-380"/>
                    <a:pt x="591546" y="640"/>
                    <a:pt x="594604" y="2680"/>
                  </a:cubicBezTo>
                  <a:cubicBezTo>
                    <a:pt x="594604" y="2680"/>
                    <a:pt x="594604" y="2680"/>
                    <a:pt x="1159752" y="353568"/>
                  </a:cubicBezTo>
                  <a:cubicBezTo>
                    <a:pt x="1165358" y="357138"/>
                    <a:pt x="1168925" y="363768"/>
                    <a:pt x="1168925" y="370398"/>
                  </a:cubicBezTo>
                  <a:cubicBezTo>
                    <a:pt x="1168925" y="381108"/>
                    <a:pt x="1160262" y="389779"/>
                    <a:pt x="1149560" y="389779"/>
                  </a:cubicBezTo>
                  <a:cubicBezTo>
                    <a:pt x="1149560" y="389779"/>
                    <a:pt x="1149560" y="389779"/>
                    <a:pt x="1091466" y="389779"/>
                  </a:cubicBezTo>
                  <a:cubicBezTo>
                    <a:pt x="1091466" y="389779"/>
                    <a:pt x="1091466" y="389779"/>
                    <a:pt x="1091466" y="994652"/>
                  </a:cubicBezTo>
                  <a:cubicBezTo>
                    <a:pt x="1090956" y="1005362"/>
                    <a:pt x="1082293" y="1014032"/>
                    <a:pt x="1071591" y="1014032"/>
                  </a:cubicBezTo>
                  <a:cubicBezTo>
                    <a:pt x="1071591" y="1014032"/>
                    <a:pt x="1071591" y="1014032"/>
                    <a:pt x="954892" y="1014032"/>
                  </a:cubicBezTo>
                  <a:cubicBezTo>
                    <a:pt x="944191" y="1014032"/>
                    <a:pt x="935528" y="1005362"/>
                    <a:pt x="935528" y="994652"/>
                  </a:cubicBezTo>
                  <a:cubicBezTo>
                    <a:pt x="935528" y="994652"/>
                    <a:pt x="935528" y="994652"/>
                    <a:pt x="935528" y="467810"/>
                  </a:cubicBezTo>
                  <a:cubicBezTo>
                    <a:pt x="935528" y="467810"/>
                    <a:pt x="935528" y="467810"/>
                    <a:pt x="233805" y="467810"/>
                  </a:cubicBezTo>
                  <a:cubicBezTo>
                    <a:pt x="233805" y="467810"/>
                    <a:pt x="233805" y="467810"/>
                    <a:pt x="233805" y="994652"/>
                  </a:cubicBezTo>
                  <a:cubicBezTo>
                    <a:pt x="233296" y="1005362"/>
                    <a:pt x="224633" y="1014032"/>
                    <a:pt x="213931" y="1014032"/>
                  </a:cubicBezTo>
                  <a:cubicBezTo>
                    <a:pt x="213931" y="1014032"/>
                    <a:pt x="213931" y="1014032"/>
                    <a:pt x="97232" y="1014032"/>
                  </a:cubicBezTo>
                  <a:cubicBezTo>
                    <a:pt x="86530" y="1014032"/>
                    <a:pt x="77867" y="1005362"/>
                    <a:pt x="77867" y="994652"/>
                  </a:cubicBezTo>
                  <a:cubicBezTo>
                    <a:pt x="77867" y="994652"/>
                    <a:pt x="77867" y="994652"/>
                    <a:pt x="77867" y="389779"/>
                  </a:cubicBezTo>
                  <a:cubicBezTo>
                    <a:pt x="77867" y="389779"/>
                    <a:pt x="77867" y="389779"/>
                    <a:pt x="19263" y="389779"/>
                  </a:cubicBezTo>
                  <a:cubicBezTo>
                    <a:pt x="12638" y="389779"/>
                    <a:pt x="6523" y="386208"/>
                    <a:pt x="2956" y="380598"/>
                  </a:cubicBezTo>
                  <a:cubicBezTo>
                    <a:pt x="-2650" y="371418"/>
                    <a:pt x="-102" y="359688"/>
                    <a:pt x="9071" y="353568"/>
                  </a:cubicBezTo>
                  <a:cubicBezTo>
                    <a:pt x="9071" y="353568"/>
                    <a:pt x="9071" y="353568"/>
                    <a:pt x="574220" y="2680"/>
                  </a:cubicBezTo>
                  <a:cubicBezTo>
                    <a:pt x="576768" y="1150"/>
                    <a:pt x="580335" y="130"/>
                    <a:pt x="583393"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0" name="Freeform 77">
              <a:extLst>
                <a:ext uri="{FF2B5EF4-FFF2-40B4-BE49-F238E27FC236}">
                  <a16:creationId xmlns:a16="http://schemas.microsoft.com/office/drawing/2014/main" id="{73FF826C-A5D6-4A53-B7E5-8FFCAEC14204}"/>
                </a:ext>
              </a:extLst>
            </p:cNvPr>
            <p:cNvSpPr>
              <a:spLocks/>
            </p:cNvSpPr>
            <p:nvPr/>
          </p:nvSpPr>
          <p:spPr bwMode="auto">
            <a:xfrm>
              <a:off x="4194176" y="1546225"/>
              <a:ext cx="274638" cy="39687"/>
            </a:xfrm>
            <a:custGeom>
              <a:avLst/>
              <a:gdLst>
                <a:gd name="T0" fmla="*/ 38 w 540"/>
                <a:gd name="T1" fmla="*/ 0 h 78"/>
                <a:gd name="T2" fmla="*/ 1 w 540"/>
                <a:gd name="T3" fmla="*/ 40 h 78"/>
                <a:gd name="T4" fmla="*/ 42 w 540"/>
                <a:gd name="T5" fmla="*/ 76 h 78"/>
                <a:gd name="T6" fmla="*/ 501 w 540"/>
                <a:gd name="T7" fmla="*/ 76 h 78"/>
                <a:gd name="T8" fmla="*/ 539 w 540"/>
                <a:gd name="T9" fmla="*/ 39 h 78"/>
                <a:gd name="T10" fmla="*/ 502 w 540"/>
                <a:gd name="T11" fmla="*/ 0 h 78"/>
                <a:gd name="T12" fmla="*/ 501 w 540"/>
                <a:gd name="T13" fmla="*/ 0 h 78"/>
                <a:gd name="T14" fmla="*/ 42 w 540"/>
                <a:gd name="T15" fmla="*/ 0 h 78"/>
                <a:gd name="T16" fmla="*/ 38 w 540"/>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0" h="78">
                  <a:moveTo>
                    <a:pt x="38" y="0"/>
                  </a:moveTo>
                  <a:cubicBezTo>
                    <a:pt x="16" y="1"/>
                    <a:pt x="0" y="19"/>
                    <a:pt x="1" y="40"/>
                  </a:cubicBezTo>
                  <a:cubicBezTo>
                    <a:pt x="2" y="61"/>
                    <a:pt x="20" y="78"/>
                    <a:pt x="42" y="76"/>
                  </a:cubicBezTo>
                  <a:cubicBezTo>
                    <a:pt x="501" y="76"/>
                    <a:pt x="501" y="76"/>
                    <a:pt x="501" y="76"/>
                  </a:cubicBezTo>
                  <a:cubicBezTo>
                    <a:pt x="522" y="77"/>
                    <a:pt x="539" y="60"/>
                    <a:pt x="539" y="39"/>
                  </a:cubicBezTo>
                  <a:cubicBezTo>
                    <a:pt x="540" y="18"/>
                    <a:pt x="523" y="0"/>
                    <a:pt x="502" y="0"/>
                  </a:cubicBezTo>
                  <a:cubicBezTo>
                    <a:pt x="501" y="0"/>
                    <a:pt x="501" y="0"/>
                    <a:pt x="501" y="0"/>
                  </a:cubicBezTo>
                  <a:cubicBezTo>
                    <a:pt x="42" y="0"/>
                    <a:pt x="42" y="0"/>
                    <a:pt x="42" y="0"/>
                  </a:cubicBezTo>
                  <a:cubicBezTo>
                    <a:pt x="40" y="0"/>
                    <a:pt x="39" y="0"/>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1" name="Freeform 78">
              <a:extLst>
                <a:ext uri="{FF2B5EF4-FFF2-40B4-BE49-F238E27FC236}">
                  <a16:creationId xmlns:a16="http://schemas.microsoft.com/office/drawing/2014/main" id="{B8711C69-FEDF-4964-879D-46DBB5BDF1B6}"/>
                </a:ext>
              </a:extLst>
            </p:cNvPr>
            <p:cNvSpPr>
              <a:spLocks/>
            </p:cNvSpPr>
            <p:nvPr/>
          </p:nvSpPr>
          <p:spPr bwMode="auto">
            <a:xfrm>
              <a:off x="4116388" y="1624013"/>
              <a:ext cx="430213" cy="39687"/>
            </a:xfrm>
            <a:custGeom>
              <a:avLst/>
              <a:gdLst>
                <a:gd name="T0" fmla="*/ 38 w 846"/>
                <a:gd name="T1" fmla="*/ 0 h 78"/>
                <a:gd name="T2" fmla="*/ 1 w 846"/>
                <a:gd name="T3" fmla="*/ 40 h 78"/>
                <a:gd name="T4" fmla="*/ 42 w 846"/>
                <a:gd name="T5" fmla="*/ 76 h 78"/>
                <a:gd name="T6" fmla="*/ 807 w 846"/>
                <a:gd name="T7" fmla="*/ 76 h 78"/>
                <a:gd name="T8" fmla="*/ 845 w 846"/>
                <a:gd name="T9" fmla="*/ 39 h 78"/>
                <a:gd name="T10" fmla="*/ 808 w 846"/>
                <a:gd name="T11" fmla="*/ 0 h 78"/>
                <a:gd name="T12" fmla="*/ 807 w 846"/>
                <a:gd name="T13" fmla="*/ 0 h 78"/>
                <a:gd name="T14" fmla="*/ 42 w 846"/>
                <a:gd name="T15" fmla="*/ 0 h 78"/>
                <a:gd name="T16" fmla="*/ 38 w 846"/>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6" h="78">
                  <a:moveTo>
                    <a:pt x="38" y="0"/>
                  </a:moveTo>
                  <a:cubicBezTo>
                    <a:pt x="16" y="1"/>
                    <a:pt x="0" y="19"/>
                    <a:pt x="1" y="40"/>
                  </a:cubicBezTo>
                  <a:cubicBezTo>
                    <a:pt x="2" y="61"/>
                    <a:pt x="20" y="78"/>
                    <a:pt x="42" y="76"/>
                  </a:cubicBezTo>
                  <a:cubicBezTo>
                    <a:pt x="807" y="76"/>
                    <a:pt x="807" y="76"/>
                    <a:pt x="807" y="76"/>
                  </a:cubicBezTo>
                  <a:cubicBezTo>
                    <a:pt x="828" y="77"/>
                    <a:pt x="845" y="60"/>
                    <a:pt x="845" y="39"/>
                  </a:cubicBezTo>
                  <a:cubicBezTo>
                    <a:pt x="846" y="18"/>
                    <a:pt x="829" y="0"/>
                    <a:pt x="808" y="0"/>
                  </a:cubicBezTo>
                  <a:cubicBezTo>
                    <a:pt x="807" y="0"/>
                    <a:pt x="807" y="0"/>
                    <a:pt x="807" y="0"/>
                  </a:cubicBezTo>
                  <a:cubicBezTo>
                    <a:pt x="42" y="0"/>
                    <a:pt x="42" y="0"/>
                    <a:pt x="42" y="0"/>
                  </a:cubicBezTo>
                  <a:cubicBezTo>
                    <a:pt x="40" y="0"/>
                    <a:pt x="39" y="0"/>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1" name="Freeform: Shape 300">
              <a:extLst>
                <a:ext uri="{FF2B5EF4-FFF2-40B4-BE49-F238E27FC236}">
                  <a16:creationId xmlns:a16="http://schemas.microsoft.com/office/drawing/2014/main" id="{1B4110FD-8E66-4E9D-A187-EF822DA52424}"/>
                </a:ext>
              </a:extLst>
            </p:cNvPr>
            <p:cNvSpPr>
              <a:spLocks/>
            </p:cNvSpPr>
            <p:nvPr/>
          </p:nvSpPr>
          <p:spPr bwMode="auto">
            <a:xfrm>
              <a:off x="4020583" y="1897063"/>
              <a:ext cx="506969" cy="428625"/>
            </a:xfrm>
            <a:custGeom>
              <a:avLst/>
              <a:gdLst>
                <a:gd name="connsiteX0" fmla="*/ 233919 w 506969"/>
                <a:gd name="connsiteY0" fmla="*/ 238125 h 428625"/>
                <a:gd name="connsiteX1" fmla="*/ 156131 w 506969"/>
                <a:gd name="connsiteY1" fmla="*/ 271463 h 428625"/>
                <a:gd name="connsiteX2" fmla="*/ 156131 w 506969"/>
                <a:gd name="connsiteY2" fmla="*/ 379412 h 428625"/>
                <a:gd name="connsiteX3" fmla="*/ 233919 w 506969"/>
                <a:gd name="connsiteY3" fmla="*/ 346075 h 428625"/>
                <a:gd name="connsiteX4" fmla="*/ 38656 w 506969"/>
                <a:gd name="connsiteY4" fmla="*/ 238125 h 428625"/>
                <a:gd name="connsiteX5" fmla="*/ 38656 w 506969"/>
                <a:gd name="connsiteY5" fmla="*/ 346075 h 428625"/>
                <a:gd name="connsiteX6" fmla="*/ 116444 w 506969"/>
                <a:gd name="connsiteY6" fmla="*/ 379412 h 428625"/>
                <a:gd name="connsiteX7" fmla="*/ 116444 w 506969"/>
                <a:gd name="connsiteY7" fmla="*/ 271463 h 428625"/>
                <a:gd name="connsiteX8" fmla="*/ 92631 w 506969"/>
                <a:gd name="connsiteY8" fmla="*/ 260350 h 428625"/>
                <a:gd name="connsiteX9" fmla="*/ 51356 w 506969"/>
                <a:gd name="connsiteY9" fmla="*/ 242888 h 428625"/>
                <a:gd name="connsiteX10" fmla="*/ 351394 w 506969"/>
                <a:gd name="connsiteY10" fmla="*/ 233362 h 428625"/>
                <a:gd name="connsiteX11" fmla="*/ 351394 w 506969"/>
                <a:gd name="connsiteY11" fmla="*/ 261408 h 428625"/>
                <a:gd name="connsiteX12" fmla="*/ 361421 w 506969"/>
                <a:gd name="connsiteY12" fmla="*/ 256116 h 428625"/>
                <a:gd name="connsiteX13" fmla="*/ 369442 w 506969"/>
                <a:gd name="connsiteY13" fmla="*/ 254000 h 428625"/>
                <a:gd name="connsiteX14" fmla="*/ 378465 w 506969"/>
                <a:gd name="connsiteY14" fmla="*/ 256116 h 428625"/>
                <a:gd name="connsiteX15" fmla="*/ 389494 w 506969"/>
                <a:gd name="connsiteY15" fmla="*/ 261937 h 428625"/>
                <a:gd name="connsiteX16" fmla="*/ 389494 w 506969"/>
                <a:gd name="connsiteY16" fmla="*/ 233362 h 428625"/>
                <a:gd name="connsiteX17" fmla="*/ 351394 w 506969"/>
                <a:gd name="connsiteY17" fmla="*/ 233362 h 428625"/>
                <a:gd name="connsiteX18" fmla="*/ 272019 w 506969"/>
                <a:gd name="connsiteY18" fmla="*/ 233362 h 428625"/>
                <a:gd name="connsiteX19" fmla="*/ 272019 w 506969"/>
                <a:gd name="connsiteY19" fmla="*/ 358681 h 428625"/>
                <a:gd name="connsiteX20" fmla="*/ 272019 w 506969"/>
                <a:gd name="connsiteY20" fmla="*/ 360735 h 428625"/>
                <a:gd name="connsiteX21" fmla="*/ 272019 w 506969"/>
                <a:gd name="connsiteY21" fmla="*/ 390524 h 428625"/>
                <a:gd name="connsiteX22" fmla="*/ 467282 w 506969"/>
                <a:gd name="connsiteY22" fmla="*/ 390524 h 428625"/>
                <a:gd name="connsiteX23" fmla="*/ 467282 w 506969"/>
                <a:gd name="connsiteY23" fmla="*/ 233362 h 428625"/>
                <a:gd name="connsiteX24" fmla="*/ 428434 w 506969"/>
                <a:gd name="connsiteY24" fmla="*/ 233362 h 428625"/>
                <a:gd name="connsiteX25" fmla="*/ 428434 w 506969"/>
                <a:gd name="connsiteY25" fmla="*/ 292426 h 428625"/>
                <a:gd name="connsiteX26" fmla="*/ 409010 w 506969"/>
                <a:gd name="connsiteY26" fmla="*/ 311943 h 428625"/>
                <a:gd name="connsiteX27" fmla="*/ 404921 w 506969"/>
                <a:gd name="connsiteY27" fmla="*/ 311943 h 428625"/>
                <a:gd name="connsiteX28" fmla="*/ 403387 w 506969"/>
                <a:gd name="connsiteY28" fmla="*/ 311430 h 428625"/>
                <a:gd name="connsiteX29" fmla="*/ 399809 w 506969"/>
                <a:gd name="connsiteY29" fmla="*/ 309889 h 428625"/>
                <a:gd name="connsiteX30" fmla="*/ 369140 w 506969"/>
                <a:gd name="connsiteY30" fmla="*/ 294994 h 428625"/>
                <a:gd name="connsiteX31" fmla="*/ 341026 w 506969"/>
                <a:gd name="connsiteY31" fmla="*/ 309375 h 428625"/>
                <a:gd name="connsiteX32" fmla="*/ 330291 w 506969"/>
                <a:gd name="connsiteY32" fmla="*/ 311943 h 428625"/>
                <a:gd name="connsiteX33" fmla="*/ 328247 w 506969"/>
                <a:gd name="connsiteY33" fmla="*/ 311943 h 428625"/>
                <a:gd name="connsiteX34" fmla="*/ 326202 w 506969"/>
                <a:gd name="connsiteY34" fmla="*/ 311943 h 428625"/>
                <a:gd name="connsiteX35" fmla="*/ 310867 w 506969"/>
                <a:gd name="connsiteY35" fmla="*/ 288831 h 428625"/>
                <a:gd name="connsiteX36" fmla="*/ 310867 w 506969"/>
                <a:gd name="connsiteY36" fmla="*/ 233362 h 428625"/>
                <a:gd name="connsiteX37" fmla="*/ 272019 w 506969"/>
                <a:gd name="connsiteY37" fmla="*/ 233362 h 428625"/>
                <a:gd name="connsiteX38" fmla="*/ 137082 w 506969"/>
                <a:gd name="connsiteY38" fmla="*/ 179387 h 428625"/>
                <a:gd name="connsiteX39" fmla="*/ 68819 w 506969"/>
                <a:gd name="connsiteY39" fmla="*/ 207962 h 428625"/>
                <a:gd name="connsiteX40" fmla="*/ 108507 w 506969"/>
                <a:gd name="connsiteY40" fmla="*/ 225425 h 428625"/>
                <a:gd name="connsiteX41" fmla="*/ 137082 w 506969"/>
                <a:gd name="connsiteY41" fmla="*/ 236537 h 428625"/>
                <a:gd name="connsiteX42" fmla="*/ 203757 w 506969"/>
                <a:gd name="connsiteY42" fmla="*/ 207962 h 428625"/>
                <a:gd name="connsiteX43" fmla="*/ 351394 w 506969"/>
                <a:gd name="connsiteY43" fmla="*/ 39687 h 428625"/>
                <a:gd name="connsiteX44" fmla="*/ 351394 w 506969"/>
                <a:gd name="connsiteY44" fmla="*/ 66165 h 428625"/>
                <a:gd name="connsiteX45" fmla="*/ 361421 w 506969"/>
                <a:gd name="connsiteY45" fmla="*/ 61073 h 428625"/>
                <a:gd name="connsiteX46" fmla="*/ 369442 w 506969"/>
                <a:gd name="connsiteY46" fmla="*/ 59036 h 428625"/>
                <a:gd name="connsiteX47" fmla="*/ 378465 w 506969"/>
                <a:gd name="connsiteY47" fmla="*/ 61073 h 428625"/>
                <a:gd name="connsiteX48" fmla="*/ 389494 w 506969"/>
                <a:gd name="connsiteY48" fmla="*/ 66674 h 428625"/>
                <a:gd name="connsiteX49" fmla="*/ 389494 w 506969"/>
                <a:gd name="connsiteY49" fmla="*/ 39687 h 428625"/>
                <a:gd name="connsiteX50" fmla="*/ 351394 w 506969"/>
                <a:gd name="connsiteY50" fmla="*/ 39687 h 428625"/>
                <a:gd name="connsiteX51" fmla="*/ 272019 w 506969"/>
                <a:gd name="connsiteY51" fmla="*/ 39687 h 428625"/>
                <a:gd name="connsiteX52" fmla="*/ 272019 w 506969"/>
                <a:gd name="connsiteY52" fmla="*/ 195262 h 428625"/>
                <a:gd name="connsiteX53" fmla="*/ 325691 w 506969"/>
                <a:gd name="connsiteY53" fmla="*/ 195262 h 428625"/>
                <a:gd name="connsiteX54" fmla="*/ 330291 w 506969"/>
                <a:gd name="connsiteY54" fmla="*/ 194754 h 428625"/>
                <a:gd name="connsiteX55" fmla="*/ 334892 w 506969"/>
                <a:gd name="connsiteY55" fmla="*/ 195262 h 428625"/>
                <a:gd name="connsiteX56" fmla="*/ 403898 w 506969"/>
                <a:gd name="connsiteY56" fmla="*/ 195262 h 428625"/>
                <a:gd name="connsiteX57" fmla="*/ 408499 w 506969"/>
                <a:gd name="connsiteY57" fmla="*/ 194754 h 428625"/>
                <a:gd name="connsiteX58" fmla="*/ 413099 w 506969"/>
                <a:gd name="connsiteY58" fmla="*/ 195262 h 428625"/>
                <a:gd name="connsiteX59" fmla="*/ 467282 w 506969"/>
                <a:gd name="connsiteY59" fmla="*/ 195262 h 428625"/>
                <a:gd name="connsiteX60" fmla="*/ 467282 w 506969"/>
                <a:gd name="connsiteY60" fmla="*/ 39687 h 428625"/>
                <a:gd name="connsiteX61" fmla="*/ 428434 w 506969"/>
                <a:gd name="connsiteY61" fmla="*/ 39687 h 428625"/>
                <a:gd name="connsiteX62" fmla="*/ 428434 w 506969"/>
                <a:gd name="connsiteY62" fmla="*/ 97646 h 428625"/>
                <a:gd name="connsiteX63" fmla="*/ 422811 w 506969"/>
                <a:gd name="connsiteY63" fmla="*/ 111374 h 428625"/>
                <a:gd name="connsiteX64" fmla="*/ 421789 w 506969"/>
                <a:gd name="connsiteY64" fmla="*/ 112390 h 428625"/>
                <a:gd name="connsiteX65" fmla="*/ 420256 w 506969"/>
                <a:gd name="connsiteY65" fmla="*/ 113916 h 428625"/>
                <a:gd name="connsiteX66" fmla="*/ 419744 w 506969"/>
                <a:gd name="connsiteY66" fmla="*/ 113916 h 428625"/>
                <a:gd name="connsiteX67" fmla="*/ 418211 w 506969"/>
                <a:gd name="connsiteY67" fmla="*/ 114932 h 428625"/>
                <a:gd name="connsiteX68" fmla="*/ 414633 w 506969"/>
                <a:gd name="connsiteY68" fmla="*/ 116458 h 428625"/>
                <a:gd name="connsiteX69" fmla="*/ 413610 w 506969"/>
                <a:gd name="connsiteY69" fmla="*/ 116458 h 428625"/>
                <a:gd name="connsiteX70" fmla="*/ 413099 w 506969"/>
                <a:gd name="connsiteY70" fmla="*/ 116966 h 428625"/>
                <a:gd name="connsiteX71" fmla="*/ 411055 w 506969"/>
                <a:gd name="connsiteY71" fmla="*/ 117475 h 428625"/>
                <a:gd name="connsiteX72" fmla="*/ 399809 w 506969"/>
                <a:gd name="connsiteY72" fmla="*/ 115441 h 428625"/>
                <a:gd name="connsiteX73" fmla="*/ 369140 w 506969"/>
                <a:gd name="connsiteY73" fmla="*/ 100188 h 428625"/>
                <a:gd name="connsiteX74" fmla="*/ 340515 w 506969"/>
                <a:gd name="connsiteY74" fmla="*/ 114424 h 428625"/>
                <a:gd name="connsiteX75" fmla="*/ 340003 w 506969"/>
                <a:gd name="connsiteY75" fmla="*/ 114932 h 428625"/>
                <a:gd name="connsiteX76" fmla="*/ 338981 w 506969"/>
                <a:gd name="connsiteY76" fmla="*/ 115441 h 428625"/>
                <a:gd name="connsiteX77" fmla="*/ 338470 w 506969"/>
                <a:gd name="connsiteY77" fmla="*/ 115441 h 428625"/>
                <a:gd name="connsiteX78" fmla="*/ 337959 w 506969"/>
                <a:gd name="connsiteY78" fmla="*/ 115949 h 428625"/>
                <a:gd name="connsiteX79" fmla="*/ 334381 w 506969"/>
                <a:gd name="connsiteY79" fmla="*/ 116966 h 428625"/>
                <a:gd name="connsiteX80" fmla="*/ 333870 w 506969"/>
                <a:gd name="connsiteY80" fmla="*/ 116966 h 428625"/>
                <a:gd name="connsiteX81" fmla="*/ 326713 w 506969"/>
                <a:gd name="connsiteY81" fmla="*/ 116966 h 428625"/>
                <a:gd name="connsiteX82" fmla="*/ 310867 w 506969"/>
                <a:gd name="connsiteY82" fmla="*/ 94596 h 428625"/>
                <a:gd name="connsiteX83" fmla="*/ 310867 w 506969"/>
                <a:gd name="connsiteY83" fmla="*/ 39687 h 428625"/>
                <a:gd name="connsiteX84" fmla="*/ 272019 w 506969"/>
                <a:gd name="connsiteY84" fmla="*/ 39687 h 428625"/>
                <a:gd name="connsiteX85" fmla="*/ 253478 w 506969"/>
                <a:gd name="connsiteY85" fmla="*/ 0 h 428625"/>
                <a:gd name="connsiteX86" fmla="*/ 328304 w 506969"/>
                <a:gd name="connsiteY86" fmla="*/ 0 h 428625"/>
                <a:gd name="connsiteX87" fmla="*/ 331358 w 506969"/>
                <a:gd name="connsiteY87" fmla="*/ 0 h 428625"/>
                <a:gd name="connsiteX88" fmla="*/ 334412 w 506969"/>
                <a:gd name="connsiteY88" fmla="*/ 0 h 428625"/>
                <a:gd name="connsiteX89" fmla="*/ 406184 w 506969"/>
                <a:gd name="connsiteY89" fmla="*/ 0 h 428625"/>
                <a:gd name="connsiteX90" fmla="*/ 409238 w 506969"/>
                <a:gd name="connsiteY90" fmla="*/ 0 h 428625"/>
                <a:gd name="connsiteX91" fmla="*/ 412292 w 506969"/>
                <a:gd name="connsiteY91" fmla="*/ 0 h 428625"/>
                <a:gd name="connsiteX92" fmla="*/ 487118 w 506969"/>
                <a:gd name="connsiteY92" fmla="*/ 0 h 428625"/>
                <a:gd name="connsiteX93" fmla="*/ 506969 w 506969"/>
                <a:gd name="connsiteY93" fmla="*/ 19853 h 428625"/>
                <a:gd name="connsiteX94" fmla="*/ 506969 w 506969"/>
                <a:gd name="connsiteY94" fmla="*/ 214313 h 428625"/>
                <a:gd name="connsiteX95" fmla="*/ 506969 w 506969"/>
                <a:gd name="connsiteY95" fmla="*/ 409281 h 428625"/>
                <a:gd name="connsiteX96" fmla="*/ 487118 w 506969"/>
                <a:gd name="connsiteY96" fmla="*/ 428625 h 428625"/>
                <a:gd name="connsiteX97" fmla="*/ 253478 w 506969"/>
                <a:gd name="connsiteY97" fmla="*/ 428625 h 428625"/>
                <a:gd name="connsiteX98" fmla="*/ 234136 w 506969"/>
                <a:gd name="connsiteY98" fmla="*/ 409281 h 428625"/>
                <a:gd name="connsiteX99" fmla="*/ 234136 w 506969"/>
                <a:gd name="connsiteY99" fmla="*/ 388410 h 428625"/>
                <a:gd name="connsiteX100" fmla="*/ 146584 w 506969"/>
                <a:gd name="connsiteY100" fmla="*/ 426080 h 428625"/>
                <a:gd name="connsiteX101" fmla="*/ 144039 w 506969"/>
                <a:gd name="connsiteY101" fmla="*/ 427098 h 428625"/>
                <a:gd name="connsiteX102" fmla="*/ 143021 w 506969"/>
                <a:gd name="connsiteY102" fmla="*/ 427607 h 428625"/>
                <a:gd name="connsiteX103" fmla="*/ 142512 w 506969"/>
                <a:gd name="connsiteY103" fmla="*/ 427607 h 428625"/>
                <a:gd name="connsiteX104" fmla="*/ 140985 w 506969"/>
                <a:gd name="connsiteY104" fmla="*/ 428116 h 428625"/>
                <a:gd name="connsiteX105" fmla="*/ 140476 w 506969"/>
                <a:gd name="connsiteY105" fmla="*/ 428116 h 428625"/>
                <a:gd name="connsiteX106" fmla="*/ 138949 w 506969"/>
                <a:gd name="connsiteY106" fmla="*/ 428625 h 428625"/>
                <a:gd name="connsiteX107" fmla="*/ 130805 w 506969"/>
                <a:gd name="connsiteY107" fmla="*/ 427607 h 428625"/>
                <a:gd name="connsiteX108" fmla="*/ 127751 w 506969"/>
                <a:gd name="connsiteY108" fmla="*/ 426589 h 428625"/>
                <a:gd name="connsiteX109" fmla="*/ 127242 w 506969"/>
                <a:gd name="connsiteY109" fmla="*/ 426080 h 428625"/>
                <a:gd name="connsiteX110" fmla="*/ 14749 w 506969"/>
                <a:gd name="connsiteY110" fmla="*/ 377211 h 428625"/>
                <a:gd name="connsiteX111" fmla="*/ 3041 w 506969"/>
                <a:gd name="connsiteY111" fmla="*/ 368557 h 428625"/>
                <a:gd name="connsiteX112" fmla="*/ 3041 w 506969"/>
                <a:gd name="connsiteY112" fmla="*/ 368047 h 428625"/>
                <a:gd name="connsiteX113" fmla="*/ 2023 w 506969"/>
                <a:gd name="connsiteY113" fmla="*/ 366520 h 428625"/>
                <a:gd name="connsiteX114" fmla="*/ 2023 w 506969"/>
                <a:gd name="connsiteY114" fmla="*/ 366011 h 428625"/>
                <a:gd name="connsiteX115" fmla="*/ 1514 w 506969"/>
                <a:gd name="connsiteY115" fmla="*/ 364484 h 428625"/>
                <a:gd name="connsiteX116" fmla="*/ 1514 w 506969"/>
                <a:gd name="connsiteY116" fmla="*/ 363975 h 428625"/>
                <a:gd name="connsiteX117" fmla="*/ 1005 w 506969"/>
                <a:gd name="connsiteY117" fmla="*/ 362957 h 428625"/>
                <a:gd name="connsiteX118" fmla="*/ 1005 w 506969"/>
                <a:gd name="connsiteY118" fmla="*/ 362448 h 428625"/>
                <a:gd name="connsiteX119" fmla="*/ 1005 w 506969"/>
                <a:gd name="connsiteY119" fmla="*/ 361939 h 428625"/>
                <a:gd name="connsiteX120" fmla="*/ 496 w 506969"/>
                <a:gd name="connsiteY120" fmla="*/ 356848 h 428625"/>
                <a:gd name="connsiteX121" fmla="*/ 496 w 506969"/>
                <a:gd name="connsiteY121" fmla="*/ 212785 h 428625"/>
                <a:gd name="connsiteX122" fmla="*/ 6095 w 506969"/>
                <a:gd name="connsiteY122" fmla="*/ 193950 h 428625"/>
                <a:gd name="connsiteX123" fmla="*/ 6604 w 506969"/>
                <a:gd name="connsiteY123" fmla="*/ 192932 h 428625"/>
                <a:gd name="connsiteX124" fmla="*/ 7113 w 506969"/>
                <a:gd name="connsiteY124" fmla="*/ 192423 h 428625"/>
                <a:gd name="connsiteX125" fmla="*/ 15767 w 506969"/>
                <a:gd name="connsiteY125" fmla="*/ 188351 h 428625"/>
                <a:gd name="connsiteX126" fmla="*/ 126733 w 506969"/>
                <a:gd name="connsiteY126" fmla="*/ 140499 h 428625"/>
                <a:gd name="connsiteX127" fmla="*/ 135895 w 506969"/>
                <a:gd name="connsiteY127" fmla="*/ 137445 h 428625"/>
                <a:gd name="connsiteX128" fmla="*/ 147602 w 506969"/>
                <a:gd name="connsiteY128" fmla="*/ 140499 h 428625"/>
                <a:gd name="connsiteX129" fmla="*/ 234136 w 506969"/>
                <a:gd name="connsiteY129" fmla="*/ 178170 h 428625"/>
                <a:gd name="connsiteX130" fmla="*/ 234136 w 506969"/>
                <a:gd name="connsiteY130" fmla="*/ 19853 h 428625"/>
                <a:gd name="connsiteX131" fmla="*/ 253478 w 506969"/>
                <a:gd name="connsiteY131" fmla="*/ 0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506969" h="428625">
                  <a:moveTo>
                    <a:pt x="233919" y="238125"/>
                  </a:moveTo>
                  <a:lnTo>
                    <a:pt x="156131" y="271463"/>
                  </a:lnTo>
                  <a:lnTo>
                    <a:pt x="156131" y="379412"/>
                  </a:lnTo>
                  <a:lnTo>
                    <a:pt x="233919" y="346075"/>
                  </a:lnTo>
                  <a:close/>
                  <a:moveTo>
                    <a:pt x="38656" y="238125"/>
                  </a:moveTo>
                  <a:lnTo>
                    <a:pt x="38656" y="346075"/>
                  </a:lnTo>
                  <a:lnTo>
                    <a:pt x="116444" y="379412"/>
                  </a:lnTo>
                  <a:lnTo>
                    <a:pt x="116444" y="271463"/>
                  </a:lnTo>
                  <a:lnTo>
                    <a:pt x="92631" y="260350"/>
                  </a:lnTo>
                  <a:lnTo>
                    <a:pt x="51356" y="242888"/>
                  </a:lnTo>
                  <a:close/>
                  <a:moveTo>
                    <a:pt x="351394" y="233362"/>
                  </a:moveTo>
                  <a:lnTo>
                    <a:pt x="351394" y="261408"/>
                  </a:lnTo>
                  <a:cubicBezTo>
                    <a:pt x="351394" y="261408"/>
                    <a:pt x="351394" y="261408"/>
                    <a:pt x="361421" y="256116"/>
                  </a:cubicBezTo>
                  <a:cubicBezTo>
                    <a:pt x="363927" y="254529"/>
                    <a:pt x="366434" y="254000"/>
                    <a:pt x="369442" y="254000"/>
                  </a:cubicBezTo>
                  <a:cubicBezTo>
                    <a:pt x="372450" y="254000"/>
                    <a:pt x="375959" y="254529"/>
                    <a:pt x="378465" y="256116"/>
                  </a:cubicBezTo>
                  <a:cubicBezTo>
                    <a:pt x="378465" y="256116"/>
                    <a:pt x="378465" y="256116"/>
                    <a:pt x="389494" y="261937"/>
                  </a:cubicBezTo>
                  <a:cubicBezTo>
                    <a:pt x="389494" y="261937"/>
                    <a:pt x="389494" y="261937"/>
                    <a:pt x="389494" y="233362"/>
                  </a:cubicBezTo>
                  <a:cubicBezTo>
                    <a:pt x="389494" y="233362"/>
                    <a:pt x="389494" y="233362"/>
                    <a:pt x="351394" y="233362"/>
                  </a:cubicBezTo>
                  <a:close/>
                  <a:moveTo>
                    <a:pt x="272019" y="233362"/>
                  </a:moveTo>
                  <a:lnTo>
                    <a:pt x="272019" y="358681"/>
                  </a:lnTo>
                  <a:cubicBezTo>
                    <a:pt x="272019" y="359708"/>
                    <a:pt x="272019" y="360222"/>
                    <a:pt x="272019" y="360735"/>
                  </a:cubicBezTo>
                  <a:cubicBezTo>
                    <a:pt x="272019" y="360735"/>
                    <a:pt x="272019" y="360735"/>
                    <a:pt x="272019" y="390524"/>
                  </a:cubicBezTo>
                  <a:cubicBezTo>
                    <a:pt x="272019" y="390524"/>
                    <a:pt x="272019" y="390524"/>
                    <a:pt x="467282" y="390524"/>
                  </a:cubicBezTo>
                  <a:cubicBezTo>
                    <a:pt x="467282" y="390524"/>
                    <a:pt x="467282" y="390524"/>
                    <a:pt x="467282" y="233362"/>
                  </a:cubicBezTo>
                  <a:cubicBezTo>
                    <a:pt x="467282" y="233362"/>
                    <a:pt x="467282" y="233362"/>
                    <a:pt x="428434" y="233362"/>
                  </a:cubicBezTo>
                  <a:cubicBezTo>
                    <a:pt x="428434" y="233362"/>
                    <a:pt x="428434" y="233362"/>
                    <a:pt x="428434" y="292426"/>
                  </a:cubicBezTo>
                  <a:cubicBezTo>
                    <a:pt x="428434" y="303212"/>
                    <a:pt x="419744" y="311943"/>
                    <a:pt x="409010" y="311943"/>
                  </a:cubicBezTo>
                  <a:cubicBezTo>
                    <a:pt x="407477" y="312457"/>
                    <a:pt x="406454" y="311943"/>
                    <a:pt x="404921" y="311943"/>
                  </a:cubicBezTo>
                  <a:cubicBezTo>
                    <a:pt x="404410" y="311943"/>
                    <a:pt x="403898" y="311430"/>
                    <a:pt x="403387" y="311430"/>
                  </a:cubicBezTo>
                  <a:cubicBezTo>
                    <a:pt x="401854" y="310916"/>
                    <a:pt x="400831" y="310916"/>
                    <a:pt x="399809" y="309889"/>
                  </a:cubicBezTo>
                  <a:cubicBezTo>
                    <a:pt x="399809" y="309889"/>
                    <a:pt x="399809" y="309889"/>
                    <a:pt x="369140" y="294994"/>
                  </a:cubicBezTo>
                  <a:cubicBezTo>
                    <a:pt x="369140" y="294994"/>
                    <a:pt x="369140" y="294994"/>
                    <a:pt x="341026" y="309375"/>
                  </a:cubicBezTo>
                  <a:cubicBezTo>
                    <a:pt x="337959" y="310916"/>
                    <a:pt x="334381" y="311943"/>
                    <a:pt x="330291" y="311943"/>
                  </a:cubicBezTo>
                  <a:cubicBezTo>
                    <a:pt x="329780" y="312457"/>
                    <a:pt x="329269" y="311943"/>
                    <a:pt x="328247" y="311943"/>
                  </a:cubicBezTo>
                  <a:cubicBezTo>
                    <a:pt x="327736" y="311943"/>
                    <a:pt x="327224" y="311943"/>
                    <a:pt x="326202" y="311943"/>
                  </a:cubicBezTo>
                  <a:cubicBezTo>
                    <a:pt x="315979" y="309889"/>
                    <a:pt x="308823" y="299617"/>
                    <a:pt x="310867" y="288831"/>
                  </a:cubicBezTo>
                  <a:cubicBezTo>
                    <a:pt x="310867" y="288831"/>
                    <a:pt x="310867" y="288831"/>
                    <a:pt x="310867" y="233362"/>
                  </a:cubicBezTo>
                  <a:cubicBezTo>
                    <a:pt x="310867" y="233362"/>
                    <a:pt x="310867" y="233362"/>
                    <a:pt x="272019" y="233362"/>
                  </a:cubicBezTo>
                  <a:close/>
                  <a:moveTo>
                    <a:pt x="137082" y="179387"/>
                  </a:moveTo>
                  <a:lnTo>
                    <a:pt x="68819" y="207962"/>
                  </a:lnTo>
                  <a:lnTo>
                    <a:pt x="108507" y="225425"/>
                  </a:lnTo>
                  <a:lnTo>
                    <a:pt x="137082" y="236537"/>
                  </a:lnTo>
                  <a:lnTo>
                    <a:pt x="203757" y="207962"/>
                  </a:lnTo>
                  <a:close/>
                  <a:moveTo>
                    <a:pt x="351394" y="39687"/>
                  </a:moveTo>
                  <a:lnTo>
                    <a:pt x="351394" y="66165"/>
                  </a:lnTo>
                  <a:cubicBezTo>
                    <a:pt x="351394" y="66165"/>
                    <a:pt x="351394" y="66165"/>
                    <a:pt x="361421" y="61073"/>
                  </a:cubicBezTo>
                  <a:cubicBezTo>
                    <a:pt x="363927" y="60055"/>
                    <a:pt x="366434" y="59036"/>
                    <a:pt x="369442" y="59036"/>
                  </a:cubicBezTo>
                  <a:cubicBezTo>
                    <a:pt x="372450" y="59036"/>
                    <a:pt x="375959" y="59545"/>
                    <a:pt x="378465" y="61073"/>
                  </a:cubicBezTo>
                  <a:cubicBezTo>
                    <a:pt x="378465" y="61073"/>
                    <a:pt x="378465" y="61073"/>
                    <a:pt x="389494" y="66674"/>
                  </a:cubicBezTo>
                  <a:cubicBezTo>
                    <a:pt x="389494" y="66674"/>
                    <a:pt x="389494" y="66674"/>
                    <a:pt x="389494" y="39687"/>
                  </a:cubicBezTo>
                  <a:cubicBezTo>
                    <a:pt x="389494" y="39687"/>
                    <a:pt x="389494" y="39687"/>
                    <a:pt x="351394" y="39687"/>
                  </a:cubicBezTo>
                  <a:close/>
                  <a:moveTo>
                    <a:pt x="272019" y="39687"/>
                  </a:moveTo>
                  <a:lnTo>
                    <a:pt x="272019" y="195262"/>
                  </a:lnTo>
                  <a:cubicBezTo>
                    <a:pt x="272019" y="195262"/>
                    <a:pt x="272019" y="195262"/>
                    <a:pt x="325691" y="195262"/>
                  </a:cubicBezTo>
                  <a:cubicBezTo>
                    <a:pt x="327224" y="194754"/>
                    <a:pt x="328758" y="194754"/>
                    <a:pt x="330291" y="194754"/>
                  </a:cubicBezTo>
                  <a:cubicBezTo>
                    <a:pt x="331825" y="194754"/>
                    <a:pt x="333358" y="194754"/>
                    <a:pt x="334892" y="195262"/>
                  </a:cubicBezTo>
                  <a:cubicBezTo>
                    <a:pt x="334892" y="195262"/>
                    <a:pt x="334892" y="195262"/>
                    <a:pt x="403898" y="195262"/>
                  </a:cubicBezTo>
                  <a:cubicBezTo>
                    <a:pt x="405432" y="194754"/>
                    <a:pt x="406965" y="194754"/>
                    <a:pt x="408499" y="194754"/>
                  </a:cubicBezTo>
                  <a:cubicBezTo>
                    <a:pt x="410032" y="194754"/>
                    <a:pt x="411566" y="194754"/>
                    <a:pt x="413099" y="195262"/>
                  </a:cubicBezTo>
                  <a:cubicBezTo>
                    <a:pt x="413099" y="195262"/>
                    <a:pt x="413099" y="195262"/>
                    <a:pt x="467282" y="195262"/>
                  </a:cubicBezTo>
                  <a:cubicBezTo>
                    <a:pt x="467282" y="195262"/>
                    <a:pt x="467282" y="195262"/>
                    <a:pt x="467282" y="39687"/>
                  </a:cubicBezTo>
                  <a:cubicBezTo>
                    <a:pt x="467282" y="39687"/>
                    <a:pt x="467282" y="39687"/>
                    <a:pt x="428434" y="39687"/>
                  </a:cubicBezTo>
                  <a:cubicBezTo>
                    <a:pt x="428434" y="39687"/>
                    <a:pt x="428434" y="39687"/>
                    <a:pt x="428434" y="97646"/>
                  </a:cubicBezTo>
                  <a:cubicBezTo>
                    <a:pt x="428434" y="102731"/>
                    <a:pt x="426389" y="107815"/>
                    <a:pt x="422811" y="111374"/>
                  </a:cubicBezTo>
                  <a:cubicBezTo>
                    <a:pt x="422300" y="111882"/>
                    <a:pt x="421789" y="111882"/>
                    <a:pt x="421789" y="112390"/>
                  </a:cubicBezTo>
                  <a:cubicBezTo>
                    <a:pt x="421278" y="112899"/>
                    <a:pt x="420767" y="113407"/>
                    <a:pt x="420256" y="113916"/>
                  </a:cubicBezTo>
                  <a:cubicBezTo>
                    <a:pt x="419744" y="113916"/>
                    <a:pt x="419744" y="113916"/>
                    <a:pt x="419744" y="113916"/>
                  </a:cubicBezTo>
                  <a:cubicBezTo>
                    <a:pt x="419233" y="113916"/>
                    <a:pt x="418722" y="114424"/>
                    <a:pt x="418211" y="114932"/>
                  </a:cubicBezTo>
                  <a:cubicBezTo>
                    <a:pt x="417189" y="115441"/>
                    <a:pt x="416166" y="115949"/>
                    <a:pt x="414633" y="116458"/>
                  </a:cubicBezTo>
                  <a:cubicBezTo>
                    <a:pt x="414122" y="116458"/>
                    <a:pt x="414122" y="116458"/>
                    <a:pt x="413610" y="116458"/>
                  </a:cubicBezTo>
                  <a:cubicBezTo>
                    <a:pt x="413099" y="116966"/>
                    <a:pt x="413099" y="116966"/>
                    <a:pt x="413099" y="116966"/>
                  </a:cubicBezTo>
                  <a:cubicBezTo>
                    <a:pt x="412077" y="116966"/>
                    <a:pt x="411566" y="116966"/>
                    <a:pt x="411055" y="117475"/>
                  </a:cubicBezTo>
                  <a:cubicBezTo>
                    <a:pt x="406965" y="117983"/>
                    <a:pt x="402876" y="116966"/>
                    <a:pt x="399809" y="115441"/>
                  </a:cubicBezTo>
                  <a:cubicBezTo>
                    <a:pt x="399809" y="115441"/>
                    <a:pt x="399809" y="115441"/>
                    <a:pt x="369140" y="100188"/>
                  </a:cubicBezTo>
                  <a:cubicBezTo>
                    <a:pt x="369140" y="100188"/>
                    <a:pt x="369140" y="100188"/>
                    <a:pt x="340515" y="114424"/>
                  </a:cubicBezTo>
                  <a:cubicBezTo>
                    <a:pt x="340003" y="114932"/>
                    <a:pt x="340003" y="114932"/>
                    <a:pt x="340003" y="114932"/>
                  </a:cubicBezTo>
                  <a:cubicBezTo>
                    <a:pt x="340003" y="114932"/>
                    <a:pt x="340003" y="114932"/>
                    <a:pt x="338981" y="115441"/>
                  </a:cubicBezTo>
                  <a:cubicBezTo>
                    <a:pt x="338470" y="115441"/>
                    <a:pt x="338470" y="115441"/>
                    <a:pt x="338470" y="115441"/>
                  </a:cubicBezTo>
                  <a:cubicBezTo>
                    <a:pt x="337959" y="115441"/>
                    <a:pt x="337959" y="115949"/>
                    <a:pt x="337959" y="115949"/>
                  </a:cubicBezTo>
                  <a:cubicBezTo>
                    <a:pt x="336937" y="115949"/>
                    <a:pt x="335914" y="116458"/>
                    <a:pt x="334381" y="116966"/>
                  </a:cubicBezTo>
                  <a:cubicBezTo>
                    <a:pt x="334381" y="116966"/>
                    <a:pt x="333870" y="116966"/>
                    <a:pt x="333870" y="116966"/>
                  </a:cubicBezTo>
                  <a:cubicBezTo>
                    <a:pt x="331314" y="117475"/>
                    <a:pt x="328758" y="117475"/>
                    <a:pt x="326713" y="116966"/>
                  </a:cubicBezTo>
                  <a:cubicBezTo>
                    <a:pt x="315979" y="114932"/>
                    <a:pt x="308823" y="104764"/>
                    <a:pt x="310867" y="94596"/>
                  </a:cubicBezTo>
                  <a:cubicBezTo>
                    <a:pt x="310867" y="94596"/>
                    <a:pt x="310867" y="94596"/>
                    <a:pt x="310867" y="39687"/>
                  </a:cubicBezTo>
                  <a:cubicBezTo>
                    <a:pt x="310867" y="39687"/>
                    <a:pt x="310867" y="39687"/>
                    <a:pt x="272019" y="39687"/>
                  </a:cubicBezTo>
                  <a:close/>
                  <a:moveTo>
                    <a:pt x="253478" y="0"/>
                  </a:moveTo>
                  <a:cubicBezTo>
                    <a:pt x="253478" y="0"/>
                    <a:pt x="253478" y="0"/>
                    <a:pt x="328304" y="0"/>
                  </a:cubicBezTo>
                  <a:cubicBezTo>
                    <a:pt x="329322" y="0"/>
                    <a:pt x="330340" y="0"/>
                    <a:pt x="331358" y="0"/>
                  </a:cubicBezTo>
                  <a:cubicBezTo>
                    <a:pt x="332376" y="0"/>
                    <a:pt x="333394" y="0"/>
                    <a:pt x="334412" y="0"/>
                  </a:cubicBezTo>
                  <a:cubicBezTo>
                    <a:pt x="334412" y="0"/>
                    <a:pt x="334412" y="0"/>
                    <a:pt x="406184" y="0"/>
                  </a:cubicBezTo>
                  <a:cubicBezTo>
                    <a:pt x="407202" y="0"/>
                    <a:pt x="408220" y="0"/>
                    <a:pt x="409238" y="0"/>
                  </a:cubicBezTo>
                  <a:cubicBezTo>
                    <a:pt x="410256" y="0"/>
                    <a:pt x="411274" y="0"/>
                    <a:pt x="412292" y="0"/>
                  </a:cubicBezTo>
                  <a:cubicBezTo>
                    <a:pt x="412292" y="0"/>
                    <a:pt x="412292" y="0"/>
                    <a:pt x="487118" y="0"/>
                  </a:cubicBezTo>
                  <a:cubicBezTo>
                    <a:pt x="497807" y="0"/>
                    <a:pt x="506460" y="9163"/>
                    <a:pt x="506969" y="19853"/>
                  </a:cubicBezTo>
                  <a:cubicBezTo>
                    <a:pt x="506969" y="19853"/>
                    <a:pt x="506969" y="19853"/>
                    <a:pt x="506969" y="214313"/>
                  </a:cubicBezTo>
                  <a:cubicBezTo>
                    <a:pt x="506969" y="214313"/>
                    <a:pt x="506969" y="214313"/>
                    <a:pt x="506969" y="409281"/>
                  </a:cubicBezTo>
                  <a:cubicBezTo>
                    <a:pt x="506460" y="419971"/>
                    <a:pt x="497807" y="428625"/>
                    <a:pt x="487118" y="428625"/>
                  </a:cubicBezTo>
                  <a:cubicBezTo>
                    <a:pt x="487118" y="428625"/>
                    <a:pt x="487118" y="428625"/>
                    <a:pt x="253478" y="428625"/>
                  </a:cubicBezTo>
                  <a:cubicBezTo>
                    <a:pt x="242789" y="428625"/>
                    <a:pt x="234136" y="419971"/>
                    <a:pt x="234136" y="409281"/>
                  </a:cubicBezTo>
                  <a:cubicBezTo>
                    <a:pt x="234136" y="409281"/>
                    <a:pt x="234136" y="409281"/>
                    <a:pt x="234136" y="388410"/>
                  </a:cubicBezTo>
                  <a:cubicBezTo>
                    <a:pt x="234136" y="388410"/>
                    <a:pt x="234136" y="388410"/>
                    <a:pt x="146584" y="426080"/>
                  </a:cubicBezTo>
                  <a:cubicBezTo>
                    <a:pt x="145566" y="426589"/>
                    <a:pt x="145057" y="426589"/>
                    <a:pt x="144039" y="427098"/>
                  </a:cubicBezTo>
                  <a:cubicBezTo>
                    <a:pt x="143530" y="427098"/>
                    <a:pt x="143021" y="427607"/>
                    <a:pt x="143021" y="427607"/>
                  </a:cubicBezTo>
                  <a:cubicBezTo>
                    <a:pt x="142512" y="427607"/>
                    <a:pt x="142512" y="427607"/>
                    <a:pt x="142512" y="427607"/>
                  </a:cubicBezTo>
                  <a:cubicBezTo>
                    <a:pt x="142003" y="428116"/>
                    <a:pt x="141494" y="428116"/>
                    <a:pt x="140985" y="428116"/>
                  </a:cubicBezTo>
                  <a:cubicBezTo>
                    <a:pt x="140985" y="428116"/>
                    <a:pt x="140476" y="428116"/>
                    <a:pt x="140476" y="428116"/>
                  </a:cubicBezTo>
                  <a:cubicBezTo>
                    <a:pt x="139967" y="428116"/>
                    <a:pt x="139458" y="428116"/>
                    <a:pt x="138949" y="428625"/>
                  </a:cubicBezTo>
                  <a:cubicBezTo>
                    <a:pt x="135895" y="428625"/>
                    <a:pt x="133350" y="428625"/>
                    <a:pt x="130805" y="427607"/>
                  </a:cubicBezTo>
                  <a:cubicBezTo>
                    <a:pt x="129787" y="427098"/>
                    <a:pt x="128769" y="426589"/>
                    <a:pt x="127751" y="426589"/>
                  </a:cubicBezTo>
                  <a:cubicBezTo>
                    <a:pt x="127751" y="426080"/>
                    <a:pt x="127242" y="426080"/>
                    <a:pt x="127242" y="426080"/>
                  </a:cubicBezTo>
                  <a:cubicBezTo>
                    <a:pt x="127242" y="426080"/>
                    <a:pt x="127242" y="426080"/>
                    <a:pt x="14749" y="377211"/>
                  </a:cubicBezTo>
                  <a:cubicBezTo>
                    <a:pt x="9659" y="376192"/>
                    <a:pt x="5586" y="372629"/>
                    <a:pt x="3041" y="368557"/>
                  </a:cubicBezTo>
                  <a:cubicBezTo>
                    <a:pt x="3041" y="368557"/>
                    <a:pt x="3041" y="368047"/>
                    <a:pt x="3041" y="368047"/>
                  </a:cubicBezTo>
                  <a:cubicBezTo>
                    <a:pt x="2532" y="367538"/>
                    <a:pt x="2532" y="367029"/>
                    <a:pt x="2023" y="366520"/>
                  </a:cubicBezTo>
                  <a:cubicBezTo>
                    <a:pt x="2023" y="366520"/>
                    <a:pt x="2023" y="366011"/>
                    <a:pt x="2023" y="366011"/>
                  </a:cubicBezTo>
                  <a:cubicBezTo>
                    <a:pt x="2023" y="365502"/>
                    <a:pt x="1514" y="364993"/>
                    <a:pt x="1514" y="364484"/>
                  </a:cubicBezTo>
                  <a:cubicBezTo>
                    <a:pt x="1514" y="364484"/>
                    <a:pt x="1514" y="364484"/>
                    <a:pt x="1514" y="363975"/>
                  </a:cubicBezTo>
                  <a:cubicBezTo>
                    <a:pt x="1005" y="363975"/>
                    <a:pt x="1005" y="363466"/>
                    <a:pt x="1005" y="362957"/>
                  </a:cubicBezTo>
                  <a:cubicBezTo>
                    <a:pt x="1005" y="362957"/>
                    <a:pt x="1005" y="362448"/>
                    <a:pt x="1005" y="362448"/>
                  </a:cubicBezTo>
                  <a:cubicBezTo>
                    <a:pt x="1005" y="362448"/>
                    <a:pt x="1005" y="361939"/>
                    <a:pt x="1005" y="361939"/>
                  </a:cubicBezTo>
                  <a:cubicBezTo>
                    <a:pt x="496" y="360412"/>
                    <a:pt x="496" y="358375"/>
                    <a:pt x="496" y="356848"/>
                  </a:cubicBezTo>
                  <a:cubicBezTo>
                    <a:pt x="496" y="356848"/>
                    <a:pt x="496" y="356848"/>
                    <a:pt x="496" y="212785"/>
                  </a:cubicBezTo>
                  <a:cubicBezTo>
                    <a:pt x="-1031" y="206168"/>
                    <a:pt x="1005" y="198532"/>
                    <a:pt x="6095" y="193950"/>
                  </a:cubicBezTo>
                  <a:cubicBezTo>
                    <a:pt x="6095" y="193441"/>
                    <a:pt x="6095" y="193441"/>
                    <a:pt x="6604" y="192932"/>
                  </a:cubicBezTo>
                  <a:cubicBezTo>
                    <a:pt x="6604" y="192932"/>
                    <a:pt x="7113" y="192423"/>
                    <a:pt x="7113" y="192423"/>
                  </a:cubicBezTo>
                  <a:cubicBezTo>
                    <a:pt x="9659" y="190387"/>
                    <a:pt x="12713" y="188860"/>
                    <a:pt x="15767" y="188351"/>
                  </a:cubicBezTo>
                  <a:cubicBezTo>
                    <a:pt x="15767" y="188351"/>
                    <a:pt x="15767" y="188351"/>
                    <a:pt x="126733" y="140499"/>
                  </a:cubicBezTo>
                  <a:cubicBezTo>
                    <a:pt x="129787" y="138463"/>
                    <a:pt x="132841" y="137954"/>
                    <a:pt x="135895" y="137445"/>
                  </a:cubicBezTo>
                  <a:cubicBezTo>
                    <a:pt x="139967" y="137445"/>
                    <a:pt x="144039" y="138463"/>
                    <a:pt x="147602" y="140499"/>
                  </a:cubicBezTo>
                  <a:cubicBezTo>
                    <a:pt x="147602" y="140499"/>
                    <a:pt x="147602" y="140499"/>
                    <a:pt x="234136" y="178170"/>
                  </a:cubicBezTo>
                  <a:cubicBezTo>
                    <a:pt x="234136" y="178170"/>
                    <a:pt x="234136" y="178170"/>
                    <a:pt x="234136" y="19853"/>
                  </a:cubicBezTo>
                  <a:cubicBezTo>
                    <a:pt x="234136" y="9163"/>
                    <a:pt x="242789" y="0"/>
                    <a:pt x="2534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03" name="Freeform 99">
            <a:extLst>
              <a:ext uri="{FF2B5EF4-FFF2-40B4-BE49-F238E27FC236}">
                <a16:creationId xmlns:a16="http://schemas.microsoft.com/office/drawing/2014/main" id="{98D4E3CA-2EC1-421D-9F97-2EBA91356EA4}"/>
              </a:ext>
            </a:extLst>
          </p:cNvPr>
          <p:cNvSpPr>
            <a:spLocks/>
          </p:cNvSpPr>
          <p:nvPr/>
        </p:nvSpPr>
        <p:spPr bwMode="auto">
          <a:xfrm>
            <a:off x="4990545" y="4010948"/>
            <a:ext cx="343519" cy="295676"/>
          </a:xfrm>
          <a:custGeom>
            <a:avLst/>
            <a:gdLst>
              <a:gd name="connsiteX0" fmla="*/ 2667221 w 3829915"/>
              <a:gd name="connsiteY0" fmla="*/ 2253274 h 3296512"/>
              <a:gd name="connsiteX1" fmla="*/ 2710935 w 3829915"/>
              <a:gd name="connsiteY1" fmla="*/ 2271572 h 3296512"/>
              <a:gd name="connsiteX2" fmla="*/ 2710935 w 3829915"/>
              <a:gd name="connsiteY2" fmla="*/ 2356963 h 3296512"/>
              <a:gd name="connsiteX3" fmla="*/ 2376426 w 3829915"/>
              <a:gd name="connsiteY3" fmla="*/ 2692427 h 3296512"/>
              <a:gd name="connsiteX4" fmla="*/ 2333852 w 3829915"/>
              <a:gd name="connsiteY4" fmla="*/ 2710725 h 3296512"/>
              <a:gd name="connsiteX5" fmla="*/ 2291278 w 3829915"/>
              <a:gd name="connsiteY5" fmla="*/ 2692427 h 3296512"/>
              <a:gd name="connsiteX6" fmla="*/ 2291278 w 3829915"/>
              <a:gd name="connsiteY6" fmla="*/ 2603987 h 3296512"/>
              <a:gd name="connsiteX7" fmla="*/ 2625787 w 3829915"/>
              <a:gd name="connsiteY7" fmla="*/ 2271572 h 3296512"/>
              <a:gd name="connsiteX8" fmla="*/ 2667221 w 3829915"/>
              <a:gd name="connsiteY8" fmla="*/ 2253274 h 3296512"/>
              <a:gd name="connsiteX9" fmla="*/ 1096963 w 3829915"/>
              <a:gd name="connsiteY9" fmla="*/ 2210662 h 3296512"/>
              <a:gd name="connsiteX10" fmla="*/ 1157288 w 3829915"/>
              <a:gd name="connsiteY10" fmla="*/ 2271613 h 3296512"/>
              <a:gd name="connsiteX11" fmla="*/ 1157288 w 3829915"/>
              <a:gd name="connsiteY11" fmla="*/ 2567224 h 3296512"/>
              <a:gd name="connsiteX12" fmla="*/ 1096963 w 3829915"/>
              <a:gd name="connsiteY12" fmla="*/ 2628175 h 3296512"/>
              <a:gd name="connsiteX13" fmla="*/ 1036638 w 3829915"/>
              <a:gd name="connsiteY13" fmla="*/ 2567224 h 3296512"/>
              <a:gd name="connsiteX14" fmla="*/ 1036638 w 3829915"/>
              <a:gd name="connsiteY14" fmla="*/ 2271613 h 3296512"/>
              <a:gd name="connsiteX15" fmla="*/ 1096963 w 3829915"/>
              <a:gd name="connsiteY15" fmla="*/ 2210662 h 3296512"/>
              <a:gd name="connsiteX16" fmla="*/ 2669520 w 3829915"/>
              <a:gd name="connsiteY16" fmla="*/ 1934178 h 3296512"/>
              <a:gd name="connsiteX17" fmla="*/ 2710942 w 3829915"/>
              <a:gd name="connsiteY17" fmla="*/ 1952449 h 3296512"/>
              <a:gd name="connsiteX18" fmla="*/ 2710942 w 3829915"/>
              <a:gd name="connsiteY18" fmla="*/ 2037717 h 3296512"/>
              <a:gd name="connsiteX19" fmla="*/ 2057309 w 3829915"/>
              <a:gd name="connsiteY19" fmla="*/ 2692454 h 3296512"/>
              <a:gd name="connsiteX20" fmla="*/ 2014747 w 3829915"/>
              <a:gd name="connsiteY20" fmla="*/ 2710725 h 3296512"/>
              <a:gd name="connsiteX21" fmla="*/ 1972184 w 3829915"/>
              <a:gd name="connsiteY21" fmla="*/ 2692454 h 3296512"/>
              <a:gd name="connsiteX22" fmla="*/ 1972184 w 3829915"/>
              <a:gd name="connsiteY22" fmla="*/ 2607186 h 3296512"/>
              <a:gd name="connsiteX23" fmla="*/ 2625818 w 3829915"/>
              <a:gd name="connsiteY23" fmla="*/ 1952449 h 3296512"/>
              <a:gd name="connsiteX24" fmla="*/ 2669520 w 3829915"/>
              <a:gd name="connsiteY24" fmla="*/ 1934178 h 3296512"/>
              <a:gd name="connsiteX25" fmla="*/ 2340909 w 3829915"/>
              <a:gd name="connsiteY25" fmla="*/ 1927073 h 3296512"/>
              <a:gd name="connsiteX26" fmla="*/ 2382330 w 3829915"/>
              <a:gd name="connsiteY26" fmla="*/ 1943079 h 3296512"/>
              <a:gd name="connsiteX27" fmla="*/ 2382330 w 3829915"/>
              <a:gd name="connsiteY27" fmla="*/ 2031495 h 3296512"/>
              <a:gd name="connsiteX28" fmla="*/ 2050957 w 3829915"/>
              <a:gd name="connsiteY28" fmla="*/ 2363819 h 3296512"/>
              <a:gd name="connsiteX29" fmla="*/ 2008396 w 3829915"/>
              <a:gd name="connsiteY29" fmla="*/ 2382112 h 3296512"/>
              <a:gd name="connsiteX30" fmla="*/ 1965834 w 3829915"/>
              <a:gd name="connsiteY30" fmla="*/ 2363819 h 3296512"/>
              <a:gd name="connsiteX31" fmla="*/ 1965834 w 3829915"/>
              <a:gd name="connsiteY31" fmla="*/ 2278452 h 3296512"/>
              <a:gd name="connsiteX32" fmla="*/ 2297207 w 3829915"/>
              <a:gd name="connsiteY32" fmla="*/ 1943079 h 3296512"/>
              <a:gd name="connsiteX33" fmla="*/ 2340909 w 3829915"/>
              <a:gd name="connsiteY33" fmla="*/ 1927073 h 3296512"/>
              <a:gd name="connsiteX34" fmla="*/ 984116 w 3829915"/>
              <a:gd name="connsiteY34" fmla="*/ 1440148 h 3296512"/>
              <a:gd name="connsiteX35" fmla="*/ 976866 w 3829915"/>
              <a:gd name="connsiteY35" fmla="*/ 1455700 h 3296512"/>
              <a:gd name="connsiteX36" fmla="*/ 628507 w 3829915"/>
              <a:gd name="connsiteY36" fmla="*/ 1707906 h 3296512"/>
              <a:gd name="connsiteX37" fmla="*/ 577851 w 3829915"/>
              <a:gd name="connsiteY37" fmla="*/ 1713014 h 3296512"/>
              <a:gd name="connsiteX38" fmla="*/ 577851 w 3829915"/>
              <a:gd name="connsiteY38" fmla="*/ 1809048 h 3296512"/>
              <a:gd name="connsiteX39" fmla="*/ 577851 w 3829915"/>
              <a:gd name="connsiteY39" fmla="*/ 3159840 h 3296512"/>
              <a:gd name="connsiteX40" fmla="*/ 577851 w 3829915"/>
              <a:gd name="connsiteY40" fmla="*/ 3175862 h 3296512"/>
              <a:gd name="connsiteX41" fmla="*/ 717906 w 3829915"/>
              <a:gd name="connsiteY41" fmla="*/ 3175862 h 3296512"/>
              <a:gd name="connsiteX42" fmla="*/ 1276340 w 3829915"/>
              <a:gd name="connsiteY42" fmla="*/ 3175862 h 3296512"/>
              <a:gd name="connsiteX43" fmla="*/ 1309688 w 3829915"/>
              <a:gd name="connsiteY43" fmla="*/ 3175862 h 3296512"/>
              <a:gd name="connsiteX44" fmla="*/ 1309688 w 3829915"/>
              <a:gd name="connsiteY44" fmla="*/ 3013173 h 3296512"/>
              <a:gd name="connsiteX45" fmla="*/ 1309688 w 3829915"/>
              <a:gd name="connsiteY45" fmla="*/ 1716585 h 3296512"/>
              <a:gd name="connsiteX46" fmla="*/ 1309688 w 3829915"/>
              <a:gd name="connsiteY46" fmla="*/ 1699571 h 3296512"/>
              <a:gd name="connsiteX47" fmla="*/ 1238892 w 3829915"/>
              <a:gd name="connsiteY47" fmla="*/ 1677413 h 3296512"/>
              <a:gd name="connsiteX48" fmla="*/ 1009907 w 3829915"/>
              <a:gd name="connsiteY48" fmla="*/ 1487808 h 3296512"/>
              <a:gd name="connsiteX49" fmla="*/ 2838454 w 3829915"/>
              <a:gd name="connsiteY49" fmla="*/ 1422795 h 3296512"/>
              <a:gd name="connsiteX50" fmla="*/ 2803244 w 3829915"/>
              <a:gd name="connsiteY50" fmla="*/ 1487808 h 3296512"/>
              <a:gd name="connsiteX51" fmla="*/ 2370207 w 3829915"/>
              <a:gd name="connsiteY51" fmla="*/ 1718537 h 3296512"/>
              <a:gd name="connsiteX52" fmla="*/ 1940046 w 3829915"/>
              <a:gd name="connsiteY52" fmla="*/ 1487808 h 3296512"/>
              <a:gd name="connsiteX53" fmla="*/ 1907297 w 3829915"/>
              <a:gd name="connsiteY53" fmla="*/ 1427197 h 3296512"/>
              <a:gd name="connsiteX54" fmla="*/ 1874421 w 3829915"/>
              <a:gd name="connsiteY54" fmla="*/ 1487808 h 3296512"/>
              <a:gd name="connsiteX55" fmla="*/ 1440724 w 3829915"/>
              <a:gd name="connsiteY55" fmla="*/ 1718537 h 3296512"/>
              <a:gd name="connsiteX56" fmla="*/ 1431926 w 3829915"/>
              <a:gd name="connsiteY56" fmla="*/ 1717641 h 3296512"/>
              <a:gd name="connsiteX57" fmla="*/ 1431926 w 3829915"/>
              <a:gd name="connsiteY57" fmla="*/ 1809048 h 3296512"/>
              <a:gd name="connsiteX58" fmla="*/ 1431926 w 3829915"/>
              <a:gd name="connsiteY58" fmla="*/ 3159840 h 3296512"/>
              <a:gd name="connsiteX59" fmla="*/ 1431926 w 3829915"/>
              <a:gd name="connsiteY59" fmla="*/ 3175862 h 3296512"/>
              <a:gd name="connsiteX60" fmla="*/ 1527348 w 3829915"/>
              <a:gd name="connsiteY60" fmla="*/ 3175862 h 3296512"/>
              <a:gd name="connsiteX61" fmla="*/ 3059615 w 3829915"/>
              <a:gd name="connsiteY61" fmla="*/ 3175862 h 3296512"/>
              <a:gd name="connsiteX62" fmla="*/ 3233738 w 3829915"/>
              <a:gd name="connsiteY62" fmla="*/ 3175862 h 3296512"/>
              <a:gd name="connsiteX63" fmla="*/ 3233738 w 3829915"/>
              <a:gd name="connsiteY63" fmla="*/ 3028966 h 3296512"/>
              <a:gd name="connsiteX64" fmla="*/ 3233738 w 3829915"/>
              <a:gd name="connsiteY64" fmla="*/ 1744627 h 3296512"/>
              <a:gd name="connsiteX65" fmla="*/ 3233738 w 3829915"/>
              <a:gd name="connsiteY65" fmla="*/ 1711162 h 3296512"/>
              <a:gd name="connsiteX66" fmla="*/ 3201498 w 3829915"/>
              <a:gd name="connsiteY66" fmla="*/ 1707906 h 3296512"/>
              <a:gd name="connsiteX67" fmla="*/ 2873668 w 3829915"/>
              <a:gd name="connsiteY67" fmla="*/ 1487808 h 3296512"/>
              <a:gd name="connsiteX68" fmla="*/ 2909118 w 3829915"/>
              <a:gd name="connsiteY68" fmla="*/ 1226413 h 3296512"/>
              <a:gd name="connsiteX69" fmla="*/ 2914193 w 3829915"/>
              <a:gd name="connsiteY69" fmla="*/ 1276221 h 3296512"/>
              <a:gd name="connsiteX70" fmla="*/ 3306763 w 3829915"/>
              <a:gd name="connsiteY70" fmla="*/ 1596829 h 3296512"/>
              <a:gd name="connsiteX71" fmla="*/ 3699457 w 3829915"/>
              <a:gd name="connsiteY71" fmla="*/ 1276221 h 3296512"/>
              <a:gd name="connsiteX72" fmla="*/ 3704455 w 3829915"/>
              <a:gd name="connsiteY72" fmla="*/ 1226413 h 3296512"/>
              <a:gd name="connsiteX73" fmla="*/ 3431443 w 3829915"/>
              <a:gd name="connsiteY73" fmla="*/ 1226413 h 3296512"/>
              <a:gd name="connsiteX74" fmla="*/ 3115659 w 3829915"/>
              <a:gd name="connsiteY74" fmla="*/ 1226413 h 3296512"/>
              <a:gd name="connsiteX75" fmla="*/ 1975602 w 3829915"/>
              <a:gd name="connsiteY75" fmla="*/ 1226413 h 3296512"/>
              <a:gd name="connsiteX76" fmla="*/ 1980595 w 3829915"/>
              <a:gd name="connsiteY76" fmla="*/ 1276221 h 3296512"/>
              <a:gd name="connsiteX77" fmla="*/ 2370207 w 3829915"/>
              <a:gd name="connsiteY77" fmla="*/ 1596829 h 3296512"/>
              <a:gd name="connsiteX78" fmla="*/ 2762849 w 3829915"/>
              <a:gd name="connsiteY78" fmla="*/ 1276221 h 3296512"/>
              <a:gd name="connsiteX79" fmla="*/ 2767847 w 3829915"/>
              <a:gd name="connsiteY79" fmla="*/ 1226413 h 3296512"/>
              <a:gd name="connsiteX80" fmla="*/ 2544509 w 3829915"/>
              <a:gd name="connsiteY80" fmla="*/ 1226413 h 3296512"/>
              <a:gd name="connsiteX81" fmla="*/ 2049393 w 3829915"/>
              <a:gd name="connsiteY81" fmla="*/ 1226413 h 3296512"/>
              <a:gd name="connsiteX82" fmla="*/ 1045517 w 3829915"/>
              <a:gd name="connsiteY82" fmla="*/ 1226413 h 3296512"/>
              <a:gd name="connsiteX83" fmla="*/ 1050518 w 3829915"/>
              <a:gd name="connsiteY83" fmla="*/ 1276221 h 3296512"/>
              <a:gd name="connsiteX84" fmla="*/ 1440724 w 3829915"/>
              <a:gd name="connsiteY84" fmla="*/ 1596829 h 3296512"/>
              <a:gd name="connsiteX85" fmla="*/ 1833965 w 3829915"/>
              <a:gd name="connsiteY85" fmla="*/ 1276221 h 3296512"/>
              <a:gd name="connsiteX86" fmla="*/ 1838970 w 3829915"/>
              <a:gd name="connsiteY86" fmla="*/ 1226413 h 3296512"/>
              <a:gd name="connsiteX87" fmla="*/ 1828649 w 3829915"/>
              <a:gd name="connsiteY87" fmla="*/ 1226413 h 3296512"/>
              <a:gd name="connsiteX88" fmla="*/ 1108603 w 3829915"/>
              <a:gd name="connsiteY88" fmla="*/ 1226413 h 3296512"/>
              <a:gd name="connsiteX89" fmla="*/ 124785 w 3829915"/>
              <a:gd name="connsiteY89" fmla="*/ 1226413 h 3296512"/>
              <a:gd name="connsiteX90" fmla="*/ 129790 w 3829915"/>
              <a:gd name="connsiteY90" fmla="*/ 1276221 h 3296512"/>
              <a:gd name="connsiteX91" fmla="*/ 523082 w 3829915"/>
              <a:gd name="connsiteY91" fmla="*/ 1596829 h 3296512"/>
              <a:gd name="connsiteX92" fmla="*/ 916373 w 3829915"/>
              <a:gd name="connsiteY92" fmla="*/ 1276221 h 3296512"/>
              <a:gd name="connsiteX93" fmla="*/ 921378 w 3829915"/>
              <a:gd name="connsiteY93" fmla="*/ 1226413 h 3296512"/>
              <a:gd name="connsiteX94" fmla="*/ 836831 w 3829915"/>
              <a:gd name="connsiteY94" fmla="*/ 1226413 h 3296512"/>
              <a:gd name="connsiteX95" fmla="*/ 173922 w 3829915"/>
              <a:gd name="connsiteY95" fmla="*/ 1226413 h 3296512"/>
              <a:gd name="connsiteX96" fmla="*/ 576712 w 3829915"/>
              <a:gd name="connsiteY96" fmla="*/ 123100 h 3296512"/>
              <a:gd name="connsiteX97" fmla="*/ 509290 w 3829915"/>
              <a:gd name="connsiteY97" fmla="*/ 280020 h 3296512"/>
              <a:gd name="connsiteX98" fmla="*/ 158079 w 3829915"/>
              <a:gd name="connsiteY98" fmla="*/ 1097436 h 3296512"/>
              <a:gd name="connsiteX99" fmla="*/ 155183 w 3829915"/>
              <a:gd name="connsiteY99" fmla="*/ 1104175 h 3296512"/>
              <a:gd name="connsiteX100" fmla="*/ 397607 w 3829915"/>
              <a:gd name="connsiteY100" fmla="*/ 1104175 h 3296512"/>
              <a:gd name="connsiteX101" fmla="*/ 3665407 w 3829915"/>
              <a:gd name="connsiteY101" fmla="*/ 1104175 h 3296512"/>
              <a:gd name="connsiteX102" fmla="*/ 3687076 w 3829915"/>
              <a:gd name="connsiteY102" fmla="*/ 1104175 h 3296512"/>
              <a:gd name="connsiteX103" fmla="*/ 3617503 w 3829915"/>
              <a:gd name="connsiteY103" fmla="*/ 968485 h 3296512"/>
              <a:gd name="connsiteX104" fmla="*/ 3195267 w 3829915"/>
              <a:gd name="connsiteY104" fmla="*/ 144990 h 3296512"/>
              <a:gd name="connsiteX105" fmla="*/ 3184043 w 3829915"/>
              <a:gd name="connsiteY105" fmla="*/ 123100 h 3296512"/>
              <a:gd name="connsiteX106" fmla="*/ 3037870 w 3829915"/>
              <a:gd name="connsiteY106" fmla="*/ 123100 h 3296512"/>
              <a:gd name="connsiteX107" fmla="*/ 580551 w 3829915"/>
              <a:gd name="connsiteY107" fmla="*/ 123100 h 3296512"/>
              <a:gd name="connsiteX108" fmla="*/ 3217294 w 3829915"/>
              <a:gd name="connsiteY108" fmla="*/ 131 h 3296512"/>
              <a:gd name="connsiteX109" fmla="*/ 3240533 w 3829915"/>
              <a:gd name="connsiteY109" fmla="*/ 3125 h 3296512"/>
              <a:gd name="connsiteX110" fmla="*/ 3244647 w 3829915"/>
              <a:gd name="connsiteY110" fmla="*/ 5456 h 3296512"/>
              <a:gd name="connsiteX111" fmla="*/ 3245770 w 3829915"/>
              <a:gd name="connsiteY111" fmla="*/ 5685 h 3296512"/>
              <a:gd name="connsiteX112" fmla="*/ 3249370 w 3829915"/>
              <a:gd name="connsiteY112" fmla="*/ 8131 h 3296512"/>
              <a:gd name="connsiteX113" fmla="*/ 3260921 w 3829915"/>
              <a:gd name="connsiteY113" fmla="*/ 14675 h 3296512"/>
              <a:gd name="connsiteX114" fmla="*/ 3263071 w 3829915"/>
              <a:gd name="connsiteY114" fmla="*/ 17440 h 3296512"/>
              <a:gd name="connsiteX115" fmla="*/ 3265096 w 3829915"/>
              <a:gd name="connsiteY115" fmla="*/ 18816 h 3296512"/>
              <a:gd name="connsiteX116" fmla="*/ 3271169 w 3829915"/>
              <a:gd name="connsiteY116" fmla="*/ 27853 h 3296512"/>
              <a:gd name="connsiteX117" fmla="*/ 3275891 w 3829915"/>
              <a:gd name="connsiteY117" fmla="*/ 33926 h 3296512"/>
              <a:gd name="connsiteX118" fmla="*/ 3277958 w 3829915"/>
              <a:gd name="connsiteY118" fmla="*/ 37956 h 3296512"/>
              <a:gd name="connsiteX119" fmla="*/ 3278155 w 3829915"/>
              <a:gd name="connsiteY119" fmla="*/ 38250 h 3296512"/>
              <a:gd name="connsiteX120" fmla="*/ 3278186 w 3829915"/>
              <a:gd name="connsiteY120" fmla="*/ 38400 h 3296512"/>
              <a:gd name="connsiteX121" fmla="*/ 3372261 w 3829915"/>
              <a:gd name="connsiteY121" fmla="*/ 221878 h 3296512"/>
              <a:gd name="connsiteX122" fmla="*/ 3823369 w 3829915"/>
              <a:gd name="connsiteY122" fmla="*/ 1101681 h 3296512"/>
              <a:gd name="connsiteX123" fmla="*/ 3826790 w 3829915"/>
              <a:gd name="connsiteY123" fmla="*/ 1146171 h 3296512"/>
              <a:gd name="connsiteX124" fmla="*/ 3825504 w 3829915"/>
              <a:gd name="connsiteY124" fmla="*/ 1147744 h 3296512"/>
              <a:gd name="connsiteX125" fmla="*/ 3829050 w 3829915"/>
              <a:gd name="connsiteY125" fmla="*/ 1165294 h 3296512"/>
              <a:gd name="connsiteX126" fmla="*/ 3822856 w 3829915"/>
              <a:gd name="connsiteY126" fmla="*/ 1180269 h 3296512"/>
              <a:gd name="connsiteX127" fmla="*/ 3829050 w 3829915"/>
              <a:gd name="connsiteY127" fmla="*/ 1195191 h 3296512"/>
              <a:gd name="connsiteX128" fmla="*/ 3412028 w 3829915"/>
              <a:gd name="connsiteY128" fmla="*/ 1707906 h 3296512"/>
              <a:gd name="connsiteX129" fmla="*/ 3354388 w 3829915"/>
              <a:gd name="connsiteY129" fmla="*/ 1713727 h 3296512"/>
              <a:gd name="connsiteX130" fmla="*/ 3354388 w 3829915"/>
              <a:gd name="connsiteY130" fmla="*/ 1803283 h 3296512"/>
              <a:gd name="connsiteX131" fmla="*/ 3354388 w 3829915"/>
              <a:gd name="connsiteY131" fmla="*/ 3159654 h 3296512"/>
              <a:gd name="connsiteX132" fmla="*/ 3354388 w 3829915"/>
              <a:gd name="connsiteY132" fmla="*/ 3175862 h 3296512"/>
              <a:gd name="connsiteX133" fmla="*/ 3401225 w 3829915"/>
              <a:gd name="connsiteY133" fmla="*/ 3175862 h 3296512"/>
              <a:gd name="connsiteX134" fmla="*/ 3704780 w 3829915"/>
              <a:gd name="connsiteY134" fmla="*/ 3175862 h 3296512"/>
              <a:gd name="connsiteX135" fmla="*/ 3765550 w 3829915"/>
              <a:gd name="connsiteY135" fmla="*/ 3236187 h 3296512"/>
              <a:gd name="connsiteX136" fmla="*/ 3704780 w 3829915"/>
              <a:gd name="connsiteY136" fmla="*/ 3296512 h 3296512"/>
              <a:gd name="connsiteX137" fmla="*/ 79820 w 3829915"/>
              <a:gd name="connsiteY137" fmla="*/ 3296512 h 3296512"/>
              <a:gd name="connsiteX138" fmla="*/ 19050 w 3829915"/>
              <a:gd name="connsiteY138" fmla="*/ 3236187 h 3296512"/>
              <a:gd name="connsiteX139" fmla="*/ 79820 w 3829915"/>
              <a:gd name="connsiteY139" fmla="*/ 3175862 h 3296512"/>
              <a:gd name="connsiteX140" fmla="*/ 409151 w 3829915"/>
              <a:gd name="connsiteY140" fmla="*/ 3175862 h 3296512"/>
              <a:gd name="connsiteX141" fmla="*/ 455613 w 3829915"/>
              <a:gd name="connsiteY141" fmla="*/ 3175862 h 3296512"/>
              <a:gd name="connsiteX142" fmla="*/ 455613 w 3829915"/>
              <a:gd name="connsiteY142" fmla="*/ 3013173 h 3296512"/>
              <a:gd name="connsiteX143" fmla="*/ 455613 w 3829915"/>
              <a:gd name="connsiteY143" fmla="*/ 1716585 h 3296512"/>
              <a:gd name="connsiteX144" fmla="*/ 455613 w 3829915"/>
              <a:gd name="connsiteY144" fmla="*/ 1711733 h 3296512"/>
              <a:gd name="connsiteX145" fmla="*/ 417656 w 3829915"/>
              <a:gd name="connsiteY145" fmla="*/ 1707906 h 3296512"/>
              <a:gd name="connsiteX146" fmla="*/ 0 w 3829915"/>
              <a:gd name="connsiteY146" fmla="*/ 1195191 h 3296512"/>
              <a:gd name="connsiteX147" fmla="*/ 4461 w 3829915"/>
              <a:gd name="connsiteY147" fmla="*/ 1184461 h 3296512"/>
              <a:gd name="connsiteX148" fmla="*/ 2098 w 3829915"/>
              <a:gd name="connsiteY148" fmla="*/ 1170365 h 3296512"/>
              <a:gd name="connsiteX149" fmla="*/ 0 w 3829915"/>
              <a:gd name="connsiteY149" fmla="*/ 1165294 h 3296512"/>
              <a:gd name="connsiteX150" fmla="*/ 4796 w 3829915"/>
              <a:gd name="connsiteY150" fmla="*/ 1141563 h 3296512"/>
              <a:gd name="connsiteX151" fmla="*/ 7258 w 3829915"/>
              <a:gd name="connsiteY151" fmla="*/ 1137898 h 3296512"/>
              <a:gd name="connsiteX152" fmla="*/ 89867 w 3829915"/>
              <a:gd name="connsiteY152" fmla="*/ 946855 h 3296512"/>
              <a:gd name="connsiteX153" fmla="*/ 482383 w 3829915"/>
              <a:gd name="connsiteY153" fmla="*/ 39125 h 3296512"/>
              <a:gd name="connsiteX154" fmla="*/ 482523 w 3829915"/>
              <a:gd name="connsiteY154" fmla="*/ 38802 h 3296512"/>
              <a:gd name="connsiteX155" fmla="*/ 482634 w 3829915"/>
              <a:gd name="connsiteY155" fmla="*/ 38250 h 3296512"/>
              <a:gd name="connsiteX156" fmla="*/ 482991 w 3829915"/>
              <a:gd name="connsiteY156" fmla="*/ 37719 h 3296512"/>
              <a:gd name="connsiteX157" fmla="*/ 483316 w 3829915"/>
              <a:gd name="connsiteY157" fmla="*/ 36968 h 3296512"/>
              <a:gd name="connsiteX158" fmla="*/ 538916 w 3829915"/>
              <a:gd name="connsiteY158" fmla="*/ 606 h 3296512"/>
              <a:gd name="connsiteX159" fmla="*/ 539929 w 3829915"/>
              <a:gd name="connsiteY159" fmla="*/ 862 h 3296512"/>
              <a:gd name="connsiteX160" fmla="*/ 782423 w 3829915"/>
              <a:gd name="connsiteY160" fmla="*/ 862 h 3296512"/>
              <a:gd name="connsiteX161" fmla="*/ 3206086 w 3829915"/>
              <a:gd name="connsiteY161" fmla="*/ 862 h 3296512"/>
              <a:gd name="connsiteX162" fmla="*/ 3214612 w 3829915"/>
              <a:gd name="connsiteY162" fmla="*/ 862 h 329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3829915" h="3296512">
                <a:moveTo>
                  <a:pt x="2667221" y="2253274"/>
                </a:moveTo>
                <a:cubicBezTo>
                  <a:pt x="2682806" y="2253274"/>
                  <a:pt x="2698771" y="2259374"/>
                  <a:pt x="2710935" y="2271572"/>
                </a:cubicBezTo>
                <a:cubicBezTo>
                  <a:pt x="2735263" y="2295970"/>
                  <a:pt x="2735263" y="2332566"/>
                  <a:pt x="2710935" y="2356963"/>
                </a:cubicBezTo>
                <a:cubicBezTo>
                  <a:pt x="2376426" y="2692427"/>
                  <a:pt x="2376426" y="2692427"/>
                  <a:pt x="2376426" y="2692427"/>
                </a:cubicBezTo>
                <a:cubicBezTo>
                  <a:pt x="2364262" y="2704626"/>
                  <a:pt x="2349057" y="2710725"/>
                  <a:pt x="2333852" y="2710725"/>
                </a:cubicBezTo>
                <a:cubicBezTo>
                  <a:pt x="2318647" y="2710725"/>
                  <a:pt x="2303442" y="2704626"/>
                  <a:pt x="2291278" y="2692427"/>
                </a:cubicBezTo>
                <a:cubicBezTo>
                  <a:pt x="2266950" y="2668030"/>
                  <a:pt x="2266950" y="2628384"/>
                  <a:pt x="2291278" y="2603987"/>
                </a:cubicBezTo>
                <a:cubicBezTo>
                  <a:pt x="2625787" y="2271572"/>
                  <a:pt x="2625787" y="2271572"/>
                  <a:pt x="2625787" y="2271572"/>
                </a:cubicBezTo>
                <a:cubicBezTo>
                  <a:pt x="2636431" y="2259374"/>
                  <a:pt x="2651636" y="2253274"/>
                  <a:pt x="2667221" y="2253274"/>
                </a:cubicBezTo>
                <a:close/>
                <a:moveTo>
                  <a:pt x="1096963" y="2210662"/>
                </a:moveTo>
                <a:cubicBezTo>
                  <a:pt x="1130142" y="2210662"/>
                  <a:pt x="1157288" y="2238090"/>
                  <a:pt x="1157288" y="2271613"/>
                </a:cubicBezTo>
                <a:cubicBezTo>
                  <a:pt x="1157288" y="2567224"/>
                  <a:pt x="1157288" y="2567224"/>
                  <a:pt x="1157288" y="2567224"/>
                </a:cubicBezTo>
                <a:cubicBezTo>
                  <a:pt x="1157288" y="2600747"/>
                  <a:pt x="1130142" y="2628175"/>
                  <a:pt x="1096963" y="2628175"/>
                </a:cubicBezTo>
                <a:cubicBezTo>
                  <a:pt x="1063784" y="2628175"/>
                  <a:pt x="1036638" y="2600747"/>
                  <a:pt x="1036638" y="2567224"/>
                </a:cubicBezTo>
                <a:cubicBezTo>
                  <a:pt x="1036638" y="2271613"/>
                  <a:pt x="1036638" y="2271613"/>
                  <a:pt x="1036638" y="2271613"/>
                </a:cubicBezTo>
                <a:cubicBezTo>
                  <a:pt x="1036638" y="2238090"/>
                  <a:pt x="1063784" y="2210662"/>
                  <a:pt x="1096963" y="2210662"/>
                </a:cubicBezTo>
                <a:close/>
                <a:moveTo>
                  <a:pt x="2669520" y="1934178"/>
                </a:moveTo>
                <a:cubicBezTo>
                  <a:pt x="2685101" y="1934178"/>
                  <a:pt x="2700302" y="1940268"/>
                  <a:pt x="2710942" y="1952449"/>
                </a:cubicBezTo>
                <a:cubicBezTo>
                  <a:pt x="2735263" y="1973766"/>
                  <a:pt x="2735263" y="2013355"/>
                  <a:pt x="2710942" y="2037717"/>
                </a:cubicBezTo>
                <a:cubicBezTo>
                  <a:pt x="2057309" y="2692454"/>
                  <a:pt x="2057309" y="2692454"/>
                  <a:pt x="2057309" y="2692454"/>
                </a:cubicBezTo>
                <a:cubicBezTo>
                  <a:pt x="2045148" y="2704635"/>
                  <a:pt x="2029947" y="2710725"/>
                  <a:pt x="2014747" y="2710725"/>
                </a:cubicBezTo>
                <a:cubicBezTo>
                  <a:pt x="1999546" y="2710725"/>
                  <a:pt x="1984345" y="2704635"/>
                  <a:pt x="1972184" y="2692454"/>
                </a:cubicBezTo>
                <a:cubicBezTo>
                  <a:pt x="1947863" y="2668091"/>
                  <a:pt x="1947863" y="2631548"/>
                  <a:pt x="1972184" y="2607186"/>
                </a:cubicBezTo>
                <a:cubicBezTo>
                  <a:pt x="2625818" y="1952449"/>
                  <a:pt x="2625818" y="1952449"/>
                  <a:pt x="2625818" y="1952449"/>
                </a:cubicBezTo>
                <a:cubicBezTo>
                  <a:pt x="2637978" y="1940268"/>
                  <a:pt x="2653939" y="1934178"/>
                  <a:pt x="2669520" y="1934178"/>
                </a:cubicBezTo>
                <a:close/>
                <a:moveTo>
                  <a:pt x="2340909" y="1927073"/>
                </a:moveTo>
                <a:cubicBezTo>
                  <a:pt x="2356489" y="1927073"/>
                  <a:pt x="2371690" y="1932408"/>
                  <a:pt x="2382330" y="1943079"/>
                </a:cubicBezTo>
                <a:cubicBezTo>
                  <a:pt x="2406651" y="1967470"/>
                  <a:pt x="2406651" y="2007105"/>
                  <a:pt x="2382330" y="2031495"/>
                </a:cubicBezTo>
                <a:cubicBezTo>
                  <a:pt x="2050957" y="2363819"/>
                  <a:pt x="2050957" y="2363819"/>
                  <a:pt x="2050957" y="2363819"/>
                </a:cubicBezTo>
                <a:cubicBezTo>
                  <a:pt x="2038797" y="2376014"/>
                  <a:pt x="2023596" y="2382112"/>
                  <a:pt x="2008396" y="2382112"/>
                </a:cubicBezTo>
                <a:cubicBezTo>
                  <a:pt x="1993195" y="2382112"/>
                  <a:pt x="1977995" y="2376014"/>
                  <a:pt x="1965834" y="2363819"/>
                </a:cubicBezTo>
                <a:cubicBezTo>
                  <a:pt x="1941513" y="2339428"/>
                  <a:pt x="1941513" y="2302842"/>
                  <a:pt x="1965834" y="2278452"/>
                </a:cubicBezTo>
                <a:cubicBezTo>
                  <a:pt x="2297207" y="1943079"/>
                  <a:pt x="2297207" y="1943079"/>
                  <a:pt x="2297207" y="1943079"/>
                </a:cubicBezTo>
                <a:cubicBezTo>
                  <a:pt x="2309368" y="1932408"/>
                  <a:pt x="2325328" y="1927073"/>
                  <a:pt x="2340909" y="1927073"/>
                </a:cubicBezTo>
                <a:close/>
                <a:moveTo>
                  <a:pt x="984116" y="1440148"/>
                </a:moveTo>
                <a:lnTo>
                  <a:pt x="976866" y="1455700"/>
                </a:lnTo>
                <a:cubicBezTo>
                  <a:pt x="903390" y="1583552"/>
                  <a:pt x="777488" y="1677408"/>
                  <a:pt x="628507" y="1707906"/>
                </a:cubicBezTo>
                <a:lnTo>
                  <a:pt x="577851" y="1713014"/>
                </a:lnTo>
                <a:lnTo>
                  <a:pt x="577851" y="1809048"/>
                </a:lnTo>
                <a:cubicBezTo>
                  <a:pt x="577851" y="2766950"/>
                  <a:pt x="577851" y="3066295"/>
                  <a:pt x="577851" y="3159840"/>
                </a:cubicBezTo>
                <a:lnTo>
                  <a:pt x="577851" y="3175862"/>
                </a:lnTo>
                <a:lnTo>
                  <a:pt x="717906" y="3175862"/>
                </a:lnTo>
                <a:cubicBezTo>
                  <a:pt x="917031" y="3175862"/>
                  <a:pt x="1102880" y="3175862"/>
                  <a:pt x="1276340" y="3175862"/>
                </a:cubicBezTo>
                <a:lnTo>
                  <a:pt x="1309688" y="3175862"/>
                </a:lnTo>
                <a:lnTo>
                  <a:pt x="1309688" y="3013173"/>
                </a:lnTo>
                <a:cubicBezTo>
                  <a:pt x="1309688" y="2108463"/>
                  <a:pt x="1309688" y="1813047"/>
                  <a:pt x="1309688" y="1716585"/>
                </a:cubicBezTo>
                <a:lnTo>
                  <a:pt x="1309688" y="1699571"/>
                </a:lnTo>
                <a:lnTo>
                  <a:pt x="1238892" y="1677413"/>
                </a:lnTo>
                <a:cubicBezTo>
                  <a:pt x="1145673" y="1637691"/>
                  <a:pt x="1066138" y="1571334"/>
                  <a:pt x="1009907" y="1487808"/>
                </a:cubicBezTo>
                <a:close/>
                <a:moveTo>
                  <a:pt x="2838454" y="1422795"/>
                </a:moveTo>
                <a:lnTo>
                  <a:pt x="2803244" y="1487808"/>
                </a:lnTo>
                <a:cubicBezTo>
                  <a:pt x="2709402" y="1627018"/>
                  <a:pt x="2550479" y="1718537"/>
                  <a:pt x="2370207" y="1718537"/>
                </a:cubicBezTo>
                <a:cubicBezTo>
                  <a:pt x="2191833" y="1718537"/>
                  <a:pt x="2033621" y="1627018"/>
                  <a:pt x="1940046" y="1487808"/>
                </a:cubicBezTo>
                <a:lnTo>
                  <a:pt x="1907297" y="1427197"/>
                </a:lnTo>
                <a:lnTo>
                  <a:pt x="1874421" y="1487808"/>
                </a:lnTo>
                <a:cubicBezTo>
                  <a:pt x="1780436" y="1627018"/>
                  <a:pt x="1621270" y="1718537"/>
                  <a:pt x="1440724" y="1718537"/>
                </a:cubicBezTo>
                <a:lnTo>
                  <a:pt x="1431926" y="1717641"/>
                </a:lnTo>
                <a:lnTo>
                  <a:pt x="1431926" y="1809048"/>
                </a:lnTo>
                <a:cubicBezTo>
                  <a:pt x="1431926" y="2766950"/>
                  <a:pt x="1431926" y="3066295"/>
                  <a:pt x="1431926" y="3159840"/>
                </a:cubicBezTo>
                <a:lnTo>
                  <a:pt x="1431926" y="3175862"/>
                </a:lnTo>
                <a:lnTo>
                  <a:pt x="1527348" y="3175862"/>
                </a:lnTo>
                <a:cubicBezTo>
                  <a:pt x="2253159" y="3175862"/>
                  <a:pt x="2737033" y="3175862"/>
                  <a:pt x="3059615" y="3175862"/>
                </a:cubicBezTo>
                <a:lnTo>
                  <a:pt x="3233738" y="3175862"/>
                </a:lnTo>
                <a:lnTo>
                  <a:pt x="3233738" y="3028966"/>
                </a:lnTo>
                <a:cubicBezTo>
                  <a:pt x="3233738" y="2196350"/>
                  <a:pt x="3233738" y="1871426"/>
                  <a:pt x="3233738" y="1744627"/>
                </a:cubicBezTo>
                <a:lnTo>
                  <a:pt x="3233738" y="1711162"/>
                </a:lnTo>
                <a:lnTo>
                  <a:pt x="3201498" y="1707906"/>
                </a:lnTo>
                <a:cubicBezTo>
                  <a:pt x="3065493" y="1680022"/>
                  <a:pt x="2948752" y="1599176"/>
                  <a:pt x="2873668" y="1487808"/>
                </a:cubicBezTo>
                <a:close/>
                <a:moveTo>
                  <a:pt x="2909118" y="1226413"/>
                </a:moveTo>
                <a:lnTo>
                  <a:pt x="2914193" y="1276221"/>
                </a:lnTo>
                <a:cubicBezTo>
                  <a:pt x="2952055" y="1459384"/>
                  <a:pt x="3115460" y="1596829"/>
                  <a:pt x="3306763" y="1596829"/>
                </a:cubicBezTo>
                <a:cubicBezTo>
                  <a:pt x="3500723" y="1596829"/>
                  <a:pt x="3662135" y="1459384"/>
                  <a:pt x="3699457" y="1276221"/>
                </a:cubicBezTo>
                <a:lnTo>
                  <a:pt x="3704455" y="1226413"/>
                </a:lnTo>
                <a:lnTo>
                  <a:pt x="3431443" y="1226413"/>
                </a:lnTo>
                <a:cubicBezTo>
                  <a:pt x="3322712" y="1226413"/>
                  <a:pt x="3217488" y="1226413"/>
                  <a:pt x="3115659" y="1226413"/>
                </a:cubicBezTo>
                <a:close/>
                <a:moveTo>
                  <a:pt x="1975602" y="1226413"/>
                </a:moveTo>
                <a:lnTo>
                  <a:pt x="1980595" y="1276221"/>
                </a:lnTo>
                <a:cubicBezTo>
                  <a:pt x="2017871" y="1459384"/>
                  <a:pt x="2178930" y="1596829"/>
                  <a:pt x="2370207" y="1596829"/>
                </a:cubicBezTo>
                <a:cubicBezTo>
                  <a:pt x="2564141" y="1596829"/>
                  <a:pt x="2725532" y="1459384"/>
                  <a:pt x="2762849" y="1276221"/>
                </a:cubicBezTo>
                <a:lnTo>
                  <a:pt x="2767847" y="1226413"/>
                </a:lnTo>
                <a:lnTo>
                  <a:pt x="2544509" y="1226413"/>
                </a:lnTo>
                <a:cubicBezTo>
                  <a:pt x="2367100" y="1226413"/>
                  <a:pt x="2202363" y="1226413"/>
                  <a:pt x="2049393" y="1226413"/>
                </a:cubicBezTo>
                <a:close/>
                <a:moveTo>
                  <a:pt x="1045517" y="1226413"/>
                </a:moveTo>
                <a:lnTo>
                  <a:pt x="1050518" y="1276221"/>
                </a:lnTo>
                <a:cubicBezTo>
                  <a:pt x="1087851" y="1459384"/>
                  <a:pt x="1249155" y="1596829"/>
                  <a:pt x="1440724" y="1596829"/>
                </a:cubicBezTo>
                <a:cubicBezTo>
                  <a:pt x="1634954" y="1596829"/>
                  <a:pt x="1796591" y="1459384"/>
                  <a:pt x="1833965" y="1276221"/>
                </a:cubicBezTo>
                <a:lnTo>
                  <a:pt x="1838970" y="1226413"/>
                </a:lnTo>
                <a:lnTo>
                  <a:pt x="1828649" y="1226413"/>
                </a:lnTo>
                <a:cubicBezTo>
                  <a:pt x="1545790" y="1226413"/>
                  <a:pt x="1308188" y="1226413"/>
                  <a:pt x="1108603" y="1226413"/>
                </a:cubicBezTo>
                <a:close/>
                <a:moveTo>
                  <a:pt x="124785" y="1226413"/>
                </a:moveTo>
                <a:lnTo>
                  <a:pt x="129790" y="1276221"/>
                </a:lnTo>
                <a:cubicBezTo>
                  <a:pt x="167169" y="1459384"/>
                  <a:pt x="328826" y="1596829"/>
                  <a:pt x="523082" y="1596829"/>
                </a:cubicBezTo>
                <a:cubicBezTo>
                  <a:pt x="717337" y="1596829"/>
                  <a:pt x="878994" y="1459384"/>
                  <a:pt x="916373" y="1276221"/>
                </a:cubicBezTo>
                <a:lnTo>
                  <a:pt x="921378" y="1226413"/>
                </a:lnTo>
                <a:lnTo>
                  <a:pt x="836831" y="1226413"/>
                </a:lnTo>
                <a:cubicBezTo>
                  <a:pt x="469228" y="1226413"/>
                  <a:pt x="275751" y="1226413"/>
                  <a:pt x="173922" y="1226413"/>
                </a:cubicBezTo>
                <a:close/>
                <a:moveTo>
                  <a:pt x="576712" y="123100"/>
                </a:moveTo>
                <a:lnTo>
                  <a:pt x="509290" y="280020"/>
                </a:lnTo>
                <a:cubicBezTo>
                  <a:pt x="300787" y="765293"/>
                  <a:pt x="203486" y="991754"/>
                  <a:pt x="158079" y="1097436"/>
                </a:cubicBezTo>
                <a:lnTo>
                  <a:pt x="155183" y="1104175"/>
                </a:lnTo>
                <a:lnTo>
                  <a:pt x="397607" y="1104175"/>
                </a:lnTo>
                <a:cubicBezTo>
                  <a:pt x="2714939" y="1104175"/>
                  <a:pt x="3439105" y="1104175"/>
                  <a:pt x="3665407" y="1104175"/>
                </a:cubicBezTo>
                <a:lnTo>
                  <a:pt x="3687076" y="1104175"/>
                </a:lnTo>
                <a:lnTo>
                  <a:pt x="3617503" y="968485"/>
                </a:lnTo>
                <a:cubicBezTo>
                  <a:pt x="3346839" y="440603"/>
                  <a:pt x="3238573" y="229451"/>
                  <a:pt x="3195267" y="144990"/>
                </a:cubicBezTo>
                <a:lnTo>
                  <a:pt x="3184043" y="123100"/>
                </a:lnTo>
                <a:lnTo>
                  <a:pt x="3037870" y="123100"/>
                </a:lnTo>
                <a:cubicBezTo>
                  <a:pt x="1178429" y="123100"/>
                  <a:pt x="702412" y="123100"/>
                  <a:pt x="580551" y="123100"/>
                </a:cubicBezTo>
                <a:close/>
                <a:moveTo>
                  <a:pt x="3217294" y="131"/>
                </a:moveTo>
                <a:cubicBezTo>
                  <a:pt x="3225231" y="-392"/>
                  <a:pt x="3233120" y="653"/>
                  <a:pt x="3240533" y="3125"/>
                </a:cubicBezTo>
                <a:lnTo>
                  <a:pt x="3244647" y="5456"/>
                </a:lnTo>
                <a:lnTo>
                  <a:pt x="3245770" y="5685"/>
                </a:lnTo>
                <a:lnTo>
                  <a:pt x="3249370" y="8131"/>
                </a:lnTo>
                <a:lnTo>
                  <a:pt x="3260921" y="14675"/>
                </a:lnTo>
                <a:lnTo>
                  <a:pt x="3263071" y="17440"/>
                </a:lnTo>
                <a:lnTo>
                  <a:pt x="3265096" y="18816"/>
                </a:lnTo>
                <a:lnTo>
                  <a:pt x="3271169" y="27853"/>
                </a:lnTo>
                <a:lnTo>
                  <a:pt x="3275891" y="33926"/>
                </a:lnTo>
                <a:lnTo>
                  <a:pt x="3277958" y="37956"/>
                </a:lnTo>
                <a:lnTo>
                  <a:pt x="3278155" y="38250"/>
                </a:lnTo>
                <a:lnTo>
                  <a:pt x="3278186" y="38400"/>
                </a:lnTo>
                <a:lnTo>
                  <a:pt x="3372261" y="221878"/>
                </a:lnTo>
                <a:cubicBezTo>
                  <a:pt x="3823369" y="1101681"/>
                  <a:pt x="3823369" y="1101681"/>
                  <a:pt x="3823369" y="1101681"/>
                </a:cubicBezTo>
                <a:cubicBezTo>
                  <a:pt x="3830972" y="1115370"/>
                  <a:pt x="3831733" y="1131341"/>
                  <a:pt x="3826790" y="1146171"/>
                </a:cubicBezTo>
                <a:lnTo>
                  <a:pt x="3825504" y="1147744"/>
                </a:lnTo>
                <a:lnTo>
                  <a:pt x="3829050" y="1165294"/>
                </a:lnTo>
                <a:lnTo>
                  <a:pt x="3822856" y="1180269"/>
                </a:lnTo>
                <a:lnTo>
                  <a:pt x="3829050" y="1195191"/>
                </a:lnTo>
                <a:cubicBezTo>
                  <a:pt x="3829050" y="1448116"/>
                  <a:pt x="3650036" y="1659109"/>
                  <a:pt x="3412028" y="1707906"/>
                </a:cubicBezTo>
                <a:lnTo>
                  <a:pt x="3354388" y="1713727"/>
                </a:lnTo>
                <a:lnTo>
                  <a:pt x="3354388" y="1803283"/>
                </a:lnTo>
                <a:cubicBezTo>
                  <a:pt x="3354388" y="2765142"/>
                  <a:pt x="3354388" y="3065723"/>
                  <a:pt x="3354388" y="3159654"/>
                </a:cubicBezTo>
                <a:lnTo>
                  <a:pt x="3354388" y="3175862"/>
                </a:lnTo>
                <a:lnTo>
                  <a:pt x="3401225" y="3175862"/>
                </a:lnTo>
                <a:cubicBezTo>
                  <a:pt x="3704780" y="3175862"/>
                  <a:pt x="3704780" y="3175862"/>
                  <a:pt x="3704780" y="3175862"/>
                </a:cubicBezTo>
                <a:cubicBezTo>
                  <a:pt x="3738203" y="3175862"/>
                  <a:pt x="3765550" y="3203008"/>
                  <a:pt x="3765550" y="3236187"/>
                </a:cubicBezTo>
                <a:cubicBezTo>
                  <a:pt x="3765550" y="3269366"/>
                  <a:pt x="3738203" y="3296512"/>
                  <a:pt x="3704780" y="3296512"/>
                </a:cubicBezTo>
                <a:cubicBezTo>
                  <a:pt x="79820" y="3296512"/>
                  <a:pt x="79820" y="3296512"/>
                  <a:pt x="79820" y="3296512"/>
                </a:cubicBezTo>
                <a:cubicBezTo>
                  <a:pt x="46396" y="3296512"/>
                  <a:pt x="19050" y="3269366"/>
                  <a:pt x="19050" y="3236187"/>
                </a:cubicBezTo>
                <a:cubicBezTo>
                  <a:pt x="19050" y="3203008"/>
                  <a:pt x="46396" y="3175862"/>
                  <a:pt x="79820" y="3175862"/>
                </a:cubicBezTo>
                <a:cubicBezTo>
                  <a:pt x="193100" y="3175862"/>
                  <a:pt x="302840" y="3175862"/>
                  <a:pt x="409151" y="3175862"/>
                </a:cubicBezTo>
                <a:lnTo>
                  <a:pt x="455613" y="3175862"/>
                </a:lnTo>
                <a:lnTo>
                  <a:pt x="455613" y="3013173"/>
                </a:lnTo>
                <a:cubicBezTo>
                  <a:pt x="455613" y="2108463"/>
                  <a:pt x="455613" y="1813047"/>
                  <a:pt x="455613" y="1716585"/>
                </a:cubicBezTo>
                <a:lnTo>
                  <a:pt x="455613" y="1711733"/>
                </a:lnTo>
                <a:lnTo>
                  <a:pt x="417656" y="1707906"/>
                </a:lnTo>
                <a:cubicBezTo>
                  <a:pt x="179286" y="1659109"/>
                  <a:pt x="0" y="1448116"/>
                  <a:pt x="0" y="1195191"/>
                </a:cubicBezTo>
                <a:lnTo>
                  <a:pt x="4461" y="1184461"/>
                </a:lnTo>
                <a:lnTo>
                  <a:pt x="2098" y="1170365"/>
                </a:lnTo>
                <a:lnTo>
                  <a:pt x="0" y="1165294"/>
                </a:lnTo>
                <a:cubicBezTo>
                  <a:pt x="0" y="1156890"/>
                  <a:pt x="1709" y="1148868"/>
                  <a:pt x="4796" y="1141563"/>
                </a:cubicBezTo>
                <a:lnTo>
                  <a:pt x="7258" y="1137898"/>
                </a:lnTo>
                <a:lnTo>
                  <a:pt x="89867" y="946855"/>
                </a:lnTo>
                <a:cubicBezTo>
                  <a:pt x="430856" y="158287"/>
                  <a:pt x="476321" y="53144"/>
                  <a:pt x="482383" y="39125"/>
                </a:cubicBezTo>
                <a:lnTo>
                  <a:pt x="482523" y="38802"/>
                </a:lnTo>
                <a:lnTo>
                  <a:pt x="482634" y="38250"/>
                </a:lnTo>
                <a:lnTo>
                  <a:pt x="482991" y="37719"/>
                </a:lnTo>
                <a:lnTo>
                  <a:pt x="483316" y="36968"/>
                </a:lnTo>
                <a:cubicBezTo>
                  <a:pt x="492440" y="14152"/>
                  <a:pt x="515251" y="-107"/>
                  <a:pt x="538916" y="606"/>
                </a:cubicBezTo>
                <a:lnTo>
                  <a:pt x="539929" y="862"/>
                </a:lnTo>
                <a:lnTo>
                  <a:pt x="782423" y="862"/>
                </a:lnTo>
                <a:cubicBezTo>
                  <a:pt x="2764716" y="862"/>
                  <a:pt x="3136396" y="862"/>
                  <a:pt x="3206086" y="862"/>
                </a:cubicBezTo>
                <a:lnTo>
                  <a:pt x="3214612" y="862"/>
                </a:lnTo>
                <a:close/>
              </a:path>
            </a:pathLst>
          </a:custGeom>
          <a:solidFill>
            <a:srgbClr val="002050"/>
          </a:solidFill>
          <a:ln w="3175">
            <a:solidFill>
              <a:srgbClr val="002050"/>
            </a:solid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nvGrpSpPr>
          <p:cNvPr id="304" name="Group 303">
            <a:extLst>
              <a:ext uri="{FF2B5EF4-FFF2-40B4-BE49-F238E27FC236}">
                <a16:creationId xmlns:a16="http://schemas.microsoft.com/office/drawing/2014/main" id="{6D317CF3-EC5B-4AA4-A8F8-B60BEE8DB0B3}"/>
              </a:ext>
            </a:extLst>
          </p:cNvPr>
          <p:cNvGrpSpPr/>
          <p:nvPr/>
        </p:nvGrpSpPr>
        <p:grpSpPr>
          <a:xfrm>
            <a:off x="974022" y="3971291"/>
            <a:ext cx="361801" cy="286116"/>
            <a:chOff x="242824" y="5199515"/>
            <a:chExt cx="1135060" cy="897618"/>
          </a:xfrm>
        </p:grpSpPr>
        <p:sp>
          <p:nvSpPr>
            <p:cNvPr id="305" name="Freeform: Shape 304">
              <a:extLst>
                <a:ext uri="{FF2B5EF4-FFF2-40B4-BE49-F238E27FC236}">
                  <a16:creationId xmlns:a16="http://schemas.microsoft.com/office/drawing/2014/main" id="{D823B99C-9A1E-4920-AB06-DAAB548887A4}"/>
                </a:ext>
              </a:extLst>
            </p:cNvPr>
            <p:cNvSpPr/>
            <p:nvPr/>
          </p:nvSpPr>
          <p:spPr bwMode="auto">
            <a:xfrm>
              <a:off x="242824" y="5199515"/>
              <a:ext cx="1135060" cy="897618"/>
            </a:xfrm>
            <a:custGeom>
              <a:avLst/>
              <a:gdLst>
                <a:gd name="connsiteX0" fmla="*/ 780161 w 1135060"/>
                <a:gd name="connsiteY0" fmla="*/ 75430 h 897618"/>
                <a:gd name="connsiteX1" fmla="*/ 780161 w 1135060"/>
                <a:gd name="connsiteY1" fmla="*/ 835525 h 897618"/>
                <a:gd name="connsiteX2" fmla="*/ 991616 w 1135060"/>
                <a:gd name="connsiteY2" fmla="*/ 776470 h 897618"/>
                <a:gd name="connsiteX3" fmla="*/ 991616 w 1135060"/>
                <a:gd name="connsiteY3" fmla="*/ 279265 h 897618"/>
                <a:gd name="connsiteX4" fmla="*/ 879221 w 1135060"/>
                <a:gd name="connsiteY4" fmla="*/ 279265 h 897618"/>
                <a:gd name="connsiteX5" fmla="*/ 739833 w 1135060"/>
                <a:gd name="connsiteY5" fmla="*/ 72037 h 897618"/>
                <a:gd name="connsiteX6" fmla="*/ 621071 w 1135060"/>
                <a:gd name="connsiteY6" fmla="*/ 288146 h 897618"/>
                <a:gd name="connsiteX7" fmla="*/ 196640 w 1135060"/>
                <a:gd name="connsiteY7" fmla="*/ 309562 h 897618"/>
                <a:gd name="connsiteX8" fmla="*/ 196640 w 1135060"/>
                <a:gd name="connsiteY8" fmla="*/ 790453 h 897618"/>
                <a:gd name="connsiteX9" fmla="*/ 739833 w 1135060"/>
                <a:gd name="connsiteY9" fmla="*/ 833286 h 897618"/>
                <a:gd name="connsiteX10" fmla="*/ 817710 w 1135060"/>
                <a:gd name="connsiteY10" fmla="*/ 66195 h 897618"/>
                <a:gd name="connsiteX11" fmla="*/ 893640 w 1135060"/>
                <a:gd name="connsiteY11" fmla="*/ 231684 h 897618"/>
                <a:gd name="connsiteX12" fmla="*/ 1071784 w 1135060"/>
                <a:gd name="connsiteY12" fmla="*/ 244339 h 897618"/>
                <a:gd name="connsiteX13" fmla="*/ 1004615 w 1135060"/>
                <a:gd name="connsiteY13" fmla="*/ 115842 h 897618"/>
                <a:gd name="connsiteX14" fmla="*/ 683372 w 1135060"/>
                <a:gd name="connsiteY14" fmla="*/ 62302 h 897618"/>
                <a:gd name="connsiteX15" fmla="*/ 190799 w 1135060"/>
                <a:gd name="connsiteY15" fmla="*/ 110975 h 897618"/>
                <a:gd name="connsiteX16" fmla="*/ 97347 w 1135060"/>
                <a:gd name="connsiteY16" fmla="*/ 266729 h 897618"/>
                <a:gd name="connsiteX17" fmla="*/ 584079 w 1135060"/>
                <a:gd name="connsiteY17" fmla="*/ 231685 h 897618"/>
                <a:gd name="connsiteX18" fmla="*/ 761250 w 1135060"/>
                <a:gd name="connsiteY18" fmla="*/ 0 h 897618"/>
                <a:gd name="connsiteX19" fmla="*/ 1029926 w 1135060"/>
                <a:gd name="connsiteY19" fmla="*/ 81771 h 897618"/>
                <a:gd name="connsiteX20" fmla="*/ 1135060 w 1135060"/>
                <a:gd name="connsiteY20" fmla="*/ 282305 h 897618"/>
                <a:gd name="connsiteX21" fmla="*/ 1027979 w 1135060"/>
                <a:gd name="connsiteY21" fmla="*/ 282305 h 897618"/>
                <a:gd name="connsiteX22" fmla="*/ 1027979 w 1135060"/>
                <a:gd name="connsiteY22" fmla="*/ 809923 h 897618"/>
                <a:gd name="connsiteX23" fmla="*/ 752647 w 1135060"/>
                <a:gd name="connsiteY23" fmla="*/ 897618 h 897618"/>
                <a:gd name="connsiteX24" fmla="*/ 157701 w 1135060"/>
                <a:gd name="connsiteY24" fmla="*/ 839127 h 897618"/>
                <a:gd name="connsiteX25" fmla="*/ 157701 w 1135060"/>
                <a:gd name="connsiteY25" fmla="*/ 315403 h 897618"/>
                <a:gd name="connsiteX26" fmla="*/ 0 w 1135060"/>
                <a:gd name="connsiteY26" fmla="*/ 315403 h 897618"/>
                <a:gd name="connsiteX27" fmla="*/ 155754 w 1135060"/>
                <a:gd name="connsiteY27" fmla="*/ 66196 h 897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35060" h="897618">
                  <a:moveTo>
                    <a:pt x="780161" y="75430"/>
                  </a:moveTo>
                  <a:lnTo>
                    <a:pt x="780161" y="835525"/>
                  </a:lnTo>
                  <a:lnTo>
                    <a:pt x="991616" y="776470"/>
                  </a:lnTo>
                  <a:lnTo>
                    <a:pt x="991616" y="279265"/>
                  </a:lnTo>
                  <a:lnTo>
                    <a:pt x="879221" y="279265"/>
                  </a:lnTo>
                  <a:close/>
                  <a:moveTo>
                    <a:pt x="739833" y="72037"/>
                  </a:moveTo>
                  <a:lnTo>
                    <a:pt x="621071" y="288146"/>
                  </a:lnTo>
                  <a:lnTo>
                    <a:pt x="196640" y="309562"/>
                  </a:lnTo>
                  <a:lnTo>
                    <a:pt x="196640" y="790453"/>
                  </a:lnTo>
                  <a:lnTo>
                    <a:pt x="739833" y="833286"/>
                  </a:lnTo>
                  <a:close/>
                  <a:moveTo>
                    <a:pt x="817710" y="66195"/>
                  </a:moveTo>
                  <a:lnTo>
                    <a:pt x="893640" y="231684"/>
                  </a:lnTo>
                  <a:lnTo>
                    <a:pt x="1071784" y="244339"/>
                  </a:lnTo>
                  <a:lnTo>
                    <a:pt x="1004615" y="115842"/>
                  </a:lnTo>
                  <a:close/>
                  <a:moveTo>
                    <a:pt x="683372" y="62302"/>
                  </a:moveTo>
                  <a:lnTo>
                    <a:pt x="190799" y="110975"/>
                  </a:lnTo>
                  <a:lnTo>
                    <a:pt x="97347" y="266729"/>
                  </a:lnTo>
                  <a:lnTo>
                    <a:pt x="584079" y="231685"/>
                  </a:lnTo>
                  <a:close/>
                  <a:moveTo>
                    <a:pt x="761250" y="0"/>
                  </a:moveTo>
                  <a:lnTo>
                    <a:pt x="1029926" y="81771"/>
                  </a:lnTo>
                  <a:lnTo>
                    <a:pt x="1135060" y="282305"/>
                  </a:lnTo>
                  <a:lnTo>
                    <a:pt x="1027979" y="282305"/>
                  </a:lnTo>
                  <a:lnTo>
                    <a:pt x="1027979" y="809923"/>
                  </a:lnTo>
                  <a:lnTo>
                    <a:pt x="752647" y="897618"/>
                  </a:lnTo>
                  <a:lnTo>
                    <a:pt x="157701" y="839127"/>
                  </a:lnTo>
                  <a:lnTo>
                    <a:pt x="157701" y="315403"/>
                  </a:lnTo>
                  <a:lnTo>
                    <a:pt x="0" y="315403"/>
                  </a:lnTo>
                  <a:lnTo>
                    <a:pt x="155754" y="66196"/>
                  </a:ln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6" name="Rectangle: Rounded Corners 305">
              <a:extLst>
                <a:ext uri="{FF2B5EF4-FFF2-40B4-BE49-F238E27FC236}">
                  <a16:creationId xmlns:a16="http://schemas.microsoft.com/office/drawing/2014/main" id="{94D13E6C-59B0-4E09-B81F-62F2FF1CEB40}"/>
                </a:ext>
              </a:extLst>
            </p:cNvPr>
            <p:cNvSpPr/>
            <p:nvPr/>
          </p:nvSpPr>
          <p:spPr bwMode="auto">
            <a:xfrm rot="212772">
              <a:off x="509276" y="5882402"/>
              <a:ext cx="266615" cy="57110"/>
            </a:xfrm>
            <a:prstGeom prst="roundRect">
              <a:avLst>
                <a:gd name="adj" fmla="val 50000"/>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07" name="Group 306">
              <a:extLst>
                <a:ext uri="{FF2B5EF4-FFF2-40B4-BE49-F238E27FC236}">
                  <a16:creationId xmlns:a16="http://schemas.microsoft.com/office/drawing/2014/main" id="{017ADFB4-A9C1-43D2-B3AB-B57DE0EBE6AD}"/>
                </a:ext>
              </a:extLst>
            </p:cNvPr>
            <p:cNvGrpSpPr/>
            <p:nvPr/>
          </p:nvGrpSpPr>
          <p:grpSpPr>
            <a:xfrm rot="21423090">
              <a:off x="510655" y="5622395"/>
              <a:ext cx="122528" cy="215798"/>
              <a:chOff x="2920647" y="4046992"/>
              <a:chExt cx="239779" cy="422302"/>
            </a:xfrm>
            <a:solidFill>
              <a:srgbClr val="002050"/>
            </a:solidFill>
          </p:grpSpPr>
          <p:sp>
            <p:nvSpPr>
              <p:cNvPr id="311" name="Rectangle: Rounded Corners 310">
                <a:extLst>
                  <a:ext uri="{FF2B5EF4-FFF2-40B4-BE49-F238E27FC236}">
                    <a16:creationId xmlns:a16="http://schemas.microsoft.com/office/drawing/2014/main" id="{6A8F4038-7D4F-4130-908F-6F6D1BD1BC18}"/>
                  </a:ext>
                </a:extLst>
              </p:cNvPr>
              <p:cNvSpPr/>
              <p:nvPr/>
            </p:nvSpPr>
            <p:spPr bwMode="auto">
              <a:xfrm rot="5566499">
                <a:off x="2855570" y="4262149"/>
                <a:ext cx="348568" cy="6572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2" name="Isosceles Triangle 9">
                <a:extLst>
                  <a:ext uri="{FF2B5EF4-FFF2-40B4-BE49-F238E27FC236}">
                    <a16:creationId xmlns:a16="http://schemas.microsoft.com/office/drawing/2014/main" id="{2F4B4EFE-DB4A-43D6-8DC1-9C0E66588560}"/>
                  </a:ext>
                </a:extLst>
              </p:cNvPr>
              <p:cNvSpPr/>
              <p:nvPr/>
            </p:nvSpPr>
            <p:spPr bwMode="auto">
              <a:xfrm rot="222834">
                <a:off x="2920647" y="4046992"/>
                <a:ext cx="239779" cy="147470"/>
              </a:xfrm>
              <a:custGeom>
                <a:avLst/>
                <a:gdLst>
                  <a:gd name="connsiteX0" fmla="*/ 0 w 744220"/>
                  <a:gd name="connsiteY0" fmla="*/ 641569 h 641569"/>
                  <a:gd name="connsiteX1" fmla="*/ 372110 w 744220"/>
                  <a:gd name="connsiteY1" fmla="*/ 0 h 641569"/>
                  <a:gd name="connsiteX2" fmla="*/ 744220 w 744220"/>
                  <a:gd name="connsiteY2" fmla="*/ 641569 h 641569"/>
                  <a:gd name="connsiteX3" fmla="*/ 0 w 744220"/>
                  <a:gd name="connsiteY3" fmla="*/ 641569 h 641569"/>
                  <a:gd name="connsiteX0" fmla="*/ 0 w 744220"/>
                  <a:gd name="connsiteY0" fmla="*/ 641569 h 641569"/>
                  <a:gd name="connsiteX1" fmla="*/ 372110 w 744220"/>
                  <a:gd name="connsiteY1" fmla="*/ 0 h 641569"/>
                  <a:gd name="connsiteX2" fmla="*/ 723900 w 744220"/>
                  <a:gd name="connsiteY2" fmla="*/ 604520 h 641569"/>
                  <a:gd name="connsiteX3" fmla="*/ 744220 w 744220"/>
                  <a:gd name="connsiteY3" fmla="*/ 641569 h 641569"/>
                  <a:gd name="connsiteX4" fmla="*/ 0 w 744220"/>
                  <a:gd name="connsiteY4" fmla="*/ 641569 h 641569"/>
                  <a:gd name="connsiteX0" fmla="*/ 0 w 744220"/>
                  <a:gd name="connsiteY0" fmla="*/ 641569 h 642620"/>
                  <a:gd name="connsiteX1" fmla="*/ 372110 w 744220"/>
                  <a:gd name="connsiteY1" fmla="*/ 0 h 642620"/>
                  <a:gd name="connsiteX2" fmla="*/ 723900 w 744220"/>
                  <a:gd name="connsiteY2" fmla="*/ 604520 h 642620"/>
                  <a:gd name="connsiteX3" fmla="*/ 744220 w 744220"/>
                  <a:gd name="connsiteY3" fmla="*/ 641569 h 642620"/>
                  <a:gd name="connsiteX4" fmla="*/ 698500 w 744220"/>
                  <a:gd name="connsiteY4" fmla="*/ 642620 h 642620"/>
                  <a:gd name="connsiteX5" fmla="*/ 0 w 744220"/>
                  <a:gd name="connsiteY5"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36334"/>
                  <a:gd name="connsiteY0" fmla="*/ 641569 h 642620"/>
                  <a:gd name="connsiteX1" fmla="*/ 372110 w 736334"/>
                  <a:gd name="connsiteY1" fmla="*/ 0 h 642620"/>
                  <a:gd name="connsiteX2" fmla="*/ 723900 w 736334"/>
                  <a:gd name="connsiteY2" fmla="*/ 604520 h 642620"/>
                  <a:gd name="connsiteX3" fmla="*/ 698500 w 736334"/>
                  <a:gd name="connsiteY3" fmla="*/ 642620 h 642620"/>
                  <a:gd name="connsiteX4" fmla="*/ 0 w 736334"/>
                  <a:gd name="connsiteY4" fmla="*/ 641569 h 642620"/>
                  <a:gd name="connsiteX0" fmla="*/ 0 w 737461"/>
                  <a:gd name="connsiteY0" fmla="*/ 641569 h 642620"/>
                  <a:gd name="connsiteX1" fmla="*/ 372110 w 737461"/>
                  <a:gd name="connsiteY1" fmla="*/ 0 h 642620"/>
                  <a:gd name="connsiteX2" fmla="*/ 723900 w 737461"/>
                  <a:gd name="connsiteY2" fmla="*/ 604520 h 642620"/>
                  <a:gd name="connsiteX3" fmla="*/ 698500 w 737461"/>
                  <a:gd name="connsiteY3" fmla="*/ 642620 h 642620"/>
                  <a:gd name="connsiteX4" fmla="*/ 0 w 737461"/>
                  <a:gd name="connsiteY4" fmla="*/ 641569 h 642620"/>
                  <a:gd name="connsiteX0" fmla="*/ 0 w 738071"/>
                  <a:gd name="connsiteY0" fmla="*/ 641569 h 644004"/>
                  <a:gd name="connsiteX1" fmla="*/ 372110 w 738071"/>
                  <a:gd name="connsiteY1" fmla="*/ 0 h 644004"/>
                  <a:gd name="connsiteX2" fmla="*/ 723900 w 738071"/>
                  <a:gd name="connsiteY2" fmla="*/ 604520 h 644004"/>
                  <a:gd name="connsiteX3" fmla="*/ 698500 w 738071"/>
                  <a:gd name="connsiteY3" fmla="*/ 642620 h 644004"/>
                  <a:gd name="connsiteX4" fmla="*/ 0 w 738071"/>
                  <a:gd name="connsiteY4" fmla="*/ 641569 h 644004"/>
                  <a:gd name="connsiteX0" fmla="*/ 0 w 731341"/>
                  <a:gd name="connsiteY0" fmla="*/ 641569 h 644004"/>
                  <a:gd name="connsiteX1" fmla="*/ 372110 w 731341"/>
                  <a:gd name="connsiteY1" fmla="*/ 0 h 644004"/>
                  <a:gd name="connsiteX2" fmla="*/ 723900 w 731341"/>
                  <a:gd name="connsiteY2" fmla="*/ 604520 h 644004"/>
                  <a:gd name="connsiteX3" fmla="*/ 698500 w 731341"/>
                  <a:gd name="connsiteY3" fmla="*/ 642620 h 644004"/>
                  <a:gd name="connsiteX4" fmla="*/ 0 w 731341"/>
                  <a:gd name="connsiteY4" fmla="*/ 641569 h 644004"/>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0 w 730699"/>
                  <a:gd name="connsiteY4" fmla="*/ 641569 h 642835"/>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40640 w 730699"/>
                  <a:gd name="connsiteY4" fmla="*/ 642620 h 642835"/>
                  <a:gd name="connsiteX5" fmla="*/ 0 w 730699"/>
                  <a:gd name="connsiteY5" fmla="*/ 641569 h 642835"/>
                  <a:gd name="connsiteX0" fmla="*/ 0 w 730699"/>
                  <a:gd name="connsiteY0" fmla="*/ 641569 h 642835"/>
                  <a:gd name="connsiteX1" fmla="*/ 30480 w 730699"/>
                  <a:gd name="connsiteY1" fmla="*/ 584200 h 642835"/>
                  <a:gd name="connsiteX2" fmla="*/ 372110 w 730699"/>
                  <a:gd name="connsiteY2" fmla="*/ 0 h 642835"/>
                  <a:gd name="connsiteX3" fmla="*/ 723900 w 730699"/>
                  <a:gd name="connsiteY3" fmla="*/ 604520 h 642835"/>
                  <a:gd name="connsiteX4" fmla="*/ 698500 w 730699"/>
                  <a:gd name="connsiteY4" fmla="*/ 642620 h 642835"/>
                  <a:gd name="connsiteX5" fmla="*/ 40640 w 730699"/>
                  <a:gd name="connsiteY5" fmla="*/ 642620 h 642835"/>
                  <a:gd name="connsiteX6" fmla="*/ 0 w 730699"/>
                  <a:gd name="connsiteY6" fmla="*/ 641569 h 642835"/>
                  <a:gd name="connsiteX0" fmla="*/ 10160 w 700219"/>
                  <a:gd name="connsiteY0" fmla="*/ 642620 h 642835"/>
                  <a:gd name="connsiteX1" fmla="*/ 0 w 700219"/>
                  <a:gd name="connsiteY1" fmla="*/ 584200 h 642835"/>
                  <a:gd name="connsiteX2" fmla="*/ 341630 w 700219"/>
                  <a:gd name="connsiteY2" fmla="*/ 0 h 642835"/>
                  <a:gd name="connsiteX3" fmla="*/ 693420 w 700219"/>
                  <a:gd name="connsiteY3" fmla="*/ 604520 h 642835"/>
                  <a:gd name="connsiteX4" fmla="*/ 668020 w 700219"/>
                  <a:gd name="connsiteY4" fmla="*/ 642620 h 642835"/>
                  <a:gd name="connsiteX5" fmla="*/ 10160 w 700219"/>
                  <a:gd name="connsiteY5" fmla="*/ 642620 h 642835"/>
                  <a:gd name="connsiteX0" fmla="*/ 20557 w 710616"/>
                  <a:gd name="connsiteY0" fmla="*/ 642620 h 642835"/>
                  <a:gd name="connsiteX1" fmla="*/ 10397 w 710616"/>
                  <a:gd name="connsiteY1" fmla="*/ 584200 h 642835"/>
                  <a:gd name="connsiteX2" fmla="*/ 352027 w 710616"/>
                  <a:gd name="connsiteY2" fmla="*/ 0 h 642835"/>
                  <a:gd name="connsiteX3" fmla="*/ 703817 w 710616"/>
                  <a:gd name="connsiteY3" fmla="*/ 604520 h 642835"/>
                  <a:gd name="connsiteX4" fmla="*/ 678417 w 710616"/>
                  <a:gd name="connsiteY4" fmla="*/ 642620 h 642835"/>
                  <a:gd name="connsiteX5" fmla="*/ 20557 w 710616"/>
                  <a:gd name="connsiteY5" fmla="*/ 642620 h 642835"/>
                  <a:gd name="connsiteX0" fmla="*/ 28893 w 718952"/>
                  <a:gd name="connsiteY0" fmla="*/ 642620 h 642835"/>
                  <a:gd name="connsiteX1" fmla="*/ 18733 w 718952"/>
                  <a:gd name="connsiteY1" fmla="*/ 584200 h 642835"/>
                  <a:gd name="connsiteX2" fmla="*/ 360363 w 718952"/>
                  <a:gd name="connsiteY2" fmla="*/ 0 h 642835"/>
                  <a:gd name="connsiteX3" fmla="*/ 712153 w 718952"/>
                  <a:gd name="connsiteY3" fmla="*/ 604520 h 642835"/>
                  <a:gd name="connsiteX4" fmla="*/ 686753 w 718952"/>
                  <a:gd name="connsiteY4" fmla="*/ 642620 h 642835"/>
                  <a:gd name="connsiteX5" fmla="*/ 28893 w 718952"/>
                  <a:gd name="connsiteY5"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712153 w 718952"/>
                  <a:gd name="connsiteY4" fmla="*/ 604520 h 642835"/>
                  <a:gd name="connsiteX5" fmla="*/ 686753 w 718952"/>
                  <a:gd name="connsiteY5" fmla="*/ 642620 h 642835"/>
                  <a:gd name="connsiteX6" fmla="*/ 28893 w 718952"/>
                  <a:gd name="connsiteY6"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387033 w 718952"/>
                  <a:gd name="connsiteY4" fmla="*/ 43180 h 642835"/>
                  <a:gd name="connsiteX5" fmla="*/ 712153 w 718952"/>
                  <a:gd name="connsiteY5" fmla="*/ 604520 h 642835"/>
                  <a:gd name="connsiteX6" fmla="*/ 686753 w 718952"/>
                  <a:gd name="connsiteY6" fmla="*/ 642620 h 642835"/>
                  <a:gd name="connsiteX7" fmla="*/ 28893 w 718952"/>
                  <a:gd name="connsiteY7" fmla="*/ 642620 h 642835"/>
                  <a:gd name="connsiteX0" fmla="*/ 28893 w 718952"/>
                  <a:gd name="connsiteY0" fmla="*/ 599440 h 599655"/>
                  <a:gd name="connsiteX1" fmla="*/ 18733 w 718952"/>
                  <a:gd name="connsiteY1" fmla="*/ 541020 h 599655"/>
                  <a:gd name="connsiteX2" fmla="*/ 333693 w 718952"/>
                  <a:gd name="connsiteY2" fmla="*/ 0 h 599655"/>
                  <a:gd name="connsiteX3" fmla="*/ 387033 w 718952"/>
                  <a:gd name="connsiteY3" fmla="*/ 0 h 599655"/>
                  <a:gd name="connsiteX4" fmla="*/ 712153 w 718952"/>
                  <a:gd name="connsiteY4" fmla="*/ 561340 h 599655"/>
                  <a:gd name="connsiteX5" fmla="*/ 686753 w 718952"/>
                  <a:gd name="connsiteY5" fmla="*/ 599440 h 599655"/>
                  <a:gd name="connsiteX6" fmla="*/ 28893 w 718952"/>
                  <a:gd name="connsiteY6" fmla="*/ 599440 h 599655"/>
                  <a:gd name="connsiteX0" fmla="*/ 28893 w 718952"/>
                  <a:gd name="connsiteY0" fmla="*/ 622017 h 622232"/>
                  <a:gd name="connsiteX1" fmla="*/ 18733 w 718952"/>
                  <a:gd name="connsiteY1" fmla="*/ 563597 h 622232"/>
                  <a:gd name="connsiteX2" fmla="*/ 333693 w 718952"/>
                  <a:gd name="connsiteY2" fmla="*/ 22577 h 622232"/>
                  <a:gd name="connsiteX3" fmla="*/ 387033 w 718952"/>
                  <a:gd name="connsiteY3" fmla="*/ 22577 h 622232"/>
                  <a:gd name="connsiteX4" fmla="*/ 712153 w 718952"/>
                  <a:gd name="connsiteY4" fmla="*/ 583917 h 622232"/>
                  <a:gd name="connsiteX5" fmla="*/ 686753 w 718952"/>
                  <a:gd name="connsiteY5" fmla="*/ 622017 h 622232"/>
                  <a:gd name="connsiteX6" fmla="*/ 28893 w 718952"/>
                  <a:gd name="connsiteY6" fmla="*/ 622017 h 622232"/>
                  <a:gd name="connsiteX0" fmla="*/ 28893 w 718952"/>
                  <a:gd name="connsiteY0" fmla="*/ 630382 h 630597"/>
                  <a:gd name="connsiteX1" fmla="*/ 18733 w 718952"/>
                  <a:gd name="connsiteY1" fmla="*/ 571962 h 630597"/>
                  <a:gd name="connsiteX2" fmla="*/ 333693 w 718952"/>
                  <a:gd name="connsiteY2" fmla="*/ 30942 h 630597"/>
                  <a:gd name="connsiteX3" fmla="*/ 387033 w 718952"/>
                  <a:gd name="connsiteY3" fmla="*/ 30942 h 630597"/>
                  <a:gd name="connsiteX4" fmla="*/ 712153 w 718952"/>
                  <a:gd name="connsiteY4" fmla="*/ 592282 h 630597"/>
                  <a:gd name="connsiteX5" fmla="*/ 686753 w 718952"/>
                  <a:gd name="connsiteY5" fmla="*/ 630382 h 630597"/>
                  <a:gd name="connsiteX6" fmla="*/ 28893 w 718952"/>
                  <a:gd name="connsiteY6" fmla="*/ 630382 h 630597"/>
                  <a:gd name="connsiteX0" fmla="*/ 28893 w 718952"/>
                  <a:gd name="connsiteY0" fmla="*/ 631218 h 631433"/>
                  <a:gd name="connsiteX1" fmla="*/ 18733 w 718952"/>
                  <a:gd name="connsiteY1" fmla="*/ 572798 h 631433"/>
                  <a:gd name="connsiteX2" fmla="*/ 333693 w 718952"/>
                  <a:gd name="connsiteY2" fmla="*/ 31778 h 631433"/>
                  <a:gd name="connsiteX3" fmla="*/ 387033 w 718952"/>
                  <a:gd name="connsiteY3" fmla="*/ 31778 h 631433"/>
                  <a:gd name="connsiteX4" fmla="*/ 712153 w 718952"/>
                  <a:gd name="connsiteY4" fmla="*/ 593118 h 631433"/>
                  <a:gd name="connsiteX5" fmla="*/ 686753 w 718952"/>
                  <a:gd name="connsiteY5" fmla="*/ 631218 h 631433"/>
                  <a:gd name="connsiteX6" fmla="*/ 28893 w 718952"/>
                  <a:gd name="connsiteY6" fmla="*/ 631218 h 631433"/>
                  <a:gd name="connsiteX0" fmla="*/ 28893 w 718952"/>
                  <a:gd name="connsiteY0" fmla="*/ 630383 h 630598"/>
                  <a:gd name="connsiteX1" fmla="*/ 18733 w 718952"/>
                  <a:gd name="connsiteY1" fmla="*/ 571963 h 630598"/>
                  <a:gd name="connsiteX2" fmla="*/ 333693 w 718952"/>
                  <a:gd name="connsiteY2" fmla="*/ 30943 h 630598"/>
                  <a:gd name="connsiteX3" fmla="*/ 387033 w 718952"/>
                  <a:gd name="connsiteY3" fmla="*/ 30943 h 630598"/>
                  <a:gd name="connsiteX4" fmla="*/ 712153 w 718952"/>
                  <a:gd name="connsiteY4" fmla="*/ 592283 h 630598"/>
                  <a:gd name="connsiteX5" fmla="*/ 686753 w 718952"/>
                  <a:gd name="connsiteY5" fmla="*/ 630383 h 630598"/>
                  <a:gd name="connsiteX6" fmla="*/ 28893 w 718952"/>
                  <a:gd name="connsiteY6" fmla="*/ 630383 h 630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952" h="630598">
                    <a:moveTo>
                      <a:pt x="28893" y="630383"/>
                    </a:moveTo>
                    <a:cubicBezTo>
                      <a:pt x="-12594" y="618530"/>
                      <a:pt x="-3280" y="601596"/>
                      <a:pt x="18733" y="571963"/>
                    </a:cubicBezTo>
                    <a:lnTo>
                      <a:pt x="333693" y="30943"/>
                    </a:lnTo>
                    <a:cubicBezTo>
                      <a:pt x="359093" y="-19857"/>
                      <a:pt x="371793" y="463"/>
                      <a:pt x="387033" y="30943"/>
                    </a:cubicBezTo>
                    <a:lnTo>
                      <a:pt x="712153" y="592283"/>
                    </a:lnTo>
                    <a:cubicBezTo>
                      <a:pt x="724006" y="612603"/>
                      <a:pt x="723160" y="632923"/>
                      <a:pt x="686753" y="630383"/>
                    </a:cubicBezTo>
                    <a:lnTo>
                      <a:pt x="28893" y="63038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308" name="Group 307">
              <a:extLst>
                <a:ext uri="{FF2B5EF4-FFF2-40B4-BE49-F238E27FC236}">
                  <a16:creationId xmlns:a16="http://schemas.microsoft.com/office/drawing/2014/main" id="{555CC7A1-B458-4642-AF40-080FD02C2BBD}"/>
                </a:ext>
              </a:extLst>
            </p:cNvPr>
            <p:cNvGrpSpPr/>
            <p:nvPr/>
          </p:nvGrpSpPr>
          <p:grpSpPr>
            <a:xfrm rot="21423090">
              <a:off x="659595" y="5629839"/>
              <a:ext cx="122528" cy="215798"/>
              <a:chOff x="2920647" y="4046992"/>
              <a:chExt cx="239779" cy="422302"/>
            </a:xfrm>
            <a:solidFill>
              <a:srgbClr val="002050"/>
            </a:solidFill>
          </p:grpSpPr>
          <p:sp>
            <p:nvSpPr>
              <p:cNvPr id="309" name="Rectangle: Rounded Corners 308">
                <a:extLst>
                  <a:ext uri="{FF2B5EF4-FFF2-40B4-BE49-F238E27FC236}">
                    <a16:creationId xmlns:a16="http://schemas.microsoft.com/office/drawing/2014/main" id="{09147B12-2335-4496-A7A0-13A20C034E97}"/>
                  </a:ext>
                </a:extLst>
              </p:cNvPr>
              <p:cNvSpPr/>
              <p:nvPr/>
            </p:nvSpPr>
            <p:spPr bwMode="auto">
              <a:xfrm rot="5566499">
                <a:off x="2855570" y="4262149"/>
                <a:ext cx="348568" cy="6572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0" name="Isosceles Triangle 9">
                <a:extLst>
                  <a:ext uri="{FF2B5EF4-FFF2-40B4-BE49-F238E27FC236}">
                    <a16:creationId xmlns:a16="http://schemas.microsoft.com/office/drawing/2014/main" id="{ACC1DABA-B36E-4B51-A2FE-28E13131E8B8}"/>
                  </a:ext>
                </a:extLst>
              </p:cNvPr>
              <p:cNvSpPr/>
              <p:nvPr/>
            </p:nvSpPr>
            <p:spPr bwMode="auto">
              <a:xfrm rot="222834">
                <a:off x="2920647" y="4046992"/>
                <a:ext cx="239779" cy="147470"/>
              </a:xfrm>
              <a:custGeom>
                <a:avLst/>
                <a:gdLst>
                  <a:gd name="connsiteX0" fmla="*/ 0 w 744220"/>
                  <a:gd name="connsiteY0" fmla="*/ 641569 h 641569"/>
                  <a:gd name="connsiteX1" fmla="*/ 372110 w 744220"/>
                  <a:gd name="connsiteY1" fmla="*/ 0 h 641569"/>
                  <a:gd name="connsiteX2" fmla="*/ 744220 w 744220"/>
                  <a:gd name="connsiteY2" fmla="*/ 641569 h 641569"/>
                  <a:gd name="connsiteX3" fmla="*/ 0 w 744220"/>
                  <a:gd name="connsiteY3" fmla="*/ 641569 h 641569"/>
                  <a:gd name="connsiteX0" fmla="*/ 0 w 744220"/>
                  <a:gd name="connsiteY0" fmla="*/ 641569 h 641569"/>
                  <a:gd name="connsiteX1" fmla="*/ 372110 w 744220"/>
                  <a:gd name="connsiteY1" fmla="*/ 0 h 641569"/>
                  <a:gd name="connsiteX2" fmla="*/ 723900 w 744220"/>
                  <a:gd name="connsiteY2" fmla="*/ 604520 h 641569"/>
                  <a:gd name="connsiteX3" fmla="*/ 744220 w 744220"/>
                  <a:gd name="connsiteY3" fmla="*/ 641569 h 641569"/>
                  <a:gd name="connsiteX4" fmla="*/ 0 w 744220"/>
                  <a:gd name="connsiteY4" fmla="*/ 641569 h 641569"/>
                  <a:gd name="connsiteX0" fmla="*/ 0 w 744220"/>
                  <a:gd name="connsiteY0" fmla="*/ 641569 h 642620"/>
                  <a:gd name="connsiteX1" fmla="*/ 372110 w 744220"/>
                  <a:gd name="connsiteY1" fmla="*/ 0 h 642620"/>
                  <a:gd name="connsiteX2" fmla="*/ 723900 w 744220"/>
                  <a:gd name="connsiteY2" fmla="*/ 604520 h 642620"/>
                  <a:gd name="connsiteX3" fmla="*/ 744220 w 744220"/>
                  <a:gd name="connsiteY3" fmla="*/ 641569 h 642620"/>
                  <a:gd name="connsiteX4" fmla="*/ 698500 w 744220"/>
                  <a:gd name="connsiteY4" fmla="*/ 642620 h 642620"/>
                  <a:gd name="connsiteX5" fmla="*/ 0 w 744220"/>
                  <a:gd name="connsiteY5"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36334"/>
                  <a:gd name="connsiteY0" fmla="*/ 641569 h 642620"/>
                  <a:gd name="connsiteX1" fmla="*/ 372110 w 736334"/>
                  <a:gd name="connsiteY1" fmla="*/ 0 h 642620"/>
                  <a:gd name="connsiteX2" fmla="*/ 723900 w 736334"/>
                  <a:gd name="connsiteY2" fmla="*/ 604520 h 642620"/>
                  <a:gd name="connsiteX3" fmla="*/ 698500 w 736334"/>
                  <a:gd name="connsiteY3" fmla="*/ 642620 h 642620"/>
                  <a:gd name="connsiteX4" fmla="*/ 0 w 736334"/>
                  <a:gd name="connsiteY4" fmla="*/ 641569 h 642620"/>
                  <a:gd name="connsiteX0" fmla="*/ 0 w 737461"/>
                  <a:gd name="connsiteY0" fmla="*/ 641569 h 642620"/>
                  <a:gd name="connsiteX1" fmla="*/ 372110 w 737461"/>
                  <a:gd name="connsiteY1" fmla="*/ 0 h 642620"/>
                  <a:gd name="connsiteX2" fmla="*/ 723900 w 737461"/>
                  <a:gd name="connsiteY2" fmla="*/ 604520 h 642620"/>
                  <a:gd name="connsiteX3" fmla="*/ 698500 w 737461"/>
                  <a:gd name="connsiteY3" fmla="*/ 642620 h 642620"/>
                  <a:gd name="connsiteX4" fmla="*/ 0 w 737461"/>
                  <a:gd name="connsiteY4" fmla="*/ 641569 h 642620"/>
                  <a:gd name="connsiteX0" fmla="*/ 0 w 738071"/>
                  <a:gd name="connsiteY0" fmla="*/ 641569 h 644004"/>
                  <a:gd name="connsiteX1" fmla="*/ 372110 w 738071"/>
                  <a:gd name="connsiteY1" fmla="*/ 0 h 644004"/>
                  <a:gd name="connsiteX2" fmla="*/ 723900 w 738071"/>
                  <a:gd name="connsiteY2" fmla="*/ 604520 h 644004"/>
                  <a:gd name="connsiteX3" fmla="*/ 698500 w 738071"/>
                  <a:gd name="connsiteY3" fmla="*/ 642620 h 644004"/>
                  <a:gd name="connsiteX4" fmla="*/ 0 w 738071"/>
                  <a:gd name="connsiteY4" fmla="*/ 641569 h 644004"/>
                  <a:gd name="connsiteX0" fmla="*/ 0 w 731341"/>
                  <a:gd name="connsiteY0" fmla="*/ 641569 h 644004"/>
                  <a:gd name="connsiteX1" fmla="*/ 372110 w 731341"/>
                  <a:gd name="connsiteY1" fmla="*/ 0 h 644004"/>
                  <a:gd name="connsiteX2" fmla="*/ 723900 w 731341"/>
                  <a:gd name="connsiteY2" fmla="*/ 604520 h 644004"/>
                  <a:gd name="connsiteX3" fmla="*/ 698500 w 731341"/>
                  <a:gd name="connsiteY3" fmla="*/ 642620 h 644004"/>
                  <a:gd name="connsiteX4" fmla="*/ 0 w 731341"/>
                  <a:gd name="connsiteY4" fmla="*/ 641569 h 644004"/>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0 w 730699"/>
                  <a:gd name="connsiteY4" fmla="*/ 641569 h 642835"/>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40640 w 730699"/>
                  <a:gd name="connsiteY4" fmla="*/ 642620 h 642835"/>
                  <a:gd name="connsiteX5" fmla="*/ 0 w 730699"/>
                  <a:gd name="connsiteY5" fmla="*/ 641569 h 642835"/>
                  <a:gd name="connsiteX0" fmla="*/ 0 w 730699"/>
                  <a:gd name="connsiteY0" fmla="*/ 641569 h 642835"/>
                  <a:gd name="connsiteX1" fmla="*/ 30480 w 730699"/>
                  <a:gd name="connsiteY1" fmla="*/ 584200 h 642835"/>
                  <a:gd name="connsiteX2" fmla="*/ 372110 w 730699"/>
                  <a:gd name="connsiteY2" fmla="*/ 0 h 642835"/>
                  <a:gd name="connsiteX3" fmla="*/ 723900 w 730699"/>
                  <a:gd name="connsiteY3" fmla="*/ 604520 h 642835"/>
                  <a:gd name="connsiteX4" fmla="*/ 698500 w 730699"/>
                  <a:gd name="connsiteY4" fmla="*/ 642620 h 642835"/>
                  <a:gd name="connsiteX5" fmla="*/ 40640 w 730699"/>
                  <a:gd name="connsiteY5" fmla="*/ 642620 h 642835"/>
                  <a:gd name="connsiteX6" fmla="*/ 0 w 730699"/>
                  <a:gd name="connsiteY6" fmla="*/ 641569 h 642835"/>
                  <a:gd name="connsiteX0" fmla="*/ 10160 w 700219"/>
                  <a:gd name="connsiteY0" fmla="*/ 642620 h 642835"/>
                  <a:gd name="connsiteX1" fmla="*/ 0 w 700219"/>
                  <a:gd name="connsiteY1" fmla="*/ 584200 h 642835"/>
                  <a:gd name="connsiteX2" fmla="*/ 341630 w 700219"/>
                  <a:gd name="connsiteY2" fmla="*/ 0 h 642835"/>
                  <a:gd name="connsiteX3" fmla="*/ 693420 w 700219"/>
                  <a:gd name="connsiteY3" fmla="*/ 604520 h 642835"/>
                  <a:gd name="connsiteX4" fmla="*/ 668020 w 700219"/>
                  <a:gd name="connsiteY4" fmla="*/ 642620 h 642835"/>
                  <a:gd name="connsiteX5" fmla="*/ 10160 w 700219"/>
                  <a:gd name="connsiteY5" fmla="*/ 642620 h 642835"/>
                  <a:gd name="connsiteX0" fmla="*/ 20557 w 710616"/>
                  <a:gd name="connsiteY0" fmla="*/ 642620 h 642835"/>
                  <a:gd name="connsiteX1" fmla="*/ 10397 w 710616"/>
                  <a:gd name="connsiteY1" fmla="*/ 584200 h 642835"/>
                  <a:gd name="connsiteX2" fmla="*/ 352027 w 710616"/>
                  <a:gd name="connsiteY2" fmla="*/ 0 h 642835"/>
                  <a:gd name="connsiteX3" fmla="*/ 703817 w 710616"/>
                  <a:gd name="connsiteY3" fmla="*/ 604520 h 642835"/>
                  <a:gd name="connsiteX4" fmla="*/ 678417 w 710616"/>
                  <a:gd name="connsiteY4" fmla="*/ 642620 h 642835"/>
                  <a:gd name="connsiteX5" fmla="*/ 20557 w 710616"/>
                  <a:gd name="connsiteY5" fmla="*/ 642620 h 642835"/>
                  <a:gd name="connsiteX0" fmla="*/ 28893 w 718952"/>
                  <a:gd name="connsiteY0" fmla="*/ 642620 h 642835"/>
                  <a:gd name="connsiteX1" fmla="*/ 18733 w 718952"/>
                  <a:gd name="connsiteY1" fmla="*/ 584200 h 642835"/>
                  <a:gd name="connsiteX2" fmla="*/ 360363 w 718952"/>
                  <a:gd name="connsiteY2" fmla="*/ 0 h 642835"/>
                  <a:gd name="connsiteX3" fmla="*/ 712153 w 718952"/>
                  <a:gd name="connsiteY3" fmla="*/ 604520 h 642835"/>
                  <a:gd name="connsiteX4" fmla="*/ 686753 w 718952"/>
                  <a:gd name="connsiteY4" fmla="*/ 642620 h 642835"/>
                  <a:gd name="connsiteX5" fmla="*/ 28893 w 718952"/>
                  <a:gd name="connsiteY5"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712153 w 718952"/>
                  <a:gd name="connsiteY4" fmla="*/ 604520 h 642835"/>
                  <a:gd name="connsiteX5" fmla="*/ 686753 w 718952"/>
                  <a:gd name="connsiteY5" fmla="*/ 642620 h 642835"/>
                  <a:gd name="connsiteX6" fmla="*/ 28893 w 718952"/>
                  <a:gd name="connsiteY6"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387033 w 718952"/>
                  <a:gd name="connsiteY4" fmla="*/ 43180 h 642835"/>
                  <a:gd name="connsiteX5" fmla="*/ 712153 w 718952"/>
                  <a:gd name="connsiteY5" fmla="*/ 604520 h 642835"/>
                  <a:gd name="connsiteX6" fmla="*/ 686753 w 718952"/>
                  <a:gd name="connsiteY6" fmla="*/ 642620 h 642835"/>
                  <a:gd name="connsiteX7" fmla="*/ 28893 w 718952"/>
                  <a:gd name="connsiteY7" fmla="*/ 642620 h 642835"/>
                  <a:gd name="connsiteX0" fmla="*/ 28893 w 718952"/>
                  <a:gd name="connsiteY0" fmla="*/ 599440 h 599655"/>
                  <a:gd name="connsiteX1" fmla="*/ 18733 w 718952"/>
                  <a:gd name="connsiteY1" fmla="*/ 541020 h 599655"/>
                  <a:gd name="connsiteX2" fmla="*/ 333693 w 718952"/>
                  <a:gd name="connsiteY2" fmla="*/ 0 h 599655"/>
                  <a:gd name="connsiteX3" fmla="*/ 387033 w 718952"/>
                  <a:gd name="connsiteY3" fmla="*/ 0 h 599655"/>
                  <a:gd name="connsiteX4" fmla="*/ 712153 w 718952"/>
                  <a:gd name="connsiteY4" fmla="*/ 561340 h 599655"/>
                  <a:gd name="connsiteX5" fmla="*/ 686753 w 718952"/>
                  <a:gd name="connsiteY5" fmla="*/ 599440 h 599655"/>
                  <a:gd name="connsiteX6" fmla="*/ 28893 w 718952"/>
                  <a:gd name="connsiteY6" fmla="*/ 599440 h 599655"/>
                  <a:gd name="connsiteX0" fmla="*/ 28893 w 718952"/>
                  <a:gd name="connsiteY0" fmla="*/ 622017 h 622232"/>
                  <a:gd name="connsiteX1" fmla="*/ 18733 w 718952"/>
                  <a:gd name="connsiteY1" fmla="*/ 563597 h 622232"/>
                  <a:gd name="connsiteX2" fmla="*/ 333693 w 718952"/>
                  <a:gd name="connsiteY2" fmla="*/ 22577 h 622232"/>
                  <a:gd name="connsiteX3" fmla="*/ 387033 w 718952"/>
                  <a:gd name="connsiteY3" fmla="*/ 22577 h 622232"/>
                  <a:gd name="connsiteX4" fmla="*/ 712153 w 718952"/>
                  <a:gd name="connsiteY4" fmla="*/ 583917 h 622232"/>
                  <a:gd name="connsiteX5" fmla="*/ 686753 w 718952"/>
                  <a:gd name="connsiteY5" fmla="*/ 622017 h 622232"/>
                  <a:gd name="connsiteX6" fmla="*/ 28893 w 718952"/>
                  <a:gd name="connsiteY6" fmla="*/ 622017 h 622232"/>
                  <a:gd name="connsiteX0" fmla="*/ 28893 w 718952"/>
                  <a:gd name="connsiteY0" fmla="*/ 630382 h 630597"/>
                  <a:gd name="connsiteX1" fmla="*/ 18733 w 718952"/>
                  <a:gd name="connsiteY1" fmla="*/ 571962 h 630597"/>
                  <a:gd name="connsiteX2" fmla="*/ 333693 w 718952"/>
                  <a:gd name="connsiteY2" fmla="*/ 30942 h 630597"/>
                  <a:gd name="connsiteX3" fmla="*/ 387033 w 718952"/>
                  <a:gd name="connsiteY3" fmla="*/ 30942 h 630597"/>
                  <a:gd name="connsiteX4" fmla="*/ 712153 w 718952"/>
                  <a:gd name="connsiteY4" fmla="*/ 592282 h 630597"/>
                  <a:gd name="connsiteX5" fmla="*/ 686753 w 718952"/>
                  <a:gd name="connsiteY5" fmla="*/ 630382 h 630597"/>
                  <a:gd name="connsiteX6" fmla="*/ 28893 w 718952"/>
                  <a:gd name="connsiteY6" fmla="*/ 630382 h 630597"/>
                  <a:gd name="connsiteX0" fmla="*/ 28893 w 718952"/>
                  <a:gd name="connsiteY0" fmla="*/ 631218 h 631433"/>
                  <a:gd name="connsiteX1" fmla="*/ 18733 w 718952"/>
                  <a:gd name="connsiteY1" fmla="*/ 572798 h 631433"/>
                  <a:gd name="connsiteX2" fmla="*/ 333693 w 718952"/>
                  <a:gd name="connsiteY2" fmla="*/ 31778 h 631433"/>
                  <a:gd name="connsiteX3" fmla="*/ 387033 w 718952"/>
                  <a:gd name="connsiteY3" fmla="*/ 31778 h 631433"/>
                  <a:gd name="connsiteX4" fmla="*/ 712153 w 718952"/>
                  <a:gd name="connsiteY4" fmla="*/ 593118 h 631433"/>
                  <a:gd name="connsiteX5" fmla="*/ 686753 w 718952"/>
                  <a:gd name="connsiteY5" fmla="*/ 631218 h 631433"/>
                  <a:gd name="connsiteX6" fmla="*/ 28893 w 718952"/>
                  <a:gd name="connsiteY6" fmla="*/ 631218 h 631433"/>
                  <a:gd name="connsiteX0" fmla="*/ 28893 w 718952"/>
                  <a:gd name="connsiteY0" fmla="*/ 630383 h 630598"/>
                  <a:gd name="connsiteX1" fmla="*/ 18733 w 718952"/>
                  <a:gd name="connsiteY1" fmla="*/ 571963 h 630598"/>
                  <a:gd name="connsiteX2" fmla="*/ 333693 w 718952"/>
                  <a:gd name="connsiteY2" fmla="*/ 30943 h 630598"/>
                  <a:gd name="connsiteX3" fmla="*/ 387033 w 718952"/>
                  <a:gd name="connsiteY3" fmla="*/ 30943 h 630598"/>
                  <a:gd name="connsiteX4" fmla="*/ 712153 w 718952"/>
                  <a:gd name="connsiteY4" fmla="*/ 592283 h 630598"/>
                  <a:gd name="connsiteX5" fmla="*/ 686753 w 718952"/>
                  <a:gd name="connsiteY5" fmla="*/ 630383 h 630598"/>
                  <a:gd name="connsiteX6" fmla="*/ 28893 w 718952"/>
                  <a:gd name="connsiteY6" fmla="*/ 630383 h 630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952" h="630598">
                    <a:moveTo>
                      <a:pt x="28893" y="630383"/>
                    </a:moveTo>
                    <a:cubicBezTo>
                      <a:pt x="-12594" y="618530"/>
                      <a:pt x="-3280" y="601596"/>
                      <a:pt x="18733" y="571963"/>
                    </a:cubicBezTo>
                    <a:lnTo>
                      <a:pt x="333693" y="30943"/>
                    </a:lnTo>
                    <a:cubicBezTo>
                      <a:pt x="359093" y="-19857"/>
                      <a:pt x="371793" y="463"/>
                      <a:pt x="387033" y="30943"/>
                    </a:cubicBezTo>
                    <a:lnTo>
                      <a:pt x="712153" y="592283"/>
                    </a:lnTo>
                    <a:cubicBezTo>
                      <a:pt x="724006" y="612603"/>
                      <a:pt x="723160" y="632923"/>
                      <a:pt x="686753" y="630383"/>
                    </a:cubicBezTo>
                    <a:lnTo>
                      <a:pt x="28893" y="63038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grpSp>
        <p:nvGrpSpPr>
          <p:cNvPr id="325" name="Group 324">
            <a:extLst>
              <a:ext uri="{FF2B5EF4-FFF2-40B4-BE49-F238E27FC236}">
                <a16:creationId xmlns:a16="http://schemas.microsoft.com/office/drawing/2014/main" id="{80DA517C-9AAE-4AFA-BC61-20CFB4C07877}"/>
              </a:ext>
            </a:extLst>
          </p:cNvPr>
          <p:cNvGrpSpPr/>
          <p:nvPr/>
        </p:nvGrpSpPr>
        <p:grpSpPr>
          <a:xfrm rot="21391823">
            <a:off x="344912" y="4655134"/>
            <a:ext cx="209984" cy="289535"/>
            <a:chOff x="8642948" y="4049111"/>
            <a:chExt cx="214195" cy="295341"/>
          </a:xfrm>
        </p:grpSpPr>
        <p:sp>
          <p:nvSpPr>
            <p:cNvPr id="318" name="Freeform: Shape 317">
              <a:extLst>
                <a:ext uri="{FF2B5EF4-FFF2-40B4-BE49-F238E27FC236}">
                  <a16:creationId xmlns:a16="http://schemas.microsoft.com/office/drawing/2014/main" id="{2E2BF61F-5C3E-4057-A01C-124E7F130FE5}"/>
                </a:ext>
              </a:extLst>
            </p:cNvPr>
            <p:cNvSpPr>
              <a:spLocks/>
            </p:cNvSpPr>
            <p:nvPr/>
          </p:nvSpPr>
          <p:spPr bwMode="auto">
            <a:xfrm rot="1043457">
              <a:off x="8715380" y="4051940"/>
              <a:ext cx="141763" cy="292512"/>
            </a:xfrm>
            <a:custGeom>
              <a:avLst/>
              <a:gdLst>
                <a:gd name="connsiteX0" fmla="*/ 96838 w 450850"/>
                <a:gd name="connsiteY0" fmla="*/ 46038 h 930275"/>
                <a:gd name="connsiteX1" fmla="*/ 50800 w 450850"/>
                <a:gd name="connsiteY1" fmla="*/ 434976 h 930275"/>
                <a:gd name="connsiteX2" fmla="*/ 163513 w 450850"/>
                <a:gd name="connsiteY2" fmla="*/ 434976 h 930275"/>
                <a:gd name="connsiteX3" fmla="*/ 117475 w 450850"/>
                <a:gd name="connsiteY3" fmla="*/ 712788 h 930275"/>
                <a:gd name="connsiteX4" fmla="*/ 368300 w 450850"/>
                <a:gd name="connsiteY4" fmla="*/ 309563 h 930275"/>
                <a:gd name="connsiteX5" fmla="*/ 220663 w 450850"/>
                <a:gd name="connsiteY5" fmla="*/ 309563 h 930275"/>
                <a:gd name="connsiteX6" fmla="*/ 269875 w 450850"/>
                <a:gd name="connsiteY6" fmla="*/ 46038 h 930275"/>
                <a:gd name="connsiteX7" fmla="*/ 55563 w 450850"/>
                <a:gd name="connsiteY7" fmla="*/ 0 h 930275"/>
                <a:gd name="connsiteX8" fmla="*/ 325438 w 450850"/>
                <a:gd name="connsiteY8" fmla="*/ 0 h 930275"/>
                <a:gd name="connsiteX9" fmla="*/ 274638 w 450850"/>
                <a:gd name="connsiteY9" fmla="*/ 263525 h 930275"/>
                <a:gd name="connsiteX10" fmla="*/ 450850 w 450850"/>
                <a:gd name="connsiteY10" fmla="*/ 263525 h 930275"/>
                <a:gd name="connsiteX11" fmla="*/ 34925 w 450850"/>
                <a:gd name="connsiteY11" fmla="*/ 930275 h 930275"/>
                <a:gd name="connsiteX12" fmla="*/ 109538 w 450850"/>
                <a:gd name="connsiteY12" fmla="*/ 481013 h 930275"/>
                <a:gd name="connsiteX13" fmla="*/ 0 w 450850"/>
                <a:gd name="connsiteY13" fmla="*/ 481013 h 93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0850" h="930275">
                  <a:moveTo>
                    <a:pt x="96838" y="46038"/>
                  </a:moveTo>
                  <a:lnTo>
                    <a:pt x="50800" y="434976"/>
                  </a:lnTo>
                  <a:lnTo>
                    <a:pt x="163513" y="434976"/>
                  </a:lnTo>
                  <a:lnTo>
                    <a:pt x="117475" y="712788"/>
                  </a:lnTo>
                  <a:lnTo>
                    <a:pt x="368300" y="309563"/>
                  </a:lnTo>
                  <a:lnTo>
                    <a:pt x="220663" y="309563"/>
                  </a:lnTo>
                  <a:lnTo>
                    <a:pt x="269875" y="46038"/>
                  </a:lnTo>
                  <a:close/>
                  <a:moveTo>
                    <a:pt x="55563" y="0"/>
                  </a:moveTo>
                  <a:lnTo>
                    <a:pt x="325438" y="0"/>
                  </a:lnTo>
                  <a:lnTo>
                    <a:pt x="274638" y="263525"/>
                  </a:lnTo>
                  <a:lnTo>
                    <a:pt x="450850" y="263525"/>
                  </a:lnTo>
                  <a:lnTo>
                    <a:pt x="34925" y="930275"/>
                  </a:lnTo>
                  <a:lnTo>
                    <a:pt x="109538" y="481013"/>
                  </a:lnTo>
                  <a:lnTo>
                    <a:pt x="0" y="481013"/>
                  </a:lnTo>
                  <a:close/>
                </a:path>
              </a:pathLst>
            </a:custGeom>
            <a:solidFill>
              <a:srgbClr val="002050"/>
            </a:solidFill>
            <a:ln>
              <a:noFill/>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3" name="Freeform 95">
              <a:extLst>
                <a:ext uri="{FF2B5EF4-FFF2-40B4-BE49-F238E27FC236}">
                  <a16:creationId xmlns:a16="http://schemas.microsoft.com/office/drawing/2014/main" id="{AFC341BF-87E5-49DA-8DD9-FA2294F5B36E}"/>
                </a:ext>
              </a:extLst>
            </p:cNvPr>
            <p:cNvSpPr>
              <a:spLocks/>
            </p:cNvSpPr>
            <p:nvPr/>
          </p:nvSpPr>
          <p:spPr bwMode="auto">
            <a:xfrm rot="904448">
              <a:off x="8658254" y="4049111"/>
              <a:ext cx="141763" cy="292512"/>
            </a:xfrm>
            <a:custGeom>
              <a:avLst/>
              <a:gdLst>
                <a:gd name="T0" fmla="*/ 241 w 241"/>
                <a:gd name="T1" fmla="*/ 140 h 496"/>
                <a:gd name="T2" fmla="*/ 147 w 241"/>
                <a:gd name="T3" fmla="*/ 140 h 496"/>
                <a:gd name="T4" fmla="*/ 174 w 241"/>
                <a:gd name="T5" fmla="*/ 0 h 496"/>
                <a:gd name="T6" fmla="*/ 30 w 241"/>
                <a:gd name="T7" fmla="*/ 0 h 496"/>
                <a:gd name="T8" fmla="*/ 0 w 241"/>
                <a:gd name="T9" fmla="*/ 256 h 496"/>
                <a:gd name="T10" fmla="*/ 59 w 241"/>
                <a:gd name="T11" fmla="*/ 256 h 496"/>
                <a:gd name="T12" fmla="*/ 19 w 241"/>
                <a:gd name="T13" fmla="*/ 496 h 496"/>
                <a:gd name="T14" fmla="*/ 241 w 241"/>
                <a:gd name="T15" fmla="*/ 140 h 4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1" h="496">
                  <a:moveTo>
                    <a:pt x="241" y="140"/>
                  </a:moveTo>
                  <a:lnTo>
                    <a:pt x="147" y="140"/>
                  </a:lnTo>
                  <a:lnTo>
                    <a:pt x="174" y="0"/>
                  </a:lnTo>
                  <a:lnTo>
                    <a:pt x="30" y="0"/>
                  </a:lnTo>
                  <a:lnTo>
                    <a:pt x="0" y="256"/>
                  </a:lnTo>
                  <a:lnTo>
                    <a:pt x="59" y="256"/>
                  </a:lnTo>
                  <a:lnTo>
                    <a:pt x="19" y="496"/>
                  </a:lnTo>
                  <a:lnTo>
                    <a:pt x="241" y="140"/>
                  </a:lnTo>
                  <a:close/>
                </a:path>
              </a:pathLst>
            </a:custGeom>
            <a:solidFill>
              <a:srgbClr val="E6E6E6"/>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9" name="Freeform: Shape 318">
              <a:extLst>
                <a:ext uri="{FF2B5EF4-FFF2-40B4-BE49-F238E27FC236}">
                  <a16:creationId xmlns:a16="http://schemas.microsoft.com/office/drawing/2014/main" id="{BB70C8E1-2075-45F1-87F2-604688552D71}"/>
                </a:ext>
              </a:extLst>
            </p:cNvPr>
            <p:cNvSpPr>
              <a:spLocks/>
            </p:cNvSpPr>
            <p:nvPr/>
          </p:nvSpPr>
          <p:spPr bwMode="auto">
            <a:xfrm rot="1043457">
              <a:off x="8642948" y="4051940"/>
              <a:ext cx="141763" cy="292512"/>
            </a:xfrm>
            <a:custGeom>
              <a:avLst/>
              <a:gdLst>
                <a:gd name="connsiteX0" fmla="*/ 96838 w 450850"/>
                <a:gd name="connsiteY0" fmla="*/ 46038 h 930275"/>
                <a:gd name="connsiteX1" fmla="*/ 50800 w 450850"/>
                <a:gd name="connsiteY1" fmla="*/ 434976 h 930275"/>
                <a:gd name="connsiteX2" fmla="*/ 163513 w 450850"/>
                <a:gd name="connsiteY2" fmla="*/ 434976 h 930275"/>
                <a:gd name="connsiteX3" fmla="*/ 117475 w 450850"/>
                <a:gd name="connsiteY3" fmla="*/ 712788 h 930275"/>
                <a:gd name="connsiteX4" fmla="*/ 368300 w 450850"/>
                <a:gd name="connsiteY4" fmla="*/ 309563 h 930275"/>
                <a:gd name="connsiteX5" fmla="*/ 220663 w 450850"/>
                <a:gd name="connsiteY5" fmla="*/ 309563 h 930275"/>
                <a:gd name="connsiteX6" fmla="*/ 269875 w 450850"/>
                <a:gd name="connsiteY6" fmla="*/ 46038 h 930275"/>
                <a:gd name="connsiteX7" fmla="*/ 55563 w 450850"/>
                <a:gd name="connsiteY7" fmla="*/ 0 h 930275"/>
                <a:gd name="connsiteX8" fmla="*/ 325438 w 450850"/>
                <a:gd name="connsiteY8" fmla="*/ 0 h 930275"/>
                <a:gd name="connsiteX9" fmla="*/ 274638 w 450850"/>
                <a:gd name="connsiteY9" fmla="*/ 263525 h 930275"/>
                <a:gd name="connsiteX10" fmla="*/ 450850 w 450850"/>
                <a:gd name="connsiteY10" fmla="*/ 263525 h 930275"/>
                <a:gd name="connsiteX11" fmla="*/ 34925 w 450850"/>
                <a:gd name="connsiteY11" fmla="*/ 930275 h 930275"/>
                <a:gd name="connsiteX12" fmla="*/ 109538 w 450850"/>
                <a:gd name="connsiteY12" fmla="*/ 481013 h 930275"/>
                <a:gd name="connsiteX13" fmla="*/ 0 w 450850"/>
                <a:gd name="connsiteY13" fmla="*/ 481013 h 93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0850" h="930275">
                  <a:moveTo>
                    <a:pt x="96838" y="46038"/>
                  </a:moveTo>
                  <a:lnTo>
                    <a:pt x="50800" y="434976"/>
                  </a:lnTo>
                  <a:lnTo>
                    <a:pt x="163513" y="434976"/>
                  </a:lnTo>
                  <a:lnTo>
                    <a:pt x="117475" y="712788"/>
                  </a:lnTo>
                  <a:lnTo>
                    <a:pt x="368300" y="309563"/>
                  </a:lnTo>
                  <a:lnTo>
                    <a:pt x="220663" y="309563"/>
                  </a:lnTo>
                  <a:lnTo>
                    <a:pt x="269875" y="46038"/>
                  </a:lnTo>
                  <a:close/>
                  <a:moveTo>
                    <a:pt x="55563" y="0"/>
                  </a:moveTo>
                  <a:lnTo>
                    <a:pt x="325438" y="0"/>
                  </a:lnTo>
                  <a:lnTo>
                    <a:pt x="274638" y="263525"/>
                  </a:lnTo>
                  <a:lnTo>
                    <a:pt x="450850" y="263525"/>
                  </a:lnTo>
                  <a:lnTo>
                    <a:pt x="34925" y="930275"/>
                  </a:lnTo>
                  <a:lnTo>
                    <a:pt x="109538" y="481013"/>
                  </a:lnTo>
                  <a:lnTo>
                    <a:pt x="0" y="481013"/>
                  </a:lnTo>
                  <a:close/>
                </a:path>
              </a:pathLst>
            </a:custGeom>
            <a:solidFill>
              <a:srgbClr val="002050"/>
            </a:solidFill>
            <a:ln>
              <a:noFill/>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22" name="Arrow: U-Turn 121">
            <a:extLst>
              <a:ext uri="{FF2B5EF4-FFF2-40B4-BE49-F238E27FC236}">
                <a16:creationId xmlns:a16="http://schemas.microsoft.com/office/drawing/2014/main" id="{D345408E-8289-40F5-BE5D-65618921608D}"/>
              </a:ext>
            </a:extLst>
          </p:cNvPr>
          <p:cNvSpPr/>
          <p:nvPr/>
        </p:nvSpPr>
        <p:spPr bwMode="auto">
          <a:xfrm rot="5400000">
            <a:off x="7735516" y="-40561"/>
            <a:ext cx="1557011" cy="4268679"/>
          </a:xfrm>
          <a:prstGeom prst="uturnArrow">
            <a:avLst>
              <a:gd name="adj1" fmla="val 0"/>
              <a:gd name="adj2" fmla="val 0"/>
              <a:gd name="adj3" fmla="val 0"/>
              <a:gd name="adj4" fmla="val 50521"/>
              <a:gd name="adj5" fmla="val 54070"/>
            </a:avLst>
          </a:prstGeom>
          <a:solidFill>
            <a:srgbClr val="00B050"/>
          </a:solid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EDE92405-96B1-4938-B62E-E72A61A70225}"/>
              </a:ext>
            </a:extLst>
          </p:cNvPr>
          <p:cNvSpPr/>
          <p:nvPr/>
        </p:nvSpPr>
        <p:spPr bwMode="auto">
          <a:xfrm>
            <a:off x="8262613" y="2788740"/>
            <a:ext cx="167119" cy="167119"/>
          </a:xfrm>
          <a:prstGeom prst="ellipse">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Arrow: U-Turn 122">
            <a:extLst>
              <a:ext uri="{FF2B5EF4-FFF2-40B4-BE49-F238E27FC236}">
                <a16:creationId xmlns:a16="http://schemas.microsoft.com/office/drawing/2014/main" id="{60219118-65C3-4873-8474-4502DD0D83E8}"/>
              </a:ext>
            </a:extLst>
          </p:cNvPr>
          <p:cNvSpPr/>
          <p:nvPr/>
        </p:nvSpPr>
        <p:spPr bwMode="auto">
          <a:xfrm rot="5400000">
            <a:off x="5290408" y="1315864"/>
            <a:ext cx="0" cy="0"/>
          </a:xfrm>
          <a:custGeom>
            <a:avLst/>
            <a:gdLst>
              <a:gd name="connsiteX0" fmla="*/ 0 w 1557870"/>
              <a:gd name="connsiteY0" fmla="*/ 10130914 h 10130914"/>
              <a:gd name="connsiteX1" fmla="*/ 0 w 1557870"/>
              <a:gd name="connsiteY1" fmla="*/ 778935 h 10130914"/>
              <a:gd name="connsiteX2" fmla="*/ 778935 w 1557870"/>
              <a:gd name="connsiteY2" fmla="*/ 0 h 10130914"/>
              <a:gd name="connsiteX3" fmla="*/ 778935 w 1557870"/>
              <a:gd name="connsiteY3" fmla="*/ 0 h 10130914"/>
              <a:gd name="connsiteX4" fmla="*/ 1557870 w 1557870"/>
              <a:gd name="connsiteY4" fmla="*/ 778935 h 10130914"/>
              <a:gd name="connsiteX5" fmla="*/ 1557870 w 1557870"/>
              <a:gd name="connsiteY5" fmla="*/ 5370398 h 10130914"/>
              <a:gd name="connsiteX6" fmla="*/ 1557870 w 1557870"/>
              <a:gd name="connsiteY6" fmla="*/ 5370398 h 10130914"/>
              <a:gd name="connsiteX7" fmla="*/ 1557870 w 1557870"/>
              <a:gd name="connsiteY7" fmla="*/ 5370398 h 10130914"/>
              <a:gd name="connsiteX8" fmla="*/ 1557870 w 1557870"/>
              <a:gd name="connsiteY8" fmla="*/ 5370398 h 10130914"/>
              <a:gd name="connsiteX9" fmla="*/ 1557870 w 1557870"/>
              <a:gd name="connsiteY9" fmla="*/ 5370398 h 10130914"/>
              <a:gd name="connsiteX10" fmla="*/ 1557870 w 1557870"/>
              <a:gd name="connsiteY10" fmla="*/ 778935 h 10130914"/>
              <a:gd name="connsiteX11" fmla="*/ 778935 w 1557870"/>
              <a:gd name="connsiteY11" fmla="*/ 0 h 10130914"/>
              <a:gd name="connsiteX12" fmla="*/ 778935 w 1557870"/>
              <a:gd name="connsiteY12" fmla="*/ 0 h 10130914"/>
              <a:gd name="connsiteX13" fmla="*/ 0 w 1557870"/>
              <a:gd name="connsiteY13" fmla="*/ 778935 h 10130914"/>
              <a:gd name="connsiteX14" fmla="*/ 0 w 1557870"/>
              <a:gd name="connsiteY14" fmla="*/ 10130914 h 10130914"/>
              <a:gd name="connsiteX0" fmla="*/ 0 w 1557870"/>
              <a:gd name="connsiteY0" fmla="*/ 10130914 h 10130914"/>
              <a:gd name="connsiteX1" fmla="*/ 0 w 1557870"/>
              <a:gd name="connsiteY1" fmla="*/ 778935 h 10130914"/>
              <a:gd name="connsiteX2" fmla="*/ 778935 w 1557870"/>
              <a:gd name="connsiteY2" fmla="*/ 0 h 10130914"/>
              <a:gd name="connsiteX3" fmla="*/ 778935 w 1557870"/>
              <a:gd name="connsiteY3" fmla="*/ 0 h 10130914"/>
              <a:gd name="connsiteX4" fmla="*/ 1557870 w 1557870"/>
              <a:gd name="connsiteY4" fmla="*/ 778935 h 10130914"/>
              <a:gd name="connsiteX5" fmla="*/ 1557870 w 1557870"/>
              <a:gd name="connsiteY5" fmla="*/ 5370398 h 10130914"/>
              <a:gd name="connsiteX6" fmla="*/ 1557870 w 1557870"/>
              <a:gd name="connsiteY6" fmla="*/ 5370398 h 10130914"/>
              <a:gd name="connsiteX7" fmla="*/ 1557870 w 1557870"/>
              <a:gd name="connsiteY7" fmla="*/ 5370398 h 10130914"/>
              <a:gd name="connsiteX8" fmla="*/ 1557870 w 1557870"/>
              <a:gd name="connsiteY8" fmla="*/ 5370398 h 10130914"/>
              <a:gd name="connsiteX9" fmla="*/ 1557870 w 1557870"/>
              <a:gd name="connsiteY9" fmla="*/ 5370398 h 10130914"/>
              <a:gd name="connsiteX10" fmla="*/ 1557870 w 1557870"/>
              <a:gd name="connsiteY10" fmla="*/ 778935 h 10130914"/>
              <a:gd name="connsiteX11" fmla="*/ 778935 w 1557870"/>
              <a:gd name="connsiteY11" fmla="*/ 0 h 10130914"/>
              <a:gd name="connsiteX12" fmla="*/ 0 w 1557870"/>
              <a:gd name="connsiteY12" fmla="*/ 778935 h 10130914"/>
              <a:gd name="connsiteX13" fmla="*/ 0 w 1557870"/>
              <a:gd name="connsiteY13" fmla="*/ 10130914 h 10130914"/>
              <a:gd name="connsiteX0" fmla="*/ 0 w 1557870"/>
              <a:gd name="connsiteY0" fmla="*/ 10130914 h 10130914"/>
              <a:gd name="connsiteX1" fmla="*/ 0 w 1557870"/>
              <a:gd name="connsiteY1" fmla="*/ 778935 h 10130914"/>
              <a:gd name="connsiteX2" fmla="*/ 778935 w 1557870"/>
              <a:gd name="connsiteY2" fmla="*/ 0 h 10130914"/>
              <a:gd name="connsiteX3" fmla="*/ 778935 w 1557870"/>
              <a:gd name="connsiteY3" fmla="*/ 0 h 10130914"/>
              <a:gd name="connsiteX4" fmla="*/ 1557870 w 1557870"/>
              <a:gd name="connsiteY4" fmla="*/ 778935 h 10130914"/>
              <a:gd name="connsiteX5" fmla="*/ 1557870 w 1557870"/>
              <a:gd name="connsiteY5" fmla="*/ 5370398 h 10130914"/>
              <a:gd name="connsiteX6" fmla="*/ 1557870 w 1557870"/>
              <a:gd name="connsiteY6" fmla="*/ 5370398 h 10130914"/>
              <a:gd name="connsiteX7" fmla="*/ 1557870 w 1557870"/>
              <a:gd name="connsiteY7" fmla="*/ 5370398 h 10130914"/>
              <a:gd name="connsiteX8" fmla="*/ 1557870 w 1557870"/>
              <a:gd name="connsiteY8" fmla="*/ 5370398 h 10130914"/>
              <a:gd name="connsiteX9" fmla="*/ 1557870 w 1557870"/>
              <a:gd name="connsiteY9" fmla="*/ 5370398 h 10130914"/>
              <a:gd name="connsiteX10" fmla="*/ 778935 w 1557870"/>
              <a:gd name="connsiteY10" fmla="*/ 0 h 10130914"/>
              <a:gd name="connsiteX11" fmla="*/ 0 w 1557870"/>
              <a:gd name="connsiteY11" fmla="*/ 778935 h 10130914"/>
              <a:gd name="connsiteX12" fmla="*/ 0 w 1557870"/>
              <a:gd name="connsiteY12" fmla="*/ 10130914 h 10130914"/>
              <a:gd name="connsiteX0" fmla="*/ 0 w 1557870"/>
              <a:gd name="connsiteY0" fmla="*/ 10130914 h 10130914"/>
              <a:gd name="connsiteX1" fmla="*/ 0 w 1557870"/>
              <a:gd name="connsiteY1" fmla="*/ 778935 h 10130914"/>
              <a:gd name="connsiteX2" fmla="*/ 778935 w 1557870"/>
              <a:gd name="connsiteY2" fmla="*/ 0 h 10130914"/>
              <a:gd name="connsiteX3" fmla="*/ 778935 w 1557870"/>
              <a:gd name="connsiteY3" fmla="*/ 0 h 10130914"/>
              <a:gd name="connsiteX4" fmla="*/ 628230 w 1557870"/>
              <a:gd name="connsiteY4" fmla="*/ 1053255 h 10130914"/>
              <a:gd name="connsiteX5" fmla="*/ 1557870 w 1557870"/>
              <a:gd name="connsiteY5" fmla="*/ 5370398 h 10130914"/>
              <a:gd name="connsiteX6" fmla="*/ 1557870 w 1557870"/>
              <a:gd name="connsiteY6" fmla="*/ 5370398 h 10130914"/>
              <a:gd name="connsiteX7" fmla="*/ 1557870 w 1557870"/>
              <a:gd name="connsiteY7" fmla="*/ 5370398 h 10130914"/>
              <a:gd name="connsiteX8" fmla="*/ 1557870 w 1557870"/>
              <a:gd name="connsiteY8" fmla="*/ 5370398 h 10130914"/>
              <a:gd name="connsiteX9" fmla="*/ 1557870 w 1557870"/>
              <a:gd name="connsiteY9" fmla="*/ 5370398 h 10130914"/>
              <a:gd name="connsiteX10" fmla="*/ 778935 w 1557870"/>
              <a:gd name="connsiteY10" fmla="*/ 0 h 10130914"/>
              <a:gd name="connsiteX11" fmla="*/ 0 w 1557870"/>
              <a:gd name="connsiteY11" fmla="*/ 778935 h 10130914"/>
              <a:gd name="connsiteX12" fmla="*/ 0 w 1557870"/>
              <a:gd name="connsiteY12" fmla="*/ 10130914 h 10130914"/>
              <a:gd name="connsiteX0" fmla="*/ 4230 w 1562100"/>
              <a:gd name="connsiteY0" fmla="*/ 10130914 h 10130914"/>
              <a:gd name="connsiteX1" fmla="*/ 4230 w 1562100"/>
              <a:gd name="connsiteY1" fmla="*/ 778935 h 10130914"/>
              <a:gd name="connsiteX2" fmla="*/ 783165 w 1562100"/>
              <a:gd name="connsiteY2" fmla="*/ 0 h 10130914"/>
              <a:gd name="connsiteX3" fmla="*/ 783165 w 1562100"/>
              <a:gd name="connsiteY3" fmla="*/ 0 h 10130914"/>
              <a:gd name="connsiteX4" fmla="*/ 632460 w 1562100"/>
              <a:gd name="connsiteY4" fmla="*/ 1053255 h 10130914"/>
              <a:gd name="connsiteX5" fmla="*/ 1562100 w 1562100"/>
              <a:gd name="connsiteY5" fmla="*/ 5370398 h 10130914"/>
              <a:gd name="connsiteX6" fmla="*/ 1562100 w 1562100"/>
              <a:gd name="connsiteY6" fmla="*/ 5370398 h 10130914"/>
              <a:gd name="connsiteX7" fmla="*/ 1562100 w 1562100"/>
              <a:gd name="connsiteY7" fmla="*/ 5370398 h 10130914"/>
              <a:gd name="connsiteX8" fmla="*/ 1562100 w 1562100"/>
              <a:gd name="connsiteY8" fmla="*/ 5370398 h 10130914"/>
              <a:gd name="connsiteX9" fmla="*/ 0 w 1562100"/>
              <a:gd name="connsiteY9" fmla="*/ 5400878 h 10130914"/>
              <a:gd name="connsiteX10" fmla="*/ 783165 w 1562100"/>
              <a:gd name="connsiteY10" fmla="*/ 0 h 10130914"/>
              <a:gd name="connsiteX11" fmla="*/ 4230 w 1562100"/>
              <a:gd name="connsiteY11" fmla="*/ 778935 h 10130914"/>
              <a:gd name="connsiteX12" fmla="*/ 4230 w 1562100"/>
              <a:gd name="connsiteY12" fmla="*/ 10130914 h 10130914"/>
              <a:gd name="connsiteX0" fmla="*/ 4230 w 1562100"/>
              <a:gd name="connsiteY0" fmla="*/ 10130914 h 10130914"/>
              <a:gd name="connsiteX1" fmla="*/ 4230 w 1562100"/>
              <a:gd name="connsiteY1" fmla="*/ 778935 h 10130914"/>
              <a:gd name="connsiteX2" fmla="*/ 783165 w 1562100"/>
              <a:gd name="connsiteY2" fmla="*/ 0 h 10130914"/>
              <a:gd name="connsiteX3" fmla="*/ 783165 w 1562100"/>
              <a:gd name="connsiteY3" fmla="*/ 0 h 10130914"/>
              <a:gd name="connsiteX4" fmla="*/ 632460 w 1562100"/>
              <a:gd name="connsiteY4" fmla="*/ 1053255 h 10130914"/>
              <a:gd name="connsiteX5" fmla="*/ 1562100 w 1562100"/>
              <a:gd name="connsiteY5" fmla="*/ 5370398 h 10130914"/>
              <a:gd name="connsiteX6" fmla="*/ 1562100 w 1562100"/>
              <a:gd name="connsiteY6" fmla="*/ 5370398 h 10130914"/>
              <a:gd name="connsiteX7" fmla="*/ 1562100 w 1562100"/>
              <a:gd name="connsiteY7" fmla="*/ 5370398 h 10130914"/>
              <a:gd name="connsiteX8" fmla="*/ 1562100 w 1562100"/>
              <a:gd name="connsiteY8" fmla="*/ 5370398 h 10130914"/>
              <a:gd name="connsiteX9" fmla="*/ 0 w 1562100"/>
              <a:gd name="connsiteY9" fmla="*/ 5400878 h 10130914"/>
              <a:gd name="connsiteX10" fmla="*/ 21165 w 1562100"/>
              <a:gd name="connsiteY10" fmla="*/ 396240 h 10130914"/>
              <a:gd name="connsiteX11" fmla="*/ 4230 w 1562100"/>
              <a:gd name="connsiteY11" fmla="*/ 778935 h 10130914"/>
              <a:gd name="connsiteX12" fmla="*/ 4230 w 1562100"/>
              <a:gd name="connsiteY12" fmla="*/ 10130914 h 10130914"/>
              <a:gd name="connsiteX0" fmla="*/ 4230 w 1562100"/>
              <a:gd name="connsiteY0" fmla="*/ 10130914 h 10130914"/>
              <a:gd name="connsiteX1" fmla="*/ 4230 w 1562100"/>
              <a:gd name="connsiteY1" fmla="*/ 778935 h 10130914"/>
              <a:gd name="connsiteX2" fmla="*/ 783165 w 1562100"/>
              <a:gd name="connsiteY2" fmla="*/ 0 h 10130914"/>
              <a:gd name="connsiteX3" fmla="*/ 272625 w 1562100"/>
              <a:gd name="connsiteY3" fmla="*/ 807720 h 10130914"/>
              <a:gd name="connsiteX4" fmla="*/ 632460 w 1562100"/>
              <a:gd name="connsiteY4" fmla="*/ 1053255 h 10130914"/>
              <a:gd name="connsiteX5" fmla="*/ 1562100 w 1562100"/>
              <a:gd name="connsiteY5" fmla="*/ 5370398 h 10130914"/>
              <a:gd name="connsiteX6" fmla="*/ 1562100 w 1562100"/>
              <a:gd name="connsiteY6" fmla="*/ 5370398 h 10130914"/>
              <a:gd name="connsiteX7" fmla="*/ 1562100 w 1562100"/>
              <a:gd name="connsiteY7" fmla="*/ 5370398 h 10130914"/>
              <a:gd name="connsiteX8" fmla="*/ 1562100 w 1562100"/>
              <a:gd name="connsiteY8" fmla="*/ 5370398 h 10130914"/>
              <a:gd name="connsiteX9" fmla="*/ 0 w 1562100"/>
              <a:gd name="connsiteY9" fmla="*/ 5400878 h 10130914"/>
              <a:gd name="connsiteX10" fmla="*/ 21165 w 1562100"/>
              <a:gd name="connsiteY10" fmla="*/ 396240 h 10130914"/>
              <a:gd name="connsiteX11" fmla="*/ 4230 w 1562100"/>
              <a:gd name="connsiteY11" fmla="*/ 778935 h 10130914"/>
              <a:gd name="connsiteX12" fmla="*/ 4230 w 1562100"/>
              <a:gd name="connsiteY12" fmla="*/ 10130914 h 10130914"/>
              <a:gd name="connsiteX0" fmla="*/ 4230 w 1562100"/>
              <a:gd name="connsiteY0" fmla="*/ 10130914 h 10130914"/>
              <a:gd name="connsiteX1" fmla="*/ 4230 w 1562100"/>
              <a:gd name="connsiteY1" fmla="*/ 778935 h 10130914"/>
              <a:gd name="connsiteX2" fmla="*/ 783165 w 1562100"/>
              <a:gd name="connsiteY2" fmla="*/ 0 h 10130914"/>
              <a:gd name="connsiteX3" fmla="*/ 632460 w 1562100"/>
              <a:gd name="connsiteY3" fmla="*/ 1053255 h 10130914"/>
              <a:gd name="connsiteX4" fmla="*/ 1562100 w 1562100"/>
              <a:gd name="connsiteY4" fmla="*/ 5370398 h 10130914"/>
              <a:gd name="connsiteX5" fmla="*/ 1562100 w 1562100"/>
              <a:gd name="connsiteY5" fmla="*/ 5370398 h 10130914"/>
              <a:gd name="connsiteX6" fmla="*/ 1562100 w 1562100"/>
              <a:gd name="connsiteY6" fmla="*/ 5370398 h 10130914"/>
              <a:gd name="connsiteX7" fmla="*/ 1562100 w 1562100"/>
              <a:gd name="connsiteY7" fmla="*/ 5370398 h 10130914"/>
              <a:gd name="connsiteX8" fmla="*/ 0 w 1562100"/>
              <a:gd name="connsiteY8" fmla="*/ 5400878 h 10130914"/>
              <a:gd name="connsiteX9" fmla="*/ 21165 w 1562100"/>
              <a:gd name="connsiteY9" fmla="*/ 396240 h 10130914"/>
              <a:gd name="connsiteX10" fmla="*/ 4230 w 1562100"/>
              <a:gd name="connsiteY10" fmla="*/ 778935 h 10130914"/>
              <a:gd name="connsiteX11" fmla="*/ 4230 w 1562100"/>
              <a:gd name="connsiteY11" fmla="*/ 10130914 h 10130914"/>
              <a:gd name="connsiteX0" fmla="*/ 4230 w 1562100"/>
              <a:gd name="connsiteY0" fmla="*/ 10130914 h 10130914"/>
              <a:gd name="connsiteX1" fmla="*/ 4230 w 1562100"/>
              <a:gd name="connsiteY1" fmla="*/ 778935 h 10130914"/>
              <a:gd name="connsiteX2" fmla="*/ 783165 w 1562100"/>
              <a:gd name="connsiteY2" fmla="*/ 0 h 10130914"/>
              <a:gd name="connsiteX3" fmla="*/ 1562100 w 1562100"/>
              <a:gd name="connsiteY3" fmla="*/ 5370398 h 10130914"/>
              <a:gd name="connsiteX4" fmla="*/ 1562100 w 1562100"/>
              <a:gd name="connsiteY4" fmla="*/ 5370398 h 10130914"/>
              <a:gd name="connsiteX5" fmla="*/ 1562100 w 1562100"/>
              <a:gd name="connsiteY5" fmla="*/ 5370398 h 10130914"/>
              <a:gd name="connsiteX6" fmla="*/ 1562100 w 1562100"/>
              <a:gd name="connsiteY6" fmla="*/ 5370398 h 10130914"/>
              <a:gd name="connsiteX7" fmla="*/ 0 w 1562100"/>
              <a:gd name="connsiteY7" fmla="*/ 5400878 h 10130914"/>
              <a:gd name="connsiteX8" fmla="*/ 21165 w 1562100"/>
              <a:gd name="connsiteY8" fmla="*/ 396240 h 10130914"/>
              <a:gd name="connsiteX9" fmla="*/ 4230 w 1562100"/>
              <a:gd name="connsiteY9" fmla="*/ 778935 h 10130914"/>
              <a:gd name="connsiteX10" fmla="*/ 4230 w 1562100"/>
              <a:gd name="connsiteY10" fmla="*/ 10130914 h 10130914"/>
              <a:gd name="connsiteX0" fmla="*/ 4230 w 1562100"/>
              <a:gd name="connsiteY0" fmla="*/ 9734674 h 9734674"/>
              <a:gd name="connsiteX1" fmla="*/ 4230 w 1562100"/>
              <a:gd name="connsiteY1" fmla="*/ 382695 h 9734674"/>
              <a:gd name="connsiteX2" fmla="*/ 1562100 w 1562100"/>
              <a:gd name="connsiteY2" fmla="*/ 4974158 h 9734674"/>
              <a:gd name="connsiteX3" fmla="*/ 1562100 w 1562100"/>
              <a:gd name="connsiteY3" fmla="*/ 4974158 h 9734674"/>
              <a:gd name="connsiteX4" fmla="*/ 1562100 w 1562100"/>
              <a:gd name="connsiteY4" fmla="*/ 4974158 h 9734674"/>
              <a:gd name="connsiteX5" fmla="*/ 1562100 w 1562100"/>
              <a:gd name="connsiteY5" fmla="*/ 4974158 h 9734674"/>
              <a:gd name="connsiteX6" fmla="*/ 0 w 1562100"/>
              <a:gd name="connsiteY6" fmla="*/ 5004638 h 9734674"/>
              <a:gd name="connsiteX7" fmla="*/ 21165 w 1562100"/>
              <a:gd name="connsiteY7" fmla="*/ 0 h 9734674"/>
              <a:gd name="connsiteX8" fmla="*/ 4230 w 1562100"/>
              <a:gd name="connsiteY8" fmla="*/ 382695 h 9734674"/>
              <a:gd name="connsiteX9" fmla="*/ 4230 w 1562100"/>
              <a:gd name="connsiteY9" fmla="*/ 9734674 h 9734674"/>
              <a:gd name="connsiteX0" fmla="*/ 4230 w 1562100"/>
              <a:gd name="connsiteY0" fmla="*/ 9734674 h 9734674"/>
              <a:gd name="connsiteX1" fmla="*/ 4230 w 1562100"/>
              <a:gd name="connsiteY1" fmla="*/ 382695 h 9734674"/>
              <a:gd name="connsiteX2" fmla="*/ 1562100 w 1562100"/>
              <a:gd name="connsiteY2" fmla="*/ 4974158 h 9734674"/>
              <a:gd name="connsiteX3" fmla="*/ 1562100 w 1562100"/>
              <a:gd name="connsiteY3" fmla="*/ 4974158 h 9734674"/>
              <a:gd name="connsiteX4" fmla="*/ 1562100 w 1562100"/>
              <a:gd name="connsiteY4" fmla="*/ 4974158 h 9734674"/>
              <a:gd name="connsiteX5" fmla="*/ 0 w 1562100"/>
              <a:gd name="connsiteY5" fmla="*/ 5004638 h 9734674"/>
              <a:gd name="connsiteX6" fmla="*/ 21165 w 1562100"/>
              <a:gd name="connsiteY6" fmla="*/ 0 h 9734674"/>
              <a:gd name="connsiteX7" fmla="*/ 4230 w 1562100"/>
              <a:gd name="connsiteY7" fmla="*/ 382695 h 9734674"/>
              <a:gd name="connsiteX8" fmla="*/ 4230 w 1562100"/>
              <a:gd name="connsiteY8" fmla="*/ 9734674 h 9734674"/>
              <a:gd name="connsiteX0" fmla="*/ 4230 w 1562100"/>
              <a:gd name="connsiteY0" fmla="*/ 9734674 h 9734674"/>
              <a:gd name="connsiteX1" fmla="*/ 4230 w 1562100"/>
              <a:gd name="connsiteY1" fmla="*/ 382695 h 9734674"/>
              <a:gd name="connsiteX2" fmla="*/ 1562100 w 1562100"/>
              <a:gd name="connsiteY2" fmla="*/ 4974158 h 9734674"/>
              <a:gd name="connsiteX3" fmla="*/ 1562100 w 1562100"/>
              <a:gd name="connsiteY3" fmla="*/ 4974158 h 9734674"/>
              <a:gd name="connsiteX4" fmla="*/ 0 w 1562100"/>
              <a:gd name="connsiteY4" fmla="*/ 5004638 h 9734674"/>
              <a:gd name="connsiteX5" fmla="*/ 21165 w 1562100"/>
              <a:gd name="connsiteY5" fmla="*/ 0 h 9734674"/>
              <a:gd name="connsiteX6" fmla="*/ 4230 w 1562100"/>
              <a:gd name="connsiteY6" fmla="*/ 382695 h 9734674"/>
              <a:gd name="connsiteX7" fmla="*/ 4230 w 1562100"/>
              <a:gd name="connsiteY7" fmla="*/ 9734674 h 9734674"/>
              <a:gd name="connsiteX0" fmla="*/ 4230 w 1562100"/>
              <a:gd name="connsiteY0" fmla="*/ 9734674 h 9734674"/>
              <a:gd name="connsiteX1" fmla="*/ 4230 w 1562100"/>
              <a:gd name="connsiteY1" fmla="*/ 382695 h 9734674"/>
              <a:gd name="connsiteX2" fmla="*/ 1562100 w 1562100"/>
              <a:gd name="connsiteY2" fmla="*/ 4974158 h 9734674"/>
              <a:gd name="connsiteX3" fmla="*/ 1562100 w 1562100"/>
              <a:gd name="connsiteY3" fmla="*/ 4974158 h 9734674"/>
              <a:gd name="connsiteX4" fmla="*/ 0 w 1562100"/>
              <a:gd name="connsiteY4" fmla="*/ 5004638 h 9734674"/>
              <a:gd name="connsiteX5" fmla="*/ 21165 w 1562100"/>
              <a:gd name="connsiteY5" fmla="*/ 0 h 9734674"/>
              <a:gd name="connsiteX6" fmla="*/ 4230 w 1562100"/>
              <a:gd name="connsiteY6" fmla="*/ 9734674 h 9734674"/>
              <a:gd name="connsiteX0" fmla="*/ 4230 w 1562100"/>
              <a:gd name="connsiteY0" fmla="*/ 9443243 h 9443243"/>
              <a:gd name="connsiteX1" fmla="*/ 4230 w 1562100"/>
              <a:gd name="connsiteY1" fmla="*/ 91264 h 9443243"/>
              <a:gd name="connsiteX2" fmla="*/ 1562100 w 1562100"/>
              <a:gd name="connsiteY2" fmla="*/ 4682727 h 9443243"/>
              <a:gd name="connsiteX3" fmla="*/ 1562100 w 1562100"/>
              <a:gd name="connsiteY3" fmla="*/ 4682727 h 9443243"/>
              <a:gd name="connsiteX4" fmla="*/ 0 w 1562100"/>
              <a:gd name="connsiteY4" fmla="*/ 4713207 h 9443243"/>
              <a:gd name="connsiteX5" fmla="*/ 4230 w 1562100"/>
              <a:gd name="connsiteY5" fmla="*/ 9443243 h 9443243"/>
              <a:gd name="connsiteX0" fmla="*/ 4230 w 1562100"/>
              <a:gd name="connsiteY0" fmla="*/ 4760516 h 4760516"/>
              <a:gd name="connsiteX1" fmla="*/ 1562100 w 1562100"/>
              <a:gd name="connsiteY1" fmla="*/ 0 h 4760516"/>
              <a:gd name="connsiteX2" fmla="*/ 1562100 w 1562100"/>
              <a:gd name="connsiteY2" fmla="*/ 0 h 4760516"/>
              <a:gd name="connsiteX3" fmla="*/ 0 w 1562100"/>
              <a:gd name="connsiteY3" fmla="*/ 30480 h 4760516"/>
              <a:gd name="connsiteX4" fmla="*/ 4230 w 1562100"/>
              <a:gd name="connsiteY4" fmla="*/ 4760516 h 4760516"/>
              <a:gd name="connsiteX0" fmla="*/ 4230 w 1562100"/>
              <a:gd name="connsiteY0" fmla="*/ 4760516 h 4760516"/>
              <a:gd name="connsiteX1" fmla="*/ 1562100 w 1562100"/>
              <a:gd name="connsiteY1" fmla="*/ 0 h 4760516"/>
              <a:gd name="connsiteX2" fmla="*/ 0 w 1562100"/>
              <a:gd name="connsiteY2" fmla="*/ 30480 h 4760516"/>
              <a:gd name="connsiteX3" fmla="*/ 4230 w 1562100"/>
              <a:gd name="connsiteY3" fmla="*/ 4760516 h 4760516"/>
              <a:gd name="connsiteX0" fmla="*/ 4230 w 4230"/>
              <a:gd name="connsiteY0" fmla="*/ 4730036 h 4730036"/>
              <a:gd name="connsiteX1" fmla="*/ 0 w 4230"/>
              <a:gd name="connsiteY1" fmla="*/ 0 h 4730036"/>
              <a:gd name="connsiteX2" fmla="*/ 0 w 4230"/>
              <a:gd name="connsiteY2" fmla="*/ 0 h 4730036"/>
              <a:gd name="connsiteX3" fmla="*/ 4230 w 4230"/>
              <a:gd name="connsiteY3" fmla="*/ 4730036 h 4730036"/>
              <a:gd name="connsiteX0" fmla="*/ 10000 w 10000"/>
              <a:gd name="connsiteY0" fmla="*/ 10000 h 10000"/>
              <a:gd name="connsiteX1" fmla="*/ 0 w 10000"/>
              <a:gd name="connsiteY1" fmla="*/ 0 h 10000"/>
              <a:gd name="connsiteX2" fmla="*/ 0 w 10000"/>
              <a:gd name="connsiteY2" fmla="*/ 0 h 10000"/>
              <a:gd name="connsiteX3" fmla="*/ 10000 w 10000"/>
              <a:gd name="connsiteY3" fmla="*/ 10000 h 10000"/>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00B050"/>
          </a:solid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28B82F4A-448F-4F5F-B92A-1364C5845E56}"/>
              </a:ext>
            </a:extLst>
          </p:cNvPr>
          <p:cNvCxnSpPr>
            <a:cxnSpLocks/>
            <a:stCxn id="122" idx="4"/>
          </p:cNvCxnSpPr>
          <p:nvPr/>
        </p:nvCxnSpPr>
        <p:spPr>
          <a:xfrm flipH="1">
            <a:off x="6377264" y="1315273"/>
            <a:ext cx="2418" cy="558"/>
          </a:xfrm>
          <a:prstGeom prst="line">
            <a:avLst/>
          </a:prstGeom>
          <a:ln w="57150">
            <a:solidFill>
              <a:srgbClr val="00205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7" name="Arrow: U-Turn 146">
            <a:extLst>
              <a:ext uri="{FF2B5EF4-FFF2-40B4-BE49-F238E27FC236}">
                <a16:creationId xmlns:a16="http://schemas.microsoft.com/office/drawing/2014/main" id="{01E5DF77-0FEE-4A75-BE6C-D9828D6CA08A}"/>
              </a:ext>
            </a:extLst>
          </p:cNvPr>
          <p:cNvSpPr/>
          <p:nvPr/>
        </p:nvSpPr>
        <p:spPr bwMode="auto">
          <a:xfrm rot="5400000" flipH="1" flipV="1">
            <a:off x="1998228" y="1394579"/>
            <a:ext cx="1543762" cy="4507703"/>
          </a:xfrm>
          <a:custGeom>
            <a:avLst/>
            <a:gdLst>
              <a:gd name="connsiteX0" fmla="*/ 0 w 1557870"/>
              <a:gd name="connsiteY0" fmla="*/ 4507703 h 4507703"/>
              <a:gd name="connsiteX1" fmla="*/ 0 w 1557870"/>
              <a:gd name="connsiteY1" fmla="*/ 778935 h 4507703"/>
              <a:gd name="connsiteX2" fmla="*/ 778935 w 1557870"/>
              <a:gd name="connsiteY2" fmla="*/ 0 h 4507703"/>
              <a:gd name="connsiteX3" fmla="*/ 778935 w 1557870"/>
              <a:gd name="connsiteY3" fmla="*/ 0 h 4507703"/>
              <a:gd name="connsiteX4" fmla="*/ 1557870 w 1557870"/>
              <a:gd name="connsiteY4" fmla="*/ 778935 h 4507703"/>
              <a:gd name="connsiteX5" fmla="*/ 1557870 w 1557870"/>
              <a:gd name="connsiteY5" fmla="*/ 4507703 h 4507703"/>
              <a:gd name="connsiteX6" fmla="*/ 1557870 w 1557870"/>
              <a:gd name="connsiteY6" fmla="*/ 4507703 h 4507703"/>
              <a:gd name="connsiteX7" fmla="*/ 1557870 w 1557870"/>
              <a:gd name="connsiteY7" fmla="*/ 4507703 h 4507703"/>
              <a:gd name="connsiteX8" fmla="*/ 1557870 w 1557870"/>
              <a:gd name="connsiteY8" fmla="*/ 4507703 h 4507703"/>
              <a:gd name="connsiteX9" fmla="*/ 1557870 w 1557870"/>
              <a:gd name="connsiteY9" fmla="*/ 4507703 h 4507703"/>
              <a:gd name="connsiteX10" fmla="*/ 1557870 w 1557870"/>
              <a:gd name="connsiteY10" fmla="*/ 778935 h 4507703"/>
              <a:gd name="connsiteX11" fmla="*/ 778935 w 1557870"/>
              <a:gd name="connsiteY11" fmla="*/ 0 h 4507703"/>
              <a:gd name="connsiteX12" fmla="*/ 778935 w 1557870"/>
              <a:gd name="connsiteY12" fmla="*/ 0 h 4507703"/>
              <a:gd name="connsiteX13" fmla="*/ 0 w 1557870"/>
              <a:gd name="connsiteY13" fmla="*/ 778935 h 4507703"/>
              <a:gd name="connsiteX14" fmla="*/ 0 w 1557870"/>
              <a:gd name="connsiteY14" fmla="*/ 4507703 h 4507703"/>
              <a:gd name="connsiteX0" fmla="*/ 0 w 1557871"/>
              <a:gd name="connsiteY0" fmla="*/ 773906 h 4507703"/>
              <a:gd name="connsiteX1" fmla="*/ 1 w 1557871"/>
              <a:gd name="connsiteY1" fmla="*/ 778935 h 4507703"/>
              <a:gd name="connsiteX2" fmla="*/ 778936 w 1557871"/>
              <a:gd name="connsiteY2" fmla="*/ 0 h 4507703"/>
              <a:gd name="connsiteX3" fmla="*/ 778936 w 1557871"/>
              <a:gd name="connsiteY3" fmla="*/ 0 h 4507703"/>
              <a:gd name="connsiteX4" fmla="*/ 1557871 w 1557871"/>
              <a:gd name="connsiteY4" fmla="*/ 778935 h 4507703"/>
              <a:gd name="connsiteX5" fmla="*/ 1557871 w 1557871"/>
              <a:gd name="connsiteY5" fmla="*/ 4507703 h 4507703"/>
              <a:gd name="connsiteX6" fmla="*/ 1557871 w 1557871"/>
              <a:gd name="connsiteY6" fmla="*/ 4507703 h 4507703"/>
              <a:gd name="connsiteX7" fmla="*/ 1557871 w 1557871"/>
              <a:gd name="connsiteY7" fmla="*/ 4507703 h 4507703"/>
              <a:gd name="connsiteX8" fmla="*/ 1557871 w 1557871"/>
              <a:gd name="connsiteY8" fmla="*/ 4507703 h 4507703"/>
              <a:gd name="connsiteX9" fmla="*/ 1557871 w 1557871"/>
              <a:gd name="connsiteY9" fmla="*/ 4507703 h 4507703"/>
              <a:gd name="connsiteX10" fmla="*/ 1557871 w 1557871"/>
              <a:gd name="connsiteY10" fmla="*/ 778935 h 4507703"/>
              <a:gd name="connsiteX11" fmla="*/ 778936 w 1557871"/>
              <a:gd name="connsiteY11" fmla="*/ 0 h 4507703"/>
              <a:gd name="connsiteX12" fmla="*/ 778936 w 1557871"/>
              <a:gd name="connsiteY12" fmla="*/ 0 h 4507703"/>
              <a:gd name="connsiteX13" fmla="*/ 1 w 1557871"/>
              <a:gd name="connsiteY13" fmla="*/ 778935 h 4507703"/>
              <a:gd name="connsiteX14" fmla="*/ 0 w 1557871"/>
              <a:gd name="connsiteY14" fmla="*/ 773906 h 4507703"/>
              <a:gd name="connsiteX0" fmla="*/ 0 w 1557870"/>
              <a:gd name="connsiteY0" fmla="*/ 778935 h 4507703"/>
              <a:gd name="connsiteX1" fmla="*/ 0 w 1557870"/>
              <a:gd name="connsiteY1" fmla="*/ 778935 h 4507703"/>
              <a:gd name="connsiteX2" fmla="*/ 778935 w 1557870"/>
              <a:gd name="connsiteY2" fmla="*/ 0 h 4507703"/>
              <a:gd name="connsiteX3" fmla="*/ 778935 w 1557870"/>
              <a:gd name="connsiteY3" fmla="*/ 0 h 4507703"/>
              <a:gd name="connsiteX4" fmla="*/ 1557870 w 1557870"/>
              <a:gd name="connsiteY4" fmla="*/ 778935 h 4507703"/>
              <a:gd name="connsiteX5" fmla="*/ 1557870 w 1557870"/>
              <a:gd name="connsiteY5" fmla="*/ 4507703 h 4507703"/>
              <a:gd name="connsiteX6" fmla="*/ 1557870 w 1557870"/>
              <a:gd name="connsiteY6" fmla="*/ 4507703 h 4507703"/>
              <a:gd name="connsiteX7" fmla="*/ 1557870 w 1557870"/>
              <a:gd name="connsiteY7" fmla="*/ 4507703 h 4507703"/>
              <a:gd name="connsiteX8" fmla="*/ 1557870 w 1557870"/>
              <a:gd name="connsiteY8" fmla="*/ 4507703 h 4507703"/>
              <a:gd name="connsiteX9" fmla="*/ 1557870 w 1557870"/>
              <a:gd name="connsiteY9" fmla="*/ 4507703 h 4507703"/>
              <a:gd name="connsiteX10" fmla="*/ 1557870 w 1557870"/>
              <a:gd name="connsiteY10" fmla="*/ 778935 h 4507703"/>
              <a:gd name="connsiteX11" fmla="*/ 778935 w 1557870"/>
              <a:gd name="connsiteY11" fmla="*/ 0 h 4507703"/>
              <a:gd name="connsiteX12" fmla="*/ 778935 w 1557870"/>
              <a:gd name="connsiteY12" fmla="*/ 0 h 4507703"/>
              <a:gd name="connsiteX13" fmla="*/ 0 w 1557870"/>
              <a:gd name="connsiteY13" fmla="*/ 778935 h 4507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7870" h="4507703">
                <a:moveTo>
                  <a:pt x="0" y="778935"/>
                </a:moveTo>
                <a:lnTo>
                  <a:pt x="0" y="778935"/>
                </a:lnTo>
                <a:cubicBezTo>
                  <a:pt x="0" y="348741"/>
                  <a:pt x="348741" y="0"/>
                  <a:pt x="778935" y="0"/>
                </a:cubicBezTo>
                <a:lnTo>
                  <a:pt x="778935" y="0"/>
                </a:lnTo>
                <a:cubicBezTo>
                  <a:pt x="1209129" y="0"/>
                  <a:pt x="1557870" y="348741"/>
                  <a:pt x="1557870" y="778935"/>
                </a:cubicBezTo>
                <a:lnTo>
                  <a:pt x="1557870" y="4507703"/>
                </a:lnTo>
                <a:lnTo>
                  <a:pt x="1557870" y="4507703"/>
                </a:lnTo>
                <a:lnTo>
                  <a:pt x="1557870" y="4507703"/>
                </a:lnTo>
                <a:lnTo>
                  <a:pt x="1557870" y="4507703"/>
                </a:lnTo>
                <a:lnTo>
                  <a:pt x="1557870" y="4507703"/>
                </a:lnTo>
                <a:lnTo>
                  <a:pt x="1557870" y="778935"/>
                </a:lnTo>
                <a:cubicBezTo>
                  <a:pt x="1557870" y="348741"/>
                  <a:pt x="1209129" y="0"/>
                  <a:pt x="778935" y="0"/>
                </a:cubicBezTo>
                <a:lnTo>
                  <a:pt x="778935" y="0"/>
                </a:lnTo>
                <a:cubicBezTo>
                  <a:pt x="348741" y="0"/>
                  <a:pt x="0" y="348741"/>
                  <a:pt x="0" y="778935"/>
                </a:cubicBezTo>
                <a:close/>
              </a:path>
            </a:pathLst>
          </a:custGeom>
          <a:solidFill>
            <a:srgbClr val="00B050"/>
          </a:solid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9" name="Straight Connector 148">
            <a:extLst>
              <a:ext uri="{FF2B5EF4-FFF2-40B4-BE49-F238E27FC236}">
                <a16:creationId xmlns:a16="http://schemas.microsoft.com/office/drawing/2014/main" id="{228EF9C2-4ED5-4425-A834-AACAB3105D59}"/>
              </a:ext>
            </a:extLst>
          </p:cNvPr>
          <p:cNvCxnSpPr>
            <a:cxnSpLocks/>
          </p:cNvCxnSpPr>
          <p:nvPr/>
        </p:nvCxnSpPr>
        <p:spPr>
          <a:xfrm flipV="1">
            <a:off x="1334055" y="4429269"/>
            <a:ext cx="2822613" cy="1"/>
          </a:xfrm>
          <a:prstGeom prst="line">
            <a:avLst/>
          </a:prstGeom>
          <a:ln w="57150">
            <a:solidFill>
              <a:srgbClr val="FF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6" name="Oval 135">
            <a:extLst>
              <a:ext uri="{FF2B5EF4-FFF2-40B4-BE49-F238E27FC236}">
                <a16:creationId xmlns:a16="http://schemas.microsoft.com/office/drawing/2014/main" id="{FB9F0B44-A879-416C-9AD1-1B084040C87B}"/>
              </a:ext>
            </a:extLst>
          </p:cNvPr>
          <p:cNvSpPr/>
          <p:nvPr/>
        </p:nvSpPr>
        <p:spPr bwMode="auto">
          <a:xfrm>
            <a:off x="5622118" y="4346923"/>
            <a:ext cx="167119" cy="167119"/>
          </a:xfrm>
          <a:prstGeom prst="ellipse">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79F50AAB-7EF1-40F1-9B21-B64721C9D8F5}"/>
              </a:ext>
            </a:extLst>
          </p:cNvPr>
          <p:cNvSpPr/>
          <p:nvPr/>
        </p:nvSpPr>
        <p:spPr bwMode="auto">
          <a:xfrm>
            <a:off x="1203286" y="4345890"/>
            <a:ext cx="167119" cy="167119"/>
          </a:xfrm>
          <a:prstGeom prst="ellipse">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Oval 133">
            <a:extLst>
              <a:ext uri="{FF2B5EF4-FFF2-40B4-BE49-F238E27FC236}">
                <a16:creationId xmlns:a16="http://schemas.microsoft.com/office/drawing/2014/main" id="{B32B84B6-0D4C-49F0-A9A3-27730DFCCAFB}"/>
              </a:ext>
            </a:extLst>
          </p:cNvPr>
          <p:cNvSpPr/>
          <p:nvPr/>
        </p:nvSpPr>
        <p:spPr bwMode="auto">
          <a:xfrm>
            <a:off x="5023960" y="2788740"/>
            <a:ext cx="167119" cy="167119"/>
          </a:xfrm>
          <a:prstGeom prst="ellipse">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2A9287FD-1469-4F33-AD28-CEF7DDB538C9}"/>
              </a:ext>
            </a:extLst>
          </p:cNvPr>
          <p:cNvSpPr/>
          <p:nvPr/>
        </p:nvSpPr>
        <p:spPr bwMode="auto">
          <a:xfrm>
            <a:off x="1537606" y="1232354"/>
            <a:ext cx="167119" cy="167119"/>
          </a:xfrm>
          <a:prstGeom prst="ellipse">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AEAF20B9-B9B6-4A06-9258-BC94E6427D58}"/>
              </a:ext>
            </a:extLst>
          </p:cNvPr>
          <p:cNvSpPr/>
          <p:nvPr/>
        </p:nvSpPr>
        <p:spPr bwMode="auto">
          <a:xfrm>
            <a:off x="6365116" y="1232354"/>
            <a:ext cx="167119" cy="167119"/>
          </a:xfrm>
          <a:prstGeom prst="ellipse">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Oval 132">
            <a:extLst>
              <a:ext uri="{FF2B5EF4-FFF2-40B4-BE49-F238E27FC236}">
                <a16:creationId xmlns:a16="http://schemas.microsoft.com/office/drawing/2014/main" id="{F134FFFD-AADF-4D9A-AB0E-4B07B13EF637}"/>
              </a:ext>
            </a:extLst>
          </p:cNvPr>
          <p:cNvSpPr/>
          <p:nvPr/>
        </p:nvSpPr>
        <p:spPr bwMode="auto">
          <a:xfrm>
            <a:off x="1996314" y="2788740"/>
            <a:ext cx="167119" cy="167119"/>
          </a:xfrm>
          <a:prstGeom prst="ellipse">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1" name="Straight Connector 150">
            <a:extLst>
              <a:ext uri="{FF2B5EF4-FFF2-40B4-BE49-F238E27FC236}">
                <a16:creationId xmlns:a16="http://schemas.microsoft.com/office/drawing/2014/main" id="{E0E7364E-03B2-408C-95EB-CB269F27B32D}"/>
              </a:ext>
            </a:extLst>
          </p:cNvPr>
          <p:cNvCxnSpPr>
            <a:cxnSpLocks/>
            <a:stCxn id="134" idx="6"/>
            <a:endCxn id="135" idx="2"/>
          </p:cNvCxnSpPr>
          <p:nvPr/>
        </p:nvCxnSpPr>
        <p:spPr>
          <a:xfrm>
            <a:off x="5191079" y="2872300"/>
            <a:ext cx="3071534" cy="0"/>
          </a:xfrm>
          <a:prstGeom prst="line">
            <a:avLst/>
          </a:prstGeom>
          <a:ln w="57150">
            <a:solidFill>
              <a:srgbClr val="00B05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7" name="Cross 226">
            <a:extLst>
              <a:ext uri="{FF2B5EF4-FFF2-40B4-BE49-F238E27FC236}">
                <a16:creationId xmlns:a16="http://schemas.microsoft.com/office/drawing/2014/main" id="{B85EE353-F120-49D2-8F05-6A111B253220}"/>
              </a:ext>
            </a:extLst>
          </p:cNvPr>
          <p:cNvSpPr/>
          <p:nvPr/>
        </p:nvSpPr>
        <p:spPr bwMode="auto">
          <a:xfrm rot="2593445">
            <a:off x="3953000" y="3998142"/>
            <a:ext cx="372987" cy="376415"/>
          </a:xfrm>
          <a:prstGeom prst="plus">
            <a:avLst>
              <a:gd name="adj" fmla="val 42667"/>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house_2" title="Icon of a house with a street and a tree next to it">
            <a:extLst>
              <a:ext uri="{FF2B5EF4-FFF2-40B4-BE49-F238E27FC236}">
                <a16:creationId xmlns:a16="http://schemas.microsoft.com/office/drawing/2014/main" id="{7C01398B-CF9C-45F0-B4ED-01312DE43EE3}"/>
              </a:ext>
            </a:extLst>
          </p:cNvPr>
          <p:cNvSpPr>
            <a:spLocks noChangeAspect="1" noEditPoints="1"/>
          </p:cNvSpPr>
          <p:nvPr/>
        </p:nvSpPr>
        <p:spPr bwMode="auto">
          <a:xfrm>
            <a:off x="8691830" y="4003911"/>
            <a:ext cx="378049" cy="275347"/>
          </a:xfrm>
          <a:custGeom>
            <a:avLst/>
            <a:gdLst>
              <a:gd name="T0" fmla="*/ 3 w 311"/>
              <a:gd name="T1" fmla="*/ 226 h 226"/>
              <a:gd name="T2" fmla="*/ 311 w 311"/>
              <a:gd name="T3" fmla="*/ 226 h 226"/>
              <a:gd name="T4" fmla="*/ 308 w 311"/>
              <a:gd name="T5" fmla="*/ 98 h 226"/>
              <a:gd name="T6" fmla="*/ 218 w 311"/>
              <a:gd name="T7" fmla="*/ 8 h 226"/>
              <a:gd name="T8" fmla="*/ 129 w 311"/>
              <a:gd name="T9" fmla="*/ 98 h 226"/>
              <a:gd name="T10" fmla="*/ 146 w 311"/>
              <a:gd name="T11" fmla="*/ 80 h 226"/>
              <a:gd name="T12" fmla="*/ 146 w 311"/>
              <a:gd name="T13" fmla="*/ 184 h 226"/>
              <a:gd name="T14" fmla="*/ 187 w 311"/>
              <a:gd name="T15" fmla="*/ 184 h 226"/>
              <a:gd name="T16" fmla="*/ 187 w 311"/>
              <a:gd name="T17" fmla="*/ 124 h 226"/>
              <a:gd name="T18" fmla="*/ 249 w 311"/>
              <a:gd name="T19" fmla="*/ 124 h 226"/>
              <a:gd name="T20" fmla="*/ 249 w 311"/>
              <a:gd name="T21" fmla="*/ 184 h 226"/>
              <a:gd name="T22" fmla="*/ 290 w 311"/>
              <a:gd name="T23" fmla="*/ 184 h 226"/>
              <a:gd name="T24" fmla="*/ 290 w 311"/>
              <a:gd name="T25" fmla="*/ 80 h 226"/>
              <a:gd name="T26" fmla="*/ 43 w 311"/>
              <a:gd name="T27" fmla="*/ 0 h 226"/>
              <a:gd name="T28" fmla="*/ 0 w 311"/>
              <a:gd name="T29" fmla="*/ 75 h 226"/>
              <a:gd name="T30" fmla="*/ 43 w 311"/>
              <a:gd name="T31" fmla="*/ 122 h 226"/>
              <a:gd name="T32" fmla="*/ 85 w 311"/>
              <a:gd name="T33" fmla="*/ 75 h 226"/>
              <a:gd name="T34" fmla="*/ 43 w 311"/>
              <a:gd name="T35" fmla="*/ 0 h 226"/>
              <a:gd name="T36" fmla="*/ 43 w 311"/>
              <a:gd name="T37" fmla="*/ 122 h 226"/>
              <a:gd name="T38" fmla="*/ 43 w 311"/>
              <a:gd name="T39" fmla="*/ 184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1" h="226">
                <a:moveTo>
                  <a:pt x="3" y="226"/>
                </a:moveTo>
                <a:cubicBezTo>
                  <a:pt x="311" y="226"/>
                  <a:pt x="311" y="226"/>
                  <a:pt x="311" y="226"/>
                </a:cubicBezTo>
                <a:moveTo>
                  <a:pt x="308" y="98"/>
                </a:moveTo>
                <a:cubicBezTo>
                  <a:pt x="218" y="8"/>
                  <a:pt x="218" y="8"/>
                  <a:pt x="218" y="8"/>
                </a:cubicBezTo>
                <a:cubicBezTo>
                  <a:pt x="129" y="98"/>
                  <a:pt x="129" y="98"/>
                  <a:pt x="129" y="98"/>
                </a:cubicBezTo>
                <a:moveTo>
                  <a:pt x="146" y="80"/>
                </a:moveTo>
                <a:cubicBezTo>
                  <a:pt x="146" y="184"/>
                  <a:pt x="146" y="184"/>
                  <a:pt x="146" y="184"/>
                </a:cubicBezTo>
                <a:cubicBezTo>
                  <a:pt x="187" y="184"/>
                  <a:pt x="187" y="184"/>
                  <a:pt x="187" y="184"/>
                </a:cubicBezTo>
                <a:cubicBezTo>
                  <a:pt x="187" y="124"/>
                  <a:pt x="187" y="124"/>
                  <a:pt x="187" y="124"/>
                </a:cubicBezTo>
                <a:cubicBezTo>
                  <a:pt x="249" y="124"/>
                  <a:pt x="249" y="124"/>
                  <a:pt x="249" y="124"/>
                </a:cubicBezTo>
                <a:cubicBezTo>
                  <a:pt x="249" y="184"/>
                  <a:pt x="249" y="184"/>
                  <a:pt x="249" y="184"/>
                </a:cubicBezTo>
                <a:cubicBezTo>
                  <a:pt x="290" y="184"/>
                  <a:pt x="290" y="184"/>
                  <a:pt x="290" y="184"/>
                </a:cubicBezTo>
                <a:cubicBezTo>
                  <a:pt x="290" y="80"/>
                  <a:pt x="290" y="80"/>
                  <a:pt x="290" y="80"/>
                </a:cubicBezTo>
                <a:moveTo>
                  <a:pt x="43" y="0"/>
                </a:moveTo>
                <a:cubicBezTo>
                  <a:pt x="27" y="0"/>
                  <a:pt x="0" y="48"/>
                  <a:pt x="0" y="75"/>
                </a:cubicBezTo>
                <a:cubicBezTo>
                  <a:pt x="0" y="101"/>
                  <a:pt x="19" y="122"/>
                  <a:pt x="43" y="122"/>
                </a:cubicBezTo>
                <a:cubicBezTo>
                  <a:pt x="66" y="122"/>
                  <a:pt x="85" y="101"/>
                  <a:pt x="85" y="75"/>
                </a:cubicBezTo>
                <a:cubicBezTo>
                  <a:pt x="85" y="48"/>
                  <a:pt x="58" y="0"/>
                  <a:pt x="43" y="0"/>
                </a:cubicBezTo>
                <a:close/>
                <a:moveTo>
                  <a:pt x="43" y="122"/>
                </a:moveTo>
                <a:cubicBezTo>
                  <a:pt x="43" y="184"/>
                  <a:pt x="43" y="184"/>
                  <a:pt x="43" y="184"/>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2" name="Oval 131">
            <a:extLst>
              <a:ext uri="{FF2B5EF4-FFF2-40B4-BE49-F238E27FC236}">
                <a16:creationId xmlns:a16="http://schemas.microsoft.com/office/drawing/2014/main" id="{C311E238-2990-4482-931A-EC4B73EA0196}"/>
              </a:ext>
            </a:extLst>
          </p:cNvPr>
          <p:cNvSpPr/>
          <p:nvPr/>
        </p:nvSpPr>
        <p:spPr bwMode="auto">
          <a:xfrm>
            <a:off x="9419224" y="4342464"/>
            <a:ext cx="167119" cy="167119"/>
          </a:xfrm>
          <a:prstGeom prst="ellipse">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TextBox 136">
            <a:extLst>
              <a:ext uri="{FF2B5EF4-FFF2-40B4-BE49-F238E27FC236}">
                <a16:creationId xmlns:a16="http://schemas.microsoft.com/office/drawing/2014/main" id="{5D15C97A-6849-4483-8790-E37B77E871EC}"/>
              </a:ext>
            </a:extLst>
          </p:cNvPr>
          <p:cNvSpPr txBox="1"/>
          <p:nvPr/>
        </p:nvSpPr>
        <p:spPr>
          <a:xfrm>
            <a:off x="9067669" y="4022147"/>
            <a:ext cx="878767" cy="273280"/>
          </a:xfrm>
          <a:prstGeom prst="rect">
            <a:avLst/>
          </a:prstGeom>
          <a:noFill/>
        </p:spPr>
        <p:txBody>
          <a:bodyPr wrap="non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Consumer</a:t>
            </a:r>
          </a:p>
        </p:txBody>
      </p:sp>
    </p:spTree>
    <p:extLst>
      <p:ext uri="{BB962C8B-B14F-4D97-AF65-F5344CB8AC3E}">
        <p14:creationId xmlns:p14="http://schemas.microsoft.com/office/powerpoint/2010/main" val="3442987407"/>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7"/>
                                        </p:tgtEl>
                                        <p:attrNameLst>
                                          <p:attrName>style.visibility</p:attrName>
                                        </p:attrNameLst>
                                      </p:cBhvr>
                                      <p:to>
                                        <p:strVal val="visible"/>
                                      </p:to>
                                    </p:set>
                                    <p:animEffect transition="in" filter="fade">
                                      <p:cBhvr>
                                        <p:cTn id="7" dur="500"/>
                                        <p:tgtEl>
                                          <p:spTgt spid="18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339"/>
                                        </p:tgtEl>
                                        <p:attrNameLst>
                                          <p:attrName>style.visibility</p:attrName>
                                        </p:attrNameLst>
                                      </p:cBhvr>
                                      <p:to>
                                        <p:strVal val="visible"/>
                                      </p:to>
                                    </p:set>
                                    <p:animEffect transition="in" filter="fade">
                                      <p:cBhvr>
                                        <p:cTn id="13" dur="500"/>
                                        <p:tgtEl>
                                          <p:spTgt spid="3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0"/>
                                        </p:tgtEl>
                                        <p:attrNameLst>
                                          <p:attrName>style.visibility</p:attrName>
                                        </p:attrNameLst>
                                      </p:cBhvr>
                                      <p:to>
                                        <p:strVal val="visible"/>
                                      </p:to>
                                    </p:set>
                                    <p:animEffect transition="in" filter="fade">
                                      <p:cBhvr>
                                        <p:cTn id="16" dur="500"/>
                                        <p:tgtEl>
                                          <p:spTgt spid="8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par>
                                <p:cTn id="20" presetID="10" presetClass="entr" presetSubtype="0" fill="hold" nodeType="withEffect">
                                  <p:stCondLst>
                                    <p:cond delay="0"/>
                                  </p:stCondLst>
                                  <p:childTnLst>
                                    <p:set>
                                      <p:cBhvr>
                                        <p:cTn id="21" dur="1" fill="hold">
                                          <p:stCondLst>
                                            <p:cond delay="0"/>
                                          </p:stCondLst>
                                        </p:cTn>
                                        <p:tgtEl>
                                          <p:spTgt spid="50"/>
                                        </p:tgtEl>
                                        <p:attrNameLst>
                                          <p:attrName>style.visibility</p:attrName>
                                        </p:attrNameLst>
                                      </p:cBhvr>
                                      <p:to>
                                        <p:strVal val="visible"/>
                                      </p:to>
                                    </p:set>
                                    <p:animEffect transition="in" filter="fade">
                                      <p:cBhvr>
                                        <p:cTn id="22" dur="500"/>
                                        <p:tgtEl>
                                          <p:spTgt spid="50"/>
                                        </p:tgtEl>
                                      </p:cBhvr>
                                    </p:animEffect>
                                  </p:childTnLst>
                                </p:cTn>
                              </p:par>
                              <p:par>
                                <p:cTn id="23" presetID="10" presetClass="entr" presetSubtype="0" fill="hold" nodeType="withEffect">
                                  <p:stCondLst>
                                    <p:cond delay="0"/>
                                  </p:stCondLst>
                                  <p:childTnLst>
                                    <p:set>
                                      <p:cBhvr>
                                        <p:cTn id="24" dur="1" fill="hold">
                                          <p:stCondLst>
                                            <p:cond delay="0"/>
                                          </p:stCondLst>
                                        </p:cTn>
                                        <p:tgtEl>
                                          <p:spTgt spid="103"/>
                                        </p:tgtEl>
                                        <p:attrNameLst>
                                          <p:attrName>style.visibility</p:attrName>
                                        </p:attrNameLst>
                                      </p:cBhvr>
                                      <p:to>
                                        <p:strVal val="visible"/>
                                      </p:to>
                                    </p:set>
                                    <p:animEffect transition="in" filter="fade">
                                      <p:cBhvr>
                                        <p:cTn id="25" dur="500"/>
                                        <p:tgtEl>
                                          <p:spTgt spid="10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16"/>
                                        </p:tgtEl>
                                        <p:attrNameLst>
                                          <p:attrName>style.visibility</p:attrName>
                                        </p:attrNameLst>
                                      </p:cBhvr>
                                      <p:to>
                                        <p:strVal val="visible"/>
                                      </p:to>
                                    </p:set>
                                    <p:animEffect transition="in" filter="fade">
                                      <p:cBhvr>
                                        <p:cTn id="28" dur="500"/>
                                        <p:tgtEl>
                                          <p:spTgt spid="116"/>
                                        </p:tgtEl>
                                      </p:cBhvr>
                                    </p:animEffect>
                                  </p:childTnLst>
                                </p:cTn>
                              </p:par>
                              <p:par>
                                <p:cTn id="29" presetID="10" presetClass="entr" presetSubtype="0" fill="hold" nodeType="withEffect">
                                  <p:stCondLst>
                                    <p:cond delay="0"/>
                                  </p:stCondLst>
                                  <p:childTnLst>
                                    <p:set>
                                      <p:cBhvr>
                                        <p:cTn id="30" dur="1" fill="hold">
                                          <p:stCondLst>
                                            <p:cond delay="0"/>
                                          </p:stCondLst>
                                        </p:cTn>
                                        <p:tgtEl>
                                          <p:spTgt spid="101"/>
                                        </p:tgtEl>
                                        <p:attrNameLst>
                                          <p:attrName>style.visibility</p:attrName>
                                        </p:attrNameLst>
                                      </p:cBhvr>
                                      <p:to>
                                        <p:strVal val="visible"/>
                                      </p:to>
                                    </p:set>
                                    <p:animEffect transition="in" filter="fade">
                                      <p:cBhvr>
                                        <p:cTn id="31" dur="500"/>
                                        <p:tgtEl>
                                          <p:spTgt spid="101"/>
                                        </p:tgtEl>
                                      </p:cBhvr>
                                    </p:animEffect>
                                  </p:childTnLst>
                                </p:cTn>
                              </p:par>
                              <p:par>
                                <p:cTn id="32" presetID="10" presetClass="entr" presetSubtype="0" fill="hold" nodeType="withEffect">
                                  <p:stCondLst>
                                    <p:cond delay="0"/>
                                  </p:stCondLst>
                                  <p:childTnLst>
                                    <p:set>
                                      <p:cBhvr>
                                        <p:cTn id="33" dur="1" fill="hold">
                                          <p:stCondLst>
                                            <p:cond delay="0"/>
                                          </p:stCondLst>
                                        </p:cTn>
                                        <p:tgtEl>
                                          <p:spTgt spid="217"/>
                                        </p:tgtEl>
                                        <p:attrNameLst>
                                          <p:attrName>style.visibility</p:attrName>
                                        </p:attrNameLst>
                                      </p:cBhvr>
                                      <p:to>
                                        <p:strVal val="visible"/>
                                      </p:to>
                                    </p:set>
                                    <p:animEffect transition="in" filter="fade">
                                      <p:cBhvr>
                                        <p:cTn id="34" dur="500"/>
                                        <p:tgtEl>
                                          <p:spTgt spid="21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40"/>
                                        </p:tgtEl>
                                        <p:attrNameLst>
                                          <p:attrName>style.visibility</p:attrName>
                                        </p:attrNameLst>
                                      </p:cBhvr>
                                      <p:to>
                                        <p:strVal val="visible"/>
                                      </p:to>
                                    </p:set>
                                    <p:animEffect transition="in" filter="fade">
                                      <p:cBhvr>
                                        <p:cTn id="43" dur="500"/>
                                        <p:tgtEl>
                                          <p:spTgt spid="140"/>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43"/>
                                        </p:tgtEl>
                                        <p:attrNameLst>
                                          <p:attrName>style.visibility</p:attrName>
                                        </p:attrNameLst>
                                      </p:cBhvr>
                                      <p:to>
                                        <p:strVal val="visible"/>
                                      </p:to>
                                    </p:set>
                                    <p:animEffect transition="in" filter="fade">
                                      <p:cBhvr>
                                        <p:cTn id="46" dur="500"/>
                                        <p:tgtEl>
                                          <p:spTgt spid="143"/>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36"/>
                                        </p:tgtEl>
                                        <p:attrNameLst>
                                          <p:attrName>style.visibility</p:attrName>
                                        </p:attrNameLst>
                                      </p:cBhvr>
                                      <p:to>
                                        <p:strVal val="visible"/>
                                      </p:to>
                                    </p:set>
                                    <p:animEffect transition="in" filter="fade">
                                      <p:cBhvr>
                                        <p:cTn id="51" dur="500"/>
                                        <p:tgtEl>
                                          <p:spTgt spid="36"/>
                                        </p:tgtEl>
                                      </p:cBhvr>
                                    </p:animEffect>
                                  </p:childTnLst>
                                </p:cTn>
                              </p:par>
                              <p:par>
                                <p:cTn id="52" presetID="10" presetClass="entr" presetSubtype="0" fill="hold" nodeType="withEffect">
                                  <p:stCondLst>
                                    <p:cond delay="0"/>
                                  </p:stCondLst>
                                  <p:childTnLst>
                                    <p:set>
                                      <p:cBhvr>
                                        <p:cTn id="53" dur="1" fill="hold">
                                          <p:stCondLst>
                                            <p:cond delay="0"/>
                                          </p:stCondLst>
                                        </p:cTn>
                                        <p:tgtEl>
                                          <p:spTgt spid="8"/>
                                        </p:tgtEl>
                                        <p:attrNameLst>
                                          <p:attrName>style.visibility</p:attrName>
                                        </p:attrNameLst>
                                      </p:cBhvr>
                                      <p:to>
                                        <p:strVal val="visible"/>
                                      </p:to>
                                    </p:set>
                                    <p:animEffect transition="in" filter="fade">
                                      <p:cBhvr>
                                        <p:cTn id="54" dur="500"/>
                                        <p:tgtEl>
                                          <p:spTgt spid="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22"/>
                                        </p:tgtEl>
                                        <p:attrNameLst>
                                          <p:attrName>style.visibility</p:attrName>
                                        </p:attrNameLst>
                                      </p:cBhvr>
                                      <p:to>
                                        <p:strVal val="visible"/>
                                      </p:to>
                                    </p:set>
                                    <p:animEffect transition="in" filter="fade">
                                      <p:cBhvr>
                                        <p:cTn id="57" dur="500"/>
                                        <p:tgtEl>
                                          <p:spTgt spid="122"/>
                                        </p:tgtEl>
                                      </p:cBhvr>
                                    </p:animEffect>
                                  </p:childTnLst>
                                </p:cTn>
                              </p:par>
                            </p:childTnLst>
                          </p:cTn>
                        </p:par>
                        <p:par>
                          <p:cTn id="58" fill="hold">
                            <p:stCondLst>
                              <p:cond delay="500"/>
                            </p:stCondLst>
                            <p:childTnLst>
                              <p:par>
                                <p:cTn id="59" presetID="10" presetClass="entr" presetSubtype="0" fill="hold" nodeType="after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fade">
                                      <p:cBhvr>
                                        <p:cTn id="61" dur="500"/>
                                        <p:tgtEl>
                                          <p:spTgt spid="7"/>
                                        </p:tgtEl>
                                      </p:cBhvr>
                                    </p:animEffect>
                                  </p:childTnLst>
                                </p:cTn>
                              </p:par>
                              <p:par>
                                <p:cTn id="62" presetID="10" presetClass="entr" presetSubtype="0" fill="hold" nodeType="withEffect">
                                  <p:stCondLst>
                                    <p:cond delay="0"/>
                                  </p:stCondLst>
                                  <p:childTnLst>
                                    <p:set>
                                      <p:cBhvr>
                                        <p:cTn id="63" dur="1" fill="hold">
                                          <p:stCondLst>
                                            <p:cond delay="0"/>
                                          </p:stCondLst>
                                        </p:cTn>
                                        <p:tgtEl>
                                          <p:spTgt spid="178"/>
                                        </p:tgtEl>
                                        <p:attrNameLst>
                                          <p:attrName>style.visibility</p:attrName>
                                        </p:attrNameLst>
                                      </p:cBhvr>
                                      <p:to>
                                        <p:strVal val="visible"/>
                                      </p:to>
                                    </p:set>
                                    <p:animEffect transition="in" filter="fade">
                                      <p:cBhvr>
                                        <p:cTn id="64" dur="500"/>
                                        <p:tgtEl>
                                          <p:spTgt spid="178"/>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6"/>
                                        </p:tgtEl>
                                        <p:attrNameLst>
                                          <p:attrName>style.visibility</p:attrName>
                                        </p:attrNameLst>
                                      </p:cBhvr>
                                      <p:to>
                                        <p:strVal val="visible"/>
                                      </p:to>
                                    </p:set>
                                    <p:animEffect transition="in" filter="fade">
                                      <p:cBhvr>
                                        <p:cTn id="69" dur="500"/>
                                        <p:tgtEl>
                                          <p:spTgt spid="6"/>
                                        </p:tgtEl>
                                      </p:cBhvr>
                                    </p:animEffect>
                                  </p:childTnLst>
                                </p:cTn>
                              </p:par>
                              <p:par>
                                <p:cTn id="70" presetID="10" presetClass="entr" presetSubtype="0" fill="hold" nodeType="withEffect">
                                  <p:stCondLst>
                                    <p:cond delay="0"/>
                                  </p:stCondLst>
                                  <p:childTnLst>
                                    <p:set>
                                      <p:cBhvr>
                                        <p:cTn id="71" dur="1" fill="hold">
                                          <p:stCondLst>
                                            <p:cond delay="0"/>
                                          </p:stCondLst>
                                        </p:cTn>
                                        <p:tgtEl>
                                          <p:spTgt spid="181"/>
                                        </p:tgtEl>
                                        <p:attrNameLst>
                                          <p:attrName>style.visibility</p:attrName>
                                        </p:attrNameLst>
                                      </p:cBhvr>
                                      <p:to>
                                        <p:strVal val="visible"/>
                                      </p:to>
                                    </p:set>
                                    <p:animEffect transition="in" filter="fade">
                                      <p:cBhvr>
                                        <p:cTn id="72" dur="500"/>
                                        <p:tgtEl>
                                          <p:spTgt spid="181"/>
                                        </p:tgtEl>
                                      </p:cBhvr>
                                    </p:animEffect>
                                  </p:childTnLst>
                                </p:cTn>
                              </p:par>
                              <p:par>
                                <p:cTn id="73" presetID="10" presetClass="entr" presetSubtype="0" fill="hold" nodeType="withEffect">
                                  <p:stCondLst>
                                    <p:cond delay="0"/>
                                  </p:stCondLst>
                                  <p:childTnLst>
                                    <p:set>
                                      <p:cBhvr>
                                        <p:cTn id="74" dur="1" fill="hold">
                                          <p:stCondLst>
                                            <p:cond delay="0"/>
                                          </p:stCondLst>
                                        </p:cTn>
                                        <p:tgtEl>
                                          <p:spTgt spid="151"/>
                                        </p:tgtEl>
                                        <p:attrNameLst>
                                          <p:attrName>style.visibility</p:attrName>
                                        </p:attrNameLst>
                                      </p:cBhvr>
                                      <p:to>
                                        <p:strVal val="visible"/>
                                      </p:to>
                                    </p:set>
                                    <p:animEffect transition="in" filter="fade">
                                      <p:cBhvr>
                                        <p:cTn id="75" dur="500"/>
                                        <p:tgtEl>
                                          <p:spTgt spid="151"/>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147"/>
                                        </p:tgtEl>
                                        <p:attrNameLst>
                                          <p:attrName>style.visibility</p:attrName>
                                        </p:attrNameLst>
                                      </p:cBhvr>
                                      <p:to>
                                        <p:strVal val="visible"/>
                                      </p:to>
                                    </p:set>
                                    <p:animEffect transition="in" filter="fade">
                                      <p:cBhvr>
                                        <p:cTn id="80" dur="500"/>
                                        <p:tgtEl>
                                          <p:spTgt spid="147"/>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46"/>
                                        </p:tgtEl>
                                        <p:attrNameLst>
                                          <p:attrName>style.visibility</p:attrName>
                                        </p:attrNameLst>
                                      </p:cBhvr>
                                      <p:to>
                                        <p:strVal val="visible"/>
                                      </p:to>
                                    </p:set>
                                    <p:animEffect transition="in" filter="fade">
                                      <p:cBhvr>
                                        <p:cTn id="83" dur="500"/>
                                        <p:tgtEl>
                                          <p:spTgt spid="146"/>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89"/>
                                        </p:tgtEl>
                                        <p:attrNameLst>
                                          <p:attrName>style.visibility</p:attrName>
                                        </p:attrNameLst>
                                      </p:cBhvr>
                                      <p:to>
                                        <p:strVal val="visible"/>
                                      </p:to>
                                    </p:set>
                                    <p:animEffect transition="in" filter="fade">
                                      <p:cBhvr>
                                        <p:cTn id="88" dur="500"/>
                                        <p:tgtEl>
                                          <p:spTgt spid="89"/>
                                        </p:tgtEl>
                                      </p:cBhvr>
                                    </p:animEffect>
                                  </p:childTnLst>
                                </p:cTn>
                              </p:par>
                              <p:par>
                                <p:cTn id="89" presetID="10" presetClass="entr" presetSubtype="0" fill="hold" nodeType="withEffect">
                                  <p:stCondLst>
                                    <p:cond delay="0"/>
                                  </p:stCondLst>
                                  <p:childTnLst>
                                    <p:set>
                                      <p:cBhvr>
                                        <p:cTn id="90" dur="1" fill="hold">
                                          <p:stCondLst>
                                            <p:cond delay="0"/>
                                          </p:stCondLst>
                                        </p:cTn>
                                        <p:tgtEl>
                                          <p:spTgt spid="304"/>
                                        </p:tgtEl>
                                        <p:attrNameLst>
                                          <p:attrName>style.visibility</p:attrName>
                                        </p:attrNameLst>
                                      </p:cBhvr>
                                      <p:to>
                                        <p:strVal val="visible"/>
                                      </p:to>
                                    </p:set>
                                    <p:animEffect transition="in" filter="fade">
                                      <p:cBhvr>
                                        <p:cTn id="91" dur="500"/>
                                        <p:tgtEl>
                                          <p:spTgt spid="304"/>
                                        </p:tgtEl>
                                      </p:cBhvr>
                                    </p:animEffect>
                                  </p:childTnLst>
                                </p:cTn>
                              </p:par>
                              <p:par>
                                <p:cTn id="92" presetID="10" presetClass="entr" presetSubtype="0" fill="hold" nodeType="withEffect">
                                  <p:stCondLst>
                                    <p:cond delay="0"/>
                                  </p:stCondLst>
                                  <p:childTnLst>
                                    <p:set>
                                      <p:cBhvr>
                                        <p:cTn id="93" dur="1" fill="hold">
                                          <p:stCondLst>
                                            <p:cond delay="0"/>
                                          </p:stCondLst>
                                        </p:cTn>
                                        <p:tgtEl>
                                          <p:spTgt spid="5"/>
                                        </p:tgtEl>
                                        <p:attrNameLst>
                                          <p:attrName>style.visibility</p:attrName>
                                        </p:attrNameLst>
                                      </p:cBhvr>
                                      <p:to>
                                        <p:strVal val="visible"/>
                                      </p:to>
                                    </p:set>
                                    <p:animEffect transition="in" filter="fade">
                                      <p:cBhvr>
                                        <p:cTn id="94" dur="500"/>
                                        <p:tgtEl>
                                          <p:spTgt spid="5"/>
                                        </p:tgtEl>
                                      </p:cBhvr>
                                    </p:animEffect>
                                  </p:childTnLst>
                                </p:cTn>
                              </p:par>
                              <p:par>
                                <p:cTn id="95" presetID="10" presetClass="entr" presetSubtype="0" fill="hold" nodeType="withEffect">
                                  <p:stCondLst>
                                    <p:cond delay="0"/>
                                  </p:stCondLst>
                                  <p:childTnLst>
                                    <p:set>
                                      <p:cBhvr>
                                        <p:cTn id="96" dur="1" fill="hold">
                                          <p:stCondLst>
                                            <p:cond delay="0"/>
                                          </p:stCondLst>
                                        </p:cTn>
                                        <p:tgtEl>
                                          <p:spTgt spid="184"/>
                                        </p:tgtEl>
                                        <p:attrNameLst>
                                          <p:attrName>style.visibility</p:attrName>
                                        </p:attrNameLst>
                                      </p:cBhvr>
                                      <p:to>
                                        <p:strVal val="visible"/>
                                      </p:to>
                                    </p:set>
                                    <p:animEffect transition="in" filter="fade">
                                      <p:cBhvr>
                                        <p:cTn id="97" dur="500"/>
                                        <p:tgtEl>
                                          <p:spTgt spid="184"/>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nodeType="clickEffect">
                                  <p:stCondLst>
                                    <p:cond delay="0"/>
                                  </p:stCondLst>
                                  <p:childTnLst>
                                    <p:set>
                                      <p:cBhvr>
                                        <p:cTn id="101" dur="1" fill="hold">
                                          <p:stCondLst>
                                            <p:cond delay="0"/>
                                          </p:stCondLst>
                                        </p:cTn>
                                        <p:tgtEl>
                                          <p:spTgt spid="98"/>
                                        </p:tgtEl>
                                        <p:attrNameLst>
                                          <p:attrName>style.visibility</p:attrName>
                                        </p:attrNameLst>
                                      </p:cBhvr>
                                      <p:to>
                                        <p:strVal val="visible"/>
                                      </p:to>
                                    </p:set>
                                    <p:animEffect transition="in" filter="fade">
                                      <p:cBhvr>
                                        <p:cTn id="102" dur="500"/>
                                        <p:tgtEl>
                                          <p:spTgt spid="98"/>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93"/>
                                        </p:tgtEl>
                                        <p:attrNameLst>
                                          <p:attrName>style.visibility</p:attrName>
                                        </p:attrNameLst>
                                      </p:cBhvr>
                                      <p:to>
                                        <p:strVal val="visible"/>
                                      </p:to>
                                    </p:set>
                                    <p:animEffect transition="in" filter="fade">
                                      <p:cBhvr>
                                        <p:cTn id="105" dur="500"/>
                                        <p:tgtEl>
                                          <p:spTgt spid="93"/>
                                        </p:tgtEl>
                                      </p:cBhvr>
                                    </p:animEffect>
                                  </p:childTnLst>
                                </p:cTn>
                              </p:par>
                              <p:par>
                                <p:cTn id="106" presetID="10" presetClass="entr" presetSubtype="0" fill="hold" nodeType="withEffect">
                                  <p:stCondLst>
                                    <p:cond delay="0"/>
                                  </p:stCondLst>
                                  <p:childTnLst>
                                    <p:set>
                                      <p:cBhvr>
                                        <p:cTn id="107" dur="1" fill="hold">
                                          <p:stCondLst>
                                            <p:cond delay="0"/>
                                          </p:stCondLst>
                                        </p:cTn>
                                        <p:tgtEl>
                                          <p:spTgt spid="325"/>
                                        </p:tgtEl>
                                        <p:attrNameLst>
                                          <p:attrName>style.visibility</p:attrName>
                                        </p:attrNameLst>
                                      </p:cBhvr>
                                      <p:to>
                                        <p:strVal val="visible"/>
                                      </p:to>
                                    </p:set>
                                    <p:animEffect transition="in" filter="fade">
                                      <p:cBhvr>
                                        <p:cTn id="108" dur="500"/>
                                        <p:tgtEl>
                                          <p:spTgt spid="325"/>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152"/>
                                        </p:tgtEl>
                                        <p:attrNameLst>
                                          <p:attrName>style.visibility</p:attrName>
                                        </p:attrNameLst>
                                      </p:cBhvr>
                                      <p:to>
                                        <p:strVal val="visible"/>
                                      </p:to>
                                    </p:set>
                                    <p:animEffect transition="in" filter="fade">
                                      <p:cBhvr>
                                        <p:cTn id="111" dur="500"/>
                                        <p:tgtEl>
                                          <p:spTgt spid="152"/>
                                        </p:tgtEl>
                                      </p:cBhvr>
                                    </p:animEffect>
                                  </p:childTnLst>
                                </p:cTn>
                              </p:par>
                              <p:par>
                                <p:cTn id="112" presetID="10" presetClass="entr" presetSubtype="0" fill="hold" nodeType="withEffect">
                                  <p:stCondLst>
                                    <p:cond delay="0"/>
                                  </p:stCondLst>
                                  <p:childTnLst>
                                    <p:set>
                                      <p:cBhvr>
                                        <p:cTn id="113" dur="1" fill="hold">
                                          <p:stCondLst>
                                            <p:cond delay="0"/>
                                          </p:stCondLst>
                                        </p:cTn>
                                        <p:tgtEl>
                                          <p:spTgt spid="218"/>
                                        </p:tgtEl>
                                        <p:attrNameLst>
                                          <p:attrName>style.visibility</p:attrName>
                                        </p:attrNameLst>
                                      </p:cBhvr>
                                      <p:to>
                                        <p:strVal val="visible"/>
                                      </p:to>
                                    </p:set>
                                    <p:animEffect transition="in" filter="fade">
                                      <p:cBhvr>
                                        <p:cTn id="114" dur="500"/>
                                        <p:tgtEl>
                                          <p:spTgt spid="218"/>
                                        </p:tgtEl>
                                      </p:cBhvr>
                                    </p:animEffect>
                                  </p:childTnLst>
                                </p:cTn>
                              </p:par>
                            </p:childTnLst>
                          </p:cTn>
                        </p:par>
                      </p:childTnLst>
                    </p:cTn>
                  </p:par>
                  <p:par>
                    <p:cTn id="115" fill="hold">
                      <p:stCondLst>
                        <p:cond delay="indefinite"/>
                      </p:stCondLst>
                      <p:childTnLst>
                        <p:par>
                          <p:cTn id="116" fill="hold">
                            <p:stCondLst>
                              <p:cond delay="0"/>
                            </p:stCondLst>
                            <p:childTnLst>
                              <p:par>
                                <p:cTn id="117" presetID="10" presetClass="entr" presetSubtype="0" fill="hold" nodeType="clickEffect">
                                  <p:stCondLst>
                                    <p:cond delay="0"/>
                                  </p:stCondLst>
                                  <p:childTnLst>
                                    <p:set>
                                      <p:cBhvr>
                                        <p:cTn id="118" dur="1" fill="hold">
                                          <p:stCondLst>
                                            <p:cond delay="0"/>
                                          </p:stCondLst>
                                        </p:cTn>
                                        <p:tgtEl>
                                          <p:spTgt spid="149"/>
                                        </p:tgtEl>
                                        <p:attrNameLst>
                                          <p:attrName>style.visibility</p:attrName>
                                        </p:attrNameLst>
                                      </p:cBhvr>
                                      <p:to>
                                        <p:strVal val="visible"/>
                                      </p:to>
                                    </p:set>
                                    <p:animEffect transition="in" filter="fade">
                                      <p:cBhvr>
                                        <p:cTn id="119" dur="500"/>
                                        <p:tgtEl>
                                          <p:spTgt spid="149"/>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227"/>
                                        </p:tgtEl>
                                        <p:attrNameLst>
                                          <p:attrName>style.visibility</p:attrName>
                                        </p:attrNameLst>
                                      </p:cBhvr>
                                      <p:to>
                                        <p:strVal val="visible"/>
                                      </p:to>
                                    </p:set>
                                    <p:animEffect transition="in" filter="fade">
                                      <p:cBhvr>
                                        <p:cTn id="122"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35" grpId="0"/>
      <p:bldP spid="80" grpId="0"/>
      <p:bldP spid="89" grpId="0"/>
      <p:bldP spid="93" grpId="0" animBg="1"/>
      <p:bldP spid="3" grpId="0" animBg="1"/>
      <p:bldP spid="116" grpId="0" animBg="1"/>
      <p:bldP spid="140" grpId="0"/>
      <p:bldP spid="143" grpId="0"/>
      <p:bldP spid="152" grpId="0"/>
      <p:bldP spid="122" grpId="0" animBg="1"/>
      <p:bldP spid="147" grpId="0" animBg="1"/>
      <p:bldP spid="146" grpId="0" animBg="1"/>
      <p:bldP spid="22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7CD15D-6B06-4D26-978D-4AC0BDF5AA55}"/>
              </a:ext>
            </a:extLst>
          </p:cNvPr>
          <p:cNvSpPr>
            <a:spLocks noGrp="1"/>
          </p:cNvSpPr>
          <p:nvPr>
            <p:ph type="title"/>
          </p:nvPr>
        </p:nvSpPr>
        <p:spPr/>
        <p:txBody>
          <a:bodyPr/>
          <a:lstStyle/>
          <a:p>
            <a:r>
              <a:rPr lang="en-US"/>
              <a:t> Ledger applications fit into two categories</a:t>
            </a:r>
            <a:endParaRPr lang="en-IN"/>
          </a:p>
        </p:txBody>
      </p:sp>
      <p:sp>
        <p:nvSpPr>
          <p:cNvPr id="87" name="Content Placeholder 77">
            <a:extLst>
              <a:ext uri="{FF2B5EF4-FFF2-40B4-BE49-F238E27FC236}">
                <a16:creationId xmlns:a16="http://schemas.microsoft.com/office/drawing/2014/main" id="{F9C07097-13F2-4E04-8573-19E0753FC5D6}"/>
              </a:ext>
            </a:extLst>
          </p:cNvPr>
          <p:cNvSpPr txBox="1">
            <a:spLocks/>
          </p:cNvSpPr>
          <p:nvPr/>
        </p:nvSpPr>
        <p:spPr>
          <a:xfrm>
            <a:off x="1780311" y="4625815"/>
            <a:ext cx="3908413" cy="1522862"/>
          </a:xfrm>
          <a:prstGeom prst="rect">
            <a:avLst/>
          </a:prstGeom>
        </p:spPr>
        <p:txBody>
          <a:bodyPr vert="horz" wrap="square" lIns="0" tIns="91427" rIns="0" bIns="91427" rtlCol="0" anchor="t">
            <a:no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2400">
                <a:solidFill>
                  <a:srgbClr val="0078D4"/>
                </a:solidFill>
                <a:latin typeface="Segoe UI Semibold"/>
                <a:cs typeface="Segoe UI Semibold" panose="020B0702040204020203" pitchFamily="34" charset="0"/>
              </a:rPr>
              <a:t>Workflow applications</a:t>
            </a:r>
          </a:p>
          <a:p>
            <a:pPr marL="0" marR="0" lvl="1" indent="0" algn="ctr" defTabSz="914191" rtl="0" eaLnBrk="1" fontAlgn="ctr"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36" b="0" i="0" u="none" strike="noStrike" kern="1200" cap="none" spc="0" normalizeH="0" baseline="0" noProof="0">
                <a:ln>
                  <a:noFill/>
                </a:ln>
                <a:solidFill>
                  <a:schemeClr val="tx1"/>
                </a:solidFill>
                <a:effectLst/>
                <a:uLnTx/>
                <a:uFillTx/>
                <a:latin typeface="Segoe UI Semilight"/>
                <a:ea typeface="+mn-ea"/>
                <a:cs typeface="+mn-cs"/>
              </a:rPr>
              <a:t>streamline cross-party workflows by automatically checking transactions against pre-agreed network rules</a:t>
            </a:r>
          </a:p>
        </p:txBody>
      </p:sp>
      <p:sp>
        <p:nvSpPr>
          <p:cNvPr id="88" name="Content Placeholder 77">
            <a:extLst>
              <a:ext uri="{FF2B5EF4-FFF2-40B4-BE49-F238E27FC236}">
                <a16:creationId xmlns:a16="http://schemas.microsoft.com/office/drawing/2014/main" id="{08E606CB-B434-4E9F-9AF3-AFD814E87EE4}"/>
              </a:ext>
            </a:extLst>
          </p:cNvPr>
          <p:cNvSpPr txBox="1">
            <a:spLocks/>
          </p:cNvSpPr>
          <p:nvPr/>
        </p:nvSpPr>
        <p:spPr>
          <a:xfrm>
            <a:off x="6503277" y="4625815"/>
            <a:ext cx="3908413" cy="1522862"/>
          </a:xfrm>
          <a:prstGeom prst="rect">
            <a:avLst/>
          </a:prstGeom>
        </p:spPr>
        <p:txBody>
          <a:bodyPr vert="horz" wrap="square" lIns="0" tIns="91427" rIns="0" bIns="91427" rtlCol="0" anchor="t">
            <a:no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14400">
              <a:lnSpc>
                <a:spcPct val="100000"/>
              </a:lnSpc>
              <a:spcBef>
                <a:spcPts val="0"/>
              </a:spcBef>
              <a:buSzTx/>
              <a:buNone/>
              <a:defRPr/>
            </a:pPr>
            <a:r>
              <a:rPr lang="en-US" sz="2400">
                <a:solidFill>
                  <a:srgbClr val="0078D4"/>
                </a:solidFill>
                <a:latin typeface="Segoe UI Semibold"/>
                <a:cs typeface="Segoe UI Semibold" panose="020B0702040204020203" pitchFamily="34" charset="0"/>
              </a:rPr>
              <a:t>Exchange applications</a:t>
            </a:r>
          </a:p>
          <a:p>
            <a:pPr marL="0" lvl="1" indent="0" algn="ctr" defTabSz="914191" fontAlgn="ctr">
              <a:lnSpc>
                <a:spcPct val="100000"/>
              </a:lnSpc>
              <a:buNone/>
              <a:defRPr/>
            </a:pPr>
            <a:r>
              <a:rPr lang="en-US" sz="1836">
                <a:solidFill>
                  <a:schemeClr val="tx1"/>
                </a:solidFill>
                <a:latin typeface="Segoe UI Semilight"/>
              </a:rPr>
              <a:t>securely track the precise exchange of asset ownership as they are traded across nonlinear paths</a:t>
            </a:r>
          </a:p>
        </p:txBody>
      </p:sp>
      <p:cxnSp>
        <p:nvCxnSpPr>
          <p:cNvPr id="90" name="Straight Connector 89">
            <a:extLst>
              <a:ext uri="{FF2B5EF4-FFF2-40B4-BE49-F238E27FC236}">
                <a16:creationId xmlns:a16="http://schemas.microsoft.com/office/drawing/2014/main" id="{313FE0FB-5C7E-4BAC-A58D-04B9F1F85C41}"/>
              </a:ext>
            </a:extLst>
          </p:cNvPr>
          <p:cNvCxnSpPr>
            <a:cxnSpLocks/>
          </p:cNvCxnSpPr>
          <p:nvPr/>
        </p:nvCxnSpPr>
        <p:spPr>
          <a:xfrm>
            <a:off x="6096000" y="4840738"/>
            <a:ext cx="0" cy="111117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91" name="Freeform: Shape 90">
            <a:extLst>
              <a:ext uri="{FF2B5EF4-FFF2-40B4-BE49-F238E27FC236}">
                <a16:creationId xmlns:a16="http://schemas.microsoft.com/office/drawing/2014/main" id="{376BEE4E-7112-48E4-A164-FCA87DC6B9C7}"/>
              </a:ext>
            </a:extLst>
          </p:cNvPr>
          <p:cNvSpPr/>
          <p:nvPr/>
        </p:nvSpPr>
        <p:spPr bwMode="auto">
          <a:xfrm>
            <a:off x="2695422" y="1971508"/>
            <a:ext cx="2078190" cy="2408569"/>
          </a:xfrm>
          <a:custGeom>
            <a:avLst/>
            <a:gdLst>
              <a:gd name="connsiteX0" fmla="*/ 1039095 w 2078190"/>
              <a:gd name="connsiteY0" fmla="*/ 0 h 2408569"/>
              <a:gd name="connsiteX1" fmla="*/ 2078190 w 2078190"/>
              <a:gd name="connsiteY1" fmla="*/ 519547 h 2408569"/>
              <a:gd name="connsiteX2" fmla="*/ 2078190 w 2078190"/>
              <a:gd name="connsiteY2" fmla="*/ 1889021 h 2408569"/>
              <a:gd name="connsiteX3" fmla="*/ 1039095 w 2078190"/>
              <a:gd name="connsiteY3" fmla="*/ 2408569 h 2408569"/>
              <a:gd name="connsiteX4" fmla="*/ 0 w 2078190"/>
              <a:gd name="connsiteY4" fmla="*/ 1889021 h 2408569"/>
              <a:gd name="connsiteX5" fmla="*/ 0 w 2078190"/>
              <a:gd name="connsiteY5" fmla="*/ 519547 h 2408569"/>
              <a:gd name="connsiteX6" fmla="*/ 1039095 w 2078190"/>
              <a:gd name="connsiteY6" fmla="*/ 0 h 240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8190" h="2408569">
                <a:moveTo>
                  <a:pt x="1039095" y="0"/>
                </a:moveTo>
                <a:lnTo>
                  <a:pt x="2078190" y="519547"/>
                </a:lnTo>
                <a:lnTo>
                  <a:pt x="2078190" y="1889021"/>
                </a:lnTo>
                <a:lnTo>
                  <a:pt x="1039095" y="2408569"/>
                </a:lnTo>
                <a:lnTo>
                  <a:pt x="0" y="1889021"/>
                </a:lnTo>
                <a:lnTo>
                  <a:pt x="0" y="519547"/>
                </a:lnTo>
                <a:lnTo>
                  <a:pt x="1039095" y="0"/>
                </a:lnTo>
                <a:close/>
              </a:path>
            </a:pathLst>
          </a:custGeom>
          <a:noFill/>
          <a:ln w="38100">
            <a:solidFill>
              <a:srgbClr val="243A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92" name="Freeform: Shape 91">
            <a:extLst>
              <a:ext uri="{FF2B5EF4-FFF2-40B4-BE49-F238E27FC236}">
                <a16:creationId xmlns:a16="http://schemas.microsoft.com/office/drawing/2014/main" id="{29EDE06C-E7E5-4A19-ADAB-BCE7FF4CD19E}"/>
              </a:ext>
            </a:extLst>
          </p:cNvPr>
          <p:cNvSpPr/>
          <p:nvPr/>
        </p:nvSpPr>
        <p:spPr bwMode="auto">
          <a:xfrm>
            <a:off x="7418388" y="1971508"/>
            <a:ext cx="2078190" cy="2408569"/>
          </a:xfrm>
          <a:custGeom>
            <a:avLst/>
            <a:gdLst>
              <a:gd name="connsiteX0" fmla="*/ 1039095 w 2078190"/>
              <a:gd name="connsiteY0" fmla="*/ 0 h 2408569"/>
              <a:gd name="connsiteX1" fmla="*/ 2078190 w 2078190"/>
              <a:gd name="connsiteY1" fmla="*/ 519547 h 2408569"/>
              <a:gd name="connsiteX2" fmla="*/ 2078190 w 2078190"/>
              <a:gd name="connsiteY2" fmla="*/ 1889021 h 2408569"/>
              <a:gd name="connsiteX3" fmla="*/ 1039095 w 2078190"/>
              <a:gd name="connsiteY3" fmla="*/ 2408569 h 2408569"/>
              <a:gd name="connsiteX4" fmla="*/ 0 w 2078190"/>
              <a:gd name="connsiteY4" fmla="*/ 1889021 h 2408569"/>
              <a:gd name="connsiteX5" fmla="*/ 0 w 2078190"/>
              <a:gd name="connsiteY5" fmla="*/ 519547 h 2408569"/>
              <a:gd name="connsiteX6" fmla="*/ 1039095 w 2078190"/>
              <a:gd name="connsiteY6" fmla="*/ 0 h 240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8190" h="2408569">
                <a:moveTo>
                  <a:pt x="1039095" y="0"/>
                </a:moveTo>
                <a:lnTo>
                  <a:pt x="2078190" y="519547"/>
                </a:lnTo>
                <a:lnTo>
                  <a:pt x="2078190" y="1889021"/>
                </a:lnTo>
                <a:lnTo>
                  <a:pt x="1039095" y="2408569"/>
                </a:lnTo>
                <a:lnTo>
                  <a:pt x="0" y="1889021"/>
                </a:lnTo>
                <a:lnTo>
                  <a:pt x="0" y="519547"/>
                </a:lnTo>
                <a:lnTo>
                  <a:pt x="1039095" y="0"/>
                </a:lnTo>
                <a:close/>
              </a:path>
            </a:pathLst>
          </a:custGeom>
          <a:noFill/>
          <a:ln w="38100">
            <a:solidFill>
              <a:srgbClr val="243A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grpSp>
        <p:nvGrpSpPr>
          <p:cNvPr id="100" name="Group 99">
            <a:extLst>
              <a:ext uri="{FF2B5EF4-FFF2-40B4-BE49-F238E27FC236}">
                <a16:creationId xmlns:a16="http://schemas.microsoft.com/office/drawing/2014/main" id="{6836221D-9252-4BFB-B1E7-0D7714BC0FBA}"/>
              </a:ext>
            </a:extLst>
          </p:cNvPr>
          <p:cNvGrpSpPr/>
          <p:nvPr/>
        </p:nvGrpSpPr>
        <p:grpSpPr>
          <a:xfrm flipH="1">
            <a:off x="7770009" y="2488316"/>
            <a:ext cx="1374948" cy="1374952"/>
            <a:chOff x="234895" y="17535341"/>
            <a:chExt cx="960119" cy="960121"/>
          </a:xfrm>
        </p:grpSpPr>
        <p:sp>
          <p:nvSpPr>
            <p:cNvPr id="101" name="Oval 100">
              <a:extLst>
                <a:ext uri="{FF2B5EF4-FFF2-40B4-BE49-F238E27FC236}">
                  <a16:creationId xmlns:a16="http://schemas.microsoft.com/office/drawing/2014/main" id="{4DB5E56C-0B93-4742-A167-4B26B125EBD5}"/>
                </a:ext>
              </a:extLst>
            </p:cNvPr>
            <p:cNvSpPr/>
            <p:nvPr/>
          </p:nvSpPr>
          <p:spPr bwMode="auto">
            <a:xfrm rot="10800000">
              <a:off x="927628" y="18225708"/>
              <a:ext cx="45720" cy="45720"/>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 name="Oval 101">
              <a:extLst>
                <a:ext uri="{FF2B5EF4-FFF2-40B4-BE49-F238E27FC236}">
                  <a16:creationId xmlns:a16="http://schemas.microsoft.com/office/drawing/2014/main" id="{637DCEEC-B92F-4C67-9248-9C3F8AE87733}"/>
                </a:ext>
              </a:extLst>
            </p:cNvPr>
            <p:cNvSpPr/>
            <p:nvPr/>
          </p:nvSpPr>
          <p:spPr bwMode="auto">
            <a:xfrm>
              <a:off x="705196" y="1824073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3" name="Oval 102">
              <a:extLst>
                <a:ext uri="{FF2B5EF4-FFF2-40B4-BE49-F238E27FC236}">
                  <a16:creationId xmlns:a16="http://schemas.microsoft.com/office/drawing/2014/main" id="{67040E29-1502-49C5-866D-CB0E4FBBB518}"/>
                </a:ext>
              </a:extLst>
            </p:cNvPr>
            <p:cNvSpPr/>
            <p:nvPr/>
          </p:nvSpPr>
          <p:spPr bwMode="auto">
            <a:xfrm>
              <a:off x="626940" y="1824073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 name="Oval 103">
              <a:extLst>
                <a:ext uri="{FF2B5EF4-FFF2-40B4-BE49-F238E27FC236}">
                  <a16:creationId xmlns:a16="http://schemas.microsoft.com/office/drawing/2014/main" id="{FECA59A2-B10C-416A-AD4E-860E94E08310}"/>
                </a:ext>
              </a:extLst>
            </p:cNvPr>
            <p:cNvSpPr/>
            <p:nvPr/>
          </p:nvSpPr>
          <p:spPr bwMode="auto">
            <a:xfrm>
              <a:off x="783451" y="18240735"/>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5" name="Oval 104">
              <a:extLst>
                <a:ext uri="{FF2B5EF4-FFF2-40B4-BE49-F238E27FC236}">
                  <a16:creationId xmlns:a16="http://schemas.microsoft.com/office/drawing/2014/main" id="{29318B5C-EB06-45BA-B5CC-B1FD67C8C72B}"/>
                </a:ext>
              </a:extLst>
            </p:cNvPr>
            <p:cNvSpPr/>
            <p:nvPr/>
          </p:nvSpPr>
          <p:spPr bwMode="auto">
            <a:xfrm rot="5400000">
              <a:off x="469618" y="18240390"/>
              <a:ext cx="20371" cy="2028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 name="Oval 105">
              <a:extLst>
                <a:ext uri="{FF2B5EF4-FFF2-40B4-BE49-F238E27FC236}">
                  <a16:creationId xmlns:a16="http://schemas.microsoft.com/office/drawing/2014/main" id="{21017E3B-DEA6-4D1A-AA05-A13E23BF40A1}"/>
                </a:ext>
              </a:extLst>
            </p:cNvPr>
            <p:cNvSpPr/>
            <p:nvPr/>
          </p:nvSpPr>
          <p:spPr bwMode="auto">
            <a:xfrm rot="5400000">
              <a:off x="548645"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 name="Oval 106">
              <a:extLst>
                <a:ext uri="{FF2B5EF4-FFF2-40B4-BE49-F238E27FC236}">
                  <a16:creationId xmlns:a16="http://schemas.microsoft.com/office/drawing/2014/main" id="{FDE5C6A2-D221-4102-A3D7-075A2E91C97E}"/>
                </a:ext>
              </a:extLst>
            </p:cNvPr>
            <p:cNvSpPr/>
            <p:nvPr/>
          </p:nvSpPr>
          <p:spPr bwMode="auto">
            <a:xfrm rot="5400000">
              <a:off x="391364"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 name="Oval 107">
              <a:extLst>
                <a:ext uri="{FF2B5EF4-FFF2-40B4-BE49-F238E27FC236}">
                  <a16:creationId xmlns:a16="http://schemas.microsoft.com/office/drawing/2014/main" id="{089012D0-2FB1-467E-AB65-E9360F343635}"/>
                </a:ext>
              </a:extLst>
            </p:cNvPr>
            <p:cNvSpPr/>
            <p:nvPr/>
          </p:nvSpPr>
          <p:spPr bwMode="auto">
            <a:xfrm rot="5400000">
              <a:off x="234854"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 name="Oval 108">
              <a:extLst>
                <a:ext uri="{FF2B5EF4-FFF2-40B4-BE49-F238E27FC236}">
                  <a16:creationId xmlns:a16="http://schemas.microsoft.com/office/drawing/2014/main" id="{F256078B-B3D5-4E44-AAB7-E272B88E45AA}"/>
                </a:ext>
              </a:extLst>
            </p:cNvPr>
            <p:cNvSpPr/>
            <p:nvPr/>
          </p:nvSpPr>
          <p:spPr bwMode="auto">
            <a:xfrm rot="5400000">
              <a:off x="313109"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 name="Oval 109">
              <a:extLst>
                <a:ext uri="{FF2B5EF4-FFF2-40B4-BE49-F238E27FC236}">
                  <a16:creationId xmlns:a16="http://schemas.microsoft.com/office/drawing/2014/main" id="{6114DC7E-CA6E-4C58-93C8-39B87DEC4649}"/>
                </a:ext>
              </a:extLst>
            </p:cNvPr>
            <p:cNvSpPr/>
            <p:nvPr/>
          </p:nvSpPr>
          <p:spPr bwMode="auto">
            <a:xfrm rot="10800000">
              <a:off x="1018987" y="18240735"/>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 name="Oval 110">
              <a:extLst>
                <a:ext uri="{FF2B5EF4-FFF2-40B4-BE49-F238E27FC236}">
                  <a16:creationId xmlns:a16="http://schemas.microsoft.com/office/drawing/2014/main" id="{921D4FCE-5483-4C9E-990A-743A9AF19130}"/>
                </a:ext>
              </a:extLst>
            </p:cNvPr>
            <p:cNvSpPr/>
            <p:nvPr/>
          </p:nvSpPr>
          <p:spPr bwMode="auto">
            <a:xfrm>
              <a:off x="861706" y="18240735"/>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 name="Oval 111">
              <a:extLst>
                <a:ext uri="{FF2B5EF4-FFF2-40B4-BE49-F238E27FC236}">
                  <a16:creationId xmlns:a16="http://schemas.microsoft.com/office/drawing/2014/main" id="{8023768B-C623-48D5-B697-A12813F8957B}"/>
                </a:ext>
              </a:extLst>
            </p:cNvPr>
            <p:cNvSpPr/>
            <p:nvPr/>
          </p:nvSpPr>
          <p:spPr bwMode="auto">
            <a:xfrm rot="10800000">
              <a:off x="1175498" y="18240735"/>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13" name="Oval 112">
              <a:extLst>
                <a:ext uri="{FF2B5EF4-FFF2-40B4-BE49-F238E27FC236}">
                  <a16:creationId xmlns:a16="http://schemas.microsoft.com/office/drawing/2014/main" id="{2C8CCC1D-7D27-4180-80C0-4AA5CF11364D}"/>
                </a:ext>
              </a:extLst>
            </p:cNvPr>
            <p:cNvSpPr/>
            <p:nvPr/>
          </p:nvSpPr>
          <p:spPr bwMode="auto">
            <a:xfrm rot="10800000">
              <a:off x="1097242" y="18240735"/>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14" name="Oval 113">
              <a:extLst>
                <a:ext uri="{FF2B5EF4-FFF2-40B4-BE49-F238E27FC236}">
                  <a16:creationId xmlns:a16="http://schemas.microsoft.com/office/drawing/2014/main" id="{E3FB4EF4-B476-4256-81F7-F26175216143}"/>
                </a:ext>
              </a:extLst>
            </p:cNvPr>
            <p:cNvSpPr/>
            <p:nvPr/>
          </p:nvSpPr>
          <p:spPr bwMode="auto">
            <a:xfrm>
              <a:off x="705196" y="18162100"/>
              <a:ext cx="19516" cy="19597"/>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15" name="Oval 114">
              <a:extLst>
                <a:ext uri="{FF2B5EF4-FFF2-40B4-BE49-F238E27FC236}">
                  <a16:creationId xmlns:a16="http://schemas.microsoft.com/office/drawing/2014/main" id="{2F9EB51D-94FF-4C83-8EDA-52D7439AFF09}"/>
                </a:ext>
              </a:extLst>
            </p:cNvPr>
            <p:cNvSpPr/>
            <p:nvPr/>
          </p:nvSpPr>
          <p:spPr bwMode="auto">
            <a:xfrm>
              <a:off x="626940" y="1816210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6" name="Oval 115">
              <a:extLst>
                <a:ext uri="{FF2B5EF4-FFF2-40B4-BE49-F238E27FC236}">
                  <a16:creationId xmlns:a16="http://schemas.microsoft.com/office/drawing/2014/main" id="{0786DF83-3448-4F7C-9659-BDFA91DCC5B2}"/>
                </a:ext>
              </a:extLst>
            </p:cNvPr>
            <p:cNvSpPr/>
            <p:nvPr/>
          </p:nvSpPr>
          <p:spPr bwMode="auto">
            <a:xfrm>
              <a:off x="783451" y="18162100"/>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17" name="Oval 116">
              <a:extLst>
                <a:ext uri="{FF2B5EF4-FFF2-40B4-BE49-F238E27FC236}">
                  <a16:creationId xmlns:a16="http://schemas.microsoft.com/office/drawing/2014/main" id="{AEB80E29-6F14-4C58-8616-C13A8AD7FDBC}"/>
                </a:ext>
              </a:extLst>
            </p:cNvPr>
            <p:cNvSpPr/>
            <p:nvPr/>
          </p:nvSpPr>
          <p:spPr bwMode="auto">
            <a:xfrm rot="5400000">
              <a:off x="470004"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8" name="Oval 117">
              <a:extLst>
                <a:ext uri="{FF2B5EF4-FFF2-40B4-BE49-F238E27FC236}">
                  <a16:creationId xmlns:a16="http://schemas.microsoft.com/office/drawing/2014/main" id="{EAF6BBB7-9F40-4014-BA4A-9FA9F3F92157}"/>
                </a:ext>
              </a:extLst>
            </p:cNvPr>
            <p:cNvSpPr/>
            <p:nvPr/>
          </p:nvSpPr>
          <p:spPr bwMode="auto">
            <a:xfrm rot="5400000">
              <a:off x="548645"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9" name="Oval 118">
              <a:extLst>
                <a:ext uri="{FF2B5EF4-FFF2-40B4-BE49-F238E27FC236}">
                  <a16:creationId xmlns:a16="http://schemas.microsoft.com/office/drawing/2014/main" id="{A4BD19A3-88DB-450B-8C3D-3B468407A229}"/>
                </a:ext>
              </a:extLst>
            </p:cNvPr>
            <p:cNvSpPr/>
            <p:nvPr/>
          </p:nvSpPr>
          <p:spPr bwMode="auto">
            <a:xfrm rot="5400000">
              <a:off x="391364"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0" name="Oval 119">
              <a:extLst>
                <a:ext uri="{FF2B5EF4-FFF2-40B4-BE49-F238E27FC236}">
                  <a16:creationId xmlns:a16="http://schemas.microsoft.com/office/drawing/2014/main" id="{FC823F02-7968-442F-BB5E-AD8DF3BBF623}"/>
                </a:ext>
              </a:extLst>
            </p:cNvPr>
            <p:cNvSpPr/>
            <p:nvPr/>
          </p:nvSpPr>
          <p:spPr bwMode="auto">
            <a:xfrm rot="5400000">
              <a:off x="234854"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1" name="Oval 120">
              <a:extLst>
                <a:ext uri="{FF2B5EF4-FFF2-40B4-BE49-F238E27FC236}">
                  <a16:creationId xmlns:a16="http://schemas.microsoft.com/office/drawing/2014/main" id="{1226731C-3A88-4299-AD89-23BF8078C10A}"/>
                </a:ext>
              </a:extLst>
            </p:cNvPr>
            <p:cNvSpPr/>
            <p:nvPr/>
          </p:nvSpPr>
          <p:spPr bwMode="auto">
            <a:xfrm rot="5400000">
              <a:off x="313109"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2" name="Oval 121">
              <a:extLst>
                <a:ext uri="{FF2B5EF4-FFF2-40B4-BE49-F238E27FC236}">
                  <a16:creationId xmlns:a16="http://schemas.microsoft.com/office/drawing/2014/main" id="{53FCE4D7-797F-498C-8EFD-8A5F83FBA0FE}"/>
                </a:ext>
              </a:extLst>
            </p:cNvPr>
            <p:cNvSpPr/>
            <p:nvPr/>
          </p:nvSpPr>
          <p:spPr bwMode="auto">
            <a:xfrm rot="5400000">
              <a:off x="940306" y="18162140"/>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3" name="Oval 122">
              <a:extLst>
                <a:ext uri="{FF2B5EF4-FFF2-40B4-BE49-F238E27FC236}">
                  <a16:creationId xmlns:a16="http://schemas.microsoft.com/office/drawing/2014/main" id="{6C8821A4-BA0E-4ACB-9AD9-0D2116C70F2E}"/>
                </a:ext>
              </a:extLst>
            </p:cNvPr>
            <p:cNvSpPr/>
            <p:nvPr/>
          </p:nvSpPr>
          <p:spPr bwMode="auto">
            <a:xfrm rot="10800000">
              <a:off x="1018987" y="18162100"/>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4" name="Oval 123">
              <a:extLst>
                <a:ext uri="{FF2B5EF4-FFF2-40B4-BE49-F238E27FC236}">
                  <a16:creationId xmlns:a16="http://schemas.microsoft.com/office/drawing/2014/main" id="{B1B3225B-0E77-4A2E-A628-B18CDC12ECC7}"/>
                </a:ext>
              </a:extLst>
            </p:cNvPr>
            <p:cNvSpPr/>
            <p:nvPr/>
          </p:nvSpPr>
          <p:spPr bwMode="auto">
            <a:xfrm>
              <a:off x="852235" y="18152302"/>
              <a:ext cx="39033" cy="39194"/>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5" name="Oval 124">
              <a:extLst>
                <a:ext uri="{FF2B5EF4-FFF2-40B4-BE49-F238E27FC236}">
                  <a16:creationId xmlns:a16="http://schemas.microsoft.com/office/drawing/2014/main" id="{3C713573-3237-4081-A380-14439C95C1E9}"/>
                </a:ext>
              </a:extLst>
            </p:cNvPr>
            <p:cNvSpPr/>
            <p:nvPr/>
          </p:nvSpPr>
          <p:spPr bwMode="auto">
            <a:xfrm rot="10800000">
              <a:off x="1175498" y="1816210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26" name="Oval 125">
              <a:extLst>
                <a:ext uri="{FF2B5EF4-FFF2-40B4-BE49-F238E27FC236}">
                  <a16:creationId xmlns:a16="http://schemas.microsoft.com/office/drawing/2014/main" id="{12BB19C3-6695-4952-8B26-FCC4252936F7}"/>
                </a:ext>
              </a:extLst>
            </p:cNvPr>
            <p:cNvSpPr/>
            <p:nvPr/>
          </p:nvSpPr>
          <p:spPr bwMode="auto">
            <a:xfrm rot="10800000">
              <a:off x="1097242" y="18162100"/>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27" name="Oval 126">
              <a:extLst>
                <a:ext uri="{FF2B5EF4-FFF2-40B4-BE49-F238E27FC236}">
                  <a16:creationId xmlns:a16="http://schemas.microsoft.com/office/drawing/2014/main" id="{718E37AC-78F8-4E6D-8975-8F39E4EE8741}"/>
                </a:ext>
              </a:extLst>
            </p:cNvPr>
            <p:cNvSpPr/>
            <p:nvPr/>
          </p:nvSpPr>
          <p:spPr bwMode="auto">
            <a:xfrm>
              <a:off x="705196"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28" name="Oval 127">
              <a:extLst>
                <a:ext uri="{FF2B5EF4-FFF2-40B4-BE49-F238E27FC236}">
                  <a16:creationId xmlns:a16="http://schemas.microsoft.com/office/drawing/2014/main" id="{AD082667-F4B2-434A-B4A5-F57C354BE224}"/>
                </a:ext>
              </a:extLst>
            </p:cNvPr>
            <p:cNvSpPr/>
            <p:nvPr/>
          </p:nvSpPr>
          <p:spPr bwMode="auto">
            <a:xfrm>
              <a:off x="626940"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9" name="Oval 128">
              <a:extLst>
                <a:ext uri="{FF2B5EF4-FFF2-40B4-BE49-F238E27FC236}">
                  <a16:creationId xmlns:a16="http://schemas.microsoft.com/office/drawing/2014/main" id="{892C3031-C57D-4896-ADA0-419C292CD58D}"/>
                </a:ext>
              </a:extLst>
            </p:cNvPr>
            <p:cNvSpPr/>
            <p:nvPr/>
          </p:nvSpPr>
          <p:spPr bwMode="auto">
            <a:xfrm>
              <a:off x="783451"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30" name="Oval 129">
              <a:extLst>
                <a:ext uri="{FF2B5EF4-FFF2-40B4-BE49-F238E27FC236}">
                  <a16:creationId xmlns:a16="http://schemas.microsoft.com/office/drawing/2014/main" id="{D8B532F8-1157-49DF-9236-FE9E91E5B1B4}"/>
                </a:ext>
              </a:extLst>
            </p:cNvPr>
            <p:cNvSpPr/>
            <p:nvPr/>
          </p:nvSpPr>
          <p:spPr bwMode="auto">
            <a:xfrm rot="5400000">
              <a:off x="470004"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1" name="Oval 130">
              <a:extLst>
                <a:ext uri="{FF2B5EF4-FFF2-40B4-BE49-F238E27FC236}">
                  <a16:creationId xmlns:a16="http://schemas.microsoft.com/office/drawing/2014/main" id="{A2066ADD-E39C-4DF7-82A9-3C6B43665E94}"/>
                </a:ext>
              </a:extLst>
            </p:cNvPr>
            <p:cNvSpPr/>
            <p:nvPr/>
          </p:nvSpPr>
          <p:spPr bwMode="auto">
            <a:xfrm rot="5400000">
              <a:off x="548645"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2" name="Oval 131">
              <a:extLst>
                <a:ext uri="{FF2B5EF4-FFF2-40B4-BE49-F238E27FC236}">
                  <a16:creationId xmlns:a16="http://schemas.microsoft.com/office/drawing/2014/main" id="{3555ECA2-0794-42FA-8666-E0D3267CF28D}"/>
                </a:ext>
              </a:extLst>
            </p:cNvPr>
            <p:cNvSpPr/>
            <p:nvPr/>
          </p:nvSpPr>
          <p:spPr bwMode="auto">
            <a:xfrm rot="5400000">
              <a:off x="391364"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3" name="Oval 132">
              <a:extLst>
                <a:ext uri="{FF2B5EF4-FFF2-40B4-BE49-F238E27FC236}">
                  <a16:creationId xmlns:a16="http://schemas.microsoft.com/office/drawing/2014/main" id="{95996BB4-5EEB-4A03-A56A-FC2684BEB04C}"/>
                </a:ext>
              </a:extLst>
            </p:cNvPr>
            <p:cNvSpPr/>
            <p:nvPr/>
          </p:nvSpPr>
          <p:spPr bwMode="auto">
            <a:xfrm rot="5400000">
              <a:off x="234854"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4" name="Oval 133">
              <a:extLst>
                <a:ext uri="{FF2B5EF4-FFF2-40B4-BE49-F238E27FC236}">
                  <a16:creationId xmlns:a16="http://schemas.microsoft.com/office/drawing/2014/main" id="{6AD6CB02-4C02-49BF-9CA5-8DCF941E7C63}"/>
                </a:ext>
              </a:extLst>
            </p:cNvPr>
            <p:cNvSpPr/>
            <p:nvPr/>
          </p:nvSpPr>
          <p:spPr bwMode="auto">
            <a:xfrm rot="5400000">
              <a:off x="313109"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5" name="Oval 134">
              <a:extLst>
                <a:ext uri="{FF2B5EF4-FFF2-40B4-BE49-F238E27FC236}">
                  <a16:creationId xmlns:a16="http://schemas.microsoft.com/office/drawing/2014/main" id="{C61318D8-A7BC-41F6-A392-567BD5AFCA75}"/>
                </a:ext>
              </a:extLst>
            </p:cNvPr>
            <p:cNvSpPr/>
            <p:nvPr/>
          </p:nvSpPr>
          <p:spPr bwMode="auto">
            <a:xfrm rot="16200000">
              <a:off x="940306" y="18319410"/>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6" name="Oval 135">
              <a:extLst>
                <a:ext uri="{FF2B5EF4-FFF2-40B4-BE49-F238E27FC236}">
                  <a16:creationId xmlns:a16="http://schemas.microsoft.com/office/drawing/2014/main" id="{1BCF4EC3-A53F-4D0D-80F6-290DBBC683B4}"/>
                </a:ext>
              </a:extLst>
            </p:cNvPr>
            <p:cNvSpPr/>
            <p:nvPr/>
          </p:nvSpPr>
          <p:spPr bwMode="auto">
            <a:xfrm rot="10800000">
              <a:off x="996091" y="18293999"/>
              <a:ext cx="64008" cy="64008"/>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7" name="Oval 136">
              <a:extLst>
                <a:ext uri="{FF2B5EF4-FFF2-40B4-BE49-F238E27FC236}">
                  <a16:creationId xmlns:a16="http://schemas.microsoft.com/office/drawing/2014/main" id="{9815A16F-85E6-4848-A9C9-B4D05555AABF}"/>
                </a:ext>
              </a:extLst>
            </p:cNvPr>
            <p:cNvSpPr/>
            <p:nvPr/>
          </p:nvSpPr>
          <p:spPr bwMode="auto">
            <a:xfrm>
              <a:off x="861706" y="18319370"/>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8" name="Oval 137">
              <a:extLst>
                <a:ext uri="{FF2B5EF4-FFF2-40B4-BE49-F238E27FC236}">
                  <a16:creationId xmlns:a16="http://schemas.microsoft.com/office/drawing/2014/main" id="{B9AB9F6E-AA82-480A-9CCA-D4AD4DA5FA2A}"/>
                </a:ext>
              </a:extLst>
            </p:cNvPr>
            <p:cNvSpPr/>
            <p:nvPr/>
          </p:nvSpPr>
          <p:spPr bwMode="auto">
            <a:xfrm rot="10800000">
              <a:off x="1175498"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39" name="Oval 138">
              <a:extLst>
                <a:ext uri="{FF2B5EF4-FFF2-40B4-BE49-F238E27FC236}">
                  <a16:creationId xmlns:a16="http://schemas.microsoft.com/office/drawing/2014/main" id="{D09242EC-934E-4F37-B119-E90158747DC7}"/>
                </a:ext>
              </a:extLst>
            </p:cNvPr>
            <p:cNvSpPr/>
            <p:nvPr/>
          </p:nvSpPr>
          <p:spPr bwMode="auto">
            <a:xfrm rot="10800000">
              <a:off x="1097242" y="18319370"/>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40" name="Oval 139">
              <a:extLst>
                <a:ext uri="{FF2B5EF4-FFF2-40B4-BE49-F238E27FC236}">
                  <a16:creationId xmlns:a16="http://schemas.microsoft.com/office/drawing/2014/main" id="{CBB56640-A6F1-4A33-BBB5-383FE4B48ED3}"/>
                </a:ext>
              </a:extLst>
            </p:cNvPr>
            <p:cNvSpPr/>
            <p:nvPr/>
          </p:nvSpPr>
          <p:spPr bwMode="auto">
            <a:xfrm rot="5400000">
              <a:off x="705155"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1" name="Oval 140">
              <a:extLst>
                <a:ext uri="{FF2B5EF4-FFF2-40B4-BE49-F238E27FC236}">
                  <a16:creationId xmlns:a16="http://schemas.microsoft.com/office/drawing/2014/main" id="{A0B8F11A-4878-4A82-B272-ABA7770C93D1}"/>
                </a:ext>
              </a:extLst>
            </p:cNvPr>
            <p:cNvSpPr/>
            <p:nvPr/>
          </p:nvSpPr>
          <p:spPr bwMode="auto">
            <a:xfrm rot="5400000">
              <a:off x="626900"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2" name="Oval 141">
              <a:extLst>
                <a:ext uri="{FF2B5EF4-FFF2-40B4-BE49-F238E27FC236}">
                  <a16:creationId xmlns:a16="http://schemas.microsoft.com/office/drawing/2014/main" id="{35C614E5-A2DE-4F6D-BF31-74534DCC5CF9}"/>
                </a:ext>
              </a:extLst>
            </p:cNvPr>
            <p:cNvSpPr/>
            <p:nvPr/>
          </p:nvSpPr>
          <p:spPr bwMode="auto">
            <a:xfrm rot="5400000">
              <a:off x="780128" y="18079555"/>
              <a:ext cx="28307" cy="28190"/>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43" name="Oval 142">
              <a:extLst>
                <a:ext uri="{FF2B5EF4-FFF2-40B4-BE49-F238E27FC236}">
                  <a16:creationId xmlns:a16="http://schemas.microsoft.com/office/drawing/2014/main" id="{4A285E21-68E2-4D6E-9278-001303AC41A1}"/>
                </a:ext>
              </a:extLst>
            </p:cNvPr>
            <p:cNvSpPr/>
            <p:nvPr/>
          </p:nvSpPr>
          <p:spPr bwMode="auto">
            <a:xfrm rot="5400000">
              <a:off x="470004"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4" name="Oval 143">
              <a:extLst>
                <a:ext uri="{FF2B5EF4-FFF2-40B4-BE49-F238E27FC236}">
                  <a16:creationId xmlns:a16="http://schemas.microsoft.com/office/drawing/2014/main" id="{925FCB28-F654-45B9-B74C-8387D43C5988}"/>
                </a:ext>
              </a:extLst>
            </p:cNvPr>
            <p:cNvSpPr/>
            <p:nvPr/>
          </p:nvSpPr>
          <p:spPr bwMode="auto">
            <a:xfrm rot="5400000">
              <a:off x="548645"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5" name="Oval 144">
              <a:extLst>
                <a:ext uri="{FF2B5EF4-FFF2-40B4-BE49-F238E27FC236}">
                  <a16:creationId xmlns:a16="http://schemas.microsoft.com/office/drawing/2014/main" id="{38A586C7-8613-4887-90B8-373CED46AE15}"/>
                </a:ext>
              </a:extLst>
            </p:cNvPr>
            <p:cNvSpPr/>
            <p:nvPr/>
          </p:nvSpPr>
          <p:spPr bwMode="auto">
            <a:xfrm rot="5400000">
              <a:off x="391364"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6" name="Oval 145">
              <a:extLst>
                <a:ext uri="{FF2B5EF4-FFF2-40B4-BE49-F238E27FC236}">
                  <a16:creationId xmlns:a16="http://schemas.microsoft.com/office/drawing/2014/main" id="{8B1FE789-B1F0-410C-8BAE-5F1BFCEBED2D}"/>
                </a:ext>
              </a:extLst>
            </p:cNvPr>
            <p:cNvSpPr/>
            <p:nvPr/>
          </p:nvSpPr>
          <p:spPr bwMode="auto">
            <a:xfrm rot="5400000">
              <a:off x="234854"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7" name="Oval 146">
              <a:extLst>
                <a:ext uri="{FF2B5EF4-FFF2-40B4-BE49-F238E27FC236}">
                  <a16:creationId xmlns:a16="http://schemas.microsoft.com/office/drawing/2014/main" id="{8253CDC7-5D38-409E-ABF1-C1B1064635DD}"/>
                </a:ext>
              </a:extLst>
            </p:cNvPr>
            <p:cNvSpPr/>
            <p:nvPr/>
          </p:nvSpPr>
          <p:spPr bwMode="auto">
            <a:xfrm rot="5400000">
              <a:off x="313109"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8" name="Oval 147">
              <a:extLst>
                <a:ext uri="{FF2B5EF4-FFF2-40B4-BE49-F238E27FC236}">
                  <a16:creationId xmlns:a16="http://schemas.microsoft.com/office/drawing/2014/main" id="{E9E2010E-3A0E-48E2-A85B-ABA53F6B7E32}"/>
                </a:ext>
              </a:extLst>
            </p:cNvPr>
            <p:cNvSpPr/>
            <p:nvPr/>
          </p:nvSpPr>
          <p:spPr bwMode="auto">
            <a:xfrm rot="5400000">
              <a:off x="940306" y="18083892"/>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49" name="Oval 148">
              <a:extLst>
                <a:ext uri="{FF2B5EF4-FFF2-40B4-BE49-F238E27FC236}">
                  <a16:creationId xmlns:a16="http://schemas.microsoft.com/office/drawing/2014/main" id="{9077C636-B7D7-45E8-A952-DA4CD1066A2C}"/>
                </a:ext>
              </a:extLst>
            </p:cNvPr>
            <p:cNvSpPr/>
            <p:nvPr/>
          </p:nvSpPr>
          <p:spPr bwMode="auto">
            <a:xfrm rot="5400000">
              <a:off x="1018946"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0" name="Oval 149">
              <a:extLst>
                <a:ext uri="{FF2B5EF4-FFF2-40B4-BE49-F238E27FC236}">
                  <a16:creationId xmlns:a16="http://schemas.microsoft.com/office/drawing/2014/main" id="{72E3FD3D-034B-42D6-8051-61D7AC1E7AED}"/>
                </a:ext>
              </a:extLst>
            </p:cNvPr>
            <p:cNvSpPr/>
            <p:nvPr/>
          </p:nvSpPr>
          <p:spPr bwMode="auto">
            <a:xfrm rot="5400000">
              <a:off x="861666" y="18083892"/>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1" name="Oval 150">
              <a:extLst>
                <a:ext uri="{FF2B5EF4-FFF2-40B4-BE49-F238E27FC236}">
                  <a16:creationId xmlns:a16="http://schemas.microsoft.com/office/drawing/2014/main" id="{DCCA6B26-529A-40A1-A606-F458C842AC8B}"/>
                </a:ext>
              </a:extLst>
            </p:cNvPr>
            <p:cNvSpPr/>
            <p:nvPr/>
          </p:nvSpPr>
          <p:spPr bwMode="auto">
            <a:xfrm rot="10800000">
              <a:off x="1175498" y="1808385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2" name="Oval 151">
              <a:extLst>
                <a:ext uri="{FF2B5EF4-FFF2-40B4-BE49-F238E27FC236}">
                  <a16:creationId xmlns:a16="http://schemas.microsoft.com/office/drawing/2014/main" id="{AD7BA03B-531F-45A2-A46F-91840AD3301C}"/>
                </a:ext>
              </a:extLst>
            </p:cNvPr>
            <p:cNvSpPr/>
            <p:nvPr/>
          </p:nvSpPr>
          <p:spPr bwMode="auto">
            <a:xfrm rot="10800000">
              <a:off x="1097242" y="1808385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3" name="Oval 152">
              <a:extLst>
                <a:ext uri="{FF2B5EF4-FFF2-40B4-BE49-F238E27FC236}">
                  <a16:creationId xmlns:a16="http://schemas.microsoft.com/office/drawing/2014/main" id="{D99F8626-0BC2-4F79-9639-606C6861E623}"/>
                </a:ext>
              </a:extLst>
            </p:cNvPr>
            <p:cNvSpPr/>
            <p:nvPr/>
          </p:nvSpPr>
          <p:spPr bwMode="auto">
            <a:xfrm>
              <a:off x="705196" y="1839761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4" name="Oval 153">
              <a:extLst>
                <a:ext uri="{FF2B5EF4-FFF2-40B4-BE49-F238E27FC236}">
                  <a16:creationId xmlns:a16="http://schemas.microsoft.com/office/drawing/2014/main" id="{4ADA62CF-399C-448A-A017-4B7B00DCCF5D}"/>
                </a:ext>
              </a:extLst>
            </p:cNvPr>
            <p:cNvSpPr/>
            <p:nvPr/>
          </p:nvSpPr>
          <p:spPr bwMode="auto">
            <a:xfrm>
              <a:off x="626940" y="1839761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5" name="Oval 154">
              <a:extLst>
                <a:ext uri="{FF2B5EF4-FFF2-40B4-BE49-F238E27FC236}">
                  <a16:creationId xmlns:a16="http://schemas.microsoft.com/office/drawing/2014/main" id="{DF762516-4C86-4AEC-B158-5C2D5033AD80}"/>
                </a:ext>
              </a:extLst>
            </p:cNvPr>
            <p:cNvSpPr/>
            <p:nvPr/>
          </p:nvSpPr>
          <p:spPr bwMode="auto">
            <a:xfrm>
              <a:off x="783451" y="1839761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6" name="Oval 155">
              <a:extLst>
                <a:ext uri="{FF2B5EF4-FFF2-40B4-BE49-F238E27FC236}">
                  <a16:creationId xmlns:a16="http://schemas.microsoft.com/office/drawing/2014/main" id="{0063CD29-17E2-440A-847E-D8B4AC64D306}"/>
                </a:ext>
              </a:extLst>
            </p:cNvPr>
            <p:cNvSpPr/>
            <p:nvPr/>
          </p:nvSpPr>
          <p:spPr bwMode="auto">
            <a:xfrm rot="5400000">
              <a:off x="470004"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7" name="Oval 156">
              <a:extLst>
                <a:ext uri="{FF2B5EF4-FFF2-40B4-BE49-F238E27FC236}">
                  <a16:creationId xmlns:a16="http://schemas.microsoft.com/office/drawing/2014/main" id="{0656AF8F-A13D-437B-859D-5771BA40E5A8}"/>
                </a:ext>
              </a:extLst>
            </p:cNvPr>
            <p:cNvSpPr/>
            <p:nvPr/>
          </p:nvSpPr>
          <p:spPr bwMode="auto">
            <a:xfrm rot="5400000">
              <a:off x="548645"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8" name="Oval 157">
              <a:extLst>
                <a:ext uri="{FF2B5EF4-FFF2-40B4-BE49-F238E27FC236}">
                  <a16:creationId xmlns:a16="http://schemas.microsoft.com/office/drawing/2014/main" id="{BFEE935E-6D65-4B3C-A364-7753F25502E0}"/>
                </a:ext>
              </a:extLst>
            </p:cNvPr>
            <p:cNvSpPr/>
            <p:nvPr/>
          </p:nvSpPr>
          <p:spPr bwMode="auto">
            <a:xfrm rot="5400000">
              <a:off x="391364"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9" name="Oval 158">
              <a:extLst>
                <a:ext uri="{FF2B5EF4-FFF2-40B4-BE49-F238E27FC236}">
                  <a16:creationId xmlns:a16="http://schemas.microsoft.com/office/drawing/2014/main" id="{9F54FD5C-BD5D-4BB3-BBBC-759B1A0416FC}"/>
                </a:ext>
              </a:extLst>
            </p:cNvPr>
            <p:cNvSpPr/>
            <p:nvPr/>
          </p:nvSpPr>
          <p:spPr bwMode="auto">
            <a:xfrm rot="5400000">
              <a:off x="234854"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0" name="Oval 159">
              <a:extLst>
                <a:ext uri="{FF2B5EF4-FFF2-40B4-BE49-F238E27FC236}">
                  <a16:creationId xmlns:a16="http://schemas.microsoft.com/office/drawing/2014/main" id="{A9DCEB20-9759-4243-8B76-D73C99DC2ED9}"/>
                </a:ext>
              </a:extLst>
            </p:cNvPr>
            <p:cNvSpPr/>
            <p:nvPr/>
          </p:nvSpPr>
          <p:spPr bwMode="auto">
            <a:xfrm rot="5400000">
              <a:off x="313109"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1" name="Oval 160">
              <a:extLst>
                <a:ext uri="{FF2B5EF4-FFF2-40B4-BE49-F238E27FC236}">
                  <a16:creationId xmlns:a16="http://schemas.microsoft.com/office/drawing/2014/main" id="{5276AE97-22E0-47AC-9452-76ECB73463A6}"/>
                </a:ext>
              </a:extLst>
            </p:cNvPr>
            <p:cNvSpPr/>
            <p:nvPr/>
          </p:nvSpPr>
          <p:spPr bwMode="auto">
            <a:xfrm rot="16200000">
              <a:off x="940306" y="18397658"/>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2" name="Oval 161">
              <a:extLst>
                <a:ext uri="{FF2B5EF4-FFF2-40B4-BE49-F238E27FC236}">
                  <a16:creationId xmlns:a16="http://schemas.microsoft.com/office/drawing/2014/main" id="{2D379BB3-5D81-4640-962A-4C3E7936EDF6}"/>
                </a:ext>
              </a:extLst>
            </p:cNvPr>
            <p:cNvSpPr/>
            <p:nvPr/>
          </p:nvSpPr>
          <p:spPr bwMode="auto">
            <a:xfrm rot="16200000">
              <a:off x="1018946" y="18397658"/>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3" name="Oval 162">
              <a:extLst>
                <a:ext uri="{FF2B5EF4-FFF2-40B4-BE49-F238E27FC236}">
                  <a16:creationId xmlns:a16="http://schemas.microsoft.com/office/drawing/2014/main" id="{FAF63A76-7528-4D0C-A5E7-A017FD91172C}"/>
                </a:ext>
              </a:extLst>
            </p:cNvPr>
            <p:cNvSpPr/>
            <p:nvPr/>
          </p:nvSpPr>
          <p:spPr bwMode="auto">
            <a:xfrm rot="16200000">
              <a:off x="861666" y="18397658"/>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4" name="Oval 163">
              <a:extLst>
                <a:ext uri="{FF2B5EF4-FFF2-40B4-BE49-F238E27FC236}">
                  <a16:creationId xmlns:a16="http://schemas.microsoft.com/office/drawing/2014/main" id="{5713CD50-9FEB-406F-BC76-BD1A6BF78B31}"/>
                </a:ext>
              </a:extLst>
            </p:cNvPr>
            <p:cNvSpPr/>
            <p:nvPr/>
          </p:nvSpPr>
          <p:spPr bwMode="auto">
            <a:xfrm rot="10800000">
              <a:off x="1175498" y="18397618"/>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5" name="Oval 164">
              <a:extLst>
                <a:ext uri="{FF2B5EF4-FFF2-40B4-BE49-F238E27FC236}">
                  <a16:creationId xmlns:a16="http://schemas.microsoft.com/office/drawing/2014/main" id="{BEBD875B-47A6-44A1-9972-165A3A701601}"/>
                </a:ext>
              </a:extLst>
            </p:cNvPr>
            <p:cNvSpPr/>
            <p:nvPr/>
          </p:nvSpPr>
          <p:spPr bwMode="auto">
            <a:xfrm rot="10800000">
              <a:off x="1097242" y="18397618"/>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6" name="Oval 165">
              <a:extLst>
                <a:ext uri="{FF2B5EF4-FFF2-40B4-BE49-F238E27FC236}">
                  <a16:creationId xmlns:a16="http://schemas.microsoft.com/office/drawing/2014/main" id="{841C7EE2-9D24-4597-935F-44DB58A1151B}"/>
                </a:ext>
              </a:extLst>
            </p:cNvPr>
            <p:cNvSpPr/>
            <p:nvPr/>
          </p:nvSpPr>
          <p:spPr bwMode="auto">
            <a:xfrm>
              <a:off x="705196"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7" name="Oval 166">
              <a:extLst>
                <a:ext uri="{FF2B5EF4-FFF2-40B4-BE49-F238E27FC236}">
                  <a16:creationId xmlns:a16="http://schemas.microsoft.com/office/drawing/2014/main" id="{6D087773-5EC4-49D2-B539-E01AD6E730CF}"/>
                </a:ext>
              </a:extLst>
            </p:cNvPr>
            <p:cNvSpPr/>
            <p:nvPr/>
          </p:nvSpPr>
          <p:spPr bwMode="auto">
            <a:xfrm>
              <a:off x="626940"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8" name="Oval 167">
              <a:extLst>
                <a:ext uri="{FF2B5EF4-FFF2-40B4-BE49-F238E27FC236}">
                  <a16:creationId xmlns:a16="http://schemas.microsoft.com/office/drawing/2014/main" id="{BEF030FB-174D-4464-A791-6F3A16AC7604}"/>
                </a:ext>
              </a:extLst>
            </p:cNvPr>
            <p:cNvSpPr/>
            <p:nvPr/>
          </p:nvSpPr>
          <p:spPr bwMode="auto">
            <a:xfrm>
              <a:off x="783451"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9" name="Oval 168">
              <a:extLst>
                <a:ext uri="{FF2B5EF4-FFF2-40B4-BE49-F238E27FC236}">
                  <a16:creationId xmlns:a16="http://schemas.microsoft.com/office/drawing/2014/main" id="{8C5185E2-7788-4615-902F-487CE9225D20}"/>
                </a:ext>
              </a:extLst>
            </p:cNvPr>
            <p:cNvSpPr/>
            <p:nvPr/>
          </p:nvSpPr>
          <p:spPr bwMode="auto">
            <a:xfrm rot="5400000">
              <a:off x="470004"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0" name="Oval 169">
              <a:extLst>
                <a:ext uri="{FF2B5EF4-FFF2-40B4-BE49-F238E27FC236}">
                  <a16:creationId xmlns:a16="http://schemas.microsoft.com/office/drawing/2014/main" id="{2ED3B237-E2E3-44EB-B93C-CE0E87AF477F}"/>
                </a:ext>
              </a:extLst>
            </p:cNvPr>
            <p:cNvSpPr/>
            <p:nvPr/>
          </p:nvSpPr>
          <p:spPr bwMode="auto">
            <a:xfrm rot="5400000">
              <a:off x="548645"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1" name="Oval 170">
              <a:extLst>
                <a:ext uri="{FF2B5EF4-FFF2-40B4-BE49-F238E27FC236}">
                  <a16:creationId xmlns:a16="http://schemas.microsoft.com/office/drawing/2014/main" id="{E7FB2633-982C-42D6-887A-02ED47FD5D99}"/>
                </a:ext>
              </a:extLst>
            </p:cNvPr>
            <p:cNvSpPr/>
            <p:nvPr/>
          </p:nvSpPr>
          <p:spPr bwMode="auto">
            <a:xfrm rot="5400000">
              <a:off x="391364"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2" name="Oval 171">
              <a:extLst>
                <a:ext uri="{FF2B5EF4-FFF2-40B4-BE49-F238E27FC236}">
                  <a16:creationId xmlns:a16="http://schemas.microsoft.com/office/drawing/2014/main" id="{75AB4E76-D06E-4765-BD70-DF5146368855}"/>
                </a:ext>
              </a:extLst>
            </p:cNvPr>
            <p:cNvSpPr/>
            <p:nvPr/>
          </p:nvSpPr>
          <p:spPr bwMode="auto">
            <a:xfrm rot="5400000">
              <a:off x="234854"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3" name="Oval 172">
              <a:extLst>
                <a:ext uri="{FF2B5EF4-FFF2-40B4-BE49-F238E27FC236}">
                  <a16:creationId xmlns:a16="http://schemas.microsoft.com/office/drawing/2014/main" id="{15801143-951D-4D31-BF61-F4FE92727CE1}"/>
                </a:ext>
              </a:extLst>
            </p:cNvPr>
            <p:cNvSpPr/>
            <p:nvPr/>
          </p:nvSpPr>
          <p:spPr bwMode="auto">
            <a:xfrm rot="5400000">
              <a:off x="313109"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4" name="Oval 173">
              <a:extLst>
                <a:ext uri="{FF2B5EF4-FFF2-40B4-BE49-F238E27FC236}">
                  <a16:creationId xmlns:a16="http://schemas.microsoft.com/office/drawing/2014/main" id="{FCDDA4EB-7266-4349-95C4-8B5FF4C57F56}"/>
                </a:ext>
              </a:extLst>
            </p:cNvPr>
            <p:cNvSpPr/>
            <p:nvPr/>
          </p:nvSpPr>
          <p:spPr bwMode="auto">
            <a:xfrm rot="16200000">
              <a:off x="940306" y="18475905"/>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5" name="Oval 174">
              <a:extLst>
                <a:ext uri="{FF2B5EF4-FFF2-40B4-BE49-F238E27FC236}">
                  <a16:creationId xmlns:a16="http://schemas.microsoft.com/office/drawing/2014/main" id="{C7B0D4BC-3763-4220-956D-1B1C27E243B3}"/>
                </a:ext>
              </a:extLst>
            </p:cNvPr>
            <p:cNvSpPr/>
            <p:nvPr/>
          </p:nvSpPr>
          <p:spPr bwMode="auto">
            <a:xfrm rot="16200000">
              <a:off x="1018946" y="18475905"/>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6" name="Oval 175">
              <a:extLst>
                <a:ext uri="{FF2B5EF4-FFF2-40B4-BE49-F238E27FC236}">
                  <a16:creationId xmlns:a16="http://schemas.microsoft.com/office/drawing/2014/main" id="{BFADDDFF-C988-4C03-B3F6-EC1E8C36CF27}"/>
                </a:ext>
              </a:extLst>
            </p:cNvPr>
            <p:cNvSpPr/>
            <p:nvPr/>
          </p:nvSpPr>
          <p:spPr bwMode="auto">
            <a:xfrm rot="16200000">
              <a:off x="861666"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7" name="Oval 176">
              <a:extLst>
                <a:ext uri="{FF2B5EF4-FFF2-40B4-BE49-F238E27FC236}">
                  <a16:creationId xmlns:a16="http://schemas.microsoft.com/office/drawing/2014/main" id="{13397C79-7D4A-4B98-B63E-E35D740B3AE6}"/>
                </a:ext>
              </a:extLst>
            </p:cNvPr>
            <p:cNvSpPr/>
            <p:nvPr/>
          </p:nvSpPr>
          <p:spPr bwMode="auto">
            <a:xfrm rot="10800000">
              <a:off x="1175498"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8" name="Oval 177">
              <a:extLst>
                <a:ext uri="{FF2B5EF4-FFF2-40B4-BE49-F238E27FC236}">
                  <a16:creationId xmlns:a16="http://schemas.microsoft.com/office/drawing/2014/main" id="{5EDCCC9E-602D-4E9B-BC3A-73F95DDF24FD}"/>
                </a:ext>
              </a:extLst>
            </p:cNvPr>
            <p:cNvSpPr/>
            <p:nvPr/>
          </p:nvSpPr>
          <p:spPr bwMode="auto">
            <a:xfrm>
              <a:off x="1097242" y="18475865"/>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9" name="Oval 178">
              <a:extLst>
                <a:ext uri="{FF2B5EF4-FFF2-40B4-BE49-F238E27FC236}">
                  <a16:creationId xmlns:a16="http://schemas.microsoft.com/office/drawing/2014/main" id="{4EDC0A44-6000-4296-A091-E03B8C65EAAD}"/>
                </a:ext>
              </a:extLst>
            </p:cNvPr>
            <p:cNvSpPr/>
            <p:nvPr/>
          </p:nvSpPr>
          <p:spPr bwMode="auto">
            <a:xfrm rot="10800000">
              <a:off x="783451" y="18005604"/>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0" name="Oval 179">
              <a:extLst>
                <a:ext uri="{FF2B5EF4-FFF2-40B4-BE49-F238E27FC236}">
                  <a16:creationId xmlns:a16="http://schemas.microsoft.com/office/drawing/2014/main" id="{ADCE27C6-73C3-469C-A2DA-EEFF42D39CFE}"/>
                </a:ext>
              </a:extLst>
            </p:cNvPr>
            <p:cNvSpPr/>
            <p:nvPr/>
          </p:nvSpPr>
          <p:spPr bwMode="auto">
            <a:xfrm rot="5400000">
              <a:off x="94030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1" name="Oval 180">
              <a:extLst>
                <a:ext uri="{FF2B5EF4-FFF2-40B4-BE49-F238E27FC236}">
                  <a16:creationId xmlns:a16="http://schemas.microsoft.com/office/drawing/2014/main" id="{6ABD8C4C-5266-477D-883C-E585DB9B47D3}"/>
                </a:ext>
              </a:extLst>
            </p:cNvPr>
            <p:cNvSpPr/>
            <p:nvPr/>
          </p:nvSpPr>
          <p:spPr bwMode="auto">
            <a:xfrm rot="5400000">
              <a:off x="101894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2" name="Oval 181">
              <a:extLst>
                <a:ext uri="{FF2B5EF4-FFF2-40B4-BE49-F238E27FC236}">
                  <a16:creationId xmlns:a16="http://schemas.microsoft.com/office/drawing/2014/main" id="{FB24510B-4FDE-444D-89FB-B9DB1145862B}"/>
                </a:ext>
              </a:extLst>
            </p:cNvPr>
            <p:cNvSpPr/>
            <p:nvPr/>
          </p:nvSpPr>
          <p:spPr bwMode="auto">
            <a:xfrm rot="5400000">
              <a:off x="861666" y="18005644"/>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3" name="Oval 182">
              <a:extLst>
                <a:ext uri="{FF2B5EF4-FFF2-40B4-BE49-F238E27FC236}">
                  <a16:creationId xmlns:a16="http://schemas.microsoft.com/office/drawing/2014/main" id="{94E11B7C-5F53-46D2-A1B0-AA6F1F6EFEB8}"/>
                </a:ext>
              </a:extLst>
            </p:cNvPr>
            <p:cNvSpPr/>
            <p:nvPr/>
          </p:nvSpPr>
          <p:spPr bwMode="auto">
            <a:xfrm rot="10800000">
              <a:off x="1175498" y="18005604"/>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4" name="Oval 183">
              <a:extLst>
                <a:ext uri="{FF2B5EF4-FFF2-40B4-BE49-F238E27FC236}">
                  <a16:creationId xmlns:a16="http://schemas.microsoft.com/office/drawing/2014/main" id="{4724FCD2-F4AB-4726-9C6C-B7CB63ADD400}"/>
                </a:ext>
              </a:extLst>
            </p:cNvPr>
            <p:cNvSpPr/>
            <p:nvPr/>
          </p:nvSpPr>
          <p:spPr bwMode="auto">
            <a:xfrm>
              <a:off x="1097242" y="18005604"/>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5" name="Oval 184">
              <a:extLst>
                <a:ext uri="{FF2B5EF4-FFF2-40B4-BE49-F238E27FC236}">
                  <a16:creationId xmlns:a16="http://schemas.microsoft.com/office/drawing/2014/main" id="{1C27EECC-F8E8-445D-BE39-6736F158C65B}"/>
                </a:ext>
              </a:extLst>
            </p:cNvPr>
            <p:cNvSpPr/>
            <p:nvPr/>
          </p:nvSpPr>
          <p:spPr bwMode="auto">
            <a:xfrm rot="10800000">
              <a:off x="783451" y="17927356"/>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6" name="Oval 185">
              <a:extLst>
                <a:ext uri="{FF2B5EF4-FFF2-40B4-BE49-F238E27FC236}">
                  <a16:creationId xmlns:a16="http://schemas.microsoft.com/office/drawing/2014/main" id="{219D4E89-A698-4F55-B4B9-4A10F6E318AB}"/>
                </a:ext>
              </a:extLst>
            </p:cNvPr>
            <p:cNvSpPr/>
            <p:nvPr/>
          </p:nvSpPr>
          <p:spPr bwMode="auto">
            <a:xfrm rot="5400000">
              <a:off x="94030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7" name="Oval 186">
              <a:extLst>
                <a:ext uri="{FF2B5EF4-FFF2-40B4-BE49-F238E27FC236}">
                  <a16:creationId xmlns:a16="http://schemas.microsoft.com/office/drawing/2014/main" id="{DE6F09E6-0472-4756-A8AE-336BF25E943D}"/>
                </a:ext>
              </a:extLst>
            </p:cNvPr>
            <p:cNvSpPr/>
            <p:nvPr/>
          </p:nvSpPr>
          <p:spPr bwMode="auto">
            <a:xfrm rot="5400000">
              <a:off x="101894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8" name="Oval 187">
              <a:extLst>
                <a:ext uri="{FF2B5EF4-FFF2-40B4-BE49-F238E27FC236}">
                  <a16:creationId xmlns:a16="http://schemas.microsoft.com/office/drawing/2014/main" id="{A39EA3D9-C002-42D1-AB15-68DC5367A4C0}"/>
                </a:ext>
              </a:extLst>
            </p:cNvPr>
            <p:cNvSpPr/>
            <p:nvPr/>
          </p:nvSpPr>
          <p:spPr bwMode="auto">
            <a:xfrm rot="5400000">
              <a:off x="86166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9" name="Oval 188">
              <a:extLst>
                <a:ext uri="{FF2B5EF4-FFF2-40B4-BE49-F238E27FC236}">
                  <a16:creationId xmlns:a16="http://schemas.microsoft.com/office/drawing/2014/main" id="{FD918D47-C1E5-46E4-A37C-990B3EE86ED9}"/>
                </a:ext>
              </a:extLst>
            </p:cNvPr>
            <p:cNvSpPr/>
            <p:nvPr/>
          </p:nvSpPr>
          <p:spPr bwMode="auto">
            <a:xfrm rot="5400000">
              <a:off x="1175457"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0" name="Oval 189">
              <a:extLst>
                <a:ext uri="{FF2B5EF4-FFF2-40B4-BE49-F238E27FC236}">
                  <a16:creationId xmlns:a16="http://schemas.microsoft.com/office/drawing/2014/main" id="{E0772102-BBEE-4E99-9E4E-08DAACEB9E78}"/>
                </a:ext>
              </a:extLst>
            </p:cNvPr>
            <p:cNvSpPr/>
            <p:nvPr/>
          </p:nvSpPr>
          <p:spPr bwMode="auto">
            <a:xfrm rot="5400000">
              <a:off x="1097202"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1" name="Oval 190">
              <a:extLst>
                <a:ext uri="{FF2B5EF4-FFF2-40B4-BE49-F238E27FC236}">
                  <a16:creationId xmlns:a16="http://schemas.microsoft.com/office/drawing/2014/main" id="{D8166261-6C4E-4E4E-A360-C7AAC28C1518}"/>
                </a:ext>
              </a:extLst>
            </p:cNvPr>
            <p:cNvSpPr/>
            <p:nvPr/>
          </p:nvSpPr>
          <p:spPr bwMode="auto">
            <a:xfrm rot="10800000">
              <a:off x="783451" y="1784910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2" name="Oval 191">
              <a:extLst>
                <a:ext uri="{FF2B5EF4-FFF2-40B4-BE49-F238E27FC236}">
                  <a16:creationId xmlns:a16="http://schemas.microsoft.com/office/drawing/2014/main" id="{6BEA727C-2665-4964-B944-440B1BD95CCC}"/>
                </a:ext>
              </a:extLst>
            </p:cNvPr>
            <p:cNvSpPr/>
            <p:nvPr/>
          </p:nvSpPr>
          <p:spPr bwMode="auto">
            <a:xfrm rot="5400000">
              <a:off x="940306"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3" name="Oval 192">
              <a:extLst>
                <a:ext uri="{FF2B5EF4-FFF2-40B4-BE49-F238E27FC236}">
                  <a16:creationId xmlns:a16="http://schemas.microsoft.com/office/drawing/2014/main" id="{3DFD4099-AAD0-4136-BCE8-9EDB688E2AD9}"/>
                </a:ext>
              </a:extLst>
            </p:cNvPr>
            <p:cNvSpPr/>
            <p:nvPr/>
          </p:nvSpPr>
          <p:spPr bwMode="auto">
            <a:xfrm rot="5400000">
              <a:off x="1018946"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4" name="Oval 193">
              <a:extLst>
                <a:ext uri="{FF2B5EF4-FFF2-40B4-BE49-F238E27FC236}">
                  <a16:creationId xmlns:a16="http://schemas.microsoft.com/office/drawing/2014/main" id="{BFB7D25D-FE39-417A-AB0B-DBE15BB83268}"/>
                </a:ext>
              </a:extLst>
            </p:cNvPr>
            <p:cNvSpPr/>
            <p:nvPr/>
          </p:nvSpPr>
          <p:spPr bwMode="auto">
            <a:xfrm rot="5400000">
              <a:off x="861666"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5" name="Oval 194">
              <a:extLst>
                <a:ext uri="{FF2B5EF4-FFF2-40B4-BE49-F238E27FC236}">
                  <a16:creationId xmlns:a16="http://schemas.microsoft.com/office/drawing/2014/main" id="{AFEBAF8D-C188-4EBF-BE26-F248414CE8E2}"/>
                </a:ext>
              </a:extLst>
            </p:cNvPr>
            <p:cNvSpPr/>
            <p:nvPr/>
          </p:nvSpPr>
          <p:spPr bwMode="auto">
            <a:xfrm rot="5400000">
              <a:off x="1175457"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6" name="Oval 195">
              <a:extLst>
                <a:ext uri="{FF2B5EF4-FFF2-40B4-BE49-F238E27FC236}">
                  <a16:creationId xmlns:a16="http://schemas.microsoft.com/office/drawing/2014/main" id="{DB1DB056-691D-4535-8FE5-7BD39B526321}"/>
                </a:ext>
              </a:extLst>
            </p:cNvPr>
            <p:cNvSpPr/>
            <p:nvPr/>
          </p:nvSpPr>
          <p:spPr bwMode="auto">
            <a:xfrm rot="5400000">
              <a:off x="1097202"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7" name="Oval 196">
              <a:extLst>
                <a:ext uri="{FF2B5EF4-FFF2-40B4-BE49-F238E27FC236}">
                  <a16:creationId xmlns:a16="http://schemas.microsoft.com/office/drawing/2014/main" id="{DA4E3C9A-74D9-4F5B-86D9-8D13AD8A7976}"/>
                </a:ext>
              </a:extLst>
            </p:cNvPr>
            <p:cNvSpPr/>
            <p:nvPr/>
          </p:nvSpPr>
          <p:spPr bwMode="auto">
            <a:xfrm rot="10800000">
              <a:off x="783451" y="1777047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8" name="Oval 197">
              <a:extLst>
                <a:ext uri="{FF2B5EF4-FFF2-40B4-BE49-F238E27FC236}">
                  <a16:creationId xmlns:a16="http://schemas.microsoft.com/office/drawing/2014/main" id="{AFF8ADAF-D0AE-4FFF-B63A-E5229B209D23}"/>
                </a:ext>
              </a:extLst>
            </p:cNvPr>
            <p:cNvSpPr/>
            <p:nvPr/>
          </p:nvSpPr>
          <p:spPr bwMode="auto">
            <a:xfrm rot="5400000">
              <a:off x="939919" y="17770128"/>
              <a:ext cx="20371" cy="2028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9" name="Oval 198">
              <a:extLst>
                <a:ext uri="{FF2B5EF4-FFF2-40B4-BE49-F238E27FC236}">
                  <a16:creationId xmlns:a16="http://schemas.microsoft.com/office/drawing/2014/main" id="{7FAA63C2-A909-49F5-9264-433AD123958F}"/>
                </a:ext>
              </a:extLst>
            </p:cNvPr>
            <p:cNvSpPr/>
            <p:nvPr/>
          </p:nvSpPr>
          <p:spPr bwMode="auto">
            <a:xfrm rot="5400000">
              <a:off x="1018946"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0" name="Oval 199">
              <a:extLst>
                <a:ext uri="{FF2B5EF4-FFF2-40B4-BE49-F238E27FC236}">
                  <a16:creationId xmlns:a16="http://schemas.microsoft.com/office/drawing/2014/main" id="{2EC836C9-4519-4D5B-8197-55FF7BDCDCEE}"/>
                </a:ext>
              </a:extLst>
            </p:cNvPr>
            <p:cNvSpPr/>
            <p:nvPr/>
          </p:nvSpPr>
          <p:spPr bwMode="auto">
            <a:xfrm rot="5400000">
              <a:off x="861666"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1" name="Oval 200">
              <a:extLst>
                <a:ext uri="{FF2B5EF4-FFF2-40B4-BE49-F238E27FC236}">
                  <a16:creationId xmlns:a16="http://schemas.microsoft.com/office/drawing/2014/main" id="{BA2FA470-8088-42F8-ACC9-79B4E51ED164}"/>
                </a:ext>
              </a:extLst>
            </p:cNvPr>
            <p:cNvSpPr/>
            <p:nvPr/>
          </p:nvSpPr>
          <p:spPr bwMode="auto">
            <a:xfrm rot="5400000">
              <a:off x="1175457"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2" name="Oval 201">
              <a:extLst>
                <a:ext uri="{FF2B5EF4-FFF2-40B4-BE49-F238E27FC236}">
                  <a16:creationId xmlns:a16="http://schemas.microsoft.com/office/drawing/2014/main" id="{80AF05F2-ADEE-45FD-BC3D-697469FC4864}"/>
                </a:ext>
              </a:extLst>
            </p:cNvPr>
            <p:cNvSpPr/>
            <p:nvPr/>
          </p:nvSpPr>
          <p:spPr bwMode="auto">
            <a:xfrm rot="5400000">
              <a:off x="1097202"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3" name="Oval 202">
              <a:extLst>
                <a:ext uri="{FF2B5EF4-FFF2-40B4-BE49-F238E27FC236}">
                  <a16:creationId xmlns:a16="http://schemas.microsoft.com/office/drawing/2014/main" id="{DD7D95E8-9281-426C-824E-EDD3711A0CAA}"/>
                </a:ext>
              </a:extLst>
            </p:cNvPr>
            <p:cNvSpPr/>
            <p:nvPr/>
          </p:nvSpPr>
          <p:spPr bwMode="auto">
            <a:xfrm rot="10800000">
              <a:off x="783451" y="1769183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4" name="Oval 203">
              <a:extLst>
                <a:ext uri="{FF2B5EF4-FFF2-40B4-BE49-F238E27FC236}">
                  <a16:creationId xmlns:a16="http://schemas.microsoft.com/office/drawing/2014/main" id="{44A71646-5B38-4FB6-A0A9-39B9DF86A4A3}"/>
                </a:ext>
              </a:extLst>
            </p:cNvPr>
            <p:cNvSpPr/>
            <p:nvPr/>
          </p:nvSpPr>
          <p:spPr bwMode="auto">
            <a:xfrm rot="5400000">
              <a:off x="940306"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5" name="Oval 204">
              <a:extLst>
                <a:ext uri="{FF2B5EF4-FFF2-40B4-BE49-F238E27FC236}">
                  <a16:creationId xmlns:a16="http://schemas.microsoft.com/office/drawing/2014/main" id="{FE3927D5-AA56-4E4D-8321-C5818DA8404C}"/>
                </a:ext>
              </a:extLst>
            </p:cNvPr>
            <p:cNvSpPr/>
            <p:nvPr/>
          </p:nvSpPr>
          <p:spPr bwMode="auto">
            <a:xfrm rot="5400000">
              <a:off x="1018946"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6" name="Oval 205">
              <a:extLst>
                <a:ext uri="{FF2B5EF4-FFF2-40B4-BE49-F238E27FC236}">
                  <a16:creationId xmlns:a16="http://schemas.microsoft.com/office/drawing/2014/main" id="{698C71F6-BC27-41A2-AF74-3209439AAA3C}"/>
                </a:ext>
              </a:extLst>
            </p:cNvPr>
            <p:cNvSpPr/>
            <p:nvPr/>
          </p:nvSpPr>
          <p:spPr bwMode="auto">
            <a:xfrm rot="5400000">
              <a:off x="861666"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7" name="Oval 206">
              <a:extLst>
                <a:ext uri="{FF2B5EF4-FFF2-40B4-BE49-F238E27FC236}">
                  <a16:creationId xmlns:a16="http://schemas.microsoft.com/office/drawing/2014/main" id="{1745C772-2F34-4C90-AB64-E21687EBE67E}"/>
                </a:ext>
              </a:extLst>
            </p:cNvPr>
            <p:cNvSpPr/>
            <p:nvPr/>
          </p:nvSpPr>
          <p:spPr bwMode="auto">
            <a:xfrm rot="5400000">
              <a:off x="1175457"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8" name="Oval 207">
              <a:extLst>
                <a:ext uri="{FF2B5EF4-FFF2-40B4-BE49-F238E27FC236}">
                  <a16:creationId xmlns:a16="http://schemas.microsoft.com/office/drawing/2014/main" id="{FA27A863-B105-4F3E-8B09-72146248A743}"/>
                </a:ext>
              </a:extLst>
            </p:cNvPr>
            <p:cNvSpPr/>
            <p:nvPr/>
          </p:nvSpPr>
          <p:spPr bwMode="auto">
            <a:xfrm rot="5400000">
              <a:off x="1097202"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9" name="Oval 208">
              <a:extLst>
                <a:ext uri="{FF2B5EF4-FFF2-40B4-BE49-F238E27FC236}">
                  <a16:creationId xmlns:a16="http://schemas.microsoft.com/office/drawing/2014/main" id="{52844BD2-5395-42DE-B8D9-96BA4A85D863}"/>
                </a:ext>
              </a:extLst>
            </p:cNvPr>
            <p:cNvSpPr/>
            <p:nvPr/>
          </p:nvSpPr>
          <p:spPr bwMode="auto">
            <a:xfrm rot="10800000">
              <a:off x="783451" y="1761359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0" name="Oval 209">
              <a:extLst>
                <a:ext uri="{FF2B5EF4-FFF2-40B4-BE49-F238E27FC236}">
                  <a16:creationId xmlns:a16="http://schemas.microsoft.com/office/drawing/2014/main" id="{346FF3C0-7255-4645-9C94-41FCB3D24857}"/>
                </a:ext>
              </a:extLst>
            </p:cNvPr>
            <p:cNvSpPr/>
            <p:nvPr/>
          </p:nvSpPr>
          <p:spPr bwMode="auto">
            <a:xfrm rot="5400000">
              <a:off x="940306"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1" name="Oval 210">
              <a:extLst>
                <a:ext uri="{FF2B5EF4-FFF2-40B4-BE49-F238E27FC236}">
                  <a16:creationId xmlns:a16="http://schemas.microsoft.com/office/drawing/2014/main" id="{D6AB44B8-478D-48E8-9D3A-121464B06B98}"/>
                </a:ext>
              </a:extLst>
            </p:cNvPr>
            <p:cNvSpPr/>
            <p:nvPr/>
          </p:nvSpPr>
          <p:spPr bwMode="auto">
            <a:xfrm rot="5400000">
              <a:off x="1018946"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2" name="Oval 211">
              <a:extLst>
                <a:ext uri="{FF2B5EF4-FFF2-40B4-BE49-F238E27FC236}">
                  <a16:creationId xmlns:a16="http://schemas.microsoft.com/office/drawing/2014/main" id="{FC846D49-658E-4CB0-8064-F9C955E6A99B}"/>
                </a:ext>
              </a:extLst>
            </p:cNvPr>
            <p:cNvSpPr/>
            <p:nvPr/>
          </p:nvSpPr>
          <p:spPr bwMode="auto">
            <a:xfrm rot="5400000">
              <a:off x="861666"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3" name="Oval 212">
              <a:extLst>
                <a:ext uri="{FF2B5EF4-FFF2-40B4-BE49-F238E27FC236}">
                  <a16:creationId xmlns:a16="http://schemas.microsoft.com/office/drawing/2014/main" id="{698C9CD7-A81D-4FEC-820A-1D70F2CBFA73}"/>
                </a:ext>
              </a:extLst>
            </p:cNvPr>
            <p:cNvSpPr/>
            <p:nvPr/>
          </p:nvSpPr>
          <p:spPr bwMode="auto">
            <a:xfrm rot="5400000">
              <a:off x="1175457"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4" name="Oval 213">
              <a:extLst>
                <a:ext uri="{FF2B5EF4-FFF2-40B4-BE49-F238E27FC236}">
                  <a16:creationId xmlns:a16="http://schemas.microsoft.com/office/drawing/2014/main" id="{56ABE105-6317-4A38-8463-AA2920C0D625}"/>
                </a:ext>
              </a:extLst>
            </p:cNvPr>
            <p:cNvSpPr/>
            <p:nvPr/>
          </p:nvSpPr>
          <p:spPr bwMode="auto">
            <a:xfrm rot="5400000">
              <a:off x="1097202"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5" name="Oval 214">
              <a:extLst>
                <a:ext uri="{FF2B5EF4-FFF2-40B4-BE49-F238E27FC236}">
                  <a16:creationId xmlns:a16="http://schemas.microsoft.com/office/drawing/2014/main" id="{2BE76A3D-376E-46AF-AA65-953ACC971AF7}"/>
                </a:ext>
              </a:extLst>
            </p:cNvPr>
            <p:cNvSpPr/>
            <p:nvPr/>
          </p:nvSpPr>
          <p:spPr bwMode="auto">
            <a:xfrm rot="10800000">
              <a:off x="783451"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6" name="Oval 215">
              <a:extLst>
                <a:ext uri="{FF2B5EF4-FFF2-40B4-BE49-F238E27FC236}">
                  <a16:creationId xmlns:a16="http://schemas.microsoft.com/office/drawing/2014/main" id="{1F14C883-ACEA-4864-8B99-2A6910077B3D}"/>
                </a:ext>
              </a:extLst>
            </p:cNvPr>
            <p:cNvSpPr/>
            <p:nvPr/>
          </p:nvSpPr>
          <p:spPr bwMode="auto">
            <a:xfrm rot="5400000">
              <a:off x="940306"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7" name="Oval 216">
              <a:extLst>
                <a:ext uri="{FF2B5EF4-FFF2-40B4-BE49-F238E27FC236}">
                  <a16:creationId xmlns:a16="http://schemas.microsoft.com/office/drawing/2014/main" id="{ED934B36-6A1B-48B0-B33B-5C8797FA077B}"/>
                </a:ext>
              </a:extLst>
            </p:cNvPr>
            <p:cNvSpPr/>
            <p:nvPr/>
          </p:nvSpPr>
          <p:spPr bwMode="auto">
            <a:xfrm rot="5400000">
              <a:off x="1018946"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8" name="Oval 217">
              <a:extLst>
                <a:ext uri="{FF2B5EF4-FFF2-40B4-BE49-F238E27FC236}">
                  <a16:creationId xmlns:a16="http://schemas.microsoft.com/office/drawing/2014/main" id="{CE810C57-944B-4AA3-9C74-FB04D2180952}"/>
                </a:ext>
              </a:extLst>
            </p:cNvPr>
            <p:cNvSpPr/>
            <p:nvPr/>
          </p:nvSpPr>
          <p:spPr bwMode="auto">
            <a:xfrm rot="5400000">
              <a:off x="861666"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9" name="Oval 218">
              <a:extLst>
                <a:ext uri="{FF2B5EF4-FFF2-40B4-BE49-F238E27FC236}">
                  <a16:creationId xmlns:a16="http://schemas.microsoft.com/office/drawing/2014/main" id="{88F9F90C-E8E1-406D-9656-6DE8C49B5C57}"/>
                </a:ext>
              </a:extLst>
            </p:cNvPr>
            <p:cNvSpPr/>
            <p:nvPr/>
          </p:nvSpPr>
          <p:spPr bwMode="auto">
            <a:xfrm rot="5400000">
              <a:off x="1175457"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0" name="Oval 219">
              <a:extLst>
                <a:ext uri="{FF2B5EF4-FFF2-40B4-BE49-F238E27FC236}">
                  <a16:creationId xmlns:a16="http://schemas.microsoft.com/office/drawing/2014/main" id="{1AEEBB1B-6DC0-4A4C-A103-499487107A29}"/>
                </a:ext>
              </a:extLst>
            </p:cNvPr>
            <p:cNvSpPr/>
            <p:nvPr/>
          </p:nvSpPr>
          <p:spPr bwMode="auto">
            <a:xfrm rot="5400000">
              <a:off x="1097202"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1" name="Oval 220">
              <a:extLst>
                <a:ext uri="{FF2B5EF4-FFF2-40B4-BE49-F238E27FC236}">
                  <a16:creationId xmlns:a16="http://schemas.microsoft.com/office/drawing/2014/main" id="{C679CE4A-3E49-466A-B4F0-49979D6CEC43}"/>
                </a:ext>
              </a:extLst>
            </p:cNvPr>
            <p:cNvSpPr/>
            <p:nvPr/>
          </p:nvSpPr>
          <p:spPr bwMode="auto">
            <a:xfrm>
              <a:off x="456561" y="17759376"/>
              <a:ext cx="45720" cy="45720"/>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2" name="Oval 221">
              <a:extLst>
                <a:ext uri="{FF2B5EF4-FFF2-40B4-BE49-F238E27FC236}">
                  <a16:creationId xmlns:a16="http://schemas.microsoft.com/office/drawing/2014/main" id="{51E234B3-2F2E-49C8-8325-AC0DAF92092E}"/>
                </a:ext>
              </a:extLst>
            </p:cNvPr>
            <p:cNvSpPr/>
            <p:nvPr/>
          </p:nvSpPr>
          <p:spPr bwMode="auto">
            <a:xfrm rot="10800000">
              <a:off x="705197" y="1777047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23" name="Oval 222">
              <a:extLst>
                <a:ext uri="{FF2B5EF4-FFF2-40B4-BE49-F238E27FC236}">
                  <a16:creationId xmlns:a16="http://schemas.microsoft.com/office/drawing/2014/main" id="{8D0BFB96-6B54-40BC-BA61-3A97ED52EEFB}"/>
                </a:ext>
              </a:extLst>
            </p:cNvPr>
            <p:cNvSpPr/>
            <p:nvPr/>
          </p:nvSpPr>
          <p:spPr bwMode="auto">
            <a:xfrm rot="10800000">
              <a:off x="626942" y="17770472"/>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24" name="Oval 223">
              <a:extLst>
                <a:ext uri="{FF2B5EF4-FFF2-40B4-BE49-F238E27FC236}">
                  <a16:creationId xmlns:a16="http://schemas.microsoft.com/office/drawing/2014/main" id="{1B245D4F-F8BA-472D-86AE-07B238F08258}"/>
                </a:ext>
              </a:extLst>
            </p:cNvPr>
            <p:cNvSpPr/>
            <p:nvPr/>
          </p:nvSpPr>
          <p:spPr bwMode="auto">
            <a:xfrm>
              <a:off x="391406" y="17770472"/>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5" name="Oval 224">
              <a:extLst>
                <a:ext uri="{FF2B5EF4-FFF2-40B4-BE49-F238E27FC236}">
                  <a16:creationId xmlns:a16="http://schemas.microsoft.com/office/drawing/2014/main" id="{D6276BD3-F4B8-48FA-B431-F9C9BFF9E57A}"/>
                </a:ext>
              </a:extLst>
            </p:cNvPr>
            <p:cNvSpPr/>
            <p:nvPr/>
          </p:nvSpPr>
          <p:spPr bwMode="auto">
            <a:xfrm rot="10800000">
              <a:off x="548687" y="17770472"/>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6" name="Oval 225">
              <a:extLst>
                <a:ext uri="{FF2B5EF4-FFF2-40B4-BE49-F238E27FC236}">
                  <a16:creationId xmlns:a16="http://schemas.microsoft.com/office/drawing/2014/main" id="{33B50687-8999-41D9-BDDF-211C0E5B28DE}"/>
                </a:ext>
              </a:extLst>
            </p:cNvPr>
            <p:cNvSpPr/>
            <p:nvPr/>
          </p:nvSpPr>
          <p:spPr bwMode="auto">
            <a:xfrm>
              <a:off x="234895" y="17770472"/>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27" name="Oval 226">
              <a:extLst>
                <a:ext uri="{FF2B5EF4-FFF2-40B4-BE49-F238E27FC236}">
                  <a16:creationId xmlns:a16="http://schemas.microsoft.com/office/drawing/2014/main" id="{6990A3A3-3482-4286-BF95-8716DB3DB855}"/>
                </a:ext>
              </a:extLst>
            </p:cNvPr>
            <p:cNvSpPr/>
            <p:nvPr/>
          </p:nvSpPr>
          <p:spPr bwMode="auto">
            <a:xfrm>
              <a:off x="313151" y="17770472"/>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28" name="Oval 227">
              <a:extLst>
                <a:ext uri="{FF2B5EF4-FFF2-40B4-BE49-F238E27FC236}">
                  <a16:creationId xmlns:a16="http://schemas.microsoft.com/office/drawing/2014/main" id="{A90A02CA-1392-4C5C-B730-A14DC626D37C}"/>
                </a:ext>
              </a:extLst>
            </p:cNvPr>
            <p:cNvSpPr/>
            <p:nvPr/>
          </p:nvSpPr>
          <p:spPr bwMode="auto">
            <a:xfrm rot="10800000">
              <a:off x="705197" y="17849107"/>
              <a:ext cx="19516" cy="19597"/>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29" name="Oval 228">
              <a:extLst>
                <a:ext uri="{FF2B5EF4-FFF2-40B4-BE49-F238E27FC236}">
                  <a16:creationId xmlns:a16="http://schemas.microsoft.com/office/drawing/2014/main" id="{021749FE-2F3C-4B9A-9D24-CF7B7AB4C0C0}"/>
                </a:ext>
              </a:extLst>
            </p:cNvPr>
            <p:cNvSpPr/>
            <p:nvPr/>
          </p:nvSpPr>
          <p:spPr bwMode="auto">
            <a:xfrm rot="10800000">
              <a:off x="626942" y="17849107"/>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30" name="Oval 229">
              <a:extLst>
                <a:ext uri="{FF2B5EF4-FFF2-40B4-BE49-F238E27FC236}">
                  <a16:creationId xmlns:a16="http://schemas.microsoft.com/office/drawing/2014/main" id="{0A5D8014-5B14-4C22-B2DB-5437D7F6D1F6}"/>
                </a:ext>
              </a:extLst>
            </p:cNvPr>
            <p:cNvSpPr/>
            <p:nvPr/>
          </p:nvSpPr>
          <p:spPr bwMode="auto">
            <a:xfrm rot="16200000">
              <a:off x="470006" y="17849148"/>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1" name="Oval 230">
              <a:extLst>
                <a:ext uri="{FF2B5EF4-FFF2-40B4-BE49-F238E27FC236}">
                  <a16:creationId xmlns:a16="http://schemas.microsoft.com/office/drawing/2014/main" id="{42201DD9-3B09-4E1B-AC40-4BD00CB16D98}"/>
                </a:ext>
              </a:extLst>
            </p:cNvPr>
            <p:cNvSpPr/>
            <p:nvPr/>
          </p:nvSpPr>
          <p:spPr bwMode="auto">
            <a:xfrm>
              <a:off x="391406" y="17849107"/>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2" name="Oval 231">
              <a:extLst>
                <a:ext uri="{FF2B5EF4-FFF2-40B4-BE49-F238E27FC236}">
                  <a16:creationId xmlns:a16="http://schemas.microsoft.com/office/drawing/2014/main" id="{216ABFDB-6391-4290-8EA5-AF0C6B280EAB}"/>
                </a:ext>
              </a:extLst>
            </p:cNvPr>
            <p:cNvSpPr/>
            <p:nvPr/>
          </p:nvSpPr>
          <p:spPr bwMode="auto">
            <a:xfrm rot="10800000">
              <a:off x="538641" y="17839308"/>
              <a:ext cx="39033" cy="39194"/>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3" name="Oval 232">
              <a:extLst>
                <a:ext uri="{FF2B5EF4-FFF2-40B4-BE49-F238E27FC236}">
                  <a16:creationId xmlns:a16="http://schemas.microsoft.com/office/drawing/2014/main" id="{6F04513B-317D-4369-84E3-DA45F04D2A2C}"/>
                </a:ext>
              </a:extLst>
            </p:cNvPr>
            <p:cNvSpPr/>
            <p:nvPr/>
          </p:nvSpPr>
          <p:spPr bwMode="auto">
            <a:xfrm>
              <a:off x="234895" y="1784910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34" name="Oval 233">
              <a:extLst>
                <a:ext uri="{FF2B5EF4-FFF2-40B4-BE49-F238E27FC236}">
                  <a16:creationId xmlns:a16="http://schemas.microsoft.com/office/drawing/2014/main" id="{177895D8-2649-4472-99F0-BBB273D0613B}"/>
                </a:ext>
              </a:extLst>
            </p:cNvPr>
            <p:cNvSpPr/>
            <p:nvPr/>
          </p:nvSpPr>
          <p:spPr bwMode="auto">
            <a:xfrm>
              <a:off x="313151" y="17849107"/>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35" name="Oval 234">
              <a:extLst>
                <a:ext uri="{FF2B5EF4-FFF2-40B4-BE49-F238E27FC236}">
                  <a16:creationId xmlns:a16="http://schemas.microsoft.com/office/drawing/2014/main" id="{592E62BC-4010-4154-B5C9-61B85A4BF702}"/>
                </a:ext>
              </a:extLst>
            </p:cNvPr>
            <p:cNvSpPr/>
            <p:nvPr/>
          </p:nvSpPr>
          <p:spPr bwMode="auto">
            <a:xfrm rot="10800000">
              <a:off x="705197" y="1769183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36" name="Oval 235">
              <a:extLst>
                <a:ext uri="{FF2B5EF4-FFF2-40B4-BE49-F238E27FC236}">
                  <a16:creationId xmlns:a16="http://schemas.microsoft.com/office/drawing/2014/main" id="{84E816FA-C91B-4DA5-966F-A45A5B0840B8}"/>
                </a:ext>
              </a:extLst>
            </p:cNvPr>
            <p:cNvSpPr/>
            <p:nvPr/>
          </p:nvSpPr>
          <p:spPr bwMode="auto">
            <a:xfrm rot="10800000">
              <a:off x="626942" y="1769183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37" name="Oval 236">
              <a:extLst>
                <a:ext uri="{FF2B5EF4-FFF2-40B4-BE49-F238E27FC236}">
                  <a16:creationId xmlns:a16="http://schemas.microsoft.com/office/drawing/2014/main" id="{1732232F-960E-4BA2-BD94-B0B9A684E869}"/>
                </a:ext>
              </a:extLst>
            </p:cNvPr>
            <p:cNvSpPr/>
            <p:nvPr/>
          </p:nvSpPr>
          <p:spPr bwMode="auto">
            <a:xfrm rot="5400000">
              <a:off x="470006" y="17691878"/>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8" name="Oval 237">
              <a:extLst>
                <a:ext uri="{FF2B5EF4-FFF2-40B4-BE49-F238E27FC236}">
                  <a16:creationId xmlns:a16="http://schemas.microsoft.com/office/drawing/2014/main" id="{F3E85E22-8BA9-4ECB-A9DD-889ED87D4661}"/>
                </a:ext>
              </a:extLst>
            </p:cNvPr>
            <p:cNvSpPr/>
            <p:nvPr/>
          </p:nvSpPr>
          <p:spPr bwMode="auto">
            <a:xfrm>
              <a:off x="369810" y="17672797"/>
              <a:ext cx="64008" cy="64008"/>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9" name="Oval 238">
              <a:extLst>
                <a:ext uri="{FF2B5EF4-FFF2-40B4-BE49-F238E27FC236}">
                  <a16:creationId xmlns:a16="http://schemas.microsoft.com/office/drawing/2014/main" id="{C9F34EC8-1124-483A-944C-D2C576BE32F5}"/>
                </a:ext>
              </a:extLst>
            </p:cNvPr>
            <p:cNvSpPr/>
            <p:nvPr/>
          </p:nvSpPr>
          <p:spPr bwMode="auto">
            <a:xfrm rot="10800000">
              <a:off x="548687" y="17691837"/>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0" name="Oval 239">
              <a:extLst>
                <a:ext uri="{FF2B5EF4-FFF2-40B4-BE49-F238E27FC236}">
                  <a16:creationId xmlns:a16="http://schemas.microsoft.com/office/drawing/2014/main" id="{66E5921A-8F91-44BE-B572-4E74981EDD3D}"/>
                </a:ext>
              </a:extLst>
            </p:cNvPr>
            <p:cNvSpPr/>
            <p:nvPr/>
          </p:nvSpPr>
          <p:spPr bwMode="auto">
            <a:xfrm>
              <a:off x="234895" y="1769183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41" name="Oval 240">
              <a:extLst>
                <a:ext uri="{FF2B5EF4-FFF2-40B4-BE49-F238E27FC236}">
                  <a16:creationId xmlns:a16="http://schemas.microsoft.com/office/drawing/2014/main" id="{23F1865E-76EA-4BF3-A014-7230D8919DE1}"/>
                </a:ext>
              </a:extLst>
            </p:cNvPr>
            <p:cNvSpPr/>
            <p:nvPr/>
          </p:nvSpPr>
          <p:spPr bwMode="auto">
            <a:xfrm>
              <a:off x="313151" y="17691837"/>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42" name="Oval 241">
              <a:extLst>
                <a:ext uri="{FF2B5EF4-FFF2-40B4-BE49-F238E27FC236}">
                  <a16:creationId xmlns:a16="http://schemas.microsoft.com/office/drawing/2014/main" id="{DB20D3D6-F896-42F8-BF4C-E71C60B48ACC}"/>
                </a:ext>
              </a:extLst>
            </p:cNvPr>
            <p:cNvSpPr/>
            <p:nvPr/>
          </p:nvSpPr>
          <p:spPr bwMode="auto">
            <a:xfrm rot="16200000">
              <a:off x="705157"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3" name="Oval 242">
              <a:extLst>
                <a:ext uri="{FF2B5EF4-FFF2-40B4-BE49-F238E27FC236}">
                  <a16:creationId xmlns:a16="http://schemas.microsoft.com/office/drawing/2014/main" id="{DD00036A-ACC8-410D-A02D-B8E31D2FDED7}"/>
                </a:ext>
              </a:extLst>
            </p:cNvPr>
            <p:cNvSpPr/>
            <p:nvPr/>
          </p:nvSpPr>
          <p:spPr bwMode="auto">
            <a:xfrm rot="16200000">
              <a:off x="621474" y="17923059"/>
              <a:ext cx="28307" cy="28190"/>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44" name="Oval 243">
              <a:extLst>
                <a:ext uri="{FF2B5EF4-FFF2-40B4-BE49-F238E27FC236}">
                  <a16:creationId xmlns:a16="http://schemas.microsoft.com/office/drawing/2014/main" id="{795BF5F7-B13C-4D8A-B721-99674E65C683}"/>
                </a:ext>
              </a:extLst>
            </p:cNvPr>
            <p:cNvSpPr/>
            <p:nvPr/>
          </p:nvSpPr>
          <p:spPr bwMode="auto">
            <a:xfrm rot="16200000">
              <a:off x="470006" y="17927396"/>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45" name="Oval 244">
              <a:extLst>
                <a:ext uri="{FF2B5EF4-FFF2-40B4-BE49-F238E27FC236}">
                  <a16:creationId xmlns:a16="http://schemas.microsoft.com/office/drawing/2014/main" id="{102B6848-9988-4871-BD0B-315FC11A26A3}"/>
                </a:ext>
              </a:extLst>
            </p:cNvPr>
            <p:cNvSpPr/>
            <p:nvPr/>
          </p:nvSpPr>
          <p:spPr bwMode="auto">
            <a:xfrm rot="16200000">
              <a:off x="39136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46" name="Oval 245">
              <a:extLst>
                <a:ext uri="{FF2B5EF4-FFF2-40B4-BE49-F238E27FC236}">
                  <a16:creationId xmlns:a16="http://schemas.microsoft.com/office/drawing/2014/main" id="{0F8D9177-0D4E-48FC-B5B2-23D7AC94E386}"/>
                </a:ext>
              </a:extLst>
            </p:cNvPr>
            <p:cNvSpPr/>
            <p:nvPr/>
          </p:nvSpPr>
          <p:spPr bwMode="auto">
            <a:xfrm rot="16200000">
              <a:off x="548646" y="17927396"/>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47" name="Oval 246">
              <a:extLst>
                <a:ext uri="{FF2B5EF4-FFF2-40B4-BE49-F238E27FC236}">
                  <a16:creationId xmlns:a16="http://schemas.microsoft.com/office/drawing/2014/main" id="{DAFC04D1-9A1C-42AC-AF08-043EEE4EFEFB}"/>
                </a:ext>
              </a:extLst>
            </p:cNvPr>
            <p:cNvSpPr/>
            <p:nvPr/>
          </p:nvSpPr>
          <p:spPr bwMode="auto">
            <a:xfrm>
              <a:off x="234895" y="1792735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8" name="Oval 247">
              <a:extLst>
                <a:ext uri="{FF2B5EF4-FFF2-40B4-BE49-F238E27FC236}">
                  <a16:creationId xmlns:a16="http://schemas.microsoft.com/office/drawing/2014/main" id="{23011118-5929-4E77-A7F2-99EEE6B5BFCD}"/>
                </a:ext>
              </a:extLst>
            </p:cNvPr>
            <p:cNvSpPr/>
            <p:nvPr/>
          </p:nvSpPr>
          <p:spPr bwMode="auto">
            <a:xfrm>
              <a:off x="313151" y="1792735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49" name="Oval 248">
              <a:extLst>
                <a:ext uri="{FF2B5EF4-FFF2-40B4-BE49-F238E27FC236}">
                  <a16:creationId xmlns:a16="http://schemas.microsoft.com/office/drawing/2014/main" id="{153C003D-977B-4A7F-837E-30C112DA042D}"/>
                </a:ext>
              </a:extLst>
            </p:cNvPr>
            <p:cNvSpPr/>
            <p:nvPr/>
          </p:nvSpPr>
          <p:spPr bwMode="auto">
            <a:xfrm rot="10800000">
              <a:off x="705197" y="17613589"/>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0" name="Oval 249">
              <a:extLst>
                <a:ext uri="{FF2B5EF4-FFF2-40B4-BE49-F238E27FC236}">
                  <a16:creationId xmlns:a16="http://schemas.microsoft.com/office/drawing/2014/main" id="{77CC43AA-6968-420B-94F6-C380A6CF6ED1}"/>
                </a:ext>
              </a:extLst>
            </p:cNvPr>
            <p:cNvSpPr/>
            <p:nvPr/>
          </p:nvSpPr>
          <p:spPr bwMode="auto">
            <a:xfrm rot="10800000">
              <a:off x="626942" y="17613589"/>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51" name="Oval 250">
              <a:extLst>
                <a:ext uri="{FF2B5EF4-FFF2-40B4-BE49-F238E27FC236}">
                  <a16:creationId xmlns:a16="http://schemas.microsoft.com/office/drawing/2014/main" id="{59818744-DDA5-451A-B866-89863DAB526C}"/>
                </a:ext>
              </a:extLst>
            </p:cNvPr>
            <p:cNvSpPr/>
            <p:nvPr/>
          </p:nvSpPr>
          <p:spPr bwMode="auto">
            <a:xfrm rot="5400000">
              <a:off x="470006" y="17613630"/>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52" name="Oval 251">
              <a:extLst>
                <a:ext uri="{FF2B5EF4-FFF2-40B4-BE49-F238E27FC236}">
                  <a16:creationId xmlns:a16="http://schemas.microsoft.com/office/drawing/2014/main" id="{58ABF7F8-2795-4466-B9C2-FADD3BB173D8}"/>
                </a:ext>
              </a:extLst>
            </p:cNvPr>
            <p:cNvSpPr/>
            <p:nvPr/>
          </p:nvSpPr>
          <p:spPr bwMode="auto">
            <a:xfrm rot="5400000">
              <a:off x="391366" y="17613630"/>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53" name="Oval 252">
              <a:extLst>
                <a:ext uri="{FF2B5EF4-FFF2-40B4-BE49-F238E27FC236}">
                  <a16:creationId xmlns:a16="http://schemas.microsoft.com/office/drawing/2014/main" id="{131A37AC-E804-4A26-A71F-B81F2FE394D7}"/>
                </a:ext>
              </a:extLst>
            </p:cNvPr>
            <p:cNvSpPr/>
            <p:nvPr/>
          </p:nvSpPr>
          <p:spPr bwMode="auto">
            <a:xfrm rot="5400000">
              <a:off x="548646" y="17613630"/>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54" name="Oval 253">
              <a:extLst>
                <a:ext uri="{FF2B5EF4-FFF2-40B4-BE49-F238E27FC236}">
                  <a16:creationId xmlns:a16="http://schemas.microsoft.com/office/drawing/2014/main" id="{87A6E7EB-A77F-4B14-B792-CDEB53C73609}"/>
                </a:ext>
              </a:extLst>
            </p:cNvPr>
            <p:cNvSpPr/>
            <p:nvPr/>
          </p:nvSpPr>
          <p:spPr bwMode="auto">
            <a:xfrm>
              <a:off x="234895" y="17613589"/>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5" name="Oval 254">
              <a:extLst>
                <a:ext uri="{FF2B5EF4-FFF2-40B4-BE49-F238E27FC236}">
                  <a16:creationId xmlns:a16="http://schemas.microsoft.com/office/drawing/2014/main" id="{4D9B7ECF-9357-453E-84BA-A0FA7953B7EA}"/>
                </a:ext>
              </a:extLst>
            </p:cNvPr>
            <p:cNvSpPr/>
            <p:nvPr/>
          </p:nvSpPr>
          <p:spPr bwMode="auto">
            <a:xfrm>
              <a:off x="313151" y="17613589"/>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56" name="Oval 255">
              <a:extLst>
                <a:ext uri="{FF2B5EF4-FFF2-40B4-BE49-F238E27FC236}">
                  <a16:creationId xmlns:a16="http://schemas.microsoft.com/office/drawing/2014/main" id="{9AA5488F-245C-45FF-8700-202D0AA769B5}"/>
                </a:ext>
              </a:extLst>
            </p:cNvPr>
            <p:cNvSpPr/>
            <p:nvPr/>
          </p:nvSpPr>
          <p:spPr bwMode="auto">
            <a:xfrm rot="10800000">
              <a:off x="705197"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7" name="Oval 256">
              <a:extLst>
                <a:ext uri="{FF2B5EF4-FFF2-40B4-BE49-F238E27FC236}">
                  <a16:creationId xmlns:a16="http://schemas.microsoft.com/office/drawing/2014/main" id="{0FA32196-5616-480D-8FF8-15364873B182}"/>
                </a:ext>
              </a:extLst>
            </p:cNvPr>
            <p:cNvSpPr/>
            <p:nvPr/>
          </p:nvSpPr>
          <p:spPr bwMode="auto">
            <a:xfrm rot="10800000">
              <a:off x="626942"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8" name="Oval 257">
              <a:extLst>
                <a:ext uri="{FF2B5EF4-FFF2-40B4-BE49-F238E27FC236}">
                  <a16:creationId xmlns:a16="http://schemas.microsoft.com/office/drawing/2014/main" id="{A938CE98-B3CA-41E7-A36F-E177CAA9BE9C}"/>
                </a:ext>
              </a:extLst>
            </p:cNvPr>
            <p:cNvSpPr/>
            <p:nvPr/>
          </p:nvSpPr>
          <p:spPr bwMode="auto">
            <a:xfrm rot="5400000">
              <a:off x="470006" y="17535383"/>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59" name="Oval 258">
              <a:extLst>
                <a:ext uri="{FF2B5EF4-FFF2-40B4-BE49-F238E27FC236}">
                  <a16:creationId xmlns:a16="http://schemas.microsoft.com/office/drawing/2014/main" id="{91958131-45CD-4C11-AA51-D3961E535518}"/>
                </a:ext>
              </a:extLst>
            </p:cNvPr>
            <p:cNvSpPr/>
            <p:nvPr/>
          </p:nvSpPr>
          <p:spPr bwMode="auto">
            <a:xfrm rot="5400000">
              <a:off x="391366" y="17535383"/>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60" name="Oval 259">
              <a:extLst>
                <a:ext uri="{FF2B5EF4-FFF2-40B4-BE49-F238E27FC236}">
                  <a16:creationId xmlns:a16="http://schemas.microsoft.com/office/drawing/2014/main" id="{D4510B3D-5FAD-483B-B68F-CA68FBA05E89}"/>
                </a:ext>
              </a:extLst>
            </p:cNvPr>
            <p:cNvSpPr/>
            <p:nvPr/>
          </p:nvSpPr>
          <p:spPr bwMode="auto">
            <a:xfrm rot="5400000">
              <a:off x="548646" y="1753538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61" name="Oval 260">
              <a:extLst>
                <a:ext uri="{FF2B5EF4-FFF2-40B4-BE49-F238E27FC236}">
                  <a16:creationId xmlns:a16="http://schemas.microsoft.com/office/drawing/2014/main" id="{80A282D7-99E0-4943-B20F-723D03D69834}"/>
                </a:ext>
              </a:extLst>
            </p:cNvPr>
            <p:cNvSpPr/>
            <p:nvPr/>
          </p:nvSpPr>
          <p:spPr bwMode="auto">
            <a:xfrm>
              <a:off x="234895"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2" name="Oval 261">
              <a:extLst>
                <a:ext uri="{FF2B5EF4-FFF2-40B4-BE49-F238E27FC236}">
                  <a16:creationId xmlns:a16="http://schemas.microsoft.com/office/drawing/2014/main" id="{5ED776A7-9CB6-4F6B-A2A8-CE336A15F65F}"/>
                </a:ext>
              </a:extLst>
            </p:cNvPr>
            <p:cNvSpPr/>
            <p:nvPr/>
          </p:nvSpPr>
          <p:spPr bwMode="auto">
            <a:xfrm rot="10800000">
              <a:off x="313151" y="17535342"/>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3" name="Oval 262">
              <a:extLst>
                <a:ext uri="{FF2B5EF4-FFF2-40B4-BE49-F238E27FC236}">
                  <a16:creationId xmlns:a16="http://schemas.microsoft.com/office/drawing/2014/main" id="{DE571BD0-8238-4F7D-B13F-832B1702C0BE}"/>
                </a:ext>
              </a:extLst>
            </p:cNvPr>
            <p:cNvSpPr/>
            <p:nvPr/>
          </p:nvSpPr>
          <p:spPr bwMode="auto">
            <a:xfrm>
              <a:off x="703029" y="18003425"/>
              <a:ext cx="23853" cy="23952"/>
            </a:xfrm>
            <a:prstGeom prst="ellipse">
              <a:avLst/>
            </a:prstGeom>
            <a:solidFill>
              <a:srgbClr val="0294D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4" name="Oval 263">
              <a:extLst>
                <a:ext uri="{FF2B5EF4-FFF2-40B4-BE49-F238E27FC236}">
                  <a16:creationId xmlns:a16="http://schemas.microsoft.com/office/drawing/2014/main" id="{D1029609-D270-4C74-BAC4-A2073AE310D3}"/>
                </a:ext>
              </a:extLst>
            </p:cNvPr>
            <p:cNvSpPr/>
            <p:nvPr/>
          </p:nvSpPr>
          <p:spPr bwMode="auto">
            <a:xfrm>
              <a:off x="626942" y="1800560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5" name="Oval 264">
              <a:extLst>
                <a:ext uri="{FF2B5EF4-FFF2-40B4-BE49-F238E27FC236}">
                  <a16:creationId xmlns:a16="http://schemas.microsoft.com/office/drawing/2014/main" id="{CF036E49-4FD4-4768-8580-30AABEDE882C}"/>
                </a:ext>
              </a:extLst>
            </p:cNvPr>
            <p:cNvSpPr/>
            <p:nvPr/>
          </p:nvSpPr>
          <p:spPr bwMode="auto">
            <a:xfrm rot="16200000">
              <a:off x="47000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66" name="Oval 265">
              <a:extLst>
                <a:ext uri="{FF2B5EF4-FFF2-40B4-BE49-F238E27FC236}">
                  <a16:creationId xmlns:a16="http://schemas.microsoft.com/office/drawing/2014/main" id="{CAABA01B-CB4B-4BF5-B390-29DD01ABCB7E}"/>
                </a:ext>
              </a:extLst>
            </p:cNvPr>
            <p:cNvSpPr/>
            <p:nvPr/>
          </p:nvSpPr>
          <p:spPr bwMode="auto">
            <a:xfrm rot="16200000">
              <a:off x="39136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67" name="Oval 266">
              <a:extLst>
                <a:ext uri="{FF2B5EF4-FFF2-40B4-BE49-F238E27FC236}">
                  <a16:creationId xmlns:a16="http://schemas.microsoft.com/office/drawing/2014/main" id="{4004F19B-417E-479C-B342-94CE534E44C7}"/>
                </a:ext>
              </a:extLst>
            </p:cNvPr>
            <p:cNvSpPr/>
            <p:nvPr/>
          </p:nvSpPr>
          <p:spPr bwMode="auto">
            <a:xfrm rot="16200000">
              <a:off x="548646" y="18005644"/>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68" name="Oval 267">
              <a:extLst>
                <a:ext uri="{FF2B5EF4-FFF2-40B4-BE49-F238E27FC236}">
                  <a16:creationId xmlns:a16="http://schemas.microsoft.com/office/drawing/2014/main" id="{0DC6B84C-5038-4D3C-BE44-E13E3D8FE63F}"/>
                </a:ext>
              </a:extLst>
            </p:cNvPr>
            <p:cNvSpPr/>
            <p:nvPr/>
          </p:nvSpPr>
          <p:spPr bwMode="auto">
            <a:xfrm>
              <a:off x="234895" y="1800560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9" name="Oval 268">
              <a:extLst>
                <a:ext uri="{FF2B5EF4-FFF2-40B4-BE49-F238E27FC236}">
                  <a16:creationId xmlns:a16="http://schemas.microsoft.com/office/drawing/2014/main" id="{7AEECDF2-2C5F-44E1-BB22-600E479DD0AD}"/>
                </a:ext>
              </a:extLst>
            </p:cNvPr>
            <p:cNvSpPr/>
            <p:nvPr/>
          </p:nvSpPr>
          <p:spPr bwMode="auto">
            <a:xfrm rot="10800000">
              <a:off x="313151" y="1800560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276" name="Group 275">
            <a:extLst>
              <a:ext uri="{FF2B5EF4-FFF2-40B4-BE49-F238E27FC236}">
                <a16:creationId xmlns:a16="http://schemas.microsoft.com/office/drawing/2014/main" id="{2215056E-33BB-4353-8FF4-FD32E15E6718}"/>
              </a:ext>
            </a:extLst>
          </p:cNvPr>
          <p:cNvGrpSpPr/>
          <p:nvPr/>
        </p:nvGrpSpPr>
        <p:grpSpPr>
          <a:xfrm>
            <a:off x="2993135" y="2452913"/>
            <a:ext cx="1482767" cy="1445741"/>
            <a:chOff x="518304" y="14541210"/>
            <a:chExt cx="930028" cy="968555"/>
          </a:xfrm>
        </p:grpSpPr>
        <p:pic>
          <p:nvPicPr>
            <p:cNvPr id="277" name="Picture 276">
              <a:extLst>
                <a:ext uri="{FF2B5EF4-FFF2-40B4-BE49-F238E27FC236}">
                  <a16:creationId xmlns:a16="http://schemas.microsoft.com/office/drawing/2014/main" id="{43C1CD57-6FD6-435D-A7F3-8CF20B94240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5400000" flipH="1">
              <a:off x="499040" y="14560474"/>
              <a:ext cx="968555" cy="930028"/>
            </a:xfrm>
            <a:prstGeom prst="rect">
              <a:avLst/>
            </a:prstGeom>
          </p:spPr>
        </p:pic>
        <p:cxnSp>
          <p:nvCxnSpPr>
            <p:cNvPr id="278" name="Straight Connector 277">
              <a:extLst>
                <a:ext uri="{FF2B5EF4-FFF2-40B4-BE49-F238E27FC236}">
                  <a16:creationId xmlns:a16="http://schemas.microsoft.com/office/drawing/2014/main" id="{314A4310-F0A1-47F4-97B0-19D4FDDEC671}"/>
                </a:ext>
              </a:extLst>
            </p:cNvPr>
            <p:cNvCxnSpPr>
              <a:cxnSpLocks/>
            </p:cNvCxnSpPr>
            <p:nvPr/>
          </p:nvCxnSpPr>
          <p:spPr>
            <a:xfrm flipH="1" flipV="1">
              <a:off x="572518" y="14604892"/>
              <a:ext cx="821528" cy="835818"/>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9" name="Hexagon 278">
              <a:extLst>
                <a:ext uri="{FF2B5EF4-FFF2-40B4-BE49-F238E27FC236}">
                  <a16:creationId xmlns:a16="http://schemas.microsoft.com/office/drawing/2014/main" id="{8BE6E7EF-1C0A-469A-80FB-E8E0E2CB2B82}"/>
                </a:ext>
              </a:extLst>
            </p:cNvPr>
            <p:cNvSpPr/>
            <p:nvPr/>
          </p:nvSpPr>
          <p:spPr bwMode="auto">
            <a:xfrm rot="5400000">
              <a:off x="534093" y="14567390"/>
              <a:ext cx="79764" cy="68762"/>
            </a:xfrm>
            <a:prstGeom prst="hexagon">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32156"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80" name="Hexagon 279">
              <a:extLst>
                <a:ext uri="{FF2B5EF4-FFF2-40B4-BE49-F238E27FC236}">
                  <a16:creationId xmlns:a16="http://schemas.microsoft.com/office/drawing/2014/main" id="{53073E20-3314-4E10-9CB9-790B5B0DCDE5}"/>
                </a:ext>
              </a:extLst>
            </p:cNvPr>
            <p:cNvSpPr/>
            <p:nvPr/>
          </p:nvSpPr>
          <p:spPr bwMode="auto">
            <a:xfrm rot="5400000">
              <a:off x="1358929" y="15404396"/>
              <a:ext cx="79764" cy="68762"/>
            </a:xfrm>
            <a:prstGeom prst="hexagon">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32156"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Tree>
    <p:extLst>
      <p:ext uri="{BB962C8B-B14F-4D97-AF65-F5344CB8AC3E}">
        <p14:creationId xmlns:p14="http://schemas.microsoft.com/office/powerpoint/2010/main" val="26578954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883ECDE-8535-8E46-A15C-E90F0B789D77}"/>
              </a:ext>
            </a:extLst>
          </p:cNvPr>
          <p:cNvSpPr>
            <a:spLocks noGrp="1"/>
          </p:cNvSpPr>
          <p:nvPr>
            <p:ph type="title"/>
          </p:nvPr>
        </p:nvSpPr>
        <p:spPr>
          <a:xfrm>
            <a:off x="838200" y="544868"/>
            <a:ext cx="10515600" cy="1325563"/>
          </a:xfrm>
        </p:spPr>
        <p:txBody>
          <a:bodyPr>
            <a:normAutofit fontScale="90000"/>
          </a:bodyPr>
          <a:lstStyle/>
          <a:p>
            <a:r>
              <a:rPr lang="en-US" sz="4000" dirty="0"/>
              <a:t>Tokens (and Token Contracts) Are Typically Used in Both</a:t>
            </a:r>
            <a:br>
              <a:rPr lang="en-US" dirty="0"/>
            </a:br>
            <a:br>
              <a:rPr lang="en-US" dirty="0"/>
            </a:br>
            <a:endParaRPr lang="en-US" dirty="0"/>
          </a:p>
        </p:txBody>
      </p:sp>
      <p:sp>
        <p:nvSpPr>
          <p:cNvPr id="6" name="Content Placeholder 5">
            <a:extLst>
              <a:ext uri="{FF2B5EF4-FFF2-40B4-BE49-F238E27FC236}">
                <a16:creationId xmlns:a16="http://schemas.microsoft.com/office/drawing/2014/main" id="{1A275D84-001C-5941-9DBD-AA9554903E57}"/>
              </a:ext>
            </a:extLst>
          </p:cNvPr>
          <p:cNvSpPr>
            <a:spLocks noGrp="1"/>
          </p:cNvSpPr>
          <p:nvPr>
            <p:ph idx="1"/>
          </p:nvPr>
        </p:nvSpPr>
        <p:spPr>
          <a:xfrm>
            <a:off x="612593" y="1048269"/>
            <a:ext cx="11018520" cy="1625060"/>
          </a:xfrm>
        </p:spPr>
        <p:txBody>
          <a:bodyPr/>
          <a:lstStyle/>
          <a:p>
            <a:pPr marL="0" indent="0" algn="ctr">
              <a:buNone/>
            </a:pPr>
            <a:r>
              <a:rPr lang="en-US" sz="2400"/>
              <a:t>A digital representation of value that is authentic or infeasible to counterfeit, in which ownership is proven and the transfer of value secured using cryptography and a shared database that is trusted by their owners.</a:t>
            </a:r>
          </a:p>
          <a:p>
            <a:endParaRPr lang="en-US"/>
          </a:p>
        </p:txBody>
      </p:sp>
      <p:pic>
        <p:nvPicPr>
          <p:cNvPr id="9" name="Graphic 8" descr="House">
            <a:extLst>
              <a:ext uri="{FF2B5EF4-FFF2-40B4-BE49-F238E27FC236}">
                <a16:creationId xmlns:a16="http://schemas.microsoft.com/office/drawing/2014/main" id="{32A52508-6194-6A46-9F55-B04302ECB9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87286" y="2878765"/>
            <a:ext cx="914400" cy="914400"/>
          </a:xfrm>
          <a:prstGeom prst="rect">
            <a:avLst/>
          </a:prstGeom>
        </p:spPr>
      </p:pic>
      <p:pic>
        <p:nvPicPr>
          <p:cNvPr id="12" name="Graphic 11" descr="Contract">
            <a:extLst>
              <a:ext uri="{FF2B5EF4-FFF2-40B4-BE49-F238E27FC236}">
                <a16:creationId xmlns:a16="http://schemas.microsoft.com/office/drawing/2014/main" id="{2D5DBB72-C353-4440-AD46-3AB7E8F21FAB}"/>
              </a:ext>
            </a:extLst>
          </p:cNvPr>
          <p:cNvPicPr>
            <a:picLocks noChangeAspect="1"/>
          </p:cNvPicPr>
          <p:nvPr/>
        </p:nvPicPr>
        <p:blipFill>
          <a:blip r:embed="rId5">
            <a:duotone>
              <a:schemeClr val="accent3">
                <a:shade val="45000"/>
                <a:satMod val="135000"/>
              </a:schemeClr>
              <a:prstClr val="white"/>
            </a:duotone>
            <a:extLst>
              <a:ext uri="{96DAC541-7B7A-43D3-8B79-37D633B846F1}">
                <asvg:svgBlip xmlns:asvg="http://schemas.microsoft.com/office/drawing/2016/SVG/main" r:embed="rId6"/>
              </a:ext>
            </a:extLst>
          </a:blip>
          <a:stretch>
            <a:fillRect/>
          </a:stretch>
        </p:blipFill>
        <p:spPr>
          <a:xfrm>
            <a:off x="1687286" y="3945112"/>
            <a:ext cx="914400" cy="914400"/>
          </a:xfrm>
          <a:prstGeom prst="rect">
            <a:avLst/>
          </a:prstGeom>
        </p:spPr>
      </p:pic>
      <p:pic>
        <p:nvPicPr>
          <p:cNvPr id="16" name="Graphic 15" descr="Gold bars">
            <a:extLst>
              <a:ext uri="{FF2B5EF4-FFF2-40B4-BE49-F238E27FC236}">
                <a16:creationId xmlns:a16="http://schemas.microsoft.com/office/drawing/2014/main" id="{B8327AA4-22A5-BD4D-9ED2-E53A287827A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88886" y="2846099"/>
            <a:ext cx="914400" cy="914400"/>
          </a:xfrm>
          <a:prstGeom prst="rect">
            <a:avLst/>
          </a:prstGeom>
        </p:spPr>
      </p:pic>
      <p:pic>
        <p:nvPicPr>
          <p:cNvPr id="20" name="Graphic 19" descr="Money">
            <a:extLst>
              <a:ext uri="{FF2B5EF4-FFF2-40B4-BE49-F238E27FC236}">
                <a16:creationId xmlns:a16="http://schemas.microsoft.com/office/drawing/2014/main" id="{1598CFB2-0F8E-A04D-AF0B-24946DBAD3BF}"/>
              </a:ext>
            </a:extLst>
          </p:cNvPr>
          <p:cNvPicPr>
            <a:picLocks noChangeAspect="1"/>
          </p:cNvPicPr>
          <p:nvPr/>
        </p:nvPicPr>
        <p:blipFill>
          <a:blip r:embed="rId9">
            <a:duotone>
              <a:schemeClr val="accent6">
                <a:shade val="45000"/>
                <a:satMod val="135000"/>
              </a:schemeClr>
              <a:prstClr val="white"/>
            </a:duotone>
            <a:extLst>
              <a:ext uri="{96DAC541-7B7A-43D3-8B79-37D633B846F1}">
                <asvg:svgBlip xmlns:asvg="http://schemas.microsoft.com/office/drawing/2016/SVG/main" r:embed="rId10"/>
              </a:ext>
            </a:extLst>
          </a:blip>
          <a:stretch>
            <a:fillRect/>
          </a:stretch>
        </p:blipFill>
        <p:spPr>
          <a:xfrm>
            <a:off x="3104021" y="3731109"/>
            <a:ext cx="914400" cy="914400"/>
          </a:xfrm>
          <a:prstGeom prst="rect">
            <a:avLst/>
          </a:prstGeom>
        </p:spPr>
      </p:pic>
      <p:pic>
        <p:nvPicPr>
          <p:cNvPr id="22" name="Graphic 21" descr="Diamond">
            <a:extLst>
              <a:ext uri="{FF2B5EF4-FFF2-40B4-BE49-F238E27FC236}">
                <a16:creationId xmlns:a16="http://schemas.microsoft.com/office/drawing/2014/main" id="{88030983-39C3-BA47-831E-98977014F55C}"/>
              </a:ext>
            </a:extLst>
          </p:cNvPr>
          <p:cNvPicPr>
            <a:picLocks noChangeAspect="1"/>
          </p:cNvPicPr>
          <p:nvPr/>
        </p:nvPicPr>
        <p:blipFill>
          <a:blip r:embed="rId11">
            <a:duotone>
              <a:prstClr val="black"/>
              <a:schemeClr val="tx2">
                <a:tint val="45000"/>
                <a:satMod val="400000"/>
              </a:schemeClr>
            </a:duotone>
            <a:extLst>
              <a:ext uri="{96DAC541-7B7A-43D3-8B79-37D633B846F1}">
                <asvg:svgBlip xmlns:asvg="http://schemas.microsoft.com/office/drawing/2016/SVG/main" r:embed="rId12"/>
              </a:ext>
            </a:extLst>
          </a:blip>
          <a:stretch>
            <a:fillRect/>
          </a:stretch>
        </p:blipFill>
        <p:spPr>
          <a:xfrm>
            <a:off x="4426581" y="2972245"/>
            <a:ext cx="914400" cy="914400"/>
          </a:xfrm>
          <a:prstGeom prst="rect">
            <a:avLst/>
          </a:prstGeom>
        </p:spPr>
      </p:pic>
      <p:pic>
        <p:nvPicPr>
          <p:cNvPr id="24" name="Graphic 23" descr="Bank check">
            <a:extLst>
              <a:ext uri="{FF2B5EF4-FFF2-40B4-BE49-F238E27FC236}">
                <a16:creationId xmlns:a16="http://schemas.microsoft.com/office/drawing/2014/main" id="{A49BBFEE-9630-0B49-8A32-9C3C34CB88DE}"/>
              </a:ext>
            </a:extLst>
          </p:cNvPr>
          <p:cNvPicPr>
            <a:picLocks noChangeAspect="1"/>
          </p:cNvPicPr>
          <p:nvPr/>
        </p:nvPicPr>
        <p:blipFill>
          <a:blip r:embed="rId13">
            <a:duotone>
              <a:schemeClr val="accent5">
                <a:shade val="45000"/>
                <a:satMod val="135000"/>
              </a:schemeClr>
              <a:prstClr val="white"/>
            </a:duotone>
            <a:extLst>
              <a:ext uri="{96DAC541-7B7A-43D3-8B79-37D633B846F1}">
                <asvg:svgBlip xmlns:asvg="http://schemas.microsoft.com/office/drawing/2016/SVG/main" r:embed="rId14"/>
              </a:ext>
            </a:extLst>
          </a:blip>
          <a:stretch>
            <a:fillRect/>
          </a:stretch>
        </p:blipFill>
        <p:spPr>
          <a:xfrm>
            <a:off x="3104021" y="4671457"/>
            <a:ext cx="901382" cy="901382"/>
          </a:xfrm>
          <a:prstGeom prst="rect">
            <a:avLst/>
          </a:prstGeom>
        </p:spPr>
      </p:pic>
      <p:pic>
        <p:nvPicPr>
          <p:cNvPr id="26" name="Graphic 25" descr="Barcode">
            <a:extLst>
              <a:ext uri="{FF2B5EF4-FFF2-40B4-BE49-F238E27FC236}">
                <a16:creationId xmlns:a16="http://schemas.microsoft.com/office/drawing/2014/main" id="{DAA72E83-FDD3-EB40-BC22-EAB627074C4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736499" y="3950341"/>
            <a:ext cx="914400" cy="914400"/>
          </a:xfrm>
          <a:prstGeom prst="rect">
            <a:avLst/>
          </a:prstGeom>
        </p:spPr>
      </p:pic>
      <p:pic>
        <p:nvPicPr>
          <p:cNvPr id="28" name="Graphic 27" descr="Diploma">
            <a:extLst>
              <a:ext uri="{FF2B5EF4-FFF2-40B4-BE49-F238E27FC236}">
                <a16:creationId xmlns:a16="http://schemas.microsoft.com/office/drawing/2014/main" id="{3E4A7E8D-42FD-404D-B8D9-D2CDE48EA13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428531" y="3935287"/>
            <a:ext cx="914400" cy="914400"/>
          </a:xfrm>
          <a:prstGeom prst="rect">
            <a:avLst/>
          </a:prstGeom>
        </p:spPr>
      </p:pic>
      <p:pic>
        <p:nvPicPr>
          <p:cNvPr id="30" name="Graphic 29" descr="Shirt">
            <a:extLst>
              <a:ext uri="{FF2B5EF4-FFF2-40B4-BE49-F238E27FC236}">
                <a16:creationId xmlns:a16="http://schemas.microsoft.com/office/drawing/2014/main" id="{47A4F8AA-70F4-A947-B7F2-7CC24272286D}"/>
              </a:ext>
            </a:extLst>
          </p:cNvPr>
          <p:cNvPicPr>
            <a:picLocks noChangeAspect="1"/>
          </p:cNvPicPr>
          <p:nvPr/>
        </p:nvPicPr>
        <p:blipFill>
          <a:blip r:embed="rId19">
            <a:duotone>
              <a:prstClr val="black"/>
              <a:srgbClr val="D9C3A5">
                <a:tint val="50000"/>
                <a:satMod val="180000"/>
              </a:srgbClr>
            </a:duotone>
            <a:extLst>
              <a:ext uri="{96DAC541-7B7A-43D3-8B79-37D633B846F1}">
                <asvg:svgBlip xmlns:asvg="http://schemas.microsoft.com/office/drawing/2016/SVG/main" r:embed="rId20"/>
              </a:ext>
            </a:extLst>
          </a:blip>
          <a:stretch>
            <a:fillRect/>
          </a:stretch>
        </p:blipFill>
        <p:spPr>
          <a:xfrm>
            <a:off x="5743070" y="2972245"/>
            <a:ext cx="914400" cy="914400"/>
          </a:xfrm>
          <a:prstGeom prst="rect">
            <a:avLst/>
          </a:prstGeom>
        </p:spPr>
      </p:pic>
      <p:pic>
        <p:nvPicPr>
          <p:cNvPr id="32" name="Graphic 31" descr="Film reel">
            <a:extLst>
              <a:ext uri="{FF2B5EF4-FFF2-40B4-BE49-F238E27FC236}">
                <a16:creationId xmlns:a16="http://schemas.microsoft.com/office/drawing/2014/main" id="{73B779F0-1FB0-DD40-860A-6F763E314CC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873067" y="3069597"/>
            <a:ext cx="914400" cy="914400"/>
          </a:xfrm>
          <a:prstGeom prst="rect">
            <a:avLst/>
          </a:prstGeom>
        </p:spPr>
      </p:pic>
      <p:pic>
        <p:nvPicPr>
          <p:cNvPr id="34" name="Graphic 33" descr="Airplane">
            <a:extLst>
              <a:ext uri="{FF2B5EF4-FFF2-40B4-BE49-F238E27FC236}">
                <a16:creationId xmlns:a16="http://schemas.microsoft.com/office/drawing/2014/main" id="{A19714C8-1F1C-4747-8AC8-01F5DB071D6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870145" y="2969695"/>
            <a:ext cx="914400" cy="914400"/>
          </a:xfrm>
          <a:prstGeom prst="rect">
            <a:avLst/>
          </a:prstGeom>
        </p:spPr>
      </p:pic>
      <p:pic>
        <p:nvPicPr>
          <p:cNvPr id="36" name="Graphic 35" descr="Label">
            <a:extLst>
              <a:ext uri="{FF2B5EF4-FFF2-40B4-BE49-F238E27FC236}">
                <a16:creationId xmlns:a16="http://schemas.microsoft.com/office/drawing/2014/main" id="{DE0624C6-CD80-474B-A77C-C8FB14381F30}"/>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7394026" y="3929183"/>
            <a:ext cx="914400" cy="914400"/>
          </a:xfrm>
          <a:prstGeom prst="rect">
            <a:avLst/>
          </a:prstGeom>
        </p:spPr>
      </p:pic>
      <p:pic>
        <p:nvPicPr>
          <p:cNvPr id="41" name="Graphic 40" descr="Graduation cap">
            <a:extLst>
              <a:ext uri="{FF2B5EF4-FFF2-40B4-BE49-F238E27FC236}">
                <a16:creationId xmlns:a16="http://schemas.microsoft.com/office/drawing/2014/main" id="{8FAB4D02-EFAB-B640-B9F0-D55CC6F4FA7D}"/>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9112785" y="2894025"/>
            <a:ext cx="914400" cy="914400"/>
          </a:xfrm>
          <a:prstGeom prst="rect">
            <a:avLst/>
          </a:prstGeom>
        </p:spPr>
      </p:pic>
      <p:pic>
        <p:nvPicPr>
          <p:cNvPr id="43" name="Graphic 42" descr="Diploma roll">
            <a:extLst>
              <a:ext uri="{FF2B5EF4-FFF2-40B4-BE49-F238E27FC236}">
                <a16:creationId xmlns:a16="http://schemas.microsoft.com/office/drawing/2014/main" id="{0B90D8A4-1F6C-4F4F-965A-750B935E898B}"/>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9149013" y="3946085"/>
            <a:ext cx="914400" cy="914400"/>
          </a:xfrm>
          <a:prstGeom prst="rect">
            <a:avLst/>
          </a:prstGeom>
        </p:spPr>
      </p:pic>
      <p:pic>
        <p:nvPicPr>
          <p:cNvPr id="45" name="Graphic 44" descr="Key">
            <a:extLst>
              <a:ext uri="{FF2B5EF4-FFF2-40B4-BE49-F238E27FC236}">
                <a16:creationId xmlns:a16="http://schemas.microsoft.com/office/drawing/2014/main" id="{CAE8249B-8884-EF46-A3EE-0D764253F63E}"/>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rot="2596540">
            <a:off x="10618792" y="3159831"/>
            <a:ext cx="436361" cy="436361"/>
          </a:xfrm>
          <a:prstGeom prst="rect">
            <a:avLst/>
          </a:prstGeom>
        </p:spPr>
      </p:pic>
      <p:pic>
        <p:nvPicPr>
          <p:cNvPr id="47" name="Graphic 46" descr="Lock">
            <a:extLst>
              <a:ext uri="{FF2B5EF4-FFF2-40B4-BE49-F238E27FC236}">
                <a16:creationId xmlns:a16="http://schemas.microsoft.com/office/drawing/2014/main" id="{9F7B47B4-CFAD-A544-80FF-B4CA43A4128E}"/>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10478063" y="3864695"/>
            <a:ext cx="914400" cy="914400"/>
          </a:xfrm>
          <a:prstGeom prst="rect">
            <a:avLst/>
          </a:prstGeom>
        </p:spPr>
      </p:pic>
      <p:sp>
        <p:nvSpPr>
          <p:cNvPr id="48" name="Down Arrow 47">
            <a:extLst>
              <a:ext uri="{FF2B5EF4-FFF2-40B4-BE49-F238E27FC236}">
                <a16:creationId xmlns:a16="http://schemas.microsoft.com/office/drawing/2014/main" id="{0CA071F2-3A54-2F47-BC83-CA3415CDF614}"/>
              </a:ext>
            </a:extLst>
          </p:cNvPr>
          <p:cNvSpPr/>
          <p:nvPr/>
        </p:nvSpPr>
        <p:spPr>
          <a:xfrm>
            <a:off x="2072640" y="3751731"/>
            <a:ext cx="143692" cy="23481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Down Arrow 48">
            <a:extLst>
              <a:ext uri="{FF2B5EF4-FFF2-40B4-BE49-F238E27FC236}">
                <a16:creationId xmlns:a16="http://schemas.microsoft.com/office/drawing/2014/main" id="{3D2EAA54-1DD1-3840-8865-09DED6EF8F3F}"/>
              </a:ext>
            </a:extLst>
          </p:cNvPr>
          <p:cNvSpPr/>
          <p:nvPr/>
        </p:nvSpPr>
        <p:spPr>
          <a:xfrm>
            <a:off x="3466586" y="3634861"/>
            <a:ext cx="143692" cy="23481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Down Arrow 49">
            <a:extLst>
              <a:ext uri="{FF2B5EF4-FFF2-40B4-BE49-F238E27FC236}">
                <a16:creationId xmlns:a16="http://schemas.microsoft.com/office/drawing/2014/main" id="{66F605A1-A64E-CE42-8BFA-C762F6FF1C65}"/>
              </a:ext>
            </a:extLst>
          </p:cNvPr>
          <p:cNvSpPr/>
          <p:nvPr/>
        </p:nvSpPr>
        <p:spPr>
          <a:xfrm>
            <a:off x="3482181" y="4593413"/>
            <a:ext cx="143692" cy="23481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Down Arrow 50">
            <a:extLst>
              <a:ext uri="{FF2B5EF4-FFF2-40B4-BE49-F238E27FC236}">
                <a16:creationId xmlns:a16="http://schemas.microsoft.com/office/drawing/2014/main" id="{71D4DB0B-63F8-CD42-913E-D9D89A3C83C6}"/>
              </a:ext>
            </a:extLst>
          </p:cNvPr>
          <p:cNvSpPr/>
          <p:nvPr/>
        </p:nvSpPr>
        <p:spPr>
          <a:xfrm>
            <a:off x="4811013" y="3808425"/>
            <a:ext cx="143692" cy="23481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Down Arrow 51">
            <a:extLst>
              <a:ext uri="{FF2B5EF4-FFF2-40B4-BE49-F238E27FC236}">
                <a16:creationId xmlns:a16="http://schemas.microsoft.com/office/drawing/2014/main" id="{9206158E-5B67-DF48-BBF5-B3FD12500B88}"/>
              </a:ext>
            </a:extLst>
          </p:cNvPr>
          <p:cNvSpPr/>
          <p:nvPr/>
        </p:nvSpPr>
        <p:spPr>
          <a:xfrm>
            <a:off x="6121853" y="3858006"/>
            <a:ext cx="143692" cy="23481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Down Arrow 52">
            <a:extLst>
              <a:ext uri="{FF2B5EF4-FFF2-40B4-BE49-F238E27FC236}">
                <a16:creationId xmlns:a16="http://schemas.microsoft.com/office/drawing/2014/main" id="{D3384BA6-AF2B-E94F-B43A-69EBD0740837}"/>
              </a:ext>
            </a:extLst>
          </p:cNvPr>
          <p:cNvSpPr/>
          <p:nvPr/>
        </p:nvSpPr>
        <p:spPr>
          <a:xfrm rot="18997799">
            <a:off x="7437823" y="3869149"/>
            <a:ext cx="143692" cy="23481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Down Arrow 53">
            <a:extLst>
              <a:ext uri="{FF2B5EF4-FFF2-40B4-BE49-F238E27FC236}">
                <a16:creationId xmlns:a16="http://schemas.microsoft.com/office/drawing/2014/main" id="{A0ED4206-DBF7-524E-8076-EE4A6ECFBBF7}"/>
              </a:ext>
            </a:extLst>
          </p:cNvPr>
          <p:cNvSpPr/>
          <p:nvPr/>
        </p:nvSpPr>
        <p:spPr>
          <a:xfrm rot="2472031">
            <a:off x="7940774" y="3877572"/>
            <a:ext cx="143692" cy="23481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Down Arrow 54">
            <a:extLst>
              <a:ext uri="{FF2B5EF4-FFF2-40B4-BE49-F238E27FC236}">
                <a16:creationId xmlns:a16="http://schemas.microsoft.com/office/drawing/2014/main" id="{7516FBC0-8702-6542-AE75-CAAC2D29EE12}"/>
              </a:ext>
            </a:extLst>
          </p:cNvPr>
          <p:cNvSpPr/>
          <p:nvPr/>
        </p:nvSpPr>
        <p:spPr>
          <a:xfrm>
            <a:off x="9492974" y="3767696"/>
            <a:ext cx="143692" cy="23481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Down Arrow 55">
            <a:extLst>
              <a:ext uri="{FF2B5EF4-FFF2-40B4-BE49-F238E27FC236}">
                <a16:creationId xmlns:a16="http://schemas.microsoft.com/office/drawing/2014/main" id="{57A5BA51-7C80-D248-9FFF-2516BADDE659}"/>
              </a:ext>
            </a:extLst>
          </p:cNvPr>
          <p:cNvSpPr/>
          <p:nvPr/>
        </p:nvSpPr>
        <p:spPr>
          <a:xfrm>
            <a:off x="10861525" y="3700471"/>
            <a:ext cx="143692" cy="23481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TextBox 56">
            <a:extLst>
              <a:ext uri="{FF2B5EF4-FFF2-40B4-BE49-F238E27FC236}">
                <a16:creationId xmlns:a16="http://schemas.microsoft.com/office/drawing/2014/main" id="{29692DAB-E868-D34E-BA90-7B9CE25BE64F}"/>
              </a:ext>
            </a:extLst>
          </p:cNvPr>
          <p:cNvSpPr txBox="1"/>
          <p:nvPr/>
        </p:nvSpPr>
        <p:spPr>
          <a:xfrm>
            <a:off x="676661" y="3215814"/>
            <a:ext cx="704039" cy="369332"/>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a:ea typeface="+mn-ea"/>
                <a:cs typeface="+mn-cs"/>
              </a:rPr>
              <a:t>Value</a:t>
            </a:r>
          </a:p>
        </p:txBody>
      </p:sp>
      <p:sp>
        <p:nvSpPr>
          <p:cNvPr id="58" name="TextBox 57">
            <a:extLst>
              <a:ext uri="{FF2B5EF4-FFF2-40B4-BE49-F238E27FC236}">
                <a16:creationId xmlns:a16="http://schemas.microsoft.com/office/drawing/2014/main" id="{FFC29035-13BE-184B-827C-E939AAD842A3}"/>
              </a:ext>
            </a:extLst>
          </p:cNvPr>
          <p:cNvSpPr txBox="1"/>
          <p:nvPr/>
        </p:nvSpPr>
        <p:spPr>
          <a:xfrm>
            <a:off x="665143" y="4187621"/>
            <a:ext cx="732188" cy="369332"/>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a:ea typeface="+mn-ea"/>
                <a:cs typeface="+mn-cs"/>
              </a:rPr>
              <a:t>Token</a:t>
            </a:r>
          </a:p>
        </p:txBody>
      </p:sp>
      <p:sp>
        <p:nvSpPr>
          <p:cNvPr id="59" name="Content Placeholder 5">
            <a:extLst>
              <a:ext uri="{FF2B5EF4-FFF2-40B4-BE49-F238E27FC236}">
                <a16:creationId xmlns:a16="http://schemas.microsoft.com/office/drawing/2014/main" id="{FF6E6C00-981B-0148-BA14-55545EA25C45}"/>
              </a:ext>
            </a:extLst>
          </p:cNvPr>
          <p:cNvSpPr txBox="1">
            <a:spLocks/>
          </p:cNvSpPr>
          <p:nvPr/>
        </p:nvSpPr>
        <p:spPr>
          <a:xfrm>
            <a:off x="7894184" y="6063586"/>
            <a:ext cx="3314904" cy="587576"/>
          </a:xfrm>
          <a:prstGeom prst="rect">
            <a:avLst/>
          </a:prstGeom>
          <a:ln>
            <a:solidFill>
              <a:schemeClr val="tx1"/>
            </a:solidFill>
            <a:prstDash val="dash"/>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43A5E">
                    <a:lumMod val="90000"/>
                  </a:srgbClr>
                </a:solidFill>
                <a:effectLst/>
                <a:uLnTx/>
                <a:uFillTx/>
                <a:latin typeface="Segoe UI"/>
                <a:ea typeface="+mn-ea"/>
                <a:cs typeface="+mn-cs"/>
              </a:rPr>
              <a:t>Value can be fungible or non-fungible, sub-dividable or not, etc.</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pic>
        <p:nvPicPr>
          <p:cNvPr id="61" name="Graphic 60" descr="Group of people">
            <a:extLst>
              <a:ext uri="{FF2B5EF4-FFF2-40B4-BE49-F238E27FC236}">
                <a16:creationId xmlns:a16="http://schemas.microsoft.com/office/drawing/2014/main" id="{DC11A184-08F3-914F-81D3-DBF134F25F84}"/>
              </a:ext>
            </a:extLst>
          </p:cNvPr>
          <p:cNvPicPr>
            <a:picLocks noChangeAspect="1"/>
          </p:cNvPicPr>
          <p:nvPr/>
        </p:nvPicPr>
        <p:blipFill>
          <a:blip r:embed="rId35">
            <a:duotone>
              <a:schemeClr val="accent3">
                <a:shade val="45000"/>
                <a:satMod val="135000"/>
              </a:schemeClr>
              <a:prstClr val="white"/>
            </a:duotone>
            <a:extLst>
              <a:ext uri="{96DAC541-7B7A-43D3-8B79-37D633B846F1}">
                <asvg:svgBlip xmlns:asvg="http://schemas.microsoft.com/office/drawing/2016/SVG/main" r:embed="rId36"/>
              </a:ext>
            </a:extLst>
          </a:blip>
          <a:stretch>
            <a:fillRect/>
          </a:stretch>
        </p:blipFill>
        <p:spPr>
          <a:xfrm>
            <a:off x="5736499" y="5080935"/>
            <a:ext cx="914400" cy="914400"/>
          </a:xfrm>
          <a:prstGeom prst="rect">
            <a:avLst/>
          </a:prstGeom>
        </p:spPr>
      </p:pic>
      <p:sp>
        <p:nvSpPr>
          <p:cNvPr id="62" name="Content Placeholder 5">
            <a:extLst>
              <a:ext uri="{FF2B5EF4-FFF2-40B4-BE49-F238E27FC236}">
                <a16:creationId xmlns:a16="http://schemas.microsoft.com/office/drawing/2014/main" id="{4A2B0BDD-2D2E-3645-BDF5-2539B5D4674D}"/>
              </a:ext>
            </a:extLst>
          </p:cNvPr>
          <p:cNvSpPr txBox="1">
            <a:spLocks/>
          </p:cNvSpPr>
          <p:nvPr/>
        </p:nvSpPr>
        <p:spPr>
          <a:xfrm>
            <a:off x="7894184" y="5096461"/>
            <a:ext cx="3314904" cy="369048"/>
          </a:xfrm>
          <a:prstGeom prst="rect">
            <a:avLst/>
          </a:prstGeom>
          <a:ln>
            <a:solidFill>
              <a:schemeClr val="tx1"/>
            </a:solidFill>
            <a:prstDash val="dash"/>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700" b="0" i="0" u="none" strike="noStrike" kern="1200" cap="none" spc="0" normalizeH="0" baseline="0" noProof="0">
                <a:ln>
                  <a:noFill/>
                </a:ln>
                <a:solidFill>
                  <a:srgbClr val="243A5E">
                    <a:lumMod val="90000"/>
                  </a:srgbClr>
                </a:solidFill>
                <a:effectLst/>
                <a:uLnTx/>
                <a:uFillTx/>
                <a:latin typeface="Segoe UI"/>
                <a:ea typeface="+mn-ea"/>
                <a:cs typeface="+mn-cs"/>
              </a:rPr>
              <a:t>Each token has an Owner</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63" name="Content Placeholder 5">
            <a:extLst>
              <a:ext uri="{FF2B5EF4-FFF2-40B4-BE49-F238E27FC236}">
                <a16:creationId xmlns:a16="http://schemas.microsoft.com/office/drawing/2014/main" id="{47CFA4A5-09CC-0F40-B005-CD047D88C0EE}"/>
              </a:ext>
            </a:extLst>
          </p:cNvPr>
          <p:cNvSpPr txBox="1">
            <a:spLocks/>
          </p:cNvSpPr>
          <p:nvPr/>
        </p:nvSpPr>
        <p:spPr>
          <a:xfrm>
            <a:off x="7894184" y="5516038"/>
            <a:ext cx="3314904" cy="474763"/>
          </a:xfrm>
          <a:prstGeom prst="rect">
            <a:avLst/>
          </a:prstGeom>
          <a:ln>
            <a:solidFill>
              <a:schemeClr val="tx1"/>
            </a:solidFill>
            <a:prstDash val="dash"/>
          </a:ln>
        </p:spPr>
        <p:txBody>
          <a:bodyPr vert="horz" lIns="91440" tIns="45720" rIns="91440" bIns="45720" rtlCol="0" anchor="ct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243A5E">
                    <a:lumMod val="90000"/>
                  </a:srgbClr>
                </a:solidFill>
                <a:effectLst/>
                <a:uLnTx/>
                <a:uFillTx/>
                <a:latin typeface="Segoe UI"/>
                <a:ea typeface="+mn-ea"/>
                <a:cs typeface="+mn-cs"/>
              </a:rPr>
              <a:t>Token ownership can be transferred or not</a:t>
            </a:r>
          </a:p>
        </p:txBody>
      </p:sp>
      <p:sp>
        <p:nvSpPr>
          <p:cNvPr id="64" name="Content Placeholder 5">
            <a:extLst>
              <a:ext uri="{FF2B5EF4-FFF2-40B4-BE49-F238E27FC236}">
                <a16:creationId xmlns:a16="http://schemas.microsoft.com/office/drawing/2014/main" id="{9EE2CC7A-7C68-8A40-96E9-AF6244A0D5F7}"/>
              </a:ext>
            </a:extLst>
          </p:cNvPr>
          <p:cNvSpPr txBox="1">
            <a:spLocks/>
          </p:cNvSpPr>
          <p:nvPr/>
        </p:nvSpPr>
        <p:spPr>
          <a:xfrm>
            <a:off x="1396835" y="5497115"/>
            <a:ext cx="3314904" cy="1018976"/>
          </a:xfrm>
          <a:prstGeom prst="rect">
            <a:avLst/>
          </a:prstGeom>
          <a:ln>
            <a:solidFill>
              <a:schemeClr val="tx1"/>
            </a:solidFill>
            <a:prstDash val="dash"/>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700" b="0" i="0" u="none" strike="noStrike" kern="1200" cap="none" spc="0" normalizeH="0" baseline="0" noProof="0">
                <a:ln>
                  <a:noFill/>
                </a:ln>
                <a:solidFill>
                  <a:srgbClr val="243A5E">
                    <a:lumMod val="90000"/>
                  </a:srgbClr>
                </a:solidFill>
                <a:effectLst/>
                <a:uLnTx/>
                <a:uFillTx/>
                <a:latin typeface="Segoe UI"/>
                <a:ea typeface="+mn-ea"/>
                <a:cs typeface="+mn-cs"/>
              </a:rPr>
              <a:t>Represented Value can be a physical or digital asset, property, proof/certificate or authorization, etc.</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11C776BE-646E-2447-B07B-A62819B1CA1C}"/>
              </a:ext>
            </a:extLst>
          </p:cNvPr>
          <p:cNvSpPr/>
          <p:nvPr/>
        </p:nvSpPr>
        <p:spPr>
          <a:xfrm rot="19551208">
            <a:off x="2901553" y="4024583"/>
            <a:ext cx="1202200" cy="400110"/>
          </a:xfrm>
          <a:prstGeom prst="rect">
            <a:avLst/>
          </a:prstGeom>
          <a:solidFill>
            <a:schemeClr val="bg2">
              <a:alpha val="82000"/>
            </a:schemeClr>
          </a:solidFill>
          <a:ln w="6350">
            <a:noFill/>
            <a:prstDash val="dash"/>
          </a:ln>
        </p:spPr>
        <p:txBody>
          <a:bodyPr wrap="square" lIns="91440" tIns="45720" rIns="91440" bIns="45720">
            <a:spAutoFit/>
            <a:scene3d>
              <a:camera prst="orthographicFront"/>
              <a:lightRig rig="soft" dir="t">
                <a:rot lat="0" lon="0" rev="15600000"/>
              </a:lightRig>
            </a:scene3d>
            <a:sp3d prstMaterial="softEdge"/>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solidFill>
                  <a:srgbClr val="000000"/>
                </a:solidFill>
                <a:effectLst/>
                <a:uLnTx/>
                <a:uFillTx/>
                <a:latin typeface="Segoe UI"/>
                <a:ea typeface="+mn-ea"/>
                <a:cs typeface="+mn-cs"/>
              </a:rPr>
              <a:t>fungible</a:t>
            </a:r>
          </a:p>
        </p:txBody>
      </p:sp>
      <p:sp>
        <p:nvSpPr>
          <p:cNvPr id="66" name="Rectangle 65">
            <a:extLst>
              <a:ext uri="{FF2B5EF4-FFF2-40B4-BE49-F238E27FC236}">
                <a16:creationId xmlns:a16="http://schemas.microsoft.com/office/drawing/2014/main" id="{A23A9576-354F-4E44-B0A9-E87BA0141CF1}"/>
              </a:ext>
            </a:extLst>
          </p:cNvPr>
          <p:cNvSpPr/>
          <p:nvPr/>
        </p:nvSpPr>
        <p:spPr>
          <a:xfrm rot="19551208">
            <a:off x="1487288" y="4049632"/>
            <a:ext cx="1191935" cy="707886"/>
          </a:xfrm>
          <a:prstGeom prst="rect">
            <a:avLst/>
          </a:prstGeom>
          <a:solidFill>
            <a:schemeClr val="bg2">
              <a:alpha val="67000"/>
            </a:schemeClr>
          </a:solidFill>
          <a:ln w="12700" cmpd="dbl">
            <a:solidFill>
              <a:srgbClr val="C00000"/>
            </a:solidFill>
            <a:prstDash val="solid"/>
          </a:ln>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solidFill>
                  <a:srgbClr val="FF0000"/>
                </a:solidFill>
                <a:effectLst/>
                <a:uLnTx/>
                <a:uFillTx/>
                <a:latin typeface="Segoe UI"/>
                <a:ea typeface="+mn-ea"/>
                <a:cs typeface="+mn-cs"/>
              </a:rPr>
              <a:t>non-fungible</a:t>
            </a:r>
          </a:p>
        </p:txBody>
      </p:sp>
      <p:sp>
        <p:nvSpPr>
          <p:cNvPr id="68" name="Rectangle 67">
            <a:extLst>
              <a:ext uri="{FF2B5EF4-FFF2-40B4-BE49-F238E27FC236}">
                <a16:creationId xmlns:a16="http://schemas.microsoft.com/office/drawing/2014/main" id="{A33780B0-A519-E847-9C44-0A63AC1CFEB2}"/>
              </a:ext>
            </a:extLst>
          </p:cNvPr>
          <p:cNvSpPr/>
          <p:nvPr/>
        </p:nvSpPr>
        <p:spPr>
          <a:xfrm>
            <a:off x="3087674" y="4885707"/>
            <a:ext cx="930748" cy="523220"/>
          </a:xfrm>
          <a:prstGeom prst="rect">
            <a:avLst/>
          </a:prstGeom>
          <a:solidFill>
            <a:schemeClr val="bg1">
              <a:alpha val="50000"/>
            </a:schemeClr>
          </a:solidFill>
          <a:ln w="12700" cmpd="dbl">
            <a:solidFill>
              <a:srgbClr val="C00000"/>
            </a:solidFill>
            <a:prstDash val="solid"/>
          </a:ln>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FF0000"/>
                </a:solidFill>
                <a:effectLst/>
                <a:uLnTx/>
                <a:uFillTx/>
                <a:latin typeface="Segoe UI"/>
                <a:ea typeface="+mn-ea"/>
                <a:cs typeface="+mn-cs"/>
              </a:rPr>
              <a:t>non-fungible</a:t>
            </a:r>
          </a:p>
        </p:txBody>
      </p:sp>
      <p:sp>
        <p:nvSpPr>
          <p:cNvPr id="69" name="Rectangle 68">
            <a:extLst>
              <a:ext uri="{FF2B5EF4-FFF2-40B4-BE49-F238E27FC236}">
                <a16:creationId xmlns:a16="http://schemas.microsoft.com/office/drawing/2014/main" id="{3C6F0177-8492-7642-BA73-3FB00E205AC0}"/>
              </a:ext>
            </a:extLst>
          </p:cNvPr>
          <p:cNvSpPr/>
          <p:nvPr/>
        </p:nvSpPr>
        <p:spPr>
          <a:xfrm rot="19551208">
            <a:off x="3104207" y="4371178"/>
            <a:ext cx="1197436" cy="276999"/>
          </a:xfrm>
          <a:prstGeom prst="rect">
            <a:avLst/>
          </a:prstGeom>
          <a:solidFill>
            <a:schemeClr val="bg2">
              <a:alpha val="50000"/>
            </a:schemeClr>
          </a:solidFill>
          <a:ln w="6350">
            <a:solidFill>
              <a:schemeClr val="accent2"/>
            </a:solidFill>
            <a:prstDash val="dash"/>
          </a:ln>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solidFill>
                  <a:srgbClr val="000000"/>
                </a:solidFill>
                <a:effectLst/>
                <a:uLnTx/>
                <a:uFillTx/>
                <a:latin typeface="Segoe UI"/>
                <a:ea typeface="+mn-ea"/>
                <a:cs typeface="+mn-cs"/>
              </a:rPr>
              <a:t>sub-dividable</a:t>
            </a:r>
          </a:p>
        </p:txBody>
      </p:sp>
      <p:sp>
        <p:nvSpPr>
          <p:cNvPr id="70" name="Rectangle 69">
            <a:extLst>
              <a:ext uri="{FF2B5EF4-FFF2-40B4-BE49-F238E27FC236}">
                <a16:creationId xmlns:a16="http://schemas.microsoft.com/office/drawing/2014/main" id="{4399D449-1E19-0F4A-B210-93A1B1AD676E}"/>
              </a:ext>
            </a:extLst>
          </p:cNvPr>
          <p:cNvSpPr/>
          <p:nvPr/>
        </p:nvSpPr>
        <p:spPr>
          <a:xfrm>
            <a:off x="4051598" y="5055487"/>
            <a:ext cx="1543765" cy="276999"/>
          </a:xfrm>
          <a:prstGeom prst="rect">
            <a:avLst/>
          </a:prstGeom>
          <a:solidFill>
            <a:schemeClr val="bg2"/>
          </a:solidFill>
          <a:ln w="6350">
            <a:solidFill>
              <a:schemeClr val="accent4"/>
            </a:solidFill>
            <a:prstDash val="dash"/>
          </a:ln>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solidFill>
                  <a:srgbClr val="9BF00B"/>
                </a:solidFill>
                <a:effectLst/>
                <a:uLnTx/>
                <a:uFillTx/>
                <a:latin typeface="Segoe UI"/>
                <a:ea typeface="+mn-ea"/>
                <a:cs typeface="+mn-cs"/>
              </a:rPr>
              <a:t>non-sub-dividable</a:t>
            </a:r>
          </a:p>
        </p:txBody>
      </p:sp>
    </p:spTree>
    <p:extLst>
      <p:ext uri="{BB962C8B-B14F-4D97-AF65-F5344CB8AC3E}">
        <p14:creationId xmlns:p14="http://schemas.microsoft.com/office/powerpoint/2010/main" val="3773589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8"/>
                                        </p:tgtEl>
                                        <p:attrNameLst>
                                          <p:attrName>style.visibility</p:attrName>
                                        </p:attrNameLst>
                                      </p:cBhvr>
                                      <p:to>
                                        <p:strVal val="visible"/>
                                      </p:to>
                                    </p:set>
                                    <p:animEffect transition="in" filter="fade">
                                      <p:cBhvr>
                                        <p:cTn id="11" dur="500"/>
                                        <p:tgtEl>
                                          <p:spTgt spid="5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par>
                          <p:cTn id="17" fill="hold">
                            <p:stCondLst>
                              <p:cond delay="500"/>
                            </p:stCondLst>
                            <p:childTnLst>
                              <p:par>
                                <p:cTn id="18" presetID="22" presetClass="entr" presetSubtype="1" fill="hold" grpId="0" nodeType="afterEffect">
                                  <p:stCondLst>
                                    <p:cond delay="0"/>
                                  </p:stCondLst>
                                  <p:childTnLst>
                                    <p:set>
                                      <p:cBhvr>
                                        <p:cTn id="19" dur="1" fill="hold">
                                          <p:stCondLst>
                                            <p:cond delay="0"/>
                                          </p:stCondLst>
                                        </p:cTn>
                                        <p:tgtEl>
                                          <p:spTgt spid="48"/>
                                        </p:tgtEl>
                                        <p:attrNameLst>
                                          <p:attrName>style.visibility</p:attrName>
                                        </p:attrNameLst>
                                      </p:cBhvr>
                                      <p:to>
                                        <p:strVal val="visible"/>
                                      </p:to>
                                    </p:set>
                                    <p:animEffect transition="in" filter="wipe(up)">
                                      <p:cBhvr>
                                        <p:cTn id="20" dur="500"/>
                                        <p:tgtEl>
                                          <p:spTgt spid="48"/>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49"/>
                                        </p:tgtEl>
                                        <p:attrNameLst>
                                          <p:attrName>style.visibility</p:attrName>
                                        </p:attrNameLst>
                                      </p:cBhvr>
                                      <p:to>
                                        <p:strVal val="visible"/>
                                      </p:to>
                                    </p:set>
                                    <p:animEffect transition="in" filter="fade">
                                      <p:cBhvr>
                                        <p:cTn id="37" dur="500"/>
                                        <p:tgtEl>
                                          <p:spTgt spid="49"/>
                                        </p:tgtEl>
                                      </p:cBhvr>
                                    </p:animEffect>
                                  </p:childTnLst>
                                </p:cTn>
                              </p:par>
                            </p:childTnLst>
                          </p:cTn>
                        </p:par>
                        <p:par>
                          <p:cTn id="38" fill="hold">
                            <p:stCondLst>
                              <p:cond delay="1000"/>
                            </p:stCondLst>
                            <p:childTnLst>
                              <p:par>
                                <p:cTn id="39" presetID="10" presetClass="entr" presetSubtype="0" fill="hold" nodeType="afterEffect">
                                  <p:stCondLst>
                                    <p:cond delay="0"/>
                                  </p:stCondLst>
                                  <p:childTnLst>
                                    <p:set>
                                      <p:cBhvr>
                                        <p:cTn id="40" dur="1" fill="hold">
                                          <p:stCondLst>
                                            <p:cond delay="0"/>
                                          </p:stCondLst>
                                        </p:cTn>
                                        <p:tgtEl>
                                          <p:spTgt spid="20"/>
                                        </p:tgtEl>
                                        <p:attrNameLst>
                                          <p:attrName>style.visibility</p:attrName>
                                        </p:attrNameLst>
                                      </p:cBhvr>
                                      <p:to>
                                        <p:strVal val="visible"/>
                                      </p:to>
                                    </p:set>
                                    <p:animEffect transition="in" filter="fade">
                                      <p:cBhvr>
                                        <p:cTn id="41" dur="500"/>
                                        <p:tgtEl>
                                          <p:spTgt spid="20"/>
                                        </p:tgtEl>
                                      </p:cBhvr>
                                    </p:animEffect>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fade">
                                      <p:cBhvr>
                                        <p:cTn id="45" dur="500"/>
                                        <p:tgtEl>
                                          <p:spTgt spid="22"/>
                                        </p:tgtEl>
                                      </p:cBhvr>
                                    </p:animEffect>
                                  </p:childTnLst>
                                </p:cTn>
                              </p:par>
                            </p:childTnLst>
                          </p:cTn>
                        </p:par>
                        <p:par>
                          <p:cTn id="46" fill="hold">
                            <p:stCondLst>
                              <p:cond delay="2000"/>
                            </p:stCondLst>
                            <p:childTnLst>
                              <p:par>
                                <p:cTn id="47" presetID="10" presetClass="entr" presetSubtype="0" fill="hold" grpId="0" nodeType="after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fade">
                                      <p:cBhvr>
                                        <p:cTn id="49" dur="500"/>
                                        <p:tgtEl>
                                          <p:spTgt spid="51"/>
                                        </p:tgtEl>
                                      </p:cBhvr>
                                    </p:animEffect>
                                  </p:childTnLst>
                                </p:cTn>
                              </p:par>
                            </p:childTnLst>
                          </p:cTn>
                        </p:par>
                        <p:par>
                          <p:cTn id="50" fill="hold">
                            <p:stCondLst>
                              <p:cond delay="2500"/>
                            </p:stCondLst>
                            <p:childTnLst>
                              <p:par>
                                <p:cTn id="51" presetID="10" presetClass="entr" presetSubtype="0" fill="hold" nodeType="afterEffect">
                                  <p:stCondLst>
                                    <p:cond delay="0"/>
                                  </p:stCondLst>
                                  <p:childTnLst>
                                    <p:set>
                                      <p:cBhvr>
                                        <p:cTn id="52" dur="1" fill="hold">
                                          <p:stCondLst>
                                            <p:cond delay="0"/>
                                          </p:stCondLst>
                                        </p:cTn>
                                        <p:tgtEl>
                                          <p:spTgt spid="28"/>
                                        </p:tgtEl>
                                        <p:attrNameLst>
                                          <p:attrName>style.visibility</p:attrName>
                                        </p:attrNameLst>
                                      </p:cBhvr>
                                      <p:to>
                                        <p:strVal val="visible"/>
                                      </p:to>
                                    </p:set>
                                    <p:animEffect transition="in" filter="fade">
                                      <p:cBhvr>
                                        <p:cTn id="53" dur="500"/>
                                        <p:tgtEl>
                                          <p:spTgt spid="28"/>
                                        </p:tgtEl>
                                      </p:cBhvr>
                                    </p:animEffect>
                                  </p:childTnLst>
                                </p:cTn>
                              </p:par>
                            </p:childTnLst>
                          </p:cTn>
                        </p:par>
                        <p:par>
                          <p:cTn id="54" fill="hold">
                            <p:stCondLst>
                              <p:cond delay="3000"/>
                            </p:stCondLst>
                            <p:childTnLst>
                              <p:par>
                                <p:cTn id="55" presetID="10" presetClass="entr" presetSubtype="0" fill="hold" nodeType="afterEffect">
                                  <p:stCondLst>
                                    <p:cond delay="0"/>
                                  </p:stCondLst>
                                  <p:childTnLst>
                                    <p:set>
                                      <p:cBhvr>
                                        <p:cTn id="56" dur="1" fill="hold">
                                          <p:stCondLst>
                                            <p:cond delay="0"/>
                                          </p:stCondLst>
                                        </p:cTn>
                                        <p:tgtEl>
                                          <p:spTgt spid="30"/>
                                        </p:tgtEl>
                                        <p:attrNameLst>
                                          <p:attrName>style.visibility</p:attrName>
                                        </p:attrNameLst>
                                      </p:cBhvr>
                                      <p:to>
                                        <p:strVal val="visible"/>
                                      </p:to>
                                    </p:set>
                                    <p:animEffect transition="in" filter="fade">
                                      <p:cBhvr>
                                        <p:cTn id="57" dur="500"/>
                                        <p:tgtEl>
                                          <p:spTgt spid="30"/>
                                        </p:tgtEl>
                                      </p:cBhvr>
                                    </p:animEffect>
                                  </p:childTnLst>
                                </p:cTn>
                              </p:par>
                            </p:childTnLst>
                          </p:cTn>
                        </p:par>
                        <p:par>
                          <p:cTn id="58" fill="hold">
                            <p:stCondLst>
                              <p:cond delay="3500"/>
                            </p:stCondLst>
                            <p:childTnLst>
                              <p:par>
                                <p:cTn id="59" presetID="10" presetClass="entr" presetSubtype="0" fill="hold" grpId="0" nodeType="afterEffect">
                                  <p:stCondLst>
                                    <p:cond delay="0"/>
                                  </p:stCondLst>
                                  <p:childTnLst>
                                    <p:set>
                                      <p:cBhvr>
                                        <p:cTn id="60" dur="1" fill="hold">
                                          <p:stCondLst>
                                            <p:cond delay="0"/>
                                          </p:stCondLst>
                                        </p:cTn>
                                        <p:tgtEl>
                                          <p:spTgt spid="52"/>
                                        </p:tgtEl>
                                        <p:attrNameLst>
                                          <p:attrName>style.visibility</p:attrName>
                                        </p:attrNameLst>
                                      </p:cBhvr>
                                      <p:to>
                                        <p:strVal val="visible"/>
                                      </p:to>
                                    </p:set>
                                    <p:animEffect transition="in" filter="fade">
                                      <p:cBhvr>
                                        <p:cTn id="61" dur="500"/>
                                        <p:tgtEl>
                                          <p:spTgt spid="52"/>
                                        </p:tgtEl>
                                      </p:cBhvr>
                                    </p:animEffect>
                                  </p:childTnLst>
                                </p:cTn>
                              </p:par>
                            </p:childTnLst>
                          </p:cTn>
                        </p:par>
                        <p:par>
                          <p:cTn id="62" fill="hold">
                            <p:stCondLst>
                              <p:cond delay="4000"/>
                            </p:stCondLst>
                            <p:childTnLst>
                              <p:par>
                                <p:cTn id="63" presetID="10" presetClass="entr" presetSubtype="0" fill="hold" nodeType="after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500"/>
                                        <p:tgtEl>
                                          <p:spTgt spid="26"/>
                                        </p:tgtEl>
                                      </p:cBhvr>
                                    </p:animEffect>
                                  </p:childTnLst>
                                </p:cTn>
                              </p:par>
                            </p:childTnLst>
                          </p:cTn>
                        </p:par>
                        <p:par>
                          <p:cTn id="66" fill="hold">
                            <p:stCondLst>
                              <p:cond delay="4500"/>
                            </p:stCondLst>
                            <p:childTnLst>
                              <p:par>
                                <p:cTn id="67" presetID="10" presetClass="entr" presetSubtype="0" fill="hold" nodeType="afterEffect">
                                  <p:stCondLst>
                                    <p:cond delay="0"/>
                                  </p:stCondLst>
                                  <p:childTnLst>
                                    <p:set>
                                      <p:cBhvr>
                                        <p:cTn id="68" dur="1" fill="hold">
                                          <p:stCondLst>
                                            <p:cond delay="0"/>
                                          </p:stCondLst>
                                        </p:cTn>
                                        <p:tgtEl>
                                          <p:spTgt spid="34"/>
                                        </p:tgtEl>
                                        <p:attrNameLst>
                                          <p:attrName>style.visibility</p:attrName>
                                        </p:attrNameLst>
                                      </p:cBhvr>
                                      <p:to>
                                        <p:strVal val="visible"/>
                                      </p:to>
                                    </p:set>
                                    <p:animEffect transition="in" filter="fade">
                                      <p:cBhvr>
                                        <p:cTn id="69" dur="500"/>
                                        <p:tgtEl>
                                          <p:spTgt spid="34"/>
                                        </p:tgtEl>
                                      </p:cBhvr>
                                    </p:animEffect>
                                  </p:childTnLst>
                                </p:cTn>
                              </p:par>
                            </p:childTnLst>
                          </p:cTn>
                        </p:par>
                        <p:par>
                          <p:cTn id="70" fill="hold">
                            <p:stCondLst>
                              <p:cond delay="5000"/>
                            </p:stCondLst>
                            <p:childTnLst>
                              <p:par>
                                <p:cTn id="71" presetID="10" presetClass="entr" presetSubtype="0" fill="hold" nodeType="afterEffect">
                                  <p:stCondLst>
                                    <p:cond delay="0"/>
                                  </p:stCondLst>
                                  <p:childTnLst>
                                    <p:set>
                                      <p:cBhvr>
                                        <p:cTn id="72" dur="1" fill="hold">
                                          <p:stCondLst>
                                            <p:cond delay="0"/>
                                          </p:stCondLst>
                                        </p:cTn>
                                        <p:tgtEl>
                                          <p:spTgt spid="32"/>
                                        </p:tgtEl>
                                        <p:attrNameLst>
                                          <p:attrName>style.visibility</p:attrName>
                                        </p:attrNameLst>
                                      </p:cBhvr>
                                      <p:to>
                                        <p:strVal val="visible"/>
                                      </p:to>
                                    </p:set>
                                    <p:animEffect transition="in" filter="fade">
                                      <p:cBhvr>
                                        <p:cTn id="73" dur="500"/>
                                        <p:tgtEl>
                                          <p:spTgt spid="32"/>
                                        </p:tgtEl>
                                      </p:cBhvr>
                                    </p:animEffect>
                                  </p:childTnLst>
                                </p:cTn>
                              </p:par>
                            </p:childTnLst>
                          </p:cTn>
                        </p:par>
                        <p:par>
                          <p:cTn id="74" fill="hold">
                            <p:stCondLst>
                              <p:cond delay="5500"/>
                            </p:stCondLst>
                            <p:childTnLst>
                              <p:par>
                                <p:cTn id="75" presetID="10" presetClass="entr" presetSubtype="0" fill="hold" grpId="0" nodeType="afterEffect">
                                  <p:stCondLst>
                                    <p:cond delay="0"/>
                                  </p:stCondLst>
                                  <p:childTnLst>
                                    <p:set>
                                      <p:cBhvr>
                                        <p:cTn id="76" dur="1" fill="hold">
                                          <p:stCondLst>
                                            <p:cond delay="0"/>
                                          </p:stCondLst>
                                        </p:cTn>
                                        <p:tgtEl>
                                          <p:spTgt spid="54"/>
                                        </p:tgtEl>
                                        <p:attrNameLst>
                                          <p:attrName>style.visibility</p:attrName>
                                        </p:attrNameLst>
                                      </p:cBhvr>
                                      <p:to>
                                        <p:strVal val="visible"/>
                                      </p:to>
                                    </p:set>
                                    <p:animEffect transition="in" filter="fade">
                                      <p:cBhvr>
                                        <p:cTn id="77" dur="500"/>
                                        <p:tgtEl>
                                          <p:spTgt spid="54"/>
                                        </p:tgtEl>
                                      </p:cBhvr>
                                    </p:animEffect>
                                  </p:childTnLst>
                                </p:cTn>
                              </p:par>
                            </p:childTnLst>
                          </p:cTn>
                        </p:par>
                        <p:par>
                          <p:cTn id="78" fill="hold">
                            <p:stCondLst>
                              <p:cond delay="6000"/>
                            </p:stCondLst>
                            <p:childTnLst>
                              <p:par>
                                <p:cTn id="79" presetID="10" presetClass="entr" presetSubtype="0" fill="hold" grpId="0" nodeType="afterEffect">
                                  <p:stCondLst>
                                    <p:cond delay="0"/>
                                  </p:stCondLst>
                                  <p:childTnLst>
                                    <p:set>
                                      <p:cBhvr>
                                        <p:cTn id="80" dur="1" fill="hold">
                                          <p:stCondLst>
                                            <p:cond delay="0"/>
                                          </p:stCondLst>
                                        </p:cTn>
                                        <p:tgtEl>
                                          <p:spTgt spid="53"/>
                                        </p:tgtEl>
                                        <p:attrNameLst>
                                          <p:attrName>style.visibility</p:attrName>
                                        </p:attrNameLst>
                                      </p:cBhvr>
                                      <p:to>
                                        <p:strVal val="visible"/>
                                      </p:to>
                                    </p:set>
                                    <p:animEffect transition="in" filter="fade">
                                      <p:cBhvr>
                                        <p:cTn id="81" dur="500"/>
                                        <p:tgtEl>
                                          <p:spTgt spid="53"/>
                                        </p:tgtEl>
                                      </p:cBhvr>
                                    </p:animEffect>
                                  </p:childTnLst>
                                </p:cTn>
                              </p:par>
                            </p:childTnLst>
                          </p:cTn>
                        </p:par>
                        <p:par>
                          <p:cTn id="82" fill="hold">
                            <p:stCondLst>
                              <p:cond delay="6500"/>
                            </p:stCondLst>
                            <p:childTnLst>
                              <p:par>
                                <p:cTn id="83" presetID="10" presetClass="entr" presetSubtype="0" fill="hold" nodeType="afterEffect">
                                  <p:stCondLst>
                                    <p:cond delay="0"/>
                                  </p:stCondLst>
                                  <p:childTnLst>
                                    <p:set>
                                      <p:cBhvr>
                                        <p:cTn id="84" dur="1" fill="hold">
                                          <p:stCondLst>
                                            <p:cond delay="0"/>
                                          </p:stCondLst>
                                        </p:cTn>
                                        <p:tgtEl>
                                          <p:spTgt spid="36"/>
                                        </p:tgtEl>
                                        <p:attrNameLst>
                                          <p:attrName>style.visibility</p:attrName>
                                        </p:attrNameLst>
                                      </p:cBhvr>
                                      <p:to>
                                        <p:strVal val="visible"/>
                                      </p:to>
                                    </p:set>
                                    <p:animEffect transition="in" filter="fade">
                                      <p:cBhvr>
                                        <p:cTn id="85" dur="500"/>
                                        <p:tgtEl>
                                          <p:spTgt spid="36"/>
                                        </p:tgtEl>
                                      </p:cBhvr>
                                    </p:animEffect>
                                  </p:childTnLst>
                                </p:cTn>
                              </p:par>
                            </p:childTnLst>
                          </p:cTn>
                        </p:par>
                        <p:par>
                          <p:cTn id="86" fill="hold">
                            <p:stCondLst>
                              <p:cond delay="7000"/>
                            </p:stCondLst>
                            <p:childTnLst>
                              <p:par>
                                <p:cTn id="87" presetID="10" presetClass="entr" presetSubtype="0" fill="hold" nodeType="afterEffect">
                                  <p:stCondLst>
                                    <p:cond delay="0"/>
                                  </p:stCondLst>
                                  <p:childTnLst>
                                    <p:set>
                                      <p:cBhvr>
                                        <p:cTn id="88" dur="1" fill="hold">
                                          <p:stCondLst>
                                            <p:cond delay="0"/>
                                          </p:stCondLst>
                                        </p:cTn>
                                        <p:tgtEl>
                                          <p:spTgt spid="41"/>
                                        </p:tgtEl>
                                        <p:attrNameLst>
                                          <p:attrName>style.visibility</p:attrName>
                                        </p:attrNameLst>
                                      </p:cBhvr>
                                      <p:to>
                                        <p:strVal val="visible"/>
                                      </p:to>
                                    </p:set>
                                    <p:animEffect transition="in" filter="fade">
                                      <p:cBhvr>
                                        <p:cTn id="89" dur="500"/>
                                        <p:tgtEl>
                                          <p:spTgt spid="41"/>
                                        </p:tgtEl>
                                      </p:cBhvr>
                                    </p:animEffect>
                                  </p:childTnLst>
                                </p:cTn>
                              </p:par>
                            </p:childTnLst>
                          </p:cTn>
                        </p:par>
                        <p:par>
                          <p:cTn id="90" fill="hold">
                            <p:stCondLst>
                              <p:cond delay="7500"/>
                            </p:stCondLst>
                            <p:childTnLst>
                              <p:par>
                                <p:cTn id="91" presetID="10" presetClass="entr" presetSubtype="0" fill="hold" grpId="0" nodeType="afterEffect">
                                  <p:stCondLst>
                                    <p:cond delay="0"/>
                                  </p:stCondLst>
                                  <p:childTnLst>
                                    <p:set>
                                      <p:cBhvr>
                                        <p:cTn id="92" dur="1" fill="hold">
                                          <p:stCondLst>
                                            <p:cond delay="0"/>
                                          </p:stCondLst>
                                        </p:cTn>
                                        <p:tgtEl>
                                          <p:spTgt spid="55"/>
                                        </p:tgtEl>
                                        <p:attrNameLst>
                                          <p:attrName>style.visibility</p:attrName>
                                        </p:attrNameLst>
                                      </p:cBhvr>
                                      <p:to>
                                        <p:strVal val="visible"/>
                                      </p:to>
                                    </p:set>
                                    <p:animEffect transition="in" filter="fade">
                                      <p:cBhvr>
                                        <p:cTn id="93" dur="500"/>
                                        <p:tgtEl>
                                          <p:spTgt spid="55"/>
                                        </p:tgtEl>
                                      </p:cBhvr>
                                    </p:animEffect>
                                  </p:childTnLst>
                                </p:cTn>
                              </p:par>
                            </p:childTnLst>
                          </p:cTn>
                        </p:par>
                        <p:par>
                          <p:cTn id="94" fill="hold">
                            <p:stCondLst>
                              <p:cond delay="8000"/>
                            </p:stCondLst>
                            <p:childTnLst>
                              <p:par>
                                <p:cTn id="95" presetID="10" presetClass="entr" presetSubtype="0" fill="hold" nodeType="afterEffect">
                                  <p:stCondLst>
                                    <p:cond delay="0"/>
                                  </p:stCondLst>
                                  <p:childTnLst>
                                    <p:set>
                                      <p:cBhvr>
                                        <p:cTn id="96" dur="1" fill="hold">
                                          <p:stCondLst>
                                            <p:cond delay="0"/>
                                          </p:stCondLst>
                                        </p:cTn>
                                        <p:tgtEl>
                                          <p:spTgt spid="43"/>
                                        </p:tgtEl>
                                        <p:attrNameLst>
                                          <p:attrName>style.visibility</p:attrName>
                                        </p:attrNameLst>
                                      </p:cBhvr>
                                      <p:to>
                                        <p:strVal val="visible"/>
                                      </p:to>
                                    </p:set>
                                    <p:animEffect transition="in" filter="fade">
                                      <p:cBhvr>
                                        <p:cTn id="97" dur="500"/>
                                        <p:tgtEl>
                                          <p:spTgt spid="43"/>
                                        </p:tgtEl>
                                      </p:cBhvr>
                                    </p:animEffect>
                                  </p:childTnLst>
                                </p:cTn>
                              </p:par>
                            </p:childTnLst>
                          </p:cTn>
                        </p:par>
                        <p:par>
                          <p:cTn id="98" fill="hold">
                            <p:stCondLst>
                              <p:cond delay="8500"/>
                            </p:stCondLst>
                            <p:childTnLst>
                              <p:par>
                                <p:cTn id="99" presetID="10" presetClass="entr" presetSubtype="0" fill="hold" nodeType="afterEffect">
                                  <p:stCondLst>
                                    <p:cond delay="0"/>
                                  </p:stCondLst>
                                  <p:childTnLst>
                                    <p:set>
                                      <p:cBhvr>
                                        <p:cTn id="100" dur="1" fill="hold">
                                          <p:stCondLst>
                                            <p:cond delay="0"/>
                                          </p:stCondLst>
                                        </p:cTn>
                                        <p:tgtEl>
                                          <p:spTgt spid="45"/>
                                        </p:tgtEl>
                                        <p:attrNameLst>
                                          <p:attrName>style.visibility</p:attrName>
                                        </p:attrNameLst>
                                      </p:cBhvr>
                                      <p:to>
                                        <p:strVal val="visible"/>
                                      </p:to>
                                    </p:set>
                                    <p:animEffect transition="in" filter="fade">
                                      <p:cBhvr>
                                        <p:cTn id="101" dur="500"/>
                                        <p:tgtEl>
                                          <p:spTgt spid="45"/>
                                        </p:tgtEl>
                                      </p:cBhvr>
                                    </p:animEffect>
                                  </p:childTnLst>
                                </p:cTn>
                              </p:par>
                            </p:childTnLst>
                          </p:cTn>
                        </p:par>
                        <p:par>
                          <p:cTn id="102" fill="hold">
                            <p:stCondLst>
                              <p:cond delay="9000"/>
                            </p:stCondLst>
                            <p:childTnLst>
                              <p:par>
                                <p:cTn id="103" presetID="10" presetClass="entr" presetSubtype="0" fill="hold" grpId="0" nodeType="afterEffect">
                                  <p:stCondLst>
                                    <p:cond delay="0"/>
                                  </p:stCondLst>
                                  <p:childTnLst>
                                    <p:set>
                                      <p:cBhvr>
                                        <p:cTn id="104" dur="1" fill="hold">
                                          <p:stCondLst>
                                            <p:cond delay="0"/>
                                          </p:stCondLst>
                                        </p:cTn>
                                        <p:tgtEl>
                                          <p:spTgt spid="56"/>
                                        </p:tgtEl>
                                        <p:attrNameLst>
                                          <p:attrName>style.visibility</p:attrName>
                                        </p:attrNameLst>
                                      </p:cBhvr>
                                      <p:to>
                                        <p:strVal val="visible"/>
                                      </p:to>
                                    </p:set>
                                    <p:animEffect transition="in" filter="fade">
                                      <p:cBhvr>
                                        <p:cTn id="105" dur="500"/>
                                        <p:tgtEl>
                                          <p:spTgt spid="56"/>
                                        </p:tgtEl>
                                      </p:cBhvr>
                                    </p:animEffect>
                                  </p:childTnLst>
                                </p:cTn>
                              </p:par>
                            </p:childTnLst>
                          </p:cTn>
                        </p:par>
                        <p:par>
                          <p:cTn id="106" fill="hold">
                            <p:stCondLst>
                              <p:cond delay="9500"/>
                            </p:stCondLst>
                            <p:childTnLst>
                              <p:par>
                                <p:cTn id="107" presetID="10" presetClass="entr" presetSubtype="0" fill="hold" nodeType="afterEffect">
                                  <p:stCondLst>
                                    <p:cond delay="0"/>
                                  </p:stCondLst>
                                  <p:childTnLst>
                                    <p:set>
                                      <p:cBhvr>
                                        <p:cTn id="108" dur="1" fill="hold">
                                          <p:stCondLst>
                                            <p:cond delay="0"/>
                                          </p:stCondLst>
                                        </p:cTn>
                                        <p:tgtEl>
                                          <p:spTgt spid="47"/>
                                        </p:tgtEl>
                                        <p:attrNameLst>
                                          <p:attrName>style.visibility</p:attrName>
                                        </p:attrNameLst>
                                      </p:cBhvr>
                                      <p:to>
                                        <p:strVal val="visible"/>
                                      </p:to>
                                    </p:set>
                                    <p:animEffect transition="in" filter="fade">
                                      <p:cBhvr>
                                        <p:cTn id="109" dur="500"/>
                                        <p:tgtEl>
                                          <p:spTgt spid="47"/>
                                        </p:tgtEl>
                                      </p:cBhvr>
                                    </p:animEffect>
                                  </p:childTnLst>
                                </p:cTn>
                              </p:par>
                            </p:childTnLst>
                          </p:cTn>
                        </p:par>
                      </p:childTnLst>
                    </p:cTn>
                  </p:par>
                  <p:par>
                    <p:cTn id="110" fill="hold">
                      <p:stCondLst>
                        <p:cond delay="indefinite"/>
                      </p:stCondLst>
                      <p:childTnLst>
                        <p:par>
                          <p:cTn id="111" fill="hold">
                            <p:stCondLst>
                              <p:cond delay="0"/>
                            </p:stCondLst>
                            <p:childTnLst>
                              <p:par>
                                <p:cTn id="112" presetID="22" presetClass="entr" presetSubtype="2" fill="hold" grpId="0" nodeType="clickEffect">
                                  <p:stCondLst>
                                    <p:cond delay="0"/>
                                  </p:stCondLst>
                                  <p:childTnLst>
                                    <p:set>
                                      <p:cBhvr>
                                        <p:cTn id="113" dur="1" fill="hold">
                                          <p:stCondLst>
                                            <p:cond delay="0"/>
                                          </p:stCondLst>
                                        </p:cTn>
                                        <p:tgtEl>
                                          <p:spTgt spid="62"/>
                                        </p:tgtEl>
                                        <p:attrNameLst>
                                          <p:attrName>style.visibility</p:attrName>
                                        </p:attrNameLst>
                                      </p:cBhvr>
                                      <p:to>
                                        <p:strVal val="visible"/>
                                      </p:to>
                                    </p:set>
                                    <p:animEffect transition="in" filter="wipe(right)">
                                      <p:cBhvr>
                                        <p:cTn id="114" dur="500"/>
                                        <p:tgtEl>
                                          <p:spTgt spid="62"/>
                                        </p:tgtEl>
                                      </p:cBhvr>
                                    </p:animEffect>
                                  </p:childTnLst>
                                </p:cTn>
                              </p:par>
                            </p:childTnLst>
                          </p:cTn>
                        </p:par>
                        <p:par>
                          <p:cTn id="115" fill="hold">
                            <p:stCondLst>
                              <p:cond delay="500"/>
                            </p:stCondLst>
                            <p:childTnLst>
                              <p:par>
                                <p:cTn id="116" presetID="10" presetClass="entr" presetSubtype="0" fill="hold" nodeType="afterEffect">
                                  <p:stCondLst>
                                    <p:cond delay="0"/>
                                  </p:stCondLst>
                                  <p:childTnLst>
                                    <p:set>
                                      <p:cBhvr>
                                        <p:cTn id="117" dur="1" fill="hold">
                                          <p:stCondLst>
                                            <p:cond delay="0"/>
                                          </p:stCondLst>
                                        </p:cTn>
                                        <p:tgtEl>
                                          <p:spTgt spid="61"/>
                                        </p:tgtEl>
                                        <p:attrNameLst>
                                          <p:attrName>style.visibility</p:attrName>
                                        </p:attrNameLst>
                                      </p:cBhvr>
                                      <p:to>
                                        <p:strVal val="visible"/>
                                      </p:to>
                                    </p:set>
                                    <p:animEffect transition="in" filter="fade">
                                      <p:cBhvr>
                                        <p:cTn id="118" dur="500"/>
                                        <p:tgtEl>
                                          <p:spTgt spid="61"/>
                                        </p:tgtEl>
                                      </p:cBhvr>
                                    </p:animEffect>
                                  </p:childTnLst>
                                </p:cTn>
                              </p:par>
                            </p:childTnLst>
                          </p:cTn>
                        </p:par>
                        <p:par>
                          <p:cTn id="119" fill="hold">
                            <p:stCondLst>
                              <p:cond delay="1000"/>
                            </p:stCondLst>
                            <p:childTnLst>
                              <p:par>
                                <p:cTn id="120" presetID="22" presetClass="entr" presetSubtype="2" fill="hold" grpId="0" nodeType="afterEffect">
                                  <p:stCondLst>
                                    <p:cond delay="0"/>
                                  </p:stCondLst>
                                  <p:childTnLst>
                                    <p:set>
                                      <p:cBhvr>
                                        <p:cTn id="121" dur="1" fill="hold">
                                          <p:stCondLst>
                                            <p:cond delay="0"/>
                                          </p:stCondLst>
                                        </p:cTn>
                                        <p:tgtEl>
                                          <p:spTgt spid="63"/>
                                        </p:tgtEl>
                                        <p:attrNameLst>
                                          <p:attrName>style.visibility</p:attrName>
                                        </p:attrNameLst>
                                      </p:cBhvr>
                                      <p:to>
                                        <p:strVal val="visible"/>
                                      </p:to>
                                    </p:set>
                                    <p:animEffect transition="in" filter="wipe(right)">
                                      <p:cBhvr>
                                        <p:cTn id="122" dur="500"/>
                                        <p:tgtEl>
                                          <p:spTgt spid="63"/>
                                        </p:tgtEl>
                                      </p:cBhvr>
                                    </p:animEffect>
                                  </p:childTnLst>
                                </p:cTn>
                              </p:par>
                            </p:childTnLst>
                          </p:cTn>
                        </p:par>
                      </p:childTnLst>
                    </p:cTn>
                  </p:par>
                  <p:par>
                    <p:cTn id="123" fill="hold">
                      <p:stCondLst>
                        <p:cond delay="indefinite"/>
                      </p:stCondLst>
                      <p:childTnLst>
                        <p:par>
                          <p:cTn id="124" fill="hold">
                            <p:stCondLst>
                              <p:cond delay="0"/>
                            </p:stCondLst>
                            <p:childTnLst>
                              <p:par>
                                <p:cTn id="125" presetID="22" presetClass="entr" presetSubtype="2" fill="hold" grpId="0" nodeType="clickEffect">
                                  <p:stCondLst>
                                    <p:cond delay="0"/>
                                  </p:stCondLst>
                                  <p:childTnLst>
                                    <p:set>
                                      <p:cBhvr>
                                        <p:cTn id="126" dur="1" fill="hold">
                                          <p:stCondLst>
                                            <p:cond delay="0"/>
                                          </p:stCondLst>
                                        </p:cTn>
                                        <p:tgtEl>
                                          <p:spTgt spid="59"/>
                                        </p:tgtEl>
                                        <p:attrNameLst>
                                          <p:attrName>style.visibility</p:attrName>
                                        </p:attrNameLst>
                                      </p:cBhvr>
                                      <p:to>
                                        <p:strVal val="visible"/>
                                      </p:to>
                                    </p:set>
                                    <p:animEffect transition="in" filter="wipe(right)">
                                      <p:cBhvr>
                                        <p:cTn id="127" dur="500"/>
                                        <p:tgtEl>
                                          <p:spTgt spid="59"/>
                                        </p:tgtEl>
                                      </p:cBhvr>
                                    </p:animEffect>
                                  </p:childTnLst>
                                </p:cTn>
                              </p:par>
                            </p:childTnLst>
                          </p:cTn>
                        </p:par>
                        <p:par>
                          <p:cTn id="128" fill="hold">
                            <p:stCondLst>
                              <p:cond delay="500"/>
                            </p:stCondLst>
                            <p:childTnLst>
                              <p:par>
                                <p:cTn id="129" presetID="10" presetClass="entr" presetSubtype="0" fill="hold" grpId="0" nodeType="afterEffect">
                                  <p:stCondLst>
                                    <p:cond delay="0"/>
                                  </p:stCondLst>
                                  <p:childTnLst>
                                    <p:set>
                                      <p:cBhvr>
                                        <p:cTn id="130" dur="1" fill="hold">
                                          <p:stCondLst>
                                            <p:cond delay="0"/>
                                          </p:stCondLst>
                                        </p:cTn>
                                        <p:tgtEl>
                                          <p:spTgt spid="66"/>
                                        </p:tgtEl>
                                        <p:attrNameLst>
                                          <p:attrName>style.visibility</p:attrName>
                                        </p:attrNameLst>
                                      </p:cBhvr>
                                      <p:to>
                                        <p:strVal val="visible"/>
                                      </p:to>
                                    </p:set>
                                    <p:animEffect transition="in" filter="fade">
                                      <p:cBhvr>
                                        <p:cTn id="131" dur="500"/>
                                        <p:tgtEl>
                                          <p:spTgt spid="66"/>
                                        </p:tgtEl>
                                      </p:cBhvr>
                                    </p:animEffect>
                                  </p:childTnLst>
                                </p:cTn>
                              </p:par>
                            </p:childTnLst>
                          </p:cTn>
                        </p:par>
                        <p:par>
                          <p:cTn id="132" fill="hold">
                            <p:stCondLst>
                              <p:cond delay="1000"/>
                            </p:stCondLst>
                            <p:childTnLst>
                              <p:par>
                                <p:cTn id="133" presetID="10" presetClass="entr" presetSubtype="0" fill="hold" grpId="0" nodeType="afterEffect">
                                  <p:stCondLst>
                                    <p:cond delay="0"/>
                                  </p:stCondLst>
                                  <p:childTnLst>
                                    <p:set>
                                      <p:cBhvr>
                                        <p:cTn id="134" dur="1" fill="hold">
                                          <p:stCondLst>
                                            <p:cond delay="0"/>
                                          </p:stCondLst>
                                        </p:cTn>
                                        <p:tgtEl>
                                          <p:spTgt spid="65"/>
                                        </p:tgtEl>
                                        <p:attrNameLst>
                                          <p:attrName>style.visibility</p:attrName>
                                        </p:attrNameLst>
                                      </p:cBhvr>
                                      <p:to>
                                        <p:strVal val="visible"/>
                                      </p:to>
                                    </p:set>
                                    <p:animEffect transition="in" filter="fade">
                                      <p:cBhvr>
                                        <p:cTn id="135" dur="500"/>
                                        <p:tgtEl>
                                          <p:spTgt spid="65"/>
                                        </p:tgtEl>
                                      </p:cBhvr>
                                    </p:animEffect>
                                  </p:childTnLst>
                                </p:cTn>
                              </p:par>
                            </p:childTnLst>
                          </p:cTn>
                        </p:par>
                        <p:par>
                          <p:cTn id="136" fill="hold">
                            <p:stCondLst>
                              <p:cond delay="1500"/>
                            </p:stCondLst>
                            <p:childTnLst>
                              <p:par>
                                <p:cTn id="137" presetID="10" presetClass="entr" presetSubtype="0" fill="hold" grpId="0" nodeType="afterEffect">
                                  <p:stCondLst>
                                    <p:cond delay="0"/>
                                  </p:stCondLst>
                                  <p:childTnLst>
                                    <p:set>
                                      <p:cBhvr>
                                        <p:cTn id="138" dur="1" fill="hold">
                                          <p:stCondLst>
                                            <p:cond delay="0"/>
                                          </p:stCondLst>
                                        </p:cTn>
                                        <p:tgtEl>
                                          <p:spTgt spid="50"/>
                                        </p:tgtEl>
                                        <p:attrNameLst>
                                          <p:attrName>style.visibility</p:attrName>
                                        </p:attrNameLst>
                                      </p:cBhvr>
                                      <p:to>
                                        <p:strVal val="visible"/>
                                      </p:to>
                                    </p:set>
                                    <p:animEffect transition="in" filter="fade">
                                      <p:cBhvr>
                                        <p:cTn id="139" dur="500"/>
                                        <p:tgtEl>
                                          <p:spTgt spid="50"/>
                                        </p:tgtEl>
                                      </p:cBhvr>
                                    </p:animEffect>
                                  </p:childTnLst>
                                </p:cTn>
                              </p:par>
                              <p:par>
                                <p:cTn id="140" presetID="10" presetClass="entr" presetSubtype="0" fill="hold" nodeType="withEffect">
                                  <p:stCondLst>
                                    <p:cond delay="0"/>
                                  </p:stCondLst>
                                  <p:childTnLst>
                                    <p:set>
                                      <p:cBhvr>
                                        <p:cTn id="141" dur="1" fill="hold">
                                          <p:stCondLst>
                                            <p:cond delay="0"/>
                                          </p:stCondLst>
                                        </p:cTn>
                                        <p:tgtEl>
                                          <p:spTgt spid="24"/>
                                        </p:tgtEl>
                                        <p:attrNameLst>
                                          <p:attrName>style.visibility</p:attrName>
                                        </p:attrNameLst>
                                      </p:cBhvr>
                                      <p:to>
                                        <p:strVal val="visible"/>
                                      </p:to>
                                    </p:set>
                                    <p:animEffect transition="in" filter="fade">
                                      <p:cBhvr>
                                        <p:cTn id="142" dur="500"/>
                                        <p:tgtEl>
                                          <p:spTgt spid="24"/>
                                        </p:tgtEl>
                                      </p:cBhvr>
                                    </p:animEffect>
                                  </p:childTnLst>
                                </p:cTn>
                              </p:par>
                            </p:childTnLst>
                          </p:cTn>
                        </p:par>
                        <p:par>
                          <p:cTn id="143" fill="hold">
                            <p:stCondLst>
                              <p:cond delay="2000"/>
                            </p:stCondLst>
                            <p:childTnLst>
                              <p:par>
                                <p:cTn id="144" presetID="10" presetClass="entr" presetSubtype="0" fill="hold" grpId="0" nodeType="afterEffect">
                                  <p:stCondLst>
                                    <p:cond delay="500"/>
                                  </p:stCondLst>
                                  <p:childTnLst>
                                    <p:set>
                                      <p:cBhvr>
                                        <p:cTn id="145" dur="1" fill="hold">
                                          <p:stCondLst>
                                            <p:cond delay="0"/>
                                          </p:stCondLst>
                                        </p:cTn>
                                        <p:tgtEl>
                                          <p:spTgt spid="68"/>
                                        </p:tgtEl>
                                        <p:attrNameLst>
                                          <p:attrName>style.visibility</p:attrName>
                                        </p:attrNameLst>
                                      </p:cBhvr>
                                      <p:to>
                                        <p:strVal val="visible"/>
                                      </p:to>
                                    </p:set>
                                    <p:animEffect transition="in" filter="fade">
                                      <p:cBhvr>
                                        <p:cTn id="146" dur="500"/>
                                        <p:tgtEl>
                                          <p:spTgt spid="68"/>
                                        </p:tgtEl>
                                      </p:cBhvr>
                                    </p:animEffect>
                                  </p:childTnLst>
                                </p:cTn>
                              </p:par>
                            </p:childTnLst>
                          </p:cTn>
                        </p:par>
                        <p:par>
                          <p:cTn id="147" fill="hold">
                            <p:stCondLst>
                              <p:cond delay="3000"/>
                            </p:stCondLst>
                            <p:childTnLst>
                              <p:par>
                                <p:cTn id="148" presetID="10" presetClass="entr" presetSubtype="0" fill="hold" grpId="0" nodeType="afterEffect">
                                  <p:stCondLst>
                                    <p:cond delay="0"/>
                                  </p:stCondLst>
                                  <p:childTnLst>
                                    <p:set>
                                      <p:cBhvr>
                                        <p:cTn id="149" dur="1" fill="hold">
                                          <p:stCondLst>
                                            <p:cond delay="0"/>
                                          </p:stCondLst>
                                        </p:cTn>
                                        <p:tgtEl>
                                          <p:spTgt spid="69"/>
                                        </p:tgtEl>
                                        <p:attrNameLst>
                                          <p:attrName>style.visibility</p:attrName>
                                        </p:attrNameLst>
                                      </p:cBhvr>
                                      <p:to>
                                        <p:strVal val="visible"/>
                                      </p:to>
                                    </p:set>
                                    <p:animEffect transition="in" filter="fade">
                                      <p:cBhvr>
                                        <p:cTn id="150" dur="500"/>
                                        <p:tgtEl>
                                          <p:spTgt spid="69"/>
                                        </p:tgtEl>
                                      </p:cBhvr>
                                    </p:animEffect>
                                  </p:childTnLst>
                                </p:cTn>
                              </p:par>
                            </p:childTnLst>
                          </p:cTn>
                        </p:par>
                        <p:par>
                          <p:cTn id="151" fill="hold">
                            <p:stCondLst>
                              <p:cond delay="3500"/>
                            </p:stCondLst>
                            <p:childTnLst>
                              <p:par>
                                <p:cTn id="152" presetID="10" presetClass="entr" presetSubtype="0" fill="hold" grpId="0" nodeType="afterEffect">
                                  <p:stCondLst>
                                    <p:cond delay="0"/>
                                  </p:stCondLst>
                                  <p:childTnLst>
                                    <p:set>
                                      <p:cBhvr>
                                        <p:cTn id="153" dur="1" fill="hold">
                                          <p:stCondLst>
                                            <p:cond delay="0"/>
                                          </p:stCondLst>
                                        </p:cTn>
                                        <p:tgtEl>
                                          <p:spTgt spid="70"/>
                                        </p:tgtEl>
                                        <p:attrNameLst>
                                          <p:attrName>style.visibility</p:attrName>
                                        </p:attrNameLst>
                                      </p:cBhvr>
                                      <p:to>
                                        <p:strVal val="visible"/>
                                      </p:to>
                                    </p:set>
                                    <p:animEffect transition="in" filter="fade">
                                      <p:cBhvr>
                                        <p:cTn id="15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50" grpId="0" animBg="1"/>
      <p:bldP spid="51" grpId="0" animBg="1"/>
      <p:bldP spid="52" grpId="0" animBg="1"/>
      <p:bldP spid="53" grpId="0" animBg="1"/>
      <p:bldP spid="54" grpId="0" animBg="1"/>
      <p:bldP spid="55" grpId="0" animBg="1"/>
      <p:bldP spid="56" grpId="0" animBg="1"/>
      <p:bldP spid="57" grpId="0"/>
      <p:bldP spid="58" grpId="0"/>
      <p:bldP spid="59" grpId="0" animBg="1"/>
      <p:bldP spid="62" grpId="0" animBg="1"/>
      <p:bldP spid="63" grpId="0" animBg="1"/>
      <p:bldP spid="64" grpId="0" animBg="1"/>
      <p:bldP spid="65" grpId="0" animBg="1"/>
      <p:bldP spid="66" grpId="0" animBg="1"/>
      <p:bldP spid="68" grpId="0" animBg="1"/>
      <p:bldP spid="69" grpId="0" animBg="1"/>
      <p:bldP spid="7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2BB00-456F-446D-BF37-7ECA8ECD9198}"/>
              </a:ext>
            </a:extLst>
          </p:cNvPr>
          <p:cNvSpPr>
            <a:spLocks noGrp="1"/>
          </p:cNvSpPr>
          <p:nvPr>
            <p:ph type="title"/>
          </p:nvPr>
        </p:nvSpPr>
        <p:spPr/>
        <p:txBody>
          <a:bodyPr/>
          <a:lstStyle/>
          <a:p>
            <a:r>
              <a:rPr lang="en-US"/>
              <a:t>Building from scratch is a huge undertaking</a:t>
            </a:r>
            <a:endParaRPr lang="en-IN">
              <a:solidFill>
                <a:schemeClr val="bg1"/>
              </a:solidFill>
            </a:endParaRPr>
          </a:p>
        </p:txBody>
      </p:sp>
      <p:sp>
        <p:nvSpPr>
          <p:cNvPr id="4" name="Freeform: Shape 3">
            <a:extLst>
              <a:ext uri="{FF2B5EF4-FFF2-40B4-BE49-F238E27FC236}">
                <a16:creationId xmlns:a16="http://schemas.microsoft.com/office/drawing/2014/main" id="{CF02E1F2-1224-419D-BAAE-D0537E8E1904}"/>
              </a:ext>
            </a:extLst>
          </p:cNvPr>
          <p:cNvSpPr/>
          <p:nvPr/>
        </p:nvSpPr>
        <p:spPr bwMode="auto">
          <a:xfrm rot="5400000">
            <a:off x="10875457" y="5498145"/>
            <a:ext cx="1874428" cy="758654"/>
          </a:xfrm>
          <a:custGeom>
            <a:avLst/>
            <a:gdLst>
              <a:gd name="connsiteX0" fmla="*/ 0 w 1874428"/>
              <a:gd name="connsiteY0" fmla="*/ 0 h 758654"/>
              <a:gd name="connsiteX1" fmla="*/ 1874428 w 1874428"/>
              <a:gd name="connsiteY1" fmla="*/ 0 h 758654"/>
              <a:gd name="connsiteX2" fmla="*/ 1495100 w 1874428"/>
              <a:gd name="connsiteY2" fmla="*/ 758654 h 758654"/>
              <a:gd name="connsiteX3" fmla="*/ 379327 w 1874428"/>
              <a:gd name="connsiteY3" fmla="*/ 758654 h 758654"/>
            </a:gdLst>
            <a:ahLst/>
            <a:cxnLst>
              <a:cxn ang="0">
                <a:pos x="connsiteX0" y="connsiteY0"/>
              </a:cxn>
              <a:cxn ang="0">
                <a:pos x="connsiteX1" y="connsiteY1"/>
              </a:cxn>
              <a:cxn ang="0">
                <a:pos x="connsiteX2" y="connsiteY2"/>
              </a:cxn>
              <a:cxn ang="0">
                <a:pos x="connsiteX3" y="connsiteY3"/>
              </a:cxn>
            </a:cxnLst>
            <a:rect l="l" t="t" r="r" b="b"/>
            <a:pathLst>
              <a:path w="1874428" h="758654">
                <a:moveTo>
                  <a:pt x="0" y="0"/>
                </a:moveTo>
                <a:lnTo>
                  <a:pt x="1874428" y="0"/>
                </a:lnTo>
                <a:lnTo>
                  <a:pt x="1495100" y="758654"/>
                </a:lnTo>
                <a:lnTo>
                  <a:pt x="379327" y="758654"/>
                </a:lnTo>
                <a:close/>
              </a:path>
            </a:pathLst>
          </a:custGeom>
          <a:solidFill>
            <a:schemeClr val="accent3"/>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5" name="Freeform: Shape 4">
            <a:extLst>
              <a:ext uri="{FF2B5EF4-FFF2-40B4-BE49-F238E27FC236}">
                <a16:creationId xmlns:a16="http://schemas.microsoft.com/office/drawing/2014/main" id="{5094C6F0-6BF7-4806-8615-9F804EA7C441}"/>
              </a:ext>
            </a:extLst>
          </p:cNvPr>
          <p:cNvSpPr/>
          <p:nvPr/>
        </p:nvSpPr>
        <p:spPr bwMode="auto">
          <a:xfrm rot="5400000">
            <a:off x="10875457" y="2127386"/>
            <a:ext cx="1874428" cy="758654"/>
          </a:xfrm>
          <a:custGeom>
            <a:avLst/>
            <a:gdLst>
              <a:gd name="connsiteX0" fmla="*/ 0 w 1874428"/>
              <a:gd name="connsiteY0" fmla="*/ 0 h 758654"/>
              <a:gd name="connsiteX1" fmla="*/ 1874428 w 1874428"/>
              <a:gd name="connsiteY1" fmla="*/ 0 h 758654"/>
              <a:gd name="connsiteX2" fmla="*/ 1495100 w 1874428"/>
              <a:gd name="connsiteY2" fmla="*/ 758654 h 758654"/>
              <a:gd name="connsiteX3" fmla="*/ 379327 w 1874428"/>
              <a:gd name="connsiteY3" fmla="*/ 758654 h 758654"/>
            </a:gdLst>
            <a:ahLst/>
            <a:cxnLst>
              <a:cxn ang="0">
                <a:pos x="connsiteX0" y="connsiteY0"/>
              </a:cxn>
              <a:cxn ang="0">
                <a:pos x="connsiteX1" y="connsiteY1"/>
              </a:cxn>
              <a:cxn ang="0">
                <a:pos x="connsiteX2" y="connsiteY2"/>
              </a:cxn>
              <a:cxn ang="0">
                <a:pos x="connsiteX3" y="connsiteY3"/>
              </a:cxn>
            </a:cxnLst>
            <a:rect l="l" t="t" r="r" b="b"/>
            <a:pathLst>
              <a:path w="1874428" h="758654">
                <a:moveTo>
                  <a:pt x="0" y="0"/>
                </a:moveTo>
                <a:lnTo>
                  <a:pt x="1874428" y="0"/>
                </a:lnTo>
                <a:lnTo>
                  <a:pt x="1495100" y="758654"/>
                </a:lnTo>
                <a:lnTo>
                  <a:pt x="379327" y="758654"/>
                </a:lnTo>
                <a:close/>
              </a:path>
            </a:pathLst>
          </a:custGeom>
          <a:solidFill>
            <a:schemeClr val="accent3"/>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12" name="Freeform: Shape 11">
            <a:extLst>
              <a:ext uri="{FF2B5EF4-FFF2-40B4-BE49-F238E27FC236}">
                <a16:creationId xmlns:a16="http://schemas.microsoft.com/office/drawing/2014/main" id="{B54F350D-E91F-4AB0-9D40-C01326395E01}"/>
              </a:ext>
            </a:extLst>
          </p:cNvPr>
          <p:cNvSpPr/>
          <p:nvPr/>
        </p:nvSpPr>
        <p:spPr bwMode="auto">
          <a:xfrm rot="5400000">
            <a:off x="259875" y="6322448"/>
            <a:ext cx="275677" cy="795427"/>
          </a:xfrm>
          <a:custGeom>
            <a:avLst/>
            <a:gdLst>
              <a:gd name="connsiteX0" fmla="*/ 0 w 275677"/>
              <a:gd name="connsiteY0" fmla="*/ 551353 h 795427"/>
              <a:gd name="connsiteX1" fmla="*/ 275677 w 275677"/>
              <a:gd name="connsiteY1" fmla="*/ 0 h 795427"/>
              <a:gd name="connsiteX2" fmla="*/ 275677 w 275677"/>
              <a:gd name="connsiteY2" fmla="*/ 795427 h 795427"/>
              <a:gd name="connsiteX3" fmla="*/ 122037 w 275677"/>
              <a:gd name="connsiteY3" fmla="*/ 795427 h 795427"/>
            </a:gdLst>
            <a:ahLst/>
            <a:cxnLst>
              <a:cxn ang="0">
                <a:pos x="connsiteX0" y="connsiteY0"/>
              </a:cxn>
              <a:cxn ang="0">
                <a:pos x="connsiteX1" y="connsiteY1"/>
              </a:cxn>
              <a:cxn ang="0">
                <a:pos x="connsiteX2" y="connsiteY2"/>
              </a:cxn>
              <a:cxn ang="0">
                <a:pos x="connsiteX3" y="connsiteY3"/>
              </a:cxn>
            </a:cxnLst>
            <a:rect l="l" t="t" r="r" b="b"/>
            <a:pathLst>
              <a:path w="275677" h="795427">
                <a:moveTo>
                  <a:pt x="0" y="551353"/>
                </a:moveTo>
                <a:lnTo>
                  <a:pt x="275677" y="0"/>
                </a:lnTo>
                <a:lnTo>
                  <a:pt x="275677" y="795427"/>
                </a:lnTo>
                <a:lnTo>
                  <a:pt x="122037" y="795427"/>
                </a:lnTo>
                <a:close/>
              </a:path>
            </a:pathLst>
          </a:custGeom>
          <a:solidFill>
            <a:schemeClr val="accent3"/>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56" name="Hexagon 55">
            <a:extLst>
              <a:ext uri="{FF2B5EF4-FFF2-40B4-BE49-F238E27FC236}">
                <a16:creationId xmlns:a16="http://schemas.microsoft.com/office/drawing/2014/main" id="{4DE4AD2B-24F0-494B-B430-4AEF96E72A79}"/>
              </a:ext>
            </a:extLst>
          </p:cNvPr>
          <p:cNvSpPr/>
          <p:nvPr/>
        </p:nvSpPr>
        <p:spPr bwMode="auto">
          <a:xfrm rot="5400000">
            <a:off x="7598703" y="1661429"/>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Choose your ledger</a:t>
            </a:r>
          </a:p>
        </p:txBody>
      </p:sp>
      <p:sp>
        <p:nvSpPr>
          <p:cNvPr id="54" name="Hexagon 53">
            <a:extLst>
              <a:ext uri="{FF2B5EF4-FFF2-40B4-BE49-F238E27FC236}">
                <a16:creationId xmlns:a16="http://schemas.microsoft.com/office/drawing/2014/main" id="{10C64099-D44C-423C-B58B-565171648152}"/>
              </a:ext>
            </a:extLst>
          </p:cNvPr>
          <p:cNvSpPr/>
          <p:nvPr/>
        </p:nvSpPr>
        <p:spPr bwMode="auto">
          <a:xfrm rot="5400000">
            <a:off x="9449692" y="1661429"/>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Write smart contract</a:t>
            </a:r>
          </a:p>
        </p:txBody>
      </p:sp>
      <p:sp>
        <p:nvSpPr>
          <p:cNvPr id="52" name="Hexagon 51">
            <a:extLst>
              <a:ext uri="{FF2B5EF4-FFF2-40B4-BE49-F238E27FC236}">
                <a16:creationId xmlns:a16="http://schemas.microsoft.com/office/drawing/2014/main" id="{1E80F247-6CA3-4F8A-A757-10D32A0EAFB3}"/>
              </a:ext>
            </a:extLst>
          </p:cNvPr>
          <p:cNvSpPr/>
          <p:nvPr/>
        </p:nvSpPr>
        <p:spPr bwMode="auto">
          <a:xfrm rot="5400000">
            <a:off x="5747714" y="1661429"/>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Manage node</a:t>
            </a:r>
            <a:b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b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health</a:t>
            </a:r>
          </a:p>
        </p:txBody>
      </p:sp>
      <p:sp>
        <p:nvSpPr>
          <p:cNvPr id="50" name="Hexagon 49">
            <a:extLst>
              <a:ext uri="{FF2B5EF4-FFF2-40B4-BE49-F238E27FC236}">
                <a16:creationId xmlns:a16="http://schemas.microsoft.com/office/drawing/2014/main" id="{3A5AE666-1328-4446-A529-7DC42B06AD2A}"/>
              </a:ext>
            </a:extLst>
          </p:cNvPr>
          <p:cNvSpPr/>
          <p:nvPr/>
        </p:nvSpPr>
        <p:spPr bwMode="auto">
          <a:xfrm rot="5400000">
            <a:off x="3896724" y="1661429"/>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Build the network </a:t>
            </a:r>
          </a:p>
        </p:txBody>
      </p:sp>
      <p:sp>
        <p:nvSpPr>
          <p:cNvPr id="48" name="Hexagon 47">
            <a:extLst>
              <a:ext uri="{FF2B5EF4-FFF2-40B4-BE49-F238E27FC236}">
                <a16:creationId xmlns:a16="http://schemas.microsoft.com/office/drawing/2014/main" id="{55A78E24-3EE0-432C-811A-BDD45A9E2D18}"/>
              </a:ext>
            </a:extLst>
          </p:cNvPr>
          <p:cNvSpPr/>
          <p:nvPr/>
        </p:nvSpPr>
        <p:spPr bwMode="auto">
          <a:xfrm rot="5400000">
            <a:off x="4815801" y="3346808"/>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Manually</a:t>
            </a:r>
            <a:b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b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deploy ledger</a:t>
            </a:r>
          </a:p>
        </p:txBody>
      </p:sp>
      <p:sp>
        <p:nvSpPr>
          <p:cNvPr id="46" name="Hexagon 45">
            <a:extLst>
              <a:ext uri="{FF2B5EF4-FFF2-40B4-BE49-F238E27FC236}">
                <a16:creationId xmlns:a16="http://schemas.microsoft.com/office/drawing/2014/main" id="{B50E03C8-0AB2-4B7F-8B92-F5C66C7FE798}"/>
              </a:ext>
            </a:extLst>
          </p:cNvPr>
          <p:cNvSpPr/>
          <p:nvPr/>
        </p:nvSpPr>
        <p:spPr bwMode="auto">
          <a:xfrm rot="5400000">
            <a:off x="6666790" y="3346808"/>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Write</a:t>
            </a:r>
            <a:b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b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business logic</a:t>
            </a:r>
          </a:p>
        </p:txBody>
      </p:sp>
      <p:sp>
        <p:nvSpPr>
          <p:cNvPr id="44" name="Hexagon 43">
            <a:extLst>
              <a:ext uri="{FF2B5EF4-FFF2-40B4-BE49-F238E27FC236}">
                <a16:creationId xmlns:a16="http://schemas.microsoft.com/office/drawing/2014/main" id="{1160CA4A-A14E-45C6-9EC3-1F81C80AB6E9}"/>
              </a:ext>
            </a:extLst>
          </p:cNvPr>
          <p:cNvSpPr/>
          <p:nvPr/>
        </p:nvSpPr>
        <p:spPr bwMode="auto">
          <a:xfrm rot="5400000">
            <a:off x="8517780" y="3346808"/>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Assign node</a:t>
            </a:r>
            <a:b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b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identities</a:t>
            </a:r>
          </a:p>
        </p:txBody>
      </p:sp>
      <p:sp>
        <p:nvSpPr>
          <p:cNvPr id="42" name="Hexagon 41">
            <a:extLst>
              <a:ext uri="{FF2B5EF4-FFF2-40B4-BE49-F238E27FC236}">
                <a16:creationId xmlns:a16="http://schemas.microsoft.com/office/drawing/2014/main" id="{A8A79835-5BB5-49B9-96D1-346C9358BCFB}"/>
              </a:ext>
            </a:extLst>
          </p:cNvPr>
          <p:cNvSpPr/>
          <p:nvPr/>
        </p:nvSpPr>
        <p:spPr bwMode="auto">
          <a:xfrm rot="5400000">
            <a:off x="2964811" y="3346808"/>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Connect nodes</a:t>
            </a:r>
          </a:p>
        </p:txBody>
      </p:sp>
      <p:sp>
        <p:nvSpPr>
          <p:cNvPr id="40" name="Hexagon 39">
            <a:extLst>
              <a:ext uri="{FF2B5EF4-FFF2-40B4-BE49-F238E27FC236}">
                <a16:creationId xmlns:a16="http://schemas.microsoft.com/office/drawing/2014/main" id="{FAE1A291-BF59-4BDB-8C2C-2EDE5AFE456F}"/>
              </a:ext>
            </a:extLst>
          </p:cNvPr>
          <p:cNvSpPr/>
          <p:nvPr/>
        </p:nvSpPr>
        <p:spPr bwMode="auto">
          <a:xfrm rot="5400000">
            <a:off x="10366188" y="3346808"/>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Provision members</a:t>
            </a:r>
          </a:p>
        </p:txBody>
      </p:sp>
      <p:sp>
        <p:nvSpPr>
          <p:cNvPr id="38" name="Hexagon 37">
            <a:extLst>
              <a:ext uri="{FF2B5EF4-FFF2-40B4-BE49-F238E27FC236}">
                <a16:creationId xmlns:a16="http://schemas.microsoft.com/office/drawing/2014/main" id="{D8958842-8C38-4B95-B87C-4D4E168B180E}"/>
              </a:ext>
            </a:extLst>
          </p:cNvPr>
          <p:cNvSpPr/>
          <p:nvPr/>
        </p:nvSpPr>
        <p:spPr bwMode="auto">
          <a:xfrm rot="5400000">
            <a:off x="2045734" y="5032188"/>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Network</a:t>
            </a:r>
            <a:b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b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governance</a:t>
            </a:r>
          </a:p>
        </p:txBody>
      </p:sp>
      <p:sp>
        <p:nvSpPr>
          <p:cNvPr id="36" name="Hexagon 35">
            <a:extLst>
              <a:ext uri="{FF2B5EF4-FFF2-40B4-BE49-F238E27FC236}">
                <a16:creationId xmlns:a16="http://schemas.microsoft.com/office/drawing/2014/main" id="{499AD91B-669E-458E-8D01-4AE7CB1ADA42}"/>
              </a:ext>
            </a:extLst>
          </p:cNvPr>
          <p:cNvSpPr/>
          <p:nvPr/>
        </p:nvSpPr>
        <p:spPr bwMode="auto">
          <a:xfrm rot="5400000">
            <a:off x="9447973" y="5032188"/>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Extend to additional networks </a:t>
            </a:r>
          </a:p>
        </p:txBody>
      </p:sp>
      <p:sp>
        <p:nvSpPr>
          <p:cNvPr id="34" name="Hexagon 33">
            <a:extLst>
              <a:ext uri="{FF2B5EF4-FFF2-40B4-BE49-F238E27FC236}">
                <a16:creationId xmlns:a16="http://schemas.microsoft.com/office/drawing/2014/main" id="{D1554E54-A31B-4B73-AB98-37E221D7D1D4}"/>
              </a:ext>
            </a:extLst>
          </p:cNvPr>
          <p:cNvSpPr/>
          <p:nvPr/>
        </p:nvSpPr>
        <p:spPr bwMode="auto">
          <a:xfrm rot="5400000">
            <a:off x="7597843" y="5032188"/>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Manage</a:t>
            </a:r>
            <a:b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b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permissions</a:t>
            </a:r>
          </a:p>
        </p:txBody>
      </p:sp>
      <p:sp>
        <p:nvSpPr>
          <p:cNvPr id="32" name="Hexagon 31">
            <a:extLst>
              <a:ext uri="{FF2B5EF4-FFF2-40B4-BE49-F238E27FC236}">
                <a16:creationId xmlns:a16="http://schemas.microsoft.com/office/drawing/2014/main" id="{A8E0661B-1364-45DC-8CA7-AA76A303A6DE}"/>
              </a:ext>
            </a:extLst>
          </p:cNvPr>
          <p:cNvSpPr/>
          <p:nvPr/>
        </p:nvSpPr>
        <p:spPr bwMode="auto">
          <a:xfrm rot="5400000">
            <a:off x="194744" y="5032188"/>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Establish</a:t>
            </a:r>
            <a:b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b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node roles</a:t>
            </a:r>
          </a:p>
        </p:txBody>
      </p:sp>
      <p:sp>
        <p:nvSpPr>
          <p:cNvPr id="30" name="Hexagon 29">
            <a:extLst>
              <a:ext uri="{FF2B5EF4-FFF2-40B4-BE49-F238E27FC236}">
                <a16:creationId xmlns:a16="http://schemas.microsoft.com/office/drawing/2014/main" id="{8DA2C8F2-9A3D-4B51-8D1C-B1FE9B7749FC}"/>
              </a:ext>
            </a:extLst>
          </p:cNvPr>
          <p:cNvSpPr/>
          <p:nvPr/>
        </p:nvSpPr>
        <p:spPr bwMode="auto">
          <a:xfrm rot="5400000">
            <a:off x="5747714" y="5032188"/>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Enforce policies</a:t>
            </a:r>
          </a:p>
        </p:txBody>
      </p:sp>
      <p:sp>
        <p:nvSpPr>
          <p:cNvPr id="28" name="Hexagon 27">
            <a:extLst>
              <a:ext uri="{FF2B5EF4-FFF2-40B4-BE49-F238E27FC236}">
                <a16:creationId xmlns:a16="http://schemas.microsoft.com/office/drawing/2014/main" id="{EB1D5637-554B-4018-B4EA-590A071D4AD5}"/>
              </a:ext>
            </a:extLst>
          </p:cNvPr>
          <p:cNvSpPr/>
          <p:nvPr/>
        </p:nvSpPr>
        <p:spPr bwMode="auto">
          <a:xfrm rot="5400000">
            <a:off x="3896724" y="5032188"/>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Customize</a:t>
            </a:r>
            <a:b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b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integrations</a:t>
            </a:r>
          </a:p>
        </p:txBody>
      </p:sp>
      <p:sp>
        <p:nvSpPr>
          <p:cNvPr id="87" name="Freeform: Shape 86">
            <a:extLst>
              <a:ext uri="{FF2B5EF4-FFF2-40B4-BE49-F238E27FC236}">
                <a16:creationId xmlns:a16="http://schemas.microsoft.com/office/drawing/2014/main" id="{971E8EFE-599D-4AF2-9662-5223D58DF39C}"/>
              </a:ext>
            </a:extLst>
          </p:cNvPr>
          <p:cNvSpPr/>
          <p:nvPr/>
        </p:nvSpPr>
        <p:spPr bwMode="auto">
          <a:xfrm rot="5400000">
            <a:off x="10875459" y="2127386"/>
            <a:ext cx="1874428" cy="758654"/>
          </a:xfrm>
          <a:custGeom>
            <a:avLst/>
            <a:gdLst>
              <a:gd name="connsiteX0" fmla="*/ 0 w 1874428"/>
              <a:gd name="connsiteY0" fmla="*/ 0 h 758654"/>
              <a:gd name="connsiteX1" fmla="*/ 1874428 w 1874428"/>
              <a:gd name="connsiteY1" fmla="*/ 0 h 758654"/>
              <a:gd name="connsiteX2" fmla="*/ 1495100 w 1874428"/>
              <a:gd name="connsiteY2" fmla="*/ 758654 h 758654"/>
              <a:gd name="connsiteX3" fmla="*/ 379327 w 1874428"/>
              <a:gd name="connsiteY3" fmla="*/ 758654 h 758654"/>
              <a:gd name="connsiteX0" fmla="*/ 1874428 w 1965868"/>
              <a:gd name="connsiteY0" fmla="*/ 0 h 758654"/>
              <a:gd name="connsiteX1" fmla="*/ 1495100 w 1965868"/>
              <a:gd name="connsiteY1" fmla="*/ 758654 h 758654"/>
              <a:gd name="connsiteX2" fmla="*/ 379327 w 1965868"/>
              <a:gd name="connsiteY2" fmla="*/ 758654 h 758654"/>
              <a:gd name="connsiteX3" fmla="*/ 0 w 1965868"/>
              <a:gd name="connsiteY3" fmla="*/ 0 h 758654"/>
              <a:gd name="connsiteX4" fmla="*/ 1965868 w 1965868"/>
              <a:gd name="connsiteY4" fmla="*/ 91440 h 758654"/>
              <a:gd name="connsiteX0" fmla="*/ 1874428 w 1874428"/>
              <a:gd name="connsiteY0" fmla="*/ 0 h 758654"/>
              <a:gd name="connsiteX1" fmla="*/ 1495100 w 1874428"/>
              <a:gd name="connsiteY1" fmla="*/ 758654 h 758654"/>
              <a:gd name="connsiteX2" fmla="*/ 379327 w 1874428"/>
              <a:gd name="connsiteY2" fmla="*/ 758654 h 758654"/>
              <a:gd name="connsiteX3" fmla="*/ 0 w 1874428"/>
              <a:gd name="connsiteY3" fmla="*/ 0 h 758654"/>
            </a:gdLst>
            <a:ahLst/>
            <a:cxnLst>
              <a:cxn ang="0">
                <a:pos x="connsiteX0" y="connsiteY0"/>
              </a:cxn>
              <a:cxn ang="0">
                <a:pos x="connsiteX1" y="connsiteY1"/>
              </a:cxn>
              <a:cxn ang="0">
                <a:pos x="connsiteX2" y="connsiteY2"/>
              </a:cxn>
              <a:cxn ang="0">
                <a:pos x="connsiteX3" y="connsiteY3"/>
              </a:cxn>
            </a:cxnLst>
            <a:rect l="l" t="t" r="r" b="b"/>
            <a:pathLst>
              <a:path w="1874428" h="758654">
                <a:moveTo>
                  <a:pt x="1874428" y="0"/>
                </a:moveTo>
                <a:lnTo>
                  <a:pt x="1495100" y="758654"/>
                </a:lnTo>
                <a:lnTo>
                  <a:pt x="379327" y="758654"/>
                </a:lnTo>
                <a:lnTo>
                  <a:pt x="0" y="0"/>
                </a:lnTo>
              </a:path>
            </a:pathLst>
          </a:cu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88" name="Freeform: Shape 87">
            <a:extLst>
              <a:ext uri="{FF2B5EF4-FFF2-40B4-BE49-F238E27FC236}">
                <a16:creationId xmlns:a16="http://schemas.microsoft.com/office/drawing/2014/main" id="{9CF1498B-DD91-443F-8423-B562780CF528}"/>
              </a:ext>
            </a:extLst>
          </p:cNvPr>
          <p:cNvSpPr/>
          <p:nvPr/>
        </p:nvSpPr>
        <p:spPr bwMode="auto">
          <a:xfrm rot="5400000">
            <a:off x="10875459" y="5498145"/>
            <a:ext cx="1874428" cy="758654"/>
          </a:xfrm>
          <a:custGeom>
            <a:avLst/>
            <a:gdLst>
              <a:gd name="connsiteX0" fmla="*/ 0 w 1874428"/>
              <a:gd name="connsiteY0" fmla="*/ 0 h 758654"/>
              <a:gd name="connsiteX1" fmla="*/ 1874428 w 1874428"/>
              <a:gd name="connsiteY1" fmla="*/ 0 h 758654"/>
              <a:gd name="connsiteX2" fmla="*/ 1495100 w 1874428"/>
              <a:gd name="connsiteY2" fmla="*/ 758654 h 758654"/>
              <a:gd name="connsiteX3" fmla="*/ 379327 w 1874428"/>
              <a:gd name="connsiteY3" fmla="*/ 758654 h 758654"/>
              <a:gd name="connsiteX0" fmla="*/ 1874428 w 1965868"/>
              <a:gd name="connsiteY0" fmla="*/ 0 h 758654"/>
              <a:gd name="connsiteX1" fmla="*/ 1495100 w 1965868"/>
              <a:gd name="connsiteY1" fmla="*/ 758654 h 758654"/>
              <a:gd name="connsiteX2" fmla="*/ 379327 w 1965868"/>
              <a:gd name="connsiteY2" fmla="*/ 758654 h 758654"/>
              <a:gd name="connsiteX3" fmla="*/ 0 w 1965868"/>
              <a:gd name="connsiteY3" fmla="*/ 0 h 758654"/>
              <a:gd name="connsiteX4" fmla="*/ 1965868 w 1965868"/>
              <a:gd name="connsiteY4" fmla="*/ 91440 h 758654"/>
              <a:gd name="connsiteX0" fmla="*/ 1874428 w 1874428"/>
              <a:gd name="connsiteY0" fmla="*/ 0 h 758654"/>
              <a:gd name="connsiteX1" fmla="*/ 1495100 w 1874428"/>
              <a:gd name="connsiteY1" fmla="*/ 758654 h 758654"/>
              <a:gd name="connsiteX2" fmla="*/ 379327 w 1874428"/>
              <a:gd name="connsiteY2" fmla="*/ 758654 h 758654"/>
              <a:gd name="connsiteX3" fmla="*/ 0 w 1874428"/>
              <a:gd name="connsiteY3" fmla="*/ 0 h 758654"/>
            </a:gdLst>
            <a:ahLst/>
            <a:cxnLst>
              <a:cxn ang="0">
                <a:pos x="connsiteX0" y="connsiteY0"/>
              </a:cxn>
              <a:cxn ang="0">
                <a:pos x="connsiteX1" y="connsiteY1"/>
              </a:cxn>
              <a:cxn ang="0">
                <a:pos x="connsiteX2" y="connsiteY2"/>
              </a:cxn>
              <a:cxn ang="0">
                <a:pos x="connsiteX3" y="connsiteY3"/>
              </a:cxn>
            </a:cxnLst>
            <a:rect l="l" t="t" r="r" b="b"/>
            <a:pathLst>
              <a:path w="1874428" h="758654">
                <a:moveTo>
                  <a:pt x="1874428" y="0"/>
                </a:moveTo>
                <a:lnTo>
                  <a:pt x="1495100" y="758654"/>
                </a:lnTo>
                <a:lnTo>
                  <a:pt x="379327" y="758654"/>
                </a:lnTo>
                <a:lnTo>
                  <a:pt x="0" y="0"/>
                </a:lnTo>
              </a:path>
            </a:pathLst>
          </a:cu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8" name="Freeform: Shape 7">
            <a:extLst>
              <a:ext uri="{FF2B5EF4-FFF2-40B4-BE49-F238E27FC236}">
                <a16:creationId xmlns:a16="http://schemas.microsoft.com/office/drawing/2014/main" id="{0E7CAEB4-633E-48B9-974E-2EDB5CCF23D5}"/>
              </a:ext>
            </a:extLst>
          </p:cNvPr>
          <p:cNvSpPr/>
          <p:nvPr/>
        </p:nvSpPr>
        <p:spPr bwMode="auto">
          <a:xfrm rot="5400000">
            <a:off x="11215728"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Lst>
            <a:ahLst/>
            <a:cxnLst>
              <a:cxn ang="0">
                <a:pos x="connsiteX0" y="connsiteY0"/>
              </a:cxn>
              <a:cxn ang="0">
                <a:pos x="connsiteX1" y="connsiteY1"/>
              </a:cxn>
              <a:cxn ang="0">
                <a:pos x="connsiteX2" y="connsiteY2"/>
              </a:cxn>
            </a:cxnLst>
            <a:rect l="l" t="t" r="r" b="b"/>
            <a:pathLst>
              <a:path w="275676" h="1102703">
                <a:moveTo>
                  <a:pt x="0" y="551352"/>
                </a:moveTo>
                <a:lnTo>
                  <a:pt x="275676" y="0"/>
                </a:lnTo>
                <a:lnTo>
                  <a:pt x="275676" y="1102703"/>
                </a:lnTo>
                <a:close/>
              </a:path>
            </a:pathLst>
          </a:custGeom>
          <a:solidFill>
            <a:schemeClr val="accent3"/>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89" name="Freeform: Shape 88">
            <a:extLst>
              <a:ext uri="{FF2B5EF4-FFF2-40B4-BE49-F238E27FC236}">
                <a16:creationId xmlns:a16="http://schemas.microsoft.com/office/drawing/2014/main" id="{0CFF4539-5CA9-4A47-B919-F1465BA979AA}"/>
              </a:ext>
            </a:extLst>
          </p:cNvPr>
          <p:cNvSpPr/>
          <p:nvPr/>
        </p:nvSpPr>
        <p:spPr bwMode="auto">
          <a:xfrm rot="5400000">
            <a:off x="11215728"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 name="connsiteX0" fmla="*/ 275676 w 367116"/>
              <a:gd name="connsiteY0" fmla="*/ 1102703 h 1194143"/>
              <a:gd name="connsiteX1" fmla="*/ 0 w 367116"/>
              <a:gd name="connsiteY1" fmla="*/ 551352 h 1194143"/>
              <a:gd name="connsiteX2" fmla="*/ 275676 w 367116"/>
              <a:gd name="connsiteY2" fmla="*/ 0 h 1194143"/>
              <a:gd name="connsiteX3" fmla="*/ 367116 w 367116"/>
              <a:gd name="connsiteY3" fmla="*/ 1194143 h 1194143"/>
              <a:gd name="connsiteX0" fmla="*/ 275676 w 275676"/>
              <a:gd name="connsiteY0" fmla="*/ 1102703 h 1102703"/>
              <a:gd name="connsiteX1" fmla="*/ 0 w 275676"/>
              <a:gd name="connsiteY1" fmla="*/ 551352 h 1102703"/>
              <a:gd name="connsiteX2" fmla="*/ 275676 w 275676"/>
              <a:gd name="connsiteY2" fmla="*/ 0 h 1102703"/>
            </a:gdLst>
            <a:ahLst/>
            <a:cxnLst>
              <a:cxn ang="0">
                <a:pos x="connsiteX0" y="connsiteY0"/>
              </a:cxn>
              <a:cxn ang="0">
                <a:pos x="connsiteX1" y="connsiteY1"/>
              </a:cxn>
              <a:cxn ang="0">
                <a:pos x="connsiteX2" y="connsiteY2"/>
              </a:cxn>
            </a:cxnLst>
            <a:rect l="l" t="t" r="r" b="b"/>
            <a:pathLst>
              <a:path w="275676" h="1102703">
                <a:moveTo>
                  <a:pt x="275676" y="1102703"/>
                </a:moveTo>
                <a:lnTo>
                  <a:pt x="0" y="551352"/>
                </a:lnTo>
                <a:lnTo>
                  <a:pt x="275676" y="0"/>
                </a:lnTo>
              </a:path>
            </a:pathLst>
          </a:cu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92" name="Freeform: Shape 91">
            <a:extLst>
              <a:ext uri="{FF2B5EF4-FFF2-40B4-BE49-F238E27FC236}">
                <a16:creationId xmlns:a16="http://schemas.microsoft.com/office/drawing/2014/main" id="{7B2CA091-4465-4A79-BBEA-3544A6000840}"/>
              </a:ext>
            </a:extLst>
          </p:cNvPr>
          <p:cNvSpPr/>
          <p:nvPr/>
        </p:nvSpPr>
        <p:spPr bwMode="auto">
          <a:xfrm rot="5400000">
            <a:off x="9365598"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Lst>
            <a:ahLst/>
            <a:cxnLst>
              <a:cxn ang="0">
                <a:pos x="connsiteX0" y="connsiteY0"/>
              </a:cxn>
              <a:cxn ang="0">
                <a:pos x="connsiteX1" y="connsiteY1"/>
              </a:cxn>
              <a:cxn ang="0">
                <a:pos x="connsiteX2" y="connsiteY2"/>
              </a:cxn>
            </a:cxnLst>
            <a:rect l="l" t="t" r="r" b="b"/>
            <a:pathLst>
              <a:path w="275676" h="1102703">
                <a:moveTo>
                  <a:pt x="0" y="551352"/>
                </a:moveTo>
                <a:lnTo>
                  <a:pt x="275676" y="0"/>
                </a:lnTo>
                <a:lnTo>
                  <a:pt x="275676" y="1102703"/>
                </a:lnTo>
                <a:close/>
              </a:path>
            </a:pathLst>
          </a:custGeom>
          <a:solidFill>
            <a:schemeClr val="accent3"/>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93" name="Freeform: Shape 92">
            <a:extLst>
              <a:ext uri="{FF2B5EF4-FFF2-40B4-BE49-F238E27FC236}">
                <a16:creationId xmlns:a16="http://schemas.microsoft.com/office/drawing/2014/main" id="{9FF25723-1DB5-4A49-AFED-4A304AD2965C}"/>
              </a:ext>
            </a:extLst>
          </p:cNvPr>
          <p:cNvSpPr/>
          <p:nvPr/>
        </p:nvSpPr>
        <p:spPr bwMode="auto">
          <a:xfrm rot="5400000">
            <a:off x="9365598"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 name="connsiteX0" fmla="*/ 275676 w 367116"/>
              <a:gd name="connsiteY0" fmla="*/ 1102703 h 1194143"/>
              <a:gd name="connsiteX1" fmla="*/ 0 w 367116"/>
              <a:gd name="connsiteY1" fmla="*/ 551352 h 1194143"/>
              <a:gd name="connsiteX2" fmla="*/ 275676 w 367116"/>
              <a:gd name="connsiteY2" fmla="*/ 0 h 1194143"/>
              <a:gd name="connsiteX3" fmla="*/ 367116 w 367116"/>
              <a:gd name="connsiteY3" fmla="*/ 1194143 h 1194143"/>
              <a:gd name="connsiteX0" fmla="*/ 275676 w 275676"/>
              <a:gd name="connsiteY0" fmla="*/ 1102703 h 1102703"/>
              <a:gd name="connsiteX1" fmla="*/ 0 w 275676"/>
              <a:gd name="connsiteY1" fmla="*/ 551352 h 1102703"/>
              <a:gd name="connsiteX2" fmla="*/ 275676 w 275676"/>
              <a:gd name="connsiteY2" fmla="*/ 0 h 1102703"/>
            </a:gdLst>
            <a:ahLst/>
            <a:cxnLst>
              <a:cxn ang="0">
                <a:pos x="connsiteX0" y="connsiteY0"/>
              </a:cxn>
              <a:cxn ang="0">
                <a:pos x="connsiteX1" y="connsiteY1"/>
              </a:cxn>
              <a:cxn ang="0">
                <a:pos x="connsiteX2" y="connsiteY2"/>
              </a:cxn>
            </a:cxnLst>
            <a:rect l="l" t="t" r="r" b="b"/>
            <a:pathLst>
              <a:path w="275676" h="1102703">
                <a:moveTo>
                  <a:pt x="275676" y="1102703"/>
                </a:moveTo>
                <a:lnTo>
                  <a:pt x="0" y="551352"/>
                </a:lnTo>
                <a:lnTo>
                  <a:pt x="275676" y="0"/>
                </a:lnTo>
              </a:path>
            </a:pathLst>
          </a:cu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98" name="Freeform: Shape 97">
            <a:extLst>
              <a:ext uri="{FF2B5EF4-FFF2-40B4-BE49-F238E27FC236}">
                <a16:creationId xmlns:a16="http://schemas.microsoft.com/office/drawing/2014/main" id="{5BBFB427-9CF7-426B-91F2-858F8F0EE369}"/>
              </a:ext>
            </a:extLst>
          </p:cNvPr>
          <p:cNvSpPr/>
          <p:nvPr/>
        </p:nvSpPr>
        <p:spPr bwMode="auto">
          <a:xfrm rot="5400000">
            <a:off x="7515468"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Lst>
            <a:ahLst/>
            <a:cxnLst>
              <a:cxn ang="0">
                <a:pos x="connsiteX0" y="connsiteY0"/>
              </a:cxn>
              <a:cxn ang="0">
                <a:pos x="connsiteX1" y="connsiteY1"/>
              </a:cxn>
              <a:cxn ang="0">
                <a:pos x="connsiteX2" y="connsiteY2"/>
              </a:cxn>
            </a:cxnLst>
            <a:rect l="l" t="t" r="r" b="b"/>
            <a:pathLst>
              <a:path w="275676" h="1102703">
                <a:moveTo>
                  <a:pt x="0" y="551352"/>
                </a:moveTo>
                <a:lnTo>
                  <a:pt x="275676" y="0"/>
                </a:lnTo>
                <a:lnTo>
                  <a:pt x="275676" y="1102703"/>
                </a:lnTo>
                <a:close/>
              </a:path>
            </a:pathLst>
          </a:custGeom>
          <a:solidFill>
            <a:schemeClr val="accent3"/>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99" name="Freeform: Shape 98">
            <a:extLst>
              <a:ext uri="{FF2B5EF4-FFF2-40B4-BE49-F238E27FC236}">
                <a16:creationId xmlns:a16="http://schemas.microsoft.com/office/drawing/2014/main" id="{E56D9872-3237-45F0-9222-DF9E4432A85E}"/>
              </a:ext>
            </a:extLst>
          </p:cNvPr>
          <p:cNvSpPr/>
          <p:nvPr/>
        </p:nvSpPr>
        <p:spPr bwMode="auto">
          <a:xfrm rot="5400000">
            <a:off x="7515468"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 name="connsiteX0" fmla="*/ 275676 w 367116"/>
              <a:gd name="connsiteY0" fmla="*/ 1102703 h 1194143"/>
              <a:gd name="connsiteX1" fmla="*/ 0 w 367116"/>
              <a:gd name="connsiteY1" fmla="*/ 551352 h 1194143"/>
              <a:gd name="connsiteX2" fmla="*/ 275676 w 367116"/>
              <a:gd name="connsiteY2" fmla="*/ 0 h 1194143"/>
              <a:gd name="connsiteX3" fmla="*/ 367116 w 367116"/>
              <a:gd name="connsiteY3" fmla="*/ 1194143 h 1194143"/>
              <a:gd name="connsiteX0" fmla="*/ 275676 w 275676"/>
              <a:gd name="connsiteY0" fmla="*/ 1102703 h 1102703"/>
              <a:gd name="connsiteX1" fmla="*/ 0 w 275676"/>
              <a:gd name="connsiteY1" fmla="*/ 551352 h 1102703"/>
              <a:gd name="connsiteX2" fmla="*/ 275676 w 275676"/>
              <a:gd name="connsiteY2" fmla="*/ 0 h 1102703"/>
            </a:gdLst>
            <a:ahLst/>
            <a:cxnLst>
              <a:cxn ang="0">
                <a:pos x="connsiteX0" y="connsiteY0"/>
              </a:cxn>
              <a:cxn ang="0">
                <a:pos x="connsiteX1" y="connsiteY1"/>
              </a:cxn>
              <a:cxn ang="0">
                <a:pos x="connsiteX2" y="connsiteY2"/>
              </a:cxn>
            </a:cxnLst>
            <a:rect l="l" t="t" r="r" b="b"/>
            <a:pathLst>
              <a:path w="275676" h="1102703">
                <a:moveTo>
                  <a:pt x="275676" y="1102703"/>
                </a:moveTo>
                <a:lnTo>
                  <a:pt x="0" y="551352"/>
                </a:lnTo>
                <a:lnTo>
                  <a:pt x="275676" y="0"/>
                </a:lnTo>
              </a:path>
            </a:pathLst>
          </a:cu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101" name="Freeform: Shape 100">
            <a:extLst>
              <a:ext uri="{FF2B5EF4-FFF2-40B4-BE49-F238E27FC236}">
                <a16:creationId xmlns:a16="http://schemas.microsoft.com/office/drawing/2014/main" id="{37D4BA35-7D2D-4BB3-A346-F03B80876314}"/>
              </a:ext>
            </a:extLst>
          </p:cNvPr>
          <p:cNvSpPr/>
          <p:nvPr/>
        </p:nvSpPr>
        <p:spPr bwMode="auto">
          <a:xfrm rot="5400000">
            <a:off x="5664909"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Lst>
            <a:ahLst/>
            <a:cxnLst>
              <a:cxn ang="0">
                <a:pos x="connsiteX0" y="connsiteY0"/>
              </a:cxn>
              <a:cxn ang="0">
                <a:pos x="connsiteX1" y="connsiteY1"/>
              </a:cxn>
              <a:cxn ang="0">
                <a:pos x="connsiteX2" y="connsiteY2"/>
              </a:cxn>
            </a:cxnLst>
            <a:rect l="l" t="t" r="r" b="b"/>
            <a:pathLst>
              <a:path w="275676" h="1102703">
                <a:moveTo>
                  <a:pt x="0" y="551352"/>
                </a:moveTo>
                <a:lnTo>
                  <a:pt x="275676" y="0"/>
                </a:lnTo>
                <a:lnTo>
                  <a:pt x="275676" y="1102703"/>
                </a:lnTo>
                <a:close/>
              </a:path>
            </a:pathLst>
          </a:custGeom>
          <a:solidFill>
            <a:schemeClr val="accent3"/>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102" name="Freeform: Shape 101">
            <a:extLst>
              <a:ext uri="{FF2B5EF4-FFF2-40B4-BE49-F238E27FC236}">
                <a16:creationId xmlns:a16="http://schemas.microsoft.com/office/drawing/2014/main" id="{AFFF0A3D-C88D-4265-B771-557F56387D32}"/>
              </a:ext>
            </a:extLst>
          </p:cNvPr>
          <p:cNvSpPr/>
          <p:nvPr/>
        </p:nvSpPr>
        <p:spPr bwMode="auto">
          <a:xfrm rot="5400000">
            <a:off x="5664909"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 name="connsiteX0" fmla="*/ 275676 w 367116"/>
              <a:gd name="connsiteY0" fmla="*/ 1102703 h 1194143"/>
              <a:gd name="connsiteX1" fmla="*/ 0 w 367116"/>
              <a:gd name="connsiteY1" fmla="*/ 551352 h 1194143"/>
              <a:gd name="connsiteX2" fmla="*/ 275676 w 367116"/>
              <a:gd name="connsiteY2" fmla="*/ 0 h 1194143"/>
              <a:gd name="connsiteX3" fmla="*/ 367116 w 367116"/>
              <a:gd name="connsiteY3" fmla="*/ 1194143 h 1194143"/>
              <a:gd name="connsiteX0" fmla="*/ 275676 w 275676"/>
              <a:gd name="connsiteY0" fmla="*/ 1102703 h 1102703"/>
              <a:gd name="connsiteX1" fmla="*/ 0 w 275676"/>
              <a:gd name="connsiteY1" fmla="*/ 551352 h 1102703"/>
              <a:gd name="connsiteX2" fmla="*/ 275676 w 275676"/>
              <a:gd name="connsiteY2" fmla="*/ 0 h 1102703"/>
            </a:gdLst>
            <a:ahLst/>
            <a:cxnLst>
              <a:cxn ang="0">
                <a:pos x="connsiteX0" y="connsiteY0"/>
              </a:cxn>
              <a:cxn ang="0">
                <a:pos x="connsiteX1" y="connsiteY1"/>
              </a:cxn>
              <a:cxn ang="0">
                <a:pos x="connsiteX2" y="connsiteY2"/>
              </a:cxn>
            </a:cxnLst>
            <a:rect l="l" t="t" r="r" b="b"/>
            <a:pathLst>
              <a:path w="275676" h="1102703">
                <a:moveTo>
                  <a:pt x="275676" y="1102703"/>
                </a:moveTo>
                <a:lnTo>
                  <a:pt x="0" y="551352"/>
                </a:lnTo>
                <a:lnTo>
                  <a:pt x="275676" y="0"/>
                </a:lnTo>
              </a:path>
            </a:pathLst>
          </a:cu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104" name="Freeform: Shape 103">
            <a:extLst>
              <a:ext uri="{FF2B5EF4-FFF2-40B4-BE49-F238E27FC236}">
                <a16:creationId xmlns:a16="http://schemas.microsoft.com/office/drawing/2014/main" id="{9F3C1FAE-542F-421E-B1D2-E39D0F44225F}"/>
              </a:ext>
            </a:extLst>
          </p:cNvPr>
          <p:cNvSpPr/>
          <p:nvPr/>
        </p:nvSpPr>
        <p:spPr bwMode="auto">
          <a:xfrm rot="5400000">
            <a:off x="3813919"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Lst>
            <a:ahLst/>
            <a:cxnLst>
              <a:cxn ang="0">
                <a:pos x="connsiteX0" y="connsiteY0"/>
              </a:cxn>
              <a:cxn ang="0">
                <a:pos x="connsiteX1" y="connsiteY1"/>
              </a:cxn>
              <a:cxn ang="0">
                <a:pos x="connsiteX2" y="connsiteY2"/>
              </a:cxn>
            </a:cxnLst>
            <a:rect l="l" t="t" r="r" b="b"/>
            <a:pathLst>
              <a:path w="275676" h="1102703">
                <a:moveTo>
                  <a:pt x="0" y="551352"/>
                </a:moveTo>
                <a:lnTo>
                  <a:pt x="275676" y="0"/>
                </a:lnTo>
                <a:lnTo>
                  <a:pt x="275676" y="1102703"/>
                </a:lnTo>
                <a:close/>
              </a:path>
            </a:pathLst>
          </a:custGeom>
          <a:solidFill>
            <a:schemeClr val="accent3"/>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105" name="Freeform: Shape 104">
            <a:extLst>
              <a:ext uri="{FF2B5EF4-FFF2-40B4-BE49-F238E27FC236}">
                <a16:creationId xmlns:a16="http://schemas.microsoft.com/office/drawing/2014/main" id="{E5B09725-E1C0-4805-BF2B-8578DE399504}"/>
              </a:ext>
            </a:extLst>
          </p:cNvPr>
          <p:cNvSpPr/>
          <p:nvPr/>
        </p:nvSpPr>
        <p:spPr bwMode="auto">
          <a:xfrm rot="5400000">
            <a:off x="3813919"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 name="connsiteX0" fmla="*/ 275676 w 367116"/>
              <a:gd name="connsiteY0" fmla="*/ 1102703 h 1194143"/>
              <a:gd name="connsiteX1" fmla="*/ 0 w 367116"/>
              <a:gd name="connsiteY1" fmla="*/ 551352 h 1194143"/>
              <a:gd name="connsiteX2" fmla="*/ 275676 w 367116"/>
              <a:gd name="connsiteY2" fmla="*/ 0 h 1194143"/>
              <a:gd name="connsiteX3" fmla="*/ 367116 w 367116"/>
              <a:gd name="connsiteY3" fmla="*/ 1194143 h 1194143"/>
              <a:gd name="connsiteX0" fmla="*/ 275676 w 275676"/>
              <a:gd name="connsiteY0" fmla="*/ 1102703 h 1102703"/>
              <a:gd name="connsiteX1" fmla="*/ 0 w 275676"/>
              <a:gd name="connsiteY1" fmla="*/ 551352 h 1102703"/>
              <a:gd name="connsiteX2" fmla="*/ 275676 w 275676"/>
              <a:gd name="connsiteY2" fmla="*/ 0 h 1102703"/>
            </a:gdLst>
            <a:ahLst/>
            <a:cxnLst>
              <a:cxn ang="0">
                <a:pos x="connsiteX0" y="connsiteY0"/>
              </a:cxn>
              <a:cxn ang="0">
                <a:pos x="connsiteX1" y="connsiteY1"/>
              </a:cxn>
              <a:cxn ang="0">
                <a:pos x="connsiteX2" y="connsiteY2"/>
              </a:cxn>
            </a:cxnLst>
            <a:rect l="l" t="t" r="r" b="b"/>
            <a:pathLst>
              <a:path w="275676" h="1102703">
                <a:moveTo>
                  <a:pt x="275676" y="1102703"/>
                </a:moveTo>
                <a:lnTo>
                  <a:pt x="0" y="551352"/>
                </a:lnTo>
                <a:lnTo>
                  <a:pt x="275676" y="0"/>
                </a:lnTo>
              </a:path>
            </a:pathLst>
          </a:cu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107" name="Freeform: Shape 106">
            <a:extLst>
              <a:ext uri="{FF2B5EF4-FFF2-40B4-BE49-F238E27FC236}">
                <a16:creationId xmlns:a16="http://schemas.microsoft.com/office/drawing/2014/main" id="{DBE1085B-D44C-42B0-BFF8-1C01F17B7C5A}"/>
              </a:ext>
            </a:extLst>
          </p:cNvPr>
          <p:cNvSpPr/>
          <p:nvPr/>
        </p:nvSpPr>
        <p:spPr bwMode="auto">
          <a:xfrm rot="5400000">
            <a:off x="1962929"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Lst>
            <a:ahLst/>
            <a:cxnLst>
              <a:cxn ang="0">
                <a:pos x="connsiteX0" y="connsiteY0"/>
              </a:cxn>
              <a:cxn ang="0">
                <a:pos x="connsiteX1" y="connsiteY1"/>
              </a:cxn>
              <a:cxn ang="0">
                <a:pos x="connsiteX2" y="connsiteY2"/>
              </a:cxn>
            </a:cxnLst>
            <a:rect l="l" t="t" r="r" b="b"/>
            <a:pathLst>
              <a:path w="275676" h="1102703">
                <a:moveTo>
                  <a:pt x="0" y="551352"/>
                </a:moveTo>
                <a:lnTo>
                  <a:pt x="275676" y="0"/>
                </a:lnTo>
                <a:lnTo>
                  <a:pt x="275676" y="1102703"/>
                </a:lnTo>
                <a:close/>
              </a:path>
            </a:pathLst>
          </a:custGeom>
          <a:solidFill>
            <a:schemeClr val="accent3"/>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108" name="Freeform: Shape 107">
            <a:extLst>
              <a:ext uri="{FF2B5EF4-FFF2-40B4-BE49-F238E27FC236}">
                <a16:creationId xmlns:a16="http://schemas.microsoft.com/office/drawing/2014/main" id="{2AE2DD21-F082-49CE-9F15-34A766E10818}"/>
              </a:ext>
            </a:extLst>
          </p:cNvPr>
          <p:cNvSpPr/>
          <p:nvPr/>
        </p:nvSpPr>
        <p:spPr bwMode="auto">
          <a:xfrm rot="5400000">
            <a:off x="1962929"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 name="connsiteX0" fmla="*/ 275676 w 367116"/>
              <a:gd name="connsiteY0" fmla="*/ 1102703 h 1194143"/>
              <a:gd name="connsiteX1" fmla="*/ 0 w 367116"/>
              <a:gd name="connsiteY1" fmla="*/ 551352 h 1194143"/>
              <a:gd name="connsiteX2" fmla="*/ 275676 w 367116"/>
              <a:gd name="connsiteY2" fmla="*/ 0 h 1194143"/>
              <a:gd name="connsiteX3" fmla="*/ 367116 w 367116"/>
              <a:gd name="connsiteY3" fmla="*/ 1194143 h 1194143"/>
              <a:gd name="connsiteX0" fmla="*/ 275676 w 275676"/>
              <a:gd name="connsiteY0" fmla="*/ 1102703 h 1102703"/>
              <a:gd name="connsiteX1" fmla="*/ 0 w 275676"/>
              <a:gd name="connsiteY1" fmla="*/ 551352 h 1102703"/>
              <a:gd name="connsiteX2" fmla="*/ 275676 w 275676"/>
              <a:gd name="connsiteY2" fmla="*/ 0 h 1102703"/>
            </a:gdLst>
            <a:ahLst/>
            <a:cxnLst>
              <a:cxn ang="0">
                <a:pos x="connsiteX0" y="connsiteY0"/>
              </a:cxn>
              <a:cxn ang="0">
                <a:pos x="connsiteX1" y="connsiteY1"/>
              </a:cxn>
              <a:cxn ang="0">
                <a:pos x="connsiteX2" y="connsiteY2"/>
              </a:cxn>
            </a:cxnLst>
            <a:rect l="l" t="t" r="r" b="b"/>
            <a:pathLst>
              <a:path w="275676" h="1102703">
                <a:moveTo>
                  <a:pt x="275676" y="1102703"/>
                </a:moveTo>
                <a:lnTo>
                  <a:pt x="0" y="551352"/>
                </a:lnTo>
                <a:lnTo>
                  <a:pt x="275676" y="0"/>
                </a:lnTo>
              </a:path>
            </a:pathLst>
          </a:cu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109" name="Freeform: Shape 108">
            <a:extLst>
              <a:ext uri="{FF2B5EF4-FFF2-40B4-BE49-F238E27FC236}">
                <a16:creationId xmlns:a16="http://schemas.microsoft.com/office/drawing/2014/main" id="{DD50FCB8-2673-47C9-B615-8A2AB9FD51CA}"/>
              </a:ext>
            </a:extLst>
          </p:cNvPr>
          <p:cNvSpPr/>
          <p:nvPr/>
        </p:nvSpPr>
        <p:spPr bwMode="auto">
          <a:xfrm rot="5400000">
            <a:off x="259875" y="6322448"/>
            <a:ext cx="275677" cy="795427"/>
          </a:xfrm>
          <a:custGeom>
            <a:avLst/>
            <a:gdLst>
              <a:gd name="connsiteX0" fmla="*/ 0 w 275677"/>
              <a:gd name="connsiteY0" fmla="*/ 551353 h 795427"/>
              <a:gd name="connsiteX1" fmla="*/ 275677 w 275677"/>
              <a:gd name="connsiteY1" fmla="*/ 0 h 795427"/>
              <a:gd name="connsiteX2" fmla="*/ 275677 w 275677"/>
              <a:gd name="connsiteY2" fmla="*/ 795427 h 795427"/>
              <a:gd name="connsiteX3" fmla="*/ 122037 w 275677"/>
              <a:gd name="connsiteY3" fmla="*/ 795427 h 795427"/>
              <a:gd name="connsiteX0" fmla="*/ 275677 w 367117"/>
              <a:gd name="connsiteY0" fmla="*/ 795427 h 886867"/>
              <a:gd name="connsiteX1" fmla="*/ 122037 w 367117"/>
              <a:gd name="connsiteY1" fmla="*/ 795427 h 886867"/>
              <a:gd name="connsiteX2" fmla="*/ 0 w 367117"/>
              <a:gd name="connsiteY2" fmla="*/ 551353 h 886867"/>
              <a:gd name="connsiteX3" fmla="*/ 275677 w 367117"/>
              <a:gd name="connsiteY3" fmla="*/ 0 h 886867"/>
              <a:gd name="connsiteX4" fmla="*/ 367117 w 367117"/>
              <a:gd name="connsiteY4" fmla="*/ 886867 h 886867"/>
              <a:gd name="connsiteX0" fmla="*/ 275677 w 275677"/>
              <a:gd name="connsiteY0" fmla="*/ 795427 h 795427"/>
              <a:gd name="connsiteX1" fmla="*/ 122037 w 275677"/>
              <a:gd name="connsiteY1" fmla="*/ 795427 h 795427"/>
              <a:gd name="connsiteX2" fmla="*/ 0 w 275677"/>
              <a:gd name="connsiteY2" fmla="*/ 551353 h 795427"/>
              <a:gd name="connsiteX3" fmla="*/ 275677 w 275677"/>
              <a:gd name="connsiteY3" fmla="*/ 0 h 795427"/>
              <a:gd name="connsiteX0" fmla="*/ 122037 w 275677"/>
              <a:gd name="connsiteY0" fmla="*/ 795427 h 795427"/>
              <a:gd name="connsiteX1" fmla="*/ 0 w 275677"/>
              <a:gd name="connsiteY1" fmla="*/ 551353 h 795427"/>
              <a:gd name="connsiteX2" fmla="*/ 275677 w 275677"/>
              <a:gd name="connsiteY2" fmla="*/ 0 h 795427"/>
            </a:gdLst>
            <a:ahLst/>
            <a:cxnLst>
              <a:cxn ang="0">
                <a:pos x="connsiteX0" y="connsiteY0"/>
              </a:cxn>
              <a:cxn ang="0">
                <a:pos x="connsiteX1" y="connsiteY1"/>
              </a:cxn>
              <a:cxn ang="0">
                <a:pos x="connsiteX2" y="connsiteY2"/>
              </a:cxn>
            </a:cxnLst>
            <a:rect l="l" t="t" r="r" b="b"/>
            <a:pathLst>
              <a:path w="275677" h="795427">
                <a:moveTo>
                  <a:pt x="122037" y="795427"/>
                </a:moveTo>
                <a:lnTo>
                  <a:pt x="0" y="551353"/>
                </a:lnTo>
                <a:lnTo>
                  <a:pt x="275677" y="0"/>
                </a:lnTo>
              </a:path>
            </a:pathLst>
          </a:cu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Tree>
    <p:extLst>
      <p:ext uri="{BB962C8B-B14F-4D97-AF65-F5344CB8AC3E}">
        <p14:creationId xmlns:p14="http://schemas.microsoft.com/office/powerpoint/2010/main" val="1088117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0" name="Group 139">
            <a:extLst>
              <a:ext uri="{FF2B5EF4-FFF2-40B4-BE49-F238E27FC236}">
                <a16:creationId xmlns:a16="http://schemas.microsoft.com/office/drawing/2014/main" id="{E641AA23-3835-4206-986A-7259E2905DD9}"/>
              </a:ext>
            </a:extLst>
          </p:cNvPr>
          <p:cNvGrpSpPr/>
          <p:nvPr/>
        </p:nvGrpSpPr>
        <p:grpSpPr>
          <a:xfrm>
            <a:off x="9490200" y="2315067"/>
            <a:ext cx="1413268" cy="1309655"/>
            <a:chOff x="992285" y="1839090"/>
            <a:chExt cx="1413268" cy="1309655"/>
          </a:xfrm>
        </p:grpSpPr>
        <p:grpSp>
          <p:nvGrpSpPr>
            <p:cNvPr id="141" name="Group 140">
              <a:extLst>
                <a:ext uri="{FF2B5EF4-FFF2-40B4-BE49-F238E27FC236}">
                  <a16:creationId xmlns:a16="http://schemas.microsoft.com/office/drawing/2014/main" id="{7E80D51D-B36A-469A-B8D1-FAD57E596489}"/>
                </a:ext>
              </a:extLst>
            </p:cNvPr>
            <p:cNvGrpSpPr/>
            <p:nvPr/>
          </p:nvGrpSpPr>
          <p:grpSpPr>
            <a:xfrm>
              <a:off x="992285" y="1839090"/>
              <a:ext cx="1413268" cy="1309655"/>
              <a:chOff x="1012181" y="1875471"/>
              <a:chExt cx="1441607" cy="1335916"/>
            </a:xfrm>
            <a:solidFill>
              <a:schemeClr val="tx2"/>
            </a:solidFill>
          </p:grpSpPr>
          <p:sp>
            <p:nvSpPr>
              <p:cNvPr id="188" name="Hexagon 187">
                <a:extLst>
                  <a:ext uri="{FF2B5EF4-FFF2-40B4-BE49-F238E27FC236}">
                    <a16:creationId xmlns:a16="http://schemas.microsoft.com/office/drawing/2014/main" id="{041CCE28-3C04-41DE-9B95-78A44ABBD877}"/>
                  </a:ext>
                </a:extLst>
              </p:cNvPr>
              <p:cNvSpPr/>
              <p:nvPr/>
            </p:nvSpPr>
            <p:spPr bwMode="auto">
              <a:xfrm rot="5400000">
                <a:off x="1246107" y="2713450"/>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9" name="Hexagon 188">
                <a:extLst>
                  <a:ext uri="{FF2B5EF4-FFF2-40B4-BE49-F238E27FC236}">
                    <a16:creationId xmlns:a16="http://schemas.microsoft.com/office/drawing/2014/main" id="{D5EE8EC2-52ED-4252-B41F-A6B895E436CC}"/>
                  </a:ext>
                </a:extLst>
              </p:cNvPr>
              <p:cNvSpPr/>
              <p:nvPr/>
            </p:nvSpPr>
            <p:spPr bwMode="auto">
              <a:xfrm rot="5400000">
                <a:off x="1495575" y="2713450"/>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0" name="Hexagon 189">
                <a:extLst>
                  <a:ext uri="{FF2B5EF4-FFF2-40B4-BE49-F238E27FC236}">
                    <a16:creationId xmlns:a16="http://schemas.microsoft.com/office/drawing/2014/main" id="{5F81DC9B-7559-41C5-AB3A-E9154306D151}"/>
                  </a:ext>
                </a:extLst>
              </p:cNvPr>
              <p:cNvSpPr/>
              <p:nvPr/>
            </p:nvSpPr>
            <p:spPr bwMode="auto">
              <a:xfrm rot="5400000">
                <a:off x="1745042" y="2713450"/>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1" name="Hexagon 190">
                <a:extLst>
                  <a:ext uri="{FF2B5EF4-FFF2-40B4-BE49-F238E27FC236}">
                    <a16:creationId xmlns:a16="http://schemas.microsoft.com/office/drawing/2014/main" id="{03FFFB00-A5EC-4786-A895-4450A6C71143}"/>
                  </a:ext>
                </a:extLst>
              </p:cNvPr>
              <p:cNvSpPr/>
              <p:nvPr/>
            </p:nvSpPr>
            <p:spPr bwMode="auto">
              <a:xfrm rot="5400000">
                <a:off x="1994509" y="2713450"/>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2" name="Hexagon 191">
                <a:extLst>
                  <a:ext uri="{FF2B5EF4-FFF2-40B4-BE49-F238E27FC236}">
                    <a16:creationId xmlns:a16="http://schemas.microsoft.com/office/drawing/2014/main" id="{FCFDEF70-C9AB-4B6F-AA62-50C4BB40B82B}"/>
                  </a:ext>
                </a:extLst>
              </p:cNvPr>
              <p:cNvSpPr/>
              <p:nvPr/>
            </p:nvSpPr>
            <p:spPr bwMode="auto">
              <a:xfrm rot="5400000">
                <a:off x="1246107" y="2433761"/>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3" name="Hexagon 192">
                <a:extLst>
                  <a:ext uri="{FF2B5EF4-FFF2-40B4-BE49-F238E27FC236}">
                    <a16:creationId xmlns:a16="http://schemas.microsoft.com/office/drawing/2014/main" id="{D79593A2-3486-4C65-B511-CB88C72CD30D}"/>
                  </a:ext>
                </a:extLst>
              </p:cNvPr>
              <p:cNvSpPr/>
              <p:nvPr/>
            </p:nvSpPr>
            <p:spPr bwMode="auto">
              <a:xfrm rot="5400000">
                <a:off x="1495575" y="2433761"/>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4" name="Hexagon 193">
                <a:extLst>
                  <a:ext uri="{FF2B5EF4-FFF2-40B4-BE49-F238E27FC236}">
                    <a16:creationId xmlns:a16="http://schemas.microsoft.com/office/drawing/2014/main" id="{B1A5C5E7-343E-4EDE-B554-219CE1D02959}"/>
                  </a:ext>
                </a:extLst>
              </p:cNvPr>
              <p:cNvSpPr/>
              <p:nvPr/>
            </p:nvSpPr>
            <p:spPr bwMode="auto">
              <a:xfrm rot="5400000">
                <a:off x="1745042" y="2433761"/>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5" name="Hexagon 194">
                <a:extLst>
                  <a:ext uri="{FF2B5EF4-FFF2-40B4-BE49-F238E27FC236}">
                    <a16:creationId xmlns:a16="http://schemas.microsoft.com/office/drawing/2014/main" id="{B5F35745-3BCC-4957-9675-EBA752E224AA}"/>
                  </a:ext>
                </a:extLst>
              </p:cNvPr>
              <p:cNvSpPr/>
              <p:nvPr/>
            </p:nvSpPr>
            <p:spPr bwMode="auto">
              <a:xfrm rot="5400000">
                <a:off x="1994509" y="2433761"/>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6" name="Hexagon 195">
                <a:extLst>
                  <a:ext uri="{FF2B5EF4-FFF2-40B4-BE49-F238E27FC236}">
                    <a16:creationId xmlns:a16="http://schemas.microsoft.com/office/drawing/2014/main" id="{A83FDEC8-AE21-4330-9513-0F4DB705C922}"/>
                  </a:ext>
                </a:extLst>
              </p:cNvPr>
              <p:cNvSpPr/>
              <p:nvPr/>
            </p:nvSpPr>
            <p:spPr bwMode="auto">
              <a:xfrm rot="5400000">
                <a:off x="1246107" y="2163293"/>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7" name="Hexagon 196">
                <a:extLst>
                  <a:ext uri="{FF2B5EF4-FFF2-40B4-BE49-F238E27FC236}">
                    <a16:creationId xmlns:a16="http://schemas.microsoft.com/office/drawing/2014/main" id="{FDDE829E-C8B5-46EC-847E-4CF250F837EE}"/>
                  </a:ext>
                </a:extLst>
              </p:cNvPr>
              <p:cNvSpPr/>
              <p:nvPr/>
            </p:nvSpPr>
            <p:spPr bwMode="auto">
              <a:xfrm rot="5400000">
                <a:off x="1495575" y="216329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8" name="Hexagon 197">
                <a:extLst>
                  <a:ext uri="{FF2B5EF4-FFF2-40B4-BE49-F238E27FC236}">
                    <a16:creationId xmlns:a16="http://schemas.microsoft.com/office/drawing/2014/main" id="{B12F39EE-211E-45FF-B5C5-69B436CA968D}"/>
                  </a:ext>
                </a:extLst>
              </p:cNvPr>
              <p:cNvSpPr/>
              <p:nvPr/>
            </p:nvSpPr>
            <p:spPr bwMode="auto">
              <a:xfrm rot="5400000">
                <a:off x="1745042" y="216329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9" name="Hexagon 198">
                <a:extLst>
                  <a:ext uri="{FF2B5EF4-FFF2-40B4-BE49-F238E27FC236}">
                    <a16:creationId xmlns:a16="http://schemas.microsoft.com/office/drawing/2014/main" id="{28DC14BD-9BEC-4061-9D97-B66EF9F34687}"/>
                  </a:ext>
                </a:extLst>
              </p:cNvPr>
              <p:cNvSpPr/>
              <p:nvPr/>
            </p:nvSpPr>
            <p:spPr bwMode="auto">
              <a:xfrm rot="5400000">
                <a:off x="1994509" y="216329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00" name="Hexagon 199">
                <a:extLst>
                  <a:ext uri="{FF2B5EF4-FFF2-40B4-BE49-F238E27FC236}">
                    <a16:creationId xmlns:a16="http://schemas.microsoft.com/office/drawing/2014/main" id="{7D819533-500C-4D24-A4D1-5BA80DFDDA72}"/>
                  </a:ext>
                </a:extLst>
              </p:cNvPr>
              <p:cNvSpPr/>
              <p:nvPr/>
            </p:nvSpPr>
            <p:spPr bwMode="auto">
              <a:xfrm rot="5400000">
                <a:off x="1246107" y="189352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01" name="Hexagon 200">
                <a:extLst>
                  <a:ext uri="{FF2B5EF4-FFF2-40B4-BE49-F238E27FC236}">
                    <a16:creationId xmlns:a16="http://schemas.microsoft.com/office/drawing/2014/main" id="{D309EA76-4CCB-4073-A5E5-7E38667C7BC2}"/>
                  </a:ext>
                </a:extLst>
              </p:cNvPr>
              <p:cNvSpPr/>
              <p:nvPr/>
            </p:nvSpPr>
            <p:spPr bwMode="auto">
              <a:xfrm rot="5400000">
                <a:off x="1495575" y="189352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02" name="Hexagon 201">
                <a:extLst>
                  <a:ext uri="{FF2B5EF4-FFF2-40B4-BE49-F238E27FC236}">
                    <a16:creationId xmlns:a16="http://schemas.microsoft.com/office/drawing/2014/main" id="{309A6EB6-45BB-45BB-9F42-DF2D92108107}"/>
                  </a:ext>
                </a:extLst>
              </p:cNvPr>
              <p:cNvSpPr/>
              <p:nvPr/>
            </p:nvSpPr>
            <p:spPr bwMode="auto">
              <a:xfrm rot="5400000">
                <a:off x="1745042" y="189352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03" name="Hexagon 202">
                <a:extLst>
                  <a:ext uri="{FF2B5EF4-FFF2-40B4-BE49-F238E27FC236}">
                    <a16:creationId xmlns:a16="http://schemas.microsoft.com/office/drawing/2014/main" id="{B88F0ECC-F98B-4300-A2D9-CEC5E681FB35}"/>
                  </a:ext>
                </a:extLst>
              </p:cNvPr>
              <p:cNvSpPr/>
              <p:nvPr/>
            </p:nvSpPr>
            <p:spPr bwMode="auto">
              <a:xfrm rot="5400000">
                <a:off x="1994509" y="189352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04" name="Hexagon 203">
                <a:extLst>
                  <a:ext uri="{FF2B5EF4-FFF2-40B4-BE49-F238E27FC236}">
                    <a16:creationId xmlns:a16="http://schemas.microsoft.com/office/drawing/2014/main" id="{6CD5F57F-ABCC-49D8-8DF6-DD2EB22C66BD}"/>
                  </a:ext>
                </a:extLst>
              </p:cNvPr>
              <p:cNvSpPr/>
              <p:nvPr/>
            </p:nvSpPr>
            <p:spPr bwMode="auto">
              <a:xfrm rot="5400000">
                <a:off x="996640" y="1891017"/>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05" name="Hexagon 204">
                <a:extLst>
                  <a:ext uri="{FF2B5EF4-FFF2-40B4-BE49-F238E27FC236}">
                    <a16:creationId xmlns:a16="http://schemas.microsoft.com/office/drawing/2014/main" id="{090FAF73-738F-4894-923D-17E5A8D59046}"/>
                  </a:ext>
                </a:extLst>
              </p:cNvPr>
              <p:cNvSpPr/>
              <p:nvPr/>
            </p:nvSpPr>
            <p:spPr bwMode="auto">
              <a:xfrm rot="5400000">
                <a:off x="2243975" y="1891013"/>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06" name="Hexagon 205">
                <a:extLst>
                  <a:ext uri="{FF2B5EF4-FFF2-40B4-BE49-F238E27FC236}">
                    <a16:creationId xmlns:a16="http://schemas.microsoft.com/office/drawing/2014/main" id="{C17EE11E-8B0E-4238-B3C9-76CB630D9CA1}"/>
                  </a:ext>
                </a:extLst>
              </p:cNvPr>
              <p:cNvSpPr/>
              <p:nvPr/>
            </p:nvSpPr>
            <p:spPr bwMode="auto">
              <a:xfrm rot="5400000">
                <a:off x="996640" y="2160755"/>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07" name="Hexagon 206">
                <a:extLst>
                  <a:ext uri="{FF2B5EF4-FFF2-40B4-BE49-F238E27FC236}">
                    <a16:creationId xmlns:a16="http://schemas.microsoft.com/office/drawing/2014/main" id="{6554A7F7-3D60-4967-A999-5B4FBF5BDFA1}"/>
                  </a:ext>
                </a:extLst>
              </p:cNvPr>
              <p:cNvSpPr/>
              <p:nvPr/>
            </p:nvSpPr>
            <p:spPr bwMode="auto">
              <a:xfrm rot="5400000">
                <a:off x="996640" y="2437244"/>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08" name="Hexagon 207">
                <a:extLst>
                  <a:ext uri="{FF2B5EF4-FFF2-40B4-BE49-F238E27FC236}">
                    <a16:creationId xmlns:a16="http://schemas.microsoft.com/office/drawing/2014/main" id="{28928015-93AC-4B09-94B3-8105B160B949}"/>
                  </a:ext>
                </a:extLst>
              </p:cNvPr>
              <p:cNvSpPr/>
              <p:nvPr/>
            </p:nvSpPr>
            <p:spPr bwMode="auto">
              <a:xfrm rot="5400000">
                <a:off x="996640" y="2713734"/>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09" name="Hexagon 208">
                <a:extLst>
                  <a:ext uri="{FF2B5EF4-FFF2-40B4-BE49-F238E27FC236}">
                    <a16:creationId xmlns:a16="http://schemas.microsoft.com/office/drawing/2014/main" id="{3BAC6999-735D-4EAB-B91F-347A275DB060}"/>
                  </a:ext>
                </a:extLst>
              </p:cNvPr>
              <p:cNvSpPr/>
              <p:nvPr/>
            </p:nvSpPr>
            <p:spPr bwMode="auto">
              <a:xfrm rot="5400000">
                <a:off x="2243975" y="2160755"/>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10" name="Hexagon 209">
                <a:extLst>
                  <a:ext uri="{FF2B5EF4-FFF2-40B4-BE49-F238E27FC236}">
                    <a16:creationId xmlns:a16="http://schemas.microsoft.com/office/drawing/2014/main" id="{92C19311-C5CE-4EBD-A781-2EE93C5080EC}"/>
                  </a:ext>
                </a:extLst>
              </p:cNvPr>
              <p:cNvSpPr/>
              <p:nvPr/>
            </p:nvSpPr>
            <p:spPr bwMode="auto">
              <a:xfrm rot="5400000">
                <a:off x="2243975" y="2437244"/>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11" name="Hexagon 210">
                <a:extLst>
                  <a:ext uri="{FF2B5EF4-FFF2-40B4-BE49-F238E27FC236}">
                    <a16:creationId xmlns:a16="http://schemas.microsoft.com/office/drawing/2014/main" id="{6A08D376-5FBC-45AC-98E3-D6F6586F1D1F}"/>
                  </a:ext>
                </a:extLst>
              </p:cNvPr>
              <p:cNvSpPr/>
              <p:nvPr/>
            </p:nvSpPr>
            <p:spPr bwMode="auto">
              <a:xfrm rot="5400000">
                <a:off x="2243975" y="2713734"/>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12" name="Hexagon 211">
                <a:extLst>
                  <a:ext uri="{FF2B5EF4-FFF2-40B4-BE49-F238E27FC236}">
                    <a16:creationId xmlns:a16="http://schemas.microsoft.com/office/drawing/2014/main" id="{3C950E08-A9E6-4278-A4BA-5C001CEF32F0}"/>
                  </a:ext>
                </a:extLst>
              </p:cNvPr>
              <p:cNvSpPr/>
              <p:nvPr/>
            </p:nvSpPr>
            <p:spPr bwMode="auto">
              <a:xfrm rot="5400000">
                <a:off x="996639" y="3001572"/>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20" name="Hexagon 319">
                <a:extLst>
                  <a:ext uri="{FF2B5EF4-FFF2-40B4-BE49-F238E27FC236}">
                    <a16:creationId xmlns:a16="http://schemas.microsoft.com/office/drawing/2014/main" id="{D1D1A2F0-8C99-4509-B5C7-D9F0E05421B0}"/>
                  </a:ext>
                </a:extLst>
              </p:cNvPr>
              <p:cNvSpPr/>
              <p:nvPr/>
            </p:nvSpPr>
            <p:spPr bwMode="auto">
              <a:xfrm rot="5400000">
                <a:off x="2243974" y="3001572"/>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21" name="Hexagon 320">
                <a:extLst>
                  <a:ext uri="{FF2B5EF4-FFF2-40B4-BE49-F238E27FC236}">
                    <a16:creationId xmlns:a16="http://schemas.microsoft.com/office/drawing/2014/main" id="{09C3FBE1-9968-431D-8190-1B2FCB7DB1CB}"/>
                  </a:ext>
                </a:extLst>
              </p:cNvPr>
              <p:cNvSpPr/>
              <p:nvPr/>
            </p:nvSpPr>
            <p:spPr bwMode="auto">
              <a:xfrm rot="5400000">
                <a:off x="1246106" y="3001572"/>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22" name="Hexagon 321">
                <a:extLst>
                  <a:ext uri="{FF2B5EF4-FFF2-40B4-BE49-F238E27FC236}">
                    <a16:creationId xmlns:a16="http://schemas.microsoft.com/office/drawing/2014/main" id="{B626A94B-5491-444F-849D-90F9F73395D1}"/>
                  </a:ext>
                </a:extLst>
              </p:cNvPr>
              <p:cNvSpPr/>
              <p:nvPr/>
            </p:nvSpPr>
            <p:spPr bwMode="auto">
              <a:xfrm rot="5400000">
                <a:off x="1495574" y="3001574"/>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23" name="Hexagon 322">
                <a:extLst>
                  <a:ext uri="{FF2B5EF4-FFF2-40B4-BE49-F238E27FC236}">
                    <a16:creationId xmlns:a16="http://schemas.microsoft.com/office/drawing/2014/main" id="{16B7E7C8-070C-4A7D-9A0B-38210EF93742}"/>
                  </a:ext>
                </a:extLst>
              </p:cNvPr>
              <p:cNvSpPr/>
              <p:nvPr/>
            </p:nvSpPr>
            <p:spPr bwMode="auto">
              <a:xfrm rot="5400000">
                <a:off x="1745041" y="300157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24" name="Hexagon 323">
                <a:extLst>
                  <a:ext uri="{FF2B5EF4-FFF2-40B4-BE49-F238E27FC236}">
                    <a16:creationId xmlns:a16="http://schemas.microsoft.com/office/drawing/2014/main" id="{7B88F646-0A1D-4432-84CD-BAE7DC83454B}"/>
                  </a:ext>
                </a:extLst>
              </p:cNvPr>
              <p:cNvSpPr/>
              <p:nvPr/>
            </p:nvSpPr>
            <p:spPr bwMode="auto">
              <a:xfrm rot="5400000">
                <a:off x="1994509" y="3001567"/>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142" name="Group 141">
              <a:extLst>
                <a:ext uri="{FF2B5EF4-FFF2-40B4-BE49-F238E27FC236}">
                  <a16:creationId xmlns:a16="http://schemas.microsoft.com/office/drawing/2014/main" id="{10D4D649-A491-4D09-9777-B80ED3FFA7D6}"/>
                </a:ext>
              </a:extLst>
            </p:cNvPr>
            <p:cNvGrpSpPr/>
            <p:nvPr/>
          </p:nvGrpSpPr>
          <p:grpSpPr>
            <a:xfrm>
              <a:off x="1114166" y="1979032"/>
              <a:ext cx="1169506" cy="1029771"/>
              <a:chOff x="1143125" y="1983458"/>
              <a:chExt cx="1192957" cy="1050420"/>
            </a:xfrm>
          </p:grpSpPr>
          <p:grpSp>
            <p:nvGrpSpPr>
              <p:cNvPr id="143" name="Group 142">
                <a:extLst>
                  <a:ext uri="{FF2B5EF4-FFF2-40B4-BE49-F238E27FC236}">
                    <a16:creationId xmlns:a16="http://schemas.microsoft.com/office/drawing/2014/main" id="{53AF6BCC-8402-4195-987D-8602C136DEAD}"/>
                  </a:ext>
                </a:extLst>
              </p:cNvPr>
              <p:cNvGrpSpPr/>
              <p:nvPr/>
            </p:nvGrpSpPr>
            <p:grpSpPr>
              <a:xfrm>
                <a:off x="1262080" y="2113675"/>
                <a:ext cx="940915" cy="836555"/>
                <a:chOff x="496931" y="22279968"/>
                <a:chExt cx="1082402" cy="962349"/>
              </a:xfrm>
            </p:grpSpPr>
            <p:sp>
              <p:nvSpPr>
                <p:cNvPr id="178" name="Rectangle 177">
                  <a:extLst>
                    <a:ext uri="{FF2B5EF4-FFF2-40B4-BE49-F238E27FC236}">
                      <a16:creationId xmlns:a16="http://schemas.microsoft.com/office/drawing/2014/main" id="{49B7967A-2415-4DE8-8C02-E2AE36A32D4E}"/>
                    </a:ext>
                  </a:extLst>
                </p:cNvPr>
                <p:cNvSpPr/>
                <p:nvPr/>
              </p:nvSpPr>
              <p:spPr bwMode="auto">
                <a:xfrm>
                  <a:off x="638812" y="22443702"/>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9" name="Rectangle 178">
                  <a:extLst>
                    <a:ext uri="{FF2B5EF4-FFF2-40B4-BE49-F238E27FC236}">
                      <a16:creationId xmlns:a16="http://schemas.microsoft.com/office/drawing/2014/main" id="{581E1B0E-B613-4A60-BA9A-120D75AD4732}"/>
                    </a:ext>
                  </a:extLst>
                </p:cNvPr>
                <p:cNvSpPr/>
                <p:nvPr/>
              </p:nvSpPr>
              <p:spPr bwMode="auto">
                <a:xfrm>
                  <a:off x="638812"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0" name="Rectangle 179">
                  <a:extLst>
                    <a:ext uri="{FF2B5EF4-FFF2-40B4-BE49-F238E27FC236}">
                      <a16:creationId xmlns:a16="http://schemas.microsoft.com/office/drawing/2014/main" id="{0C524057-4457-424F-A97D-8FAA609B02E2}"/>
                    </a:ext>
                  </a:extLst>
                </p:cNvPr>
                <p:cNvSpPr/>
                <p:nvPr/>
              </p:nvSpPr>
              <p:spPr bwMode="auto">
                <a:xfrm>
                  <a:off x="1104165"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1" name="Rectangle 180">
                  <a:extLst>
                    <a:ext uri="{FF2B5EF4-FFF2-40B4-BE49-F238E27FC236}">
                      <a16:creationId xmlns:a16="http://schemas.microsoft.com/office/drawing/2014/main" id="{C4A163E0-D8AF-418F-9DCB-0B2F27E98A28}"/>
                    </a:ext>
                  </a:extLst>
                </p:cNvPr>
                <p:cNvSpPr/>
                <p:nvPr/>
              </p:nvSpPr>
              <p:spPr bwMode="auto">
                <a:xfrm>
                  <a:off x="1104165" y="22439799"/>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82" name="Group 181">
                  <a:extLst>
                    <a:ext uri="{FF2B5EF4-FFF2-40B4-BE49-F238E27FC236}">
                      <a16:creationId xmlns:a16="http://schemas.microsoft.com/office/drawing/2014/main" id="{7BA012BD-ED4D-4BCF-9D6C-5E629A93487B}"/>
                    </a:ext>
                  </a:extLst>
                </p:cNvPr>
                <p:cNvGrpSpPr/>
                <p:nvPr/>
              </p:nvGrpSpPr>
              <p:grpSpPr>
                <a:xfrm>
                  <a:off x="496931" y="22279968"/>
                  <a:ext cx="1082402" cy="962349"/>
                  <a:chOff x="496931" y="22279968"/>
                  <a:chExt cx="1082402" cy="962349"/>
                </a:xfrm>
              </p:grpSpPr>
              <p:sp>
                <p:nvSpPr>
                  <p:cNvPr id="183" name="Hexagon 182">
                    <a:extLst>
                      <a:ext uri="{FF2B5EF4-FFF2-40B4-BE49-F238E27FC236}">
                        <a16:creationId xmlns:a16="http://schemas.microsoft.com/office/drawing/2014/main" id="{FFA6091D-021B-4CF0-925F-34B9CB566DCC}"/>
                      </a:ext>
                    </a:extLst>
                  </p:cNvPr>
                  <p:cNvSpPr/>
                  <p:nvPr/>
                </p:nvSpPr>
                <p:spPr bwMode="auto">
                  <a:xfrm rot="5400000">
                    <a:off x="813077" y="22563259"/>
                    <a:ext cx="450110" cy="388024"/>
                  </a:xfrm>
                  <a:prstGeom prst="hexagon">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4" name="Hexagon 183">
                    <a:extLst>
                      <a:ext uri="{FF2B5EF4-FFF2-40B4-BE49-F238E27FC236}">
                        <a16:creationId xmlns:a16="http://schemas.microsoft.com/office/drawing/2014/main" id="{8650D371-BB91-4A89-B561-E4C76DF65171}"/>
                      </a:ext>
                    </a:extLst>
                  </p:cNvPr>
                  <p:cNvSpPr/>
                  <p:nvPr/>
                </p:nvSpPr>
                <p:spPr bwMode="auto">
                  <a:xfrm rot="5400000">
                    <a:off x="1280803"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5" name="Hexagon 184">
                    <a:extLst>
                      <a:ext uri="{FF2B5EF4-FFF2-40B4-BE49-F238E27FC236}">
                        <a16:creationId xmlns:a16="http://schemas.microsoft.com/office/drawing/2014/main" id="{4A53E832-FFDE-48B5-AC2F-E07F64D9D4B0}"/>
                      </a:ext>
                    </a:extLst>
                  </p:cNvPr>
                  <p:cNvSpPr/>
                  <p:nvPr/>
                </p:nvSpPr>
                <p:spPr bwMode="auto">
                  <a:xfrm rot="5400000">
                    <a:off x="1280803"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6" name="Hexagon 185">
                    <a:extLst>
                      <a:ext uri="{FF2B5EF4-FFF2-40B4-BE49-F238E27FC236}">
                        <a16:creationId xmlns:a16="http://schemas.microsoft.com/office/drawing/2014/main" id="{50042A60-47B3-4D20-9FCD-782C27296E85}"/>
                      </a:ext>
                    </a:extLst>
                  </p:cNvPr>
                  <p:cNvSpPr/>
                  <p:nvPr/>
                </p:nvSpPr>
                <p:spPr bwMode="auto">
                  <a:xfrm rot="5400000">
                    <a:off x="474817"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7" name="Hexagon 186">
                    <a:extLst>
                      <a:ext uri="{FF2B5EF4-FFF2-40B4-BE49-F238E27FC236}">
                        <a16:creationId xmlns:a16="http://schemas.microsoft.com/office/drawing/2014/main" id="{82CB2454-72F9-4769-AEA0-92B8958FDFBE}"/>
                      </a:ext>
                    </a:extLst>
                  </p:cNvPr>
                  <p:cNvSpPr/>
                  <p:nvPr/>
                </p:nvSpPr>
                <p:spPr bwMode="auto">
                  <a:xfrm rot="5400000">
                    <a:off x="474817"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nvGrpSpPr>
              <p:cNvPr id="144" name="Group 143">
                <a:extLst>
                  <a:ext uri="{FF2B5EF4-FFF2-40B4-BE49-F238E27FC236}">
                    <a16:creationId xmlns:a16="http://schemas.microsoft.com/office/drawing/2014/main" id="{6D338CF9-6194-4591-9DBE-1E1B7B11549F}"/>
                  </a:ext>
                </a:extLst>
              </p:cNvPr>
              <p:cNvGrpSpPr/>
              <p:nvPr/>
            </p:nvGrpSpPr>
            <p:grpSpPr>
              <a:xfrm>
                <a:off x="1143125" y="1983458"/>
                <a:ext cx="1192957" cy="1050420"/>
                <a:chOff x="1143125" y="1983458"/>
                <a:chExt cx="1192957" cy="1050420"/>
              </a:xfrm>
            </p:grpSpPr>
            <p:grpSp>
              <p:nvGrpSpPr>
                <p:cNvPr id="145" name="Group 144">
                  <a:extLst>
                    <a:ext uri="{FF2B5EF4-FFF2-40B4-BE49-F238E27FC236}">
                      <a16:creationId xmlns:a16="http://schemas.microsoft.com/office/drawing/2014/main" id="{C4A5C131-9C13-4F6B-819D-38A8213D89F9}"/>
                    </a:ext>
                  </a:extLst>
                </p:cNvPr>
                <p:cNvGrpSpPr/>
                <p:nvPr/>
              </p:nvGrpSpPr>
              <p:grpSpPr>
                <a:xfrm>
                  <a:off x="1143125" y="1998811"/>
                  <a:ext cx="70150" cy="1005876"/>
                  <a:chOff x="1143125" y="1998811"/>
                  <a:chExt cx="70150" cy="1005876"/>
                </a:xfrm>
              </p:grpSpPr>
              <p:sp>
                <p:nvSpPr>
                  <p:cNvPr id="170" name="Oval 169">
                    <a:extLst>
                      <a:ext uri="{FF2B5EF4-FFF2-40B4-BE49-F238E27FC236}">
                        <a16:creationId xmlns:a16="http://schemas.microsoft.com/office/drawing/2014/main" id="{33925CBE-37AE-4916-B0DD-21D7D65A0E13}"/>
                      </a:ext>
                    </a:extLst>
                  </p:cNvPr>
                  <p:cNvSpPr/>
                  <p:nvPr/>
                </p:nvSpPr>
                <p:spPr bwMode="auto">
                  <a:xfrm>
                    <a:off x="1143125" y="1998811"/>
                    <a:ext cx="70150" cy="7015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1" name="Oval 170">
                    <a:extLst>
                      <a:ext uri="{FF2B5EF4-FFF2-40B4-BE49-F238E27FC236}">
                        <a16:creationId xmlns:a16="http://schemas.microsoft.com/office/drawing/2014/main" id="{97235F59-5350-43AC-91AA-662E95457F17}"/>
                      </a:ext>
                    </a:extLst>
                  </p:cNvPr>
                  <p:cNvSpPr/>
                  <p:nvPr/>
                </p:nvSpPr>
                <p:spPr bwMode="auto">
                  <a:xfrm>
                    <a:off x="1150865" y="2165458"/>
                    <a:ext cx="54669" cy="54669"/>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2" name="Oval 171">
                    <a:extLst>
                      <a:ext uri="{FF2B5EF4-FFF2-40B4-BE49-F238E27FC236}">
                        <a16:creationId xmlns:a16="http://schemas.microsoft.com/office/drawing/2014/main" id="{D6881B8D-CB94-4DB5-B19F-300AFDF7ED37}"/>
                      </a:ext>
                    </a:extLst>
                  </p:cNvPr>
                  <p:cNvSpPr/>
                  <p:nvPr/>
                </p:nvSpPr>
                <p:spPr bwMode="auto">
                  <a:xfrm>
                    <a:off x="1153991" y="2316624"/>
                    <a:ext cx="48414" cy="4841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3" name="Oval 172">
                    <a:extLst>
                      <a:ext uri="{FF2B5EF4-FFF2-40B4-BE49-F238E27FC236}">
                        <a16:creationId xmlns:a16="http://schemas.microsoft.com/office/drawing/2014/main" id="{C3C4C34F-846F-4C17-B77E-6A96A597FDC9}"/>
                      </a:ext>
                    </a:extLst>
                  </p:cNvPr>
                  <p:cNvSpPr/>
                  <p:nvPr/>
                </p:nvSpPr>
                <p:spPr bwMode="auto">
                  <a:xfrm>
                    <a:off x="1155261" y="2461536"/>
                    <a:ext cx="45877" cy="45877"/>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4" name="Oval 173">
                    <a:extLst>
                      <a:ext uri="{FF2B5EF4-FFF2-40B4-BE49-F238E27FC236}">
                        <a16:creationId xmlns:a16="http://schemas.microsoft.com/office/drawing/2014/main" id="{40E21356-2B3D-41D0-BEC1-9642700E5949}"/>
                      </a:ext>
                    </a:extLst>
                  </p:cNvPr>
                  <p:cNvSpPr/>
                  <p:nvPr/>
                </p:nvSpPr>
                <p:spPr bwMode="auto">
                  <a:xfrm>
                    <a:off x="1158327" y="2603911"/>
                    <a:ext cx="39744" cy="39744"/>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5" name="Oval 174">
                    <a:extLst>
                      <a:ext uri="{FF2B5EF4-FFF2-40B4-BE49-F238E27FC236}">
                        <a16:creationId xmlns:a16="http://schemas.microsoft.com/office/drawing/2014/main" id="{BE5C11F7-88ED-426F-A295-550B0E2544BC}"/>
                      </a:ext>
                    </a:extLst>
                  </p:cNvPr>
                  <p:cNvSpPr/>
                  <p:nvPr/>
                </p:nvSpPr>
                <p:spPr bwMode="auto">
                  <a:xfrm>
                    <a:off x="1162303" y="2740152"/>
                    <a:ext cx="31795" cy="31795"/>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6" name="Oval 175">
                    <a:extLst>
                      <a:ext uri="{FF2B5EF4-FFF2-40B4-BE49-F238E27FC236}">
                        <a16:creationId xmlns:a16="http://schemas.microsoft.com/office/drawing/2014/main" id="{617F7A92-E30B-43C5-ADB9-E1C7EE5ED96C}"/>
                      </a:ext>
                    </a:extLst>
                  </p:cNvPr>
                  <p:cNvSpPr/>
                  <p:nvPr/>
                </p:nvSpPr>
                <p:spPr bwMode="auto">
                  <a:xfrm>
                    <a:off x="1166275" y="2868445"/>
                    <a:ext cx="23846" cy="23846"/>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7" name="Oval 176">
                    <a:extLst>
                      <a:ext uri="{FF2B5EF4-FFF2-40B4-BE49-F238E27FC236}">
                        <a16:creationId xmlns:a16="http://schemas.microsoft.com/office/drawing/2014/main" id="{647E54F4-4F3B-4790-91C7-3B11EEACFFE1}"/>
                      </a:ext>
                    </a:extLst>
                  </p:cNvPr>
                  <p:cNvSpPr/>
                  <p:nvPr/>
                </p:nvSpPr>
                <p:spPr bwMode="auto">
                  <a:xfrm>
                    <a:off x="1170251" y="2988790"/>
                    <a:ext cx="15897" cy="1589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46" name="Group 145">
                  <a:extLst>
                    <a:ext uri="{FF2B5EF4-FFF2-40B4-BE49-F238E27FC236}">
                      <a16:creationId xmlns:a16="http://schemas.microsoft.com/office/drawing/2014/main" id="{86CFD2E0-78A4-43BB-B460-136430780B21}"/>
                    </a:ext>
                  </a:extLst>
                </p:cNvPr>
                <p:cNvGrpSpPr/>
                <p:nvPr/>
              </p:nvGrpSpPr>
              <p:grpSpPr>
                <a:xfrm>
                  <a:off x="1303579" y="2963728"/>
                  <a:ext cx="1019075" cy="70150"/>
                  <a:chOff x="1303579" y="2963728"/>
                  <a:chExt cx="1019075" cy="70150"/>
                </a:xfrm>
              </p:grpSpPr>
              <p:sp>
                <p:nvSpPr>
                  <p:cNvPr id="163" name="Oval 162">
                    <a:extLst>
                      <a:ext uri="{FF2B5EF4-FFF2-40B4-BE49-F238E27FC236}">
                        <a16:creationId xmlns:a16="http://schemas.microsoft.com/office/drawing/2014/main" id="{B5F980EE-04E9-41CF-9DA5-FBD1201E5476}"/>
                      </a:ext>
                    </a:extLst>
                  </p:cNvPr>
                  <p:cNvSpPr/>
                  <p:nvPr/>
                </p:nvSpPr>
                <p:spPr bwMode="auto">
                  <a:xfrm flipV="1">
                    <a:off x="2252504" y="2963728"/>
                    <a:ext cx="70150" cy="7015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4" name="Oval 163">
                    <a:extLst>
                      <a:ext uri="{FF2B5EF4-FFF2-40B4-BE49-F238E27FC236}">
                        <a16:creationId xmlns:a16="http://schemas.microsoft.com/office/drawing/2014/main" id="{D7C54147-AC12-4667-B9ED-8DF404708342}"/>
                      </a:ext>
                    </a:extLst>
                  </p:cNvPr>
                  <p:cNvSpPr/>
                  <p:nvPr/>
                </p:nvSpPr>
                <p:spPr bwMode="auto">
                  <a:xfrm rot="5400000">
                    <a:off x="2080403" y="2969457"/>
                    <a:ext cx="54669" cy="54669"/>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5" name="Oval 164">
                    <a:extLst>
                      <a:ext uri="{FF2B5EF4-FFF2-40B4-BE49-F238E27FC236}">
                        <a16:creationId xmlns:a16="http://schemas.microsoft.com/office/drawing/2014/main" id="{D045DF81-A61E-43CE-A2CF-A9A7340ED7D1}"/>
                      </a:ext>
                    </a:extLst>
                  </p:cNvPr>
                  <p:cNvSpPr/>
                  <p:nvPr/>
                </p:nvSpPr>
                <p:spPr bwMode="auto">
                  <a:xfrm rot="5400000">
                    <a:off x="1914560" y="2972588"/>
                    <a:ext cx="48414" cy="4841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6" name="Oval 165">
                    <a:extLst>
                      <a:ext uri="{FF2B5EF4-FFF2-40B4-BE49-F238E27FC236}">
                        <a16:creationId xmlns:a16="http://schemas.microsoft.com/office/drawing/2014/main" id="{42A2C1A0-522A-4E0B-90FC-251A5D351F4E}"/>
                      </a:ext>
                    </a:extLst>
                  </p:cNvPr>
                  <p:cNvSpPr/>
                  <p:nvPr/>
                </p:nvSpPr>
                <p:spPr bwMode="auto">
                  <a:xfrm rot="5400000">
                    <a:off x="1751253" y="2973860"/>
                    <a:ext cx="45877" cy="45877"/>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7" name="Oval 166">
                    <a:extLst>
                      <a:ext uri="{FF2B5EF4-FFF2-40B4-BE49-F238E27FC236}">
                        <a16:creationId xmlns:a16="http://schemas.microsoft.com/office/drawing/2014/main" id="{8DA82B54-1D55-4DA5-AB09-A7C574F591DF}"/>
                      </a:ext>
                    </a:extLst>
                  </p:cNvPr>
                  <p:cNvSpPr/>
                  <p:nvPr/>
                </p:nvSpPr>
                <p:spPr bwMode="auto">
                  <a:xfrm rot="5400000">
                    <a:off x="1594078" y="2976934"/>
                    <a:ext cx="39744" cy="39744"/>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8" name="Oval 167">
                    <a:extLst>
                      <a:ext uri="{FF2B5EF4-FFF2-40B4-BE49-F238E27FC236}">
                        <a16:creationId xmlns:a16="http://schemas.microsoft.com/office/drawing/2014/main" id="{3B356899-25C0-4CF8-A1F2-BA9FE3BBF109}"/>
                      </a:ext>
                    </a:extLst>
                  </p:cNvPr>
                  <p:cNvSpPr/>
                  <p:nvPr/>
                </p:nvSpPr>
                <p:spPr bwMode="auto">
                  <a:xfrm rot="5400000">
                    <a:off x="1444854" y="2980917"/>
                    <a:ext cx="31795" cy="31795"/>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9" name="Oval 168">
                    <a:extLst>
                      <a:ext uri="{FF2B5EF4-FFF2-40B4-BE49-F238E27FC236}">
                        <a16:creationId xmlns:a16="http://schemas.microsoft.com/office/drawing/2014/main" id="{5A03F3F6-AD07-4901-9FCE-BA709A922F99}"/>
                      </a:ext>
                    </a:extLst>
                  </p:cNvPr>
                  <p:cNvSpPr/>
                  <p:nvPr/>
                </p:nvSpPr>
                <p:spPr bwMode="auto">
                  <a:xfrm rot="5400000">
                    <a:off x="1303579" y="2984893"/>
                    <a:ext cx="23846" cy="23846"/>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47" name="Group 146">
                  <a:extLst>
                    <a:ext uri="{FF2B5EF4-FFF2-40B4-BE49-F238E27FC236}">
                      <a16:creationId xmlns:a16="http://schemas.microsoft.com/office/drawing/2014/main" id="{0B523672-937B-4975-9572-42BF27C68A8D}"/>
                    </a:ext>
                  </a:extLst>
                </p:cNvPr>
                <p:cNvGrpSpPr/>
                <p:nvPr/>
              </p:nvGrpSpPr>
              <p:grpSpPr>
                <a:xfrm flipH="1">
                  <a:off x="1333440" y="2006253"/>
                  <a:ext cx="831495" cy="54669"/>
                  <a:chOff x="2627473" y="22171612"/>
                  <a:chExt cx="956528" cy="62890"/>
                </a:xfrm>
              </p:grpSpPr>
              <p:sp>
                <p:nvSpPr>
                  <p:cNvPr id="157" name="Oval 156">
                    <a:extLst>
                      <a:ext uri="{FF2B5EF4-FFF2-40B4-BE49-F238E27FC236}">
                        <a16:creationId xmlns:a16="http://schemas.microsoft.com/office/drawing/2014/main" id="{F807A2D7-8A10-46A7-BE1F-BBFC6F97D9CE}"/>
                      </a:ext>
                    </a:extLst>
                  </p:cNvPr>
                  <p:cNvSpPr/>
                  <p:nvPr/>
                </p:nvSpPr>
                <p:spPr bwMode="auto">
                  <a:xfrm rot="5400000">
                    <a:off x="3521111" y="22171612"/>
                    <a:ext cx="62890" cy="6289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8" name="Oval 157">
                    <a:extLst>
                      <a:ext uri="{FF2B5EF4-FFF2-40B4-BE49-F238E27FC236}">
                        <a16:creationId xmlns:a16="http://schemas.microsoft.com/office/drawing/2014/main" id="{FC4AF1B4-C34D-4513-9D81-ED1FDBCE75BF}"/>
                      </a:ext>
                    </a:extLst>
                  </p:cNvPr>
                  <p:cNvSpPr/>
                  <p:nvPr/>
                </p:nvSpPr>
                <p:spPr bwMode="auto">
                  <a:xfrm rot="5400000">
                    <a:off x="3330329" y="22175210"/>
                    <a:ext cx="55694" cy="5569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9" name="Oval 158">
                    <a:extLst>
                      <a:ext uri="{FF2B5EF4-FFF2-40B4-BE49-F238E27FC236}">
                        <a16:creationId xmlns:a16="http://schemas.microsoft.com/office/drawing/2014/main" id="{43EAC935-CCCB-460A-B476-A58018044EB4}"/>
                      </a:ext>
                    </a:extLst>
                  </p:cNvPr>
                  <p:cNvSpPr/>
                  <p:nvPr/>
                </p:nvSpPr>
                <p:spPr bwMode="auto">
                  <a:xfrm rot="5400000">
                    <a:off x="3142465" y="22176669"/>
                    <a:ext cx="52776" cy="52776"/>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0" name="Oval 159">
                    <a:extLst>
                      <a:ext uri="{FF2B5EF4-FFF2-40B4-BE49-F238E27FC236}">
                        <a16:creationId xmlns:a16="http://schemas.microsoft.com/office/drawing/2014/main" id="{F9FC7A5E-1961-40E5-A24A-426E53962E91}"/>
                      </a:ext>
                    </a:extLst>
                  </p:cNvPr>
                  <p:cNvSpPr/>
                  <p:nvPr/>
                </p:nvSpPr>
                <p:spPr bwMode="auto">
                  <a:xfrm rot="5400000">
                    <a:off x="2961657" y="22180197"/>
                    <a:ext cx="45720" cy="45720"/>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1" name="Oval 160">
                    <a:extLst>
                      <a:ext uri="{FF2B5EF4-FFF2-40B4-BE49-F238E27FC236}">
                        <a16:creationId xmlns:a16="http://schemas.microsoft.com/office/drawing/2014/main" id="{AA419BFA-22AC-4C30-933D-DBB56BC9B954}"/>
                      </a:ext>
                    </a:extLst>
                  </p:cNvPr>
                  <p:cNvSpPr/>
                  <p:nvPr/>
                </p:nvSpPr>
                <p:spPr bwMode="auto">
                  <a:xfrm rot="5400000">
                    <a:off x="2789993" y="22184769"/>
                    <a:ext cx="36576" cy="3657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2" name="Oval 161">
                    <a:extLst>
                      <a:ext uri="{FF2B5EF4-FFF2-40B4-BE49-F238E27FC236}">
                        <a16:creationId xmlns:a16="http://schemas.microsoft.com/office/drawing/2014/main" id="{D17B3EF5-EA6F-4E33-9BAB-DD412E8FFF93}"/>
                      </a:ext>
                    </a:extLst>
                  </p:cNvPr>
                  <p:cNvSpPr/>
                  <p:nvPr/>
                </p:nvSpPr>
                <p:spPr bwMode="auto">
                  <a:xfrm rot="5400000">
                    <a:off x="2627473" y="22189341"/>
                    <a:ext cx="27432" cy="27432"/>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48" name="Group 147">
                  <a:extLst>
                    <a:ext uri="{FF2B5EF4-FFF2-40B4-BE49-F238E27FC236}">
                      <a16:creationId xmlns:a16="http://schemas.microsoft.com/office/drawing/2014/main" id="{DC5179EB-63BB-4E4F-880A-BC56ED2D437C}"/>
                    </a:ext>
                  </a:extLst>
                </p:cNvPr>
                <p:cNvGrpSpPr/>
                <p:nvPr/>
              </p:nvGrpSpPr>
              <p:grpSpPr>
                <a:xfrm>
                  <a:off x="2232389" y="1983458"/>
                  <a:ext cx="103693" cy="858871"/>
                  <a:chOff x="2232389" y="1983458"/>
                  <a:chExt cx="103693" cy="858871"/>
                </a:xfrm>
              </p:grpSpPr>
              <p:sp>
                <p:nvSpPr>
                  <p:cNvPr id="149" name="Oval 148">
                    <a:extLst>
                      <a:ext uri="{FF2B5EF4-FFF2-40B4-BE49-F238E27FC236}">
                        <a16:creationId xmlns:a16="http://schemas.microsoft.com/office/drawing/2014/main" id="{E705656E-50E0-4FB0-8DF8-70CFDA5DDCAE}"/>
                      </a:ext>
                    </a:extLst>
                  </p:cNvPr>
                  <p:cNvSpPr/>
                  <p:nvPr/>
                </p:nvSpPr>
                <p:spPr bwMode="auto">
                  <a:xfrm flipV="1">
                    <a:off x="2260245" y="2787660"/>
                    <a:ext cx="54669" cy="54669"/>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0" name="Oval 149">
                    <a:extLst>
                      <a:ext uri="{FF2B5EF4-FFF2-40B4-BE49-F238E27FC236}">
                        <a16:creationId xmlns:a16="http://schemas.microsoft.com/office/drawing/2014/main" id="{09D6A930-7ED4-4BA9-8008-35710B456A16}"/>
                      </a:ext>
                    </a:extLst>
                  </p:cNvPr>
                  <p:cNvSpPr/>
                  <p:nvPr/>
                </p:nvSpPr>
                <p:spPr bwMode="auto">
                  <a:xfrm flipV="1">
                    <a:off x="2263372" y="2647045"/>
                    <a:ext cx="48414" cy="4841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1" name="Oval 150">
                    <a:extLst>
                      <a:ext uri="{FF2B5EF4-FFF2-40B4-BE49-F238E27FC236}">
                        <a16:creationId xmlns:a16="http://schemas.microsoft.com/office/drawing/2014/main" id="{94B9F6B8-6CF5-46C9-B2AA-939E8C8D83B1}"/>
                      </a:ext>
                    </a:extLst>
                  </p:cNvPr>
                  <p:cNvSpPr/>
                  <p:nvPr/>
                </p:nvSpPr>
                <p:spPr bwMode="auto">
                  <a:xfrm flipV="1">
                    <a:off x="2264641" y="2508966"/>
                    <a:ext cx="45877" cy="45877"/>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2" name="Oval 151">
                    <a:extLst>
                      <a:ext uri="{FF2B5EF4-FFF2-40B4-BE49-F238E27FC236}">
                        <a16:creationId xmlns:a16="http://schemas.microsoft.com/office/drawing/2014/main" id="{15614E76-9E7F-485D-A2D7-F66873E0A5EA}"/>
                      </a:ext>
                    </a:extLst>
                  </p:cNvPr>
                  <p:cNvSpPr/>
                  <p:nvPr/>
                </p:nvSpPr>
                <p:spPr bwMode="auto">
                  <a:xfrm flipV="1">
                    <a:off x="2267707" y="2377021"/>
                    <a:ext cx="39744" cy="3974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3" name="Oval 152">
                    <a:extLst>
                      <a:ext uri="{FF2B5EF4-FFF2-40B4-BE49-F238E27FC236}">
                        <a16:creationId xmlns:a16="http://schemas.microsoft.com/office/drawing/2014/main" id="{8CAD942A-7005-4340-86AD-AAB6ACCDE1BE}"/>
                      </a:ext>
                    </a:extLst>
                  </p:cNvPr>
                  <p:cNvSpPr/>
                  <p:nvPr/>
                </p:nvSpPr>
                <p:spPr bwMode="auto">
                  <a:xfrm flipV="1">
                    <a:off x="2271681" y="2253024"/>
                    <a:ext cx="31795" cy="31795"/>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4" name="Oval 153">
                    <a:extLst>
                      <a:ext uri="{FF2B5EF4-FFF2-40B4-BE49-F238E27FC236}">
                        <a16:creationId xmlns:a16="http://schemas.microsoft.com/office/drawing/2014/main" id="{C4158EB2-5176-466C-AA9E-F7BA44340320}"/>
                      </a:ext>
                    </a:extLst>
                  </p:cNvPr>
                  <p:cNvSpPr/>
                  <p:nvPr/>
                </p:nvSpPr>
                <p:spPr bwMode="auto">
                  <a:xfrm flipV="1">
                    <a:off x="2275656" y="2136976"/>
                    <a:ext cx="23846" cy="23846"/>
                  </a:xfrm>
                  <a:prstGeom prst="ellipse">
                    <a:avLst/>
                  </a:prstGeom>
                  <a:solidFill>
                    <a:srgbClr val="00BCF2">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5" name="Oval 154">
                    <a:extLst>
                      <a:ext uri="{FF2B5EF4-FFF2-40B4-BE49-F238E27FC236}">
                        <a16:creationId xmlns:a16="http://schemas.microsoft.com/office/drawing/2014/main" id="{EFA77E52-B860-4C3E-B08B-AB0B323F8B0C}"/>
                      </a:ext>
                    </a:extLst>
                  </p:cNvPr>
                  <p:cNvSpPr/>
                  <p:nvPr/>
                </p:nvSpPr>
                <p:spPr bwMode="auto">
                  <a:xfrm>
                    <a:off x="2232389" y="1983458"/>
                    <a:ext cx="103693" cy="103693"/>
                  </a:xfrm>
                  <a:prstGeom prst="ellipse">
                    <a:avLst/>
                  </a:prstGeom>
                  <a:noFill/>
                  <a:ln w="9525" cap="flat" cmpd="sng" algn="ctr">
                    <a:solidFill>
                      <a:srgbClr val="00BCF2"/>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6" name="Freeform: Shape 155">
                    <a:extLst>
                      <a:ext uri="{FF2B5EF4-FFF2-40B4-BE49-F238E27FC236}">
                        <a16:creationId xmlns:a16="http://schemas.microsoft.com/office/drawing/2014/main" id="{1F020D2A-0767-4EA8-A238-B78FB58813F8}"/>
                      </a:ext>
                    </a:extLst>
                  </p:cNvPr>
                  <p:cNvSpPr/>
                  <p:nvPr/>
                </p:nvSpPr>
                <p:spPr bwMode="auto">
                  <a:xfrm rot="7911718">
                    <a:off x="2260397" y="2019233"/>
                    <a:ext cx="47692" cy="31795"/>
                  </a:xfrm>
                  <a:custGeom>
                    <a:avLst/>
                    <a:gdLst>
                      <a:gd name="connsiteX0" fmla="*/ 0 w 142568"/>
                      <a:gd name="connsiteY0" fmla="*/ 27432 h 91595"/>
                      <a:gd name="connsiteX1" fmla="*/ 0 w 142568"/>
                      <a:gd name="connsiteY1" fmla="*/ 0 h 91595"/>
                      <a:gd name="connsiteX2" fmla="*/ 139147 w 142568"/>
                      <a:gd name="connsiteY2" fmla="*/ 0 h 91595"/>
                      <a:gd name="connsiteX3" fmla="*/ 139147 w 142568"/>
                      <a:gd name="connsiteY3" fmla="*/ 155 h 91595"/>
                      <a:gd name="connsiteX4" fmla="*/ 142568 w 142568"/>
                      <a:gd name="connsiteY4" fmla="*/ 155 h 91595"/>
                      <a:gd name="connsiteX5" fmla="*/ 142568 w 142568"/>
                      <a:gd name="connsiteY5" fmla="*/ 91595 h 91595"/>
                      <a:gd name="connsiteX6" fmla="*/ 115136 w 142568"/>
                      <a:gd name="connsiteY6" fmla="*/ 91595 h 91595"/>
                      <a:gd name="connsiteX7" fmla="*/ 115136 w 142568"/>
                      <a:gd name="connsiteY7" fmla="*/ 27432 h 9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568" h="91595">
                        <a:moveTo>
                          <a:pt x="0" y="27432"/>
                        </a:moveTo>
                        <a:lnTo>
                          <a:pt x="0" y="0"/>
                        </a:lnTo>
                        <a:lnTo>
                          <a:pt x="139147" y="0"/>
                        </a:lnTo>
                        <a:lnTo>
                          <a:pt x="139147" y="155"/>
                        </a:lnTo>
                        <a:lnTo>
                          <a:pt x="142568" y="155"/>
                        </a:lnTo>
                        <a:lnTo>
                          <a:pt x="142568" y="91595"/>
                        </a:lnTo>
                        <a:lnTo>
                          <a:pt x="115136" y="91595"/>
                        </a:lnTo>
                        <a:lnTo>
                          <a:pt x="115136" y="27432"/>
                        </a:lnTo>
                        <a:close/>
                      </a:path>
                    </a:pathLst>
                  </a:cu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grpSp>
      <p:sp>
        <p:nvSpPr>
          <p:cNvPr id="2" name="Title 1"/>
          <p:cNvSpPr>
            <a:spLocks noGrp="1"/>
          </p:cNvSpPr>
          <p:nvPr>
            <p:ph type="title"/>
          </p:nvPr>
        </p:nvSpPr>
        <p:spPr/>
        <p:txBody>
          <a:bodyPr/>
          <a:lstStyle/>
          <a:p>
            <a:r>
              <a:rPr lang="en-US"/>
              <a:t>Microsoft breaks blockchain down to the essential steps</a:t>
            </a:r>
          </a:p>
        </p:txBody>
      </p:sp>
      <p:sp>
        <p:nvSpPr>
          <p:cNvPr id="397" name="Content Placeholder 77">
            <a:extLst>
              <a:ext uri="{FF2B5EF4-FFF2-40B4-BE49-F238E27FC236}">
                <a16:creationId xmlns:a16="http://schemas.microsoft.com/office/drawing/2014/main" id="{4FC2C989-8CD4-49E2-AC6F-9F1FF988F07F}"/>
              </a:ext>
            </a:extLst>
          </p:cNvPr>
          <p:cNvSpPr txBox="1">
            <a:spLocks/>
          </p:cNvSpPr>
          <p:nvPr/>
        </p:nvSpPr>
        <p:spPr>
          <a:xfrm>
            <a:off x="237195" y="3804718"/>
            <a:ext cx="3419650" cy="1950238"/>
          </a:xfrm>
          <a:prstGeom prst="rect">
            <a:avLst/>
          </a:prstGeom>
        </p:spPr>
        <p:txBody>
          <a:bodyPr vert="horz" wrap="square" lIns="0" tIns="89630" rIns="0" bIns="89630" rtlCol="0" anchor="t">
            <a:no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896181" rtl="0" eaLnBrk="1" fontAlgn="ctr"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353"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Launch and manage the network</a:t>
            </a:r>
          </a:p>
        </p:txBody>
      </p:sp>
      <p:sp>
        <p:nvSpPr>
          <p:cNvPr id="400" name="Content Placeholder 77">
            <a:extLst>
              <a:ext uri="{FF2B5EF4-FFF2-40B4-BE49-F238E27FC236}">
                <a16:creationId xmlns:a16="http://schemas.microsoft.com/office/drawing/2014/main" id="{5DED5168-1B91-4CB9-A613-A98A3DC0A0B4}"/>
              </a:ext>
            </a:extLst>
          </p:cNvPr>
          <p:cNvSpPr txBox="1">
            <a:spLocks/>
          </p:cNvSpPr>
          <p:nvPr/>
        </p:nvSpPr>
        <p:spPr>
          <a:xfrm>
            <a:off x="4185079" y="3804719"/>
            <a:ext cx="3821842" cy="1881056"/>
          </a:xfrm>
          <a:prstGeom prst="rect">
            <a:avLst/>
          </a:prstGeom>
        </p:spPr>
        <p:txBody>
          <a:bodyPr vert="horz" wrap="square" lIns="0" tIns="89630" rIns="0" bIns="89630" rtlCol="0" anchor="t">
            <a:no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896181" rtl="0" eaLnBrk="1" fontAlgn="ctr"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353"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odel smart contracts</a:t>
            </a:r>
          </a:p>
        </p:txBody>
      </p:sp>
      <p:sp>
        <p:nvSpPr>
          <p:cNvPr id="403" name="Content Placeholder 77">
            <a:extLst>
              <a:ext uri="{FF2B5EF4-FFF2-40B4-BE49-F238E27FC236}">
                <a16:creationId xmlns:a16="http://schemas.microsoft.com/office/drawing/2014/main" id="{DB67B5D2-1BCD-4E3C-8CFD-F4DC873C3DB4}"/>
              </a:ext>
            </a:extLst>
          </p:cNvPr>
          <p:cNvSpPr txBox="1">
            <a:spLocks/>
          </p:cNvSpPr>
          <p:nvPr/>
        </p:nvSpPr>
        <p:spPr>
          <a:xfrm>
            <a:off x="8430990" y="3804719"/>
            <a:ext cx="3476405" cy="1268489"/>
          </a:xfrm>
          <a:prstGeom prst="rect">
            <a:avLst/>
          </a:prstGeom>
        </p:spPr>
        <p:txBody>
          <a:bodyPr vert="horz" wrap="square" lIns="0" tIns="89630" rIns="0" bIns="89630" rtlCol="0" anchor="t">
            <a:no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896181" rtl="0" eaLnBrk="1" fontAlgn="ctr"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353"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Build and extend the application</a:t>
            </a:r>
          </a:p>
        </p:txBody>
      </p:sp>
      <p:cxnSp>
        <p:nvCxnSpPr>
          <p:cNvPr id="4" name="Straight Connector 3">
            <a:extLst>
              <a:ext uri="{FF2B5EF4-FFF2-40B4-BE49-F238E27FC236}">
                <a16:creationId xmlns:a16="http://schemas.microsoft.com/office/drawing/2014/main" id="{0A87245D-E512-4311-B8A5-C0055C3D4C9F}"/>
              </a:ext>
            </a:extLst>
          </p:cNvPr>
          <p:cNvCxnSpPr/>
          <p:nvPr/>
        </p:nvCxnSpPr>
        <p:spPr>
          <a:xfrm>
            <a:off x="3983720" y="2028694"/>
            <a:ext cx="0" cy="3657081"/>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506FF2E-50BE-4DAD-9411-28E651F2A795}"/>
              </a:ext>
            </a:extLst>
          </p:cNvPr>
          <p:cNvCxnSpPr/>
          <p:nvPr/>
        </p:nvCxnSpPr>
        <p:spPr>
          <a:xfrm>
            <a:off x="8292350" y="2028694"/>
            <a:ext cx="0" cy="3657081"/>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67" name="Group 266">
            <a:extLst>
              <a:ext uri="{FF2B5EF4-FFF2-40B4-BE49-F238E27FC236}">
                <a16:creationId xmlns:a16="http://schemas.microsoft.com/office/drawing/2014/main" id="{15D10294-285D-4964-B70E-C7916CA2D354}"/>
              </a:ext>
            </a:extLst>
          </p:cNvPr>
          <p:cNvGrpSpPr/>
          <p:nvPr/>
        </p:nvGrpSpPr>
        <p:grpSpPr>
          <a:xfrm>
            <a:off x="1485809" y="2587709"/>
            <a:ext cx="922420" cy="820111"/>
            <a:chOff x="496931" y="22279968"/>
            <a:chExt cx="1082402" cy="962349"/>
          </a:xfrm>
        </p:grpSpPr>
        <p:sp>
          <p:nvSpPr>
            <p:cNvPr id="268" name="Rectangle 267">
              <a:extLst>
                <a:ext uri="{FF2B5EF4-FFF2-40B4-BE49-F238E27FC236}">
                  <a16:creationId xmlns:a16="http://schemas.microsoft.com/office/drawing/2014/main" id="{613C64EF-E260-4318-86B5-FADA55046A50}"/>
                </a:ext>
              </a:extLst>
            </p:cNvPr>
            <p:cNvSpPr/>
            <p:nvPr/>
          </p:nvSpPr>
          <p:spPr bwMode="auto">
            <a:xfrm>
              <a:off x="638812" y="22443702"/>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9" name="Rectangle 268">
              <a:extLst>
                <a:ext uri="{FF2B5EF4-FFF2-40B4-BE49-F238E27FC236}">
                  <a16:creationId xmlns:a16="http://schemas.microsoft.com/office/drawing/2014/main" id="{BE2AB0FF-9106-4D8E-9BB6-EEB4738B85E7}"/>
                </a:ext>
              </a:extLst>
            </p:cNvPr>
            <p:cNvSpPr/>
            <p:nvPr/>
          </p:nvSpPr>
          <p:spPr bwMode="auto">
            <a:xfrm>
              <a:off x="638812"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0" name="Rectangle 269">
              <a:extLst>
                <a:ext uri="{FF2B5EF4-FFF2-40B4-BE49-F238E27FC236}">
                  <a16:creationId xmlns:a16="http://schemas.microsoft.com/office/drawing/2014/main" id="{A0DD85AA-3AB4-4B4C-95A8-8B9A8C053DA5}"/>
                </a:ext>
              </a:extLst>
            </p:cNvPr>
            <p:cNvSpPr/>
            <p:nvPr/>
          </p:nvSpPr>
          <p:spPr bwMode="auto">
            <a:xfrm>
              <a:off x="1104165"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1" name="Rectangle 270">
              <a:extLst>
                <a:ext uri="{FF2B5EF4-FFF2-40B4-BE49-F238E27FC236}">
                  <a16:creationId xmlns:a16="http://schemas.microsoft.com/office/drawing/2014/main" id="{81BC7705-BB73-4D12-A853-937E450C84BA}"/>
                </a:ext>
              </a:extLst>
            </p:cNvPr>
            <p:cNvSpPr/>
            <p:nvPr/>
          </p:nvSpPr>
          <p:spPr bwMode="auto">
            <a:xfrm>
              <a:off x="1104165" y="22439799"/>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272" name="Group 271">
              <a:extLst>
                <a:ext uri="{FF2B5EF4-FFF2-40B4-BE49-F238E27FC236}">
                  <a16:creationId xmlns:a16="http://schemas.microsoft.com/office/drawing/2014/main" id="{0D77E016-0BF2-4237-B712-D88175CD8ED5}"/>
                </a:ext>
              </a:extLst>
            </p:cNvPr>
            <p:cNvGrpSpPr/>
            <p:nvPr/>
          </p:nvGrpSpPr>
          <p:grpSpPr>
            <a:xfrm>
              <a:off x="496931" y="22279968"/>
              <a:ext cx="1082402" cy="962349"/>
              <a:chOff x="496931" y="22279968"/>
              <a:chExt cx="1082402" cy="962349"/>
            </a:xfrm>
          </p:grpSpPr>
          <p:sp>
            <p:nvSpPr>
              <p:cNvPr id="273" name="Hexagon 272">
                <a:extLst>
                  <a:ext uri="{FF2B5EF4-FFF2-40B4-BE49-F238E27FC236}">
                    <a16:creationId xmlns:a16="http://schemas.microsoft.com/office/drawing/2014/main" id="{5D59D65D-E4AD-4DA4-9C61-0A40C1EE1E74}"/>
                  </a:ext>
                </a:extLst>
              </p:cNvPr>
              <p:cNvSpPr/>
              <p:nvPr/>
            </p:nvSpPr>
            <p:spPr bwMode="auto">
              <a:xfrm rot="5400000">
                <a:off x="813077" y="22563259"/>
                <a:ext cx="450110" cy="388024"/>
              </a:xfrm>
              <a:prstGeom prst="hexagon">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FFFFFF"/>
                  </a:solidFill>
                  <a:effectLst/>
                  <a:uLnTx/>
                  <a:uFillTx/>
                  <a:latin typeface="Segoe UI Semilight"/>
                  <a:ea typeface="+mn-ea"/>
                  <a:cs typeface="Segoe UI" pitchFamily="34" charset="0"/>
                </a:endParaRPr>
              </a:p>
            </p:txBody>
          </p:sp>
          <p:sp>
            <p:nvSpPr>
              <p:cNvPr id="274" name="Hexagon 273">
                <a:extLst>
                  <a:ext uri="{FF2B5EF4-FFF2-40B4-BE49-F238E27FC236}">
                    <a16:creationId xmlns:a16="http://schemas.microsoft.com/office/drawing/2014/main" id="{9ADF7AE9-32CD-4DDE-B37F-0E66DEB9FA61}"/>
                  </a:ext>
                </a:extLst>
              </p:cNvPr>
              <p:cNvSpPr/>
              <p:nvPr/>
            </p:nvSpPr>
            <p:spPr bwMode="auto">
              <a:xfrm rot="5400000">
                <a:off x="1280803"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FFFFFF"/>
                  </a:solidFill>
                  <a:effectLst/>
                  <a:uLnTx/>
                  <a:uFillTx/>
                  <a:latin typeface="Segoe UI Semilight"/>
                  <a:ea typeface="+mn-ea"/>
                  <a:cs typeface="Segoe UI" pitchFamily="34" charset="0"/>
                </a:endParaRPr>
              </a:p>
            </p:txBody>
          </p:sp>
          <p:sp>
            <p:nvSpPr>
              <p:cNvPr id="275" name="Hexagon 274">
                <a:extLst>
                  <a:ext uri="{FF2B5EF4-FFF2-40B4-BE49-F238E27FC236}">
                    <a16:creationId xmlns:a16="http://schemas.microsoft.com/office/drawing/2014/main" id="{35BEB006-86B7-4803-80E1-41FCF3F193B0}"/>
                  </a:ext>
                </a:extLst>
              </p:cNvPr>
              <p:cNvSpPr/>
              <p:nvPr/>
            </p:nvSpPr>
            <p:spPr bwMode="auto">
              <a:xfrm rot="5400000">
                <a:off x="1280803"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FFFFFF"/>
                  </a:solidFill>
                  <a:effectLst/>
                  <a:uLnTx/>
                  <a:uFillTx/>
                  <a:latin typeface="Segoe UI Semilight"/>
                  <a:ea typeface="+mn-ea"/>
                  <a:cs typeface="Segoe UI" pitchFamily="34" charset="0"/>
                </a:endParaRPr>
              </a:p>
            </p:txBody>
          </p:sp>
          <p:sp>
            <p:nvSpPr>
              <p:cNvPr id="276" name="Hexagon 275">
                <a:extLst>
                  <a:ext uri="{FF2B5EF4-FFF2-40B4-BE49-F238E27FC236}">
                    <a16:creationId xmlns:a16="http://schemas.microsoft.com/office/drawing/2014/main" id="{6F87E527-ABA2-4D0D-9C57-ACB53798B82B}"/>
                  </a:ext>
                </a:extLst>
              </p:cNvPr>
              <p:cNvSpPr/>
              <p:nvPr/>
            </p:nvSpPr>
            <p:spPr bwMode="auto">
              <a:xfrm rot="5400000">
                <a:off x="474817"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FFFFFF"/>
                  </a:solidFill>
                  <a:effectLst/>
                  <a:uLnTx/>
                  <a:uFillTx/>
                  <a:latin typeface="Segoe UI Semilight"/>
                  <a:ea typeface="+mn-ea"/>
                  <a:cs typeface="Segoe UI" pitchFamily="34" charset="0"/>
                </a:endParaRPr>
              </a:p>
            </p:txBody>
          </p:sp>
          <p:sp>
            <p:nvSpPr>
              <p:cNvPr id="277" name="Hexagon 276">
                <a:extLst>
                  <a:ext uri="{FF2B5EF4-FFF2-40B4-BE49-F238E27FC236}">
                    <a16:creationId xmlns:a16="http://schemas.microsoft.com/office/drawing/2014/main" id="{A533D32F-541B-4B26-91BE-3883AC8D566D}"/>
                  </a:ext>
                </a:extLst>
              </p:cNvPr>
              <p:cNvSpPr/>
              <p:nvPr/>
            </p:nvSpPr>
            <p:spPr bwMode="auto">
              <a:xfrm rot="5400000">
                <a:off x="474817"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FFFFFF"/>
                  </a:solidFill>
                  <a:effectLst/>
                  <a:uLnTx/>
                  <a:uFillTx/>
                  <a:latin typeface="Segoe UI Semilight"/>
                  <a:ea typeface="+mn-ea"/>
                  <a:cs typeface="Segoe UI" pitchFamily="34" charset="0"/>
                </a:endParaRPr>
              </a:p>
            </p:txBody>
          </p:sp>
        </p:grpSp>
      </p:grpSp>
      <p:grpSp>
        <p:nvGrpSpPr>
          <p:cNvPr id="278" name="Group 277">
            <a:extLst>
              <a:ext uri="{FF2B5EF4-FFF2-40B4-BE49-F238E27FC236}">
                <a16:creationId xmlns:a16="http://schemas.microsoft.com/office/drawing/2014/main" id="{73B21F6D-1393-422B-ABAD-3B5F7FDAA008}"/>
              </a:ext>
            </a:extLst>
          </p:cNvPr>
          <p:cNvGrpSpPr/>
          <p:nvPr/>
        </p:nvGrpSpPr>
        <p:grpSpPr>
          <a:xfrm>
            <a:off x="5511254" y="2482907"/>
            <a:ext cx="1169493" cy="1029714"/>
            <a:chOff x="2408541" y="22149930"/>
            <a:chExt cx="1372330" cy="1208308"/>
          </a:xfrm>
        </p:grpSpPr>
        <p:grpSp>
          <p:nvGrpSpPr>
            <p:cNvPr id="279" name="Group 278">
              <a:extLst>
                <a:ext uri="{FF2B5EF4-FFF2-40B4-BE49-F238E27FC236}">
                  <a16:creationId xmlns:a16="http://schemas.microsoft.com/office/drawing/2014/main" id="{40096083-82E3-40BE-9D16-A549BCB4B9A8}"/>
                </a:ext>
              </a:extLst>
            </p:cNvPr>
            <p:cNvGrpSpPr/>
            <p:nvPr/>
          </p:nvGrpSpPr>
          <p:grpSpPr>
            <a:xfrm>
              <a:off x="2545382" y="22299654"/>
              <a:ext cx="1082402" cy="962349"/>
              <a:chOff x="496931" y="22279968"/>
              <a:chExt cx="1082402" cy="962349"/>
            </a:xfrm>
          </p:grpSpPr>
          <p:sp>
            <p:nvSpPr>
              <p:cNvPr id="310" name="Rectangle 309">
                <a:extLst>
                  <a:ext uri="{FF2B5EF4-FFF2-40B4-BE49-F238E27FC236}">
                    <a16:creationId xmlns:a16="http://schemas.microsoft.com/office/drawing/2014/main" id="{B4F4AC6D-0324-4D96-9E78-61590F8333DA}"/>
                  </a:ext>
                </a:extLst>
              </p:cNvPr>
              <p:cNvSpPr/>
              <p:nvPr/>
            </p:nvSpPr>
            <p:spPr bwMode="auto">
              <a:xfrm>
                <a:off x="638812" y="22443702"/>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1" name="Rectangle 310">
                <a:extLst>
                  <a:ext uri="{FF2B5EF4-FFF2-40B4-BE49-F238E27FC236}">
                    <a16:creationId xmlns:a16="http://schemas.microsoft.com/office/drawing/2014/main" id="{F704ED3B-5975-4F01-8ACA-F49096AE0B03}"/>
                  </a:ext>
                </a:extLst>
              </p:cNvPr>
              <p:cNvSpPr/>
              <p:nvPr/>
            </p:nvSpPr>
            <p:spPr bwMode="auto">
              <a:xfrm>
                <a:off x="638812"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2" name="Rectangle 311">
                <a:extLst>
                  <a:ext uri="{FF2B5EF4-FFF2-40B4-BE49-F238E27FC236}">
                    <a16:creationId xmlns:a16="http://schemas.microsoft.com/office/drawing/2014/main" id="{7058CABC-F2F2-46BE-A3DC-43B1EC75C77A}"/>
                  </a:ext>
                </a:extLst>
              </p:cNvPr>
              <p:cNvSpPr/>
              <p:nvPr/>
            </p:nvSpPr>
            <p:spPr bwMode="auto">
              <a:xfrm>
                <a:off x="1104165"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3" name="Rectangle 312">
                <a:extLst>
                  <a:ext uri="{FF2B5EF4-FFF2-40B4-BE49-F238E27FC236}">
                    <a16:creationId xmlns:a16="http://schemas.microsoft.com/office/drawing/2014/main" id="{2BFA0C86-D944-4540-B578-2835BC2087D0}"/>
                  </a:ext>
                </a:extLst>
              </p:cNvPr>
              <p:cNvSpPr/>
              <p:nvPr/>
            </p:nvSpPr>
            <p:spPr bwMode="auto">
              <a:xfrm>
                <a:off x="1104165" y="22439799"/>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14" name="Group 313">
                <a:extLst>
                  <a:ext uri="{FF2B5EF4-FFF2-40B4-BE49-F238E27FC236}">
                    <a16:creationId xmlns:a16="http://schemas.microsoft.com/office/drawing/2014/main" id="{C42A547F-00CE-4B8A-92AB-59918213912B}"/>
                  </a:ext>
                </a:extLst>
              </p:cNvPr>
              <p:cNvGrpSpPr/>
              <p:nvPr/>
            </p:nvGrpSpPr>
            <p:grpSpPr>
              <a:xfrm>
                <a:off x="496931" y="22279968"/>
                <a:ext cx="1082402" cy="962349"/>
                <a:chOff x="496931" y="22279968"/>
                <a:chExt cx="1082402" cy="962349"/>
              </a:xfrm>
            </p:grpSpPr>
            <p:sp>
              <p:nvSpPr>
                <p:cNvPr id="315" name="Hexagon 314">
                  <a:extLst>
                    <a:ext uri="{FF2B5EF4-FFF2-40B4-BE49-F238E27FC236}">
                      <a16:creationId xmlns:a16="http://schemas.microsoft.com/office/drawing/2014/main" id="{74FFA51C-FE67-44F0-814D-7C383C8F8B2D}"/>
                    </a:ext>
                  </a:extLst>
                </p:cNvPr>
                <p:cNvSpPr/>
                <p:nvPr/>
              </p:nvSpPr>
              <p:spPr bwMode="auto">
                <a:xfrm rot="5400000">
                  <a:off x="813077" y="22563259"/>
                  <a:ext cx="450110" cy="388024"/>
                </a:xfrm>
                <a:prstGeom prst="hexagon">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FFFFFF"/>
                    </a:solidFill>
                    <a:effectLst/>
                    <a:uLnTx/>
                    <a:uFillTx/>
                    <a:latin typeface="Segoe UI Semilight"/>
                    <a:ea typeface="+mn-ea"/>
                    <a:cs typeface="Segoe UI" pitchFamily="34" charset="0"/>
                  </a:endParaRPr>
                </a:p>
              </p:txBody>
            </p:sp>
            <p:sp>
              <p:nvSpPr>
                <p:cNvPr id="316" name="Hexagon 315">
                  <a:extLst>
                    <a:ext uri="{FF2B5EF4-FFF2-40B4-BE49-F238E27FC236}">
                      <a16:creationId xmlns:a16="http://schemas.microsoft.com/office/drawing/2014/main" id="{3531C080-2980-4B2C-959A-01728AFD8E00}"/>
                    </a:ext>
                  </a:extLst>
                </p:cNvPr>
                <p:cNvSpPr/>
                <p:nvPr/>
              </p:nvSpPr>
              <p:spPr bwMode="auto">
                <a:xfrm rot="5400000">
                  <a:off x="1280803"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FFFFFF"/>
                    </a:solidFill>
                    <a:effectLst/>
                    <a:uLnTx/>
                    <a:uFillTx/>
                    <a:latin typeface="Segoe UI Semilight"/>
                    <a:ea typeface="+mn-ea"/>
                    <a:cs typeface="Segoe UI" pitchFamily="34" charset="0"/>
                  </a:endParaRPr>
                </a:p>
              </p:txBody>
            </p:sp>
            <p:sp>
              <p:nvSpPr>
                <p:cNvPr id="317" name="Hexagon 316">
                  <a:extLst>
                    <a:ext uri="{FF2B5EF4-FFF2-40B4-BE49-F238E27FC236}">
                      <a16:creationId xmlns:a16="http://schemas.microsoft.com/office/drawing/2014/main" id="{6BDD6293-7541-4BD3-97C5-F498FEAE5C14}"/>
                    </a:ext>
                  </a:extLst>
                </p:cNvPr>
                <p:cNvSpPr/>
                <p:nvPr/>
              </p:nvSpPr>
              <p:spPr bwMode="auto">
                <a:xfrm rot="5400000">
                  <a:off x="1280803"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FFFFFF"/>
                    </a:solidFill>
                    <a:effectLst/>
                    <a:uLnTx/>
                    <a:uFillTx/>
                    <a:latin typeface="Segoe UI Semilight"/>
                    <a:ea typeface="+mn-ea"/>
                    <a:cs typeface="Segoe UI" pitchFamily="34" charset="0"/>
                  </a:endParaRPr>
                </a:p>
              </p:txBody>
            </p:sp>
            <p:sp>
              <p:nvSpPr>
                <p:cNvPr id="318" name="Hexagon 317">
                  <a:extLst>
                    <a:ext uri="{FF2B5EF4-FFF2-40B4-BE49-F238E27FC236}">
                      <a16:creationId xmlns:a16="http://schemas.microsoft.com/office/drawing/2014/main" id="{1DD00C45-FC3B-408E-A6B1-05C22B2F555D}"/>
                    </a:ext>
                  </a:extLst>
                </p:cNvPr>
                <p:cNvSpPr/>
                <p:nvPr/>
              </p:nvSpPr>
              <p:spPr bwMode="auto">
                <a:xfrm rot="5400000">
                  <a:off x="474817"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FFFFFF"/>
                    </a:solidFill>
                    <a:effectLst/>
                    <a:uLnTx/>
                    <a:uFillTx/>
                    <a:latin typeface="Segoe UI Semilight"/>
                    <a:ea typeface="+mn-ea"/>
                    <a:cs typeface="Segoe UI" pitchFamily="34" charset="0"/>
                  </a:endParaRPr>
                </a:p>
              </p:txBody>
            </p:sp>
            <p:sp>
              <p:nvSpPr>
                <p:cNvPr id="319" name="Hexagon 318">
                  <a:extLst>
                    <a:ext uri="{FF2B5EF4-FFF2-40B4-BE49-F238E27FC236}">
                      <a16:creationId xmlns:a16="http://schemas.microsoft.com/office/drawing/2014/main" id="{4D316835-EFB8-4287-A767-7D948B4E12B6}"/>
                    </a:ext>
                  </a:extLst>
                </p:cNvPr>
                <p:cNvSpPr/>
                <p:nvPr/>
              </p:nvSpPr>
              <p:spPr bwMode="auto">
                <a:xfrm rot="5400000">
                  <a:off x="474817"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FFFFFF"/>
                    </a:solidFill>
                    <a:effectLst/>
                    <a:uLnTx/>
                    <a:uFillTx/>
                    <a:latin typeface="Segoe UI Semilight"/>
                    <a:ea typeface="+mn-ea"/>
                    <a:cs typeface="Segoe UI" pitchFamily="34" charset="0"/>
                  </a:endParaRPr>
                </a:p>
              </p:txBody>
            </p:sp>
          </p:grpSp>
        </p:grpSp>
        <p:sp>
          <p:nvSpPr>
            <p:cNvPr id="280" name="Oval 279">
              <a:extLst>
                <a:ext uri="{FF2B5EF4-FFF2-40B4-BE49-F238E27FC236}">
                  <a16:creationId xmlns:a16="http://schemas.microsoft.com/office/drawing/2014/main" id="{810CC72A-7FC1-4652-B9E6-4BBB45A95EFF}"/>
                </a:ext>
              </a:extLst>
            </p:cNvPr>
            <p:cNvSpPr/>
            <p:nvPr/>
          </p:nvSpPr>
          <p:spPr bwMode="auto">
            <a:xfrm>
              <a:off x="2408541" y="22167517"/>
              <a:ext cx="80698" cy="80698"/>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1" name="Oval 280">
              <a:extLst>
                <a:ext uri="{FF2B5EF4-FFF2-40B4-BE49-F238E27FC236}">
                  <a16:creationId xmlns:a16="http://schemas.microsoft.com/office/drawing/2014/main" id="{B8EBA4B8-A6A4-4607-A4F2-0E722A8773AE}"/>
                </a:ext>
              </a:extLst>
            </p:cNvPr>
            <p:cNvSpPr/>
            <p:nvPr/>
          </p:nvSpPr>
          <p:spPr bwMode="auto">
            <a:xfrm>
              <a:off x="2417445" y="22359223"/>
              <a:ext cx="62890" cy="6289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2" name="Oval 281">
              <a:extLst>
                <a:ext uri="{FF2B5EF4-FFF2-40B4-BE49-F238E27FC236}">
                  <a16:creationId xmlns:a16="http://schemas.microsoft.com/office/drawing/2014/main" id="{E729EFCD-4E0B-40FC-874D-D3D693269319}"/>
                </a:ext>
              </a:extLst>
            </p:cNvPr>
            <p:cNvSpPr/>
            <p:nvPr/>
          </p:nvSpPr>
          <p:spPr bwMode="auto">
            <a:xfrm>
              <a:off x="2421043" y="22533121"/>
              <a:ext cx="55694" cy="5569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3" name="Oval 282">
              <a:extLst>
                <a:ext uri="{FF2B5EF4-FFF2-40B4-BE49-F238E27FC236}">
                  <a16:creationId xmlns:a16="http://schemas.microsoft.com/office/drawing/2014/main" id="{EF24D601-49EF-4CBD-868E-3E03E88866B0}"/>
                </a:ext>
              </a:extLst>
            </p:cNvPr>
            <p:cNvSpPr/>
            <p:nvPr/>
          </p:nvSpPr>
          <p:spPr bwMode="auto">
            <a:xfrm>
              <a:off x="2422502" y="22699823"/>
              <a:ext cx="52776" cy="52776"/>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4" name="Oval 283">
              <a:extLst>
                <a:ext uri="{FF2B5EF4-FFF2-40B4-BE49-F238E27FC236}">
                  <a16:creationId xmlns:a16="http://schemas.microsoft.com/office/drawing/2014/main" id="{12B392DF-3A4C-47F6-8A8D-353738D3A7EC}"/>
                </a:ext>
              </a:extLst>
            </p:cNvPr>
            <p:cNvSpPr/>
            <p:nvPr/>
          </p:nvSpPr>
          <p:spPr bwMode="auto">
            <a:xfrm>
              <a:off x="2426030" y="22863607"/>
              <a:ext cx="45720" cy="45720"/>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5" name="Oval 284">
              <a:extLst>
                <a:ext uri="{FF2B5EF4-FFF2-40B4-BE49-F238E27FC236}">
                  <a16:creationId xmlns:a16="http://schemas.microsoft.com/office/drawing/2014/main" id="{D9B18064-F30F-4BA4-A9B0-DAAAE6971F2B}"/>
                </a:ext>
              </a:extLst>
            </p:cNvPr>
            <p:cNvSpPr/>
            <p:nvPr/>
          </p:nvSpPr>
          <p:spPr bwMode="auto">
            <a:xfrm>
              <a:off x="2430602" y="23020335"/>
              <a:ext cx="36576" cy="3657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6" name="Oval 285">
              <a:extLst>
                <a:ext uri="{FF2B5EF4-FFF2-40B4-BE49-F238E27FC236}">
                  <a16:creationId xmlns:a16="http://schemas.microsoft.com/office/drawing/2014/main" id="{C69EEE39-E4D8-4D4A-81F0-69452F7B9BC4}"/>
                </a:ext>
              </a:extLst>
            </p:cNvPr>
            <p:cNvSpPr/>
            <p:nvPr/>
          </p:nvSpPr>
          <p:spPr bwMode="auto">
            <a:xfrm>
              <a:off x="2435174" y="23167919"/>
              <a:ext cx="27432" cy="27432"/>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7" name="Oval 286">
              <a:extLst>
                <a:ext uri="{FF2B5EF4-FFF2-40B4-BE49-F238E27FC236}">
                  <a16:creationId xmlns:a16="http://schemas.microsoft.com/office/drawing/2014/main" id="{F5EB2DCA-D7D8-454E-B5AA-034046525311}"/>
                </a:ext>
              </a:extLst>
            </p:cNvPr>
            <p:cNvSpPr/>
            <p:nvPr/>
          </p:nvSpPr>
          <p:spPr bwMode="auto">
            <a:xfrm>
              <a:off x="2439746" y="23306361"/>
              <a:ext cx="18288" cy="18288"/>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8" name="Oval 287">
              <a:extLst>
                <a:ext uri="{FF2B5EF4-FFF2-40B4-BE49-F238E27FC236}">
                  <a16:creationId xmlns:a16="http://schemas.microsoft.com/office/drawing/2014/main" id="{2289F053-AA0D-4FFA-ADE8-51E80E29F2CC}"/>
                </a:ext>
              </a:extLst>
            </p:cNvPr>
            <p:cNvSpPr/>
            <p:nvPr/>
          </p:nvSpPr>
          <p:spPr bwMode="auto">
            <a:xfrm flipV="1">
              <a:off x="3684740" y="23277540"/>
              <a:ext cx="80698" cy="80698"/>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9" name="Oval 288">
              <a:extLst>
                <a:ext uri="{FF2B5EF4-FFF2-40B4-BE49-F238E27FC236}">
                  <a16:creationId xmlns:a16="http://schemas.microsoft.com/office/drawing/2014/main" id="{5578D955-4261-4FFD-BE7D-EE73B27A34CD}"/>
                </a:ext>
              </a:extLst>
            </p:cNvPr>
            <p:cNvSpPr/>
            <p:nvPr/>
          </p:nvSpPr>
          <p:spPr bwMode="auto">
            <a:xfrm flipV="1">
              <a:off x="3693644" y="23074995"/>
              <a:ext cx="62890" cy="6289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0" name="Oval 289">
              <a:extLst>
                <a:ext uri="{FF2B5EF4-FFF2-40B4-BE49-F238E27FC236}">
                  <a16:creationId xmlns:a16="http://schemas.microsoft.com/office/drawing/2014/main" id="{A205919C-A1D0-4A24-A805-7E76C0242859}"/>
                </a:ext>
              </a:extLst>
            </p:cNvPr>
            <p:cNvSpPr/>
            <p:nvPr/>
          </p:nvSpPr>
          <p:spPr bwMode="auto">
            <a:xfrm flipV="1">
              <a:off x="3697242" y="22913235"/>
              <a:ext cx="55694" cy="5569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1" name="Oval 290">
              <a:extLst>
                <a:ext uri="{FF2B5EF4-FFF2-40B4-BE49-F238E27FC236}">
                  <a16:creationId xmlns:a16="http://schemas.microsoft.com/office/drawing/2014/main" id="{672367F6-C3E8-4707-B8A7-05C18EE42FD8}"/>
                </a:ext>
              </a:extLst>
            </p:cNvPr>
            <p:cNvSpPr/>
            <p:nvPr/>
          </p:nvSpPr>
          <p:spPr bwMode="auto">
            <a:xfrm flipV="1">
              <a:off x="3698701" y="22754393"/>
              <a:ext cx="52776" cy="52776"/>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2" name="Oval 291">
              <a:extLst>
                <a:ext uri="{FF2B5EF4-FFF2-40B4-BE49-F238E27FC236}">
                  <a16:creationId xmlns:a16="http://schemas.microsoft.com/office/drawing/2014/main" id="{6691893F-603E-47A9-A3ED-AA8FC1813DD6}"/>
                </a:ext>
              </a:extLst>
            </p:cNvPr>
            <p:cNvSpPr/>
            <p:nvPr/>
          </p:nvSpPr>
          <p:spPr bwMode="auto">
            <a:xfrm flipV="1">
              <a:off x="3702229" y="22602607"/>
              <a:ext cx="45720" cy="457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3" name="Oval 292">
              <a:extLst>
                <a:ext uri="{FF2B5EF4-FFF2-40B4-BE49-F238E27FC236}">
                  <a16:creationId xmlns:a16="http://schemas.microsoft.com/office/drawing/2014/main" id="{B482B40B-FEE5-474A-AB43-5AE7CC7C0B5E}"/>
                </a:ext>
              </a:extLst>
            </p:cNvPr>
            <p:cNvSpPr/>
            <p:nvPr/>
          </p:nvSpPr>
          <p:spPr bwMode="auto">
            <a:xfrm flipV="1">
              <a:off x="3706801" y="22459965"/>
              <a:ext cx="36576" cy="3657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4" name="Oval 293">
              <a:extLst>
                <a:ext uri="{FF2B5EF4-FFF2-40B4-BE49-F238E27FC236}">
                  <a16:creationId xmlns:a16="http://schemas.microsoft.com/office/drawing/2014/main" id="{F85B2A4E-FFBB-407E-AFCD-2750195B9BD4}"/>
                </a:ext>
              </a:extLst>
            </p:cNvPr>
            <p:cNvSpPr/>
            <p:nvPr/>
          </p:nvSpPr>
          <p:spPr bwMode="auto">
            <a:xfrm flipV="1">
              <a:off x="3711373" y="22326467"/>
              <a:ext cx="27432" cy="27432"/>
            </a:xfrm>
            <a:prstGeom prst="ellipse">
              <a:avLst/>
            </a:prstGeom>
            <a:solidFill>
              <a:srgbClr val="00BCF2">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5" name="Oval 294">
              <a:extLst>
                <a:ext uri="{FF2B5EF4-FFF2-40B4-BE49-F238E27FC236}">
                  <a16:creationId xmlns:a16="http://schemas.microsoft.com/office/drawing/2014/main" id="{A1CFD547-8F60-4DA8-8DD5-3ACB5BEB74C0}"/>
                </a:ext>
              </a:extLst>
            </p:cNvPr>
            <p:cNvSpPr/>
            <p:nvPr/>
          </p:nvSpPr>
          <p:spPr bwMode="auto">
            <a:xfrm rot="5400000">
              <a:off x="3486760" y="23284133"/>
              <a:ext cx="62890" cy="6289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6" name="Oval 295">
              <a:extLst>
                <a:ext uri="{FF2B5EF4-FFF2-40B4-BE49-F238E27FC236}">
                  <a16:creationId xmlns:a16="http://schemas.microsoft.com/office/drawing/2014/main" id="{5238BEAC-DEBF-4382-B8D7-A111F3C8102D}"/>
                </a:ext>
              </a:extLst>
            </p:cNvPr>
            <p:cNvSpPr/>
            <p:nvPr/>
          </p:nvSpPr>
          <p:spPr bwMode="auto">
            <a:xfrm rot="5400000">
              <a:off x="3295978" y="23287731"/>
              <a:ext cx="55694" cy="5569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7" name="Oval 296">
              <a:extLst>
                <a:ext uri="{FF2B5EF4-FFF2-40B4-BE49-F238E27FC236}">
                  <a16:creationId xmlns:a16="http://schemas.microsoft.com/office/drawing/2014/main" id="{990904C1-2489-41EC-9FEC-756083B21F8A}"/>
                </a:ext>
              </a:extLst>
            </p:cNvPr>
            <p:cNvSpPr/>
            <p:nvPr/>
          </p:nvSpPr>
          <p:spPr bwMode="auto">
            <a:xfrm rot="5400000">
              <a:off x="3108114" y="23289190"/>
              <a:ext cx="52776" cy="52776"/>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8" name="Oval 297">
              <a:extLst>
                <a:ext uri="{FF2B5EF4-FFF2-40B4-BE49-F238E27FC236}">
                  <a16:creationId xmlns:a16="http://schemas.microsoft.com/office/drawing/2014/main" id="{A81C238D-5300-4268-91BA-5E80A5700E93}"/>
                </a:ext>
              </a:extLst>
            </p:cNvPr>
            <p:cNvSpPr/>
            <p:nvPr/>
          </p:nvSpPr>
          <p:spPr bwMode="auto">
            <a:xfrm rot="5400000">
              <a:off x="2927306" y="23292718"/>
              <a:ext cx="45720" cy="45720"/>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9" name="Oval 298">
              <a:extLst>
                <a:ext uri="{FF2B5EF4-FFF2-40B4-BE49-F238E27FC236}">
                  <a16:creationId xmlns:a16="http://schemas.microsoft.com/office/drawing/2014/main" id="{3118FB49-5EE6-44C1-B680-9C94A94B14A6}"/>
                </a:ext>
              </a:extLst>
            </p:cNvPr>
            <p:cNvSpPr/>
            <p:nvPr/>
          </p:nvSpPr>
          <p:spPr bwMode="auto">
            <a:xfrm rot="5400000">
              <a:off x="2755642" y="23297290"/>
              <a:ext cx="36576" cy="3657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0" name="Oval 299">
              <a:extLst>
                <a:ext uri="{FF2B5EF4-FFF2-40B4-BE49-F238E27FC236}">
                  <a16:creationId xmlns:a16="http://schemas.microsoft.com/office/drawing/2014/main" id="{2C88A839-18D1-4D4B-BB61-ED0E7512946D}"/>
                </a:ext>
              </a:extLst>
            </p:cNvPr>
            <p:cNvSpPr/>
            <p:nvPr/>
          </p:nvSpPr>
          <p:spPr bwMode="auto">
            <a:xfrm rot="5400000">
              <a:off x="2593122" y="23301862"/>
              <a:ext cx="27432" cy="27432"/>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01" name="Group 300">
              <a:extLst>
                <a:ext uri="{FF2B5EF4-FFF2-40B4-BE49-F238E27FC236}">
                  <a16:creationId xmlns:a16="http://schemas.microsoft.com/office/drawing/2014/main" id="{226F0B17-85B2-47A6-BFBF-1C69F4A937AE}"/>
                </a:ext>
              </a:extLst>
            </p:cNvPr>
            <p:cNvGrpSpPr/>
            <p:nvPr/>
          </p:nvGrpSpPr>
          <p:grpSpPr>
            <a:xfrm flipH="1">
              <a:off x="2627473" y="22176063"/>
              <a:ext cx="956528" cy="62890"/>
              <a:chOff x="2627473" y="22171612"/>
              <a:chExt cx="956528" cy="62890"/>
            </a:xfrm>
          </p:grpSpPr>
          <p:sp>
            <p:nvSpPr>
              <p:cNvPr id="304" name="Oval 303">
                <a:extLst>
                  <a:ext uri="{FF2B5EF4-FFF2-40B4-BE49-F238E27FC236}">
                    <a16:creationId xmlns:a16="http://schemas.microsoft.com/office/drawing/2014/main" id="{509C1855-4633-4A7D-A7AB-5F59F3B8B6E1}"/>
                  </a:ext>
                </a:extLst>
              </p:cNvPr>
              <p:cNvSpPr/>
              <p:nvPr/>
            </p:nvSpPr>
            <p:spPr bwMode="auto">
              <a:xfrm rot="5400000">
                <a:off x="3521111" y="22171612"/>
                <a:ext cx="62890" cy="6289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5" name="Oval 304">
                <a:extLst>
                  <a:ext uri="{FF2B5EF4-FFF2-40B4-BE49-F238E27FC236}">
                    <a16:creationId xmlns:a16="http://schemas.microsoft.com/office/drawing/2014/main" id="{206204D2-705D-4F3A-A79B-E0CF850B81D5}"/>
                  </a:ext>
                </a:extLst>
              </p:cNvPr>
              <p:cNvSpPr/>
              <p:nvPr/>
            </p:nvSpPr>
            <p:spPr bwMode="auto">
              <a:xfrm rot="5400000">
                <a:off x="3330329" y="22175210"/>
                <a:ext cx="55694" cy="5569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6" name="Oval 305">
                <a:extLst>
                  <a:ext uri="{FF2B5EF4-FFF2-40B4-BE49-F238E27FC236}">
                    <a16:creationId xmlns:a16="http://schemas.microsoft.com/office/drawing/2014/main" id="{3CA731E4-6552-406D-BDC1-C68158C75D05}"/>
                  </a:ext>
                </a:extLst>
              </p:cNvPr>
              <p:cNvSpPr/>
              <p:nvPr/>
            </p:nvSpPr>
            <p:spPr bwMode="auto">
              <a:xfrm rot="5400000">
                <a:off x="3142465" y="22176669"/>
                <a:ext cx="52776" cy="52776"/>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7" name="Oval 306">
                <a:extLst>
                  <a:ext uri="{FF2B5EF4-FFF2-40B4-BE49-F238E27FC236}">
                    <a16:creationId xmlns:a16="http://schemas.microsoft.com/office/drawing/2014/main" id="{2978A9F0-4CA1-4CD1-9B0A-E892B9BA2224}"/>
                  </a:ext>
                </a:extLst>
              </p:cNvPr>
              <p:cNvSpPr/>
              <p:nvPr/>
            </p:nvSpPr>
            <p:spPr bwMode="auto">
              <a:xfrm rot="5400000">
                <a:off x="2961657" y="22180197"/>
                <a:ext cx="45720" cy="45720"/>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8" name="Oval 307">
                <a:extLst>
                  <a:ext uri="{FF2B5EF4-FFF2-40B4-BE49-F238E27FC236}">
                    <a16:creationId xmlns:a16="http://schemas.microsoft.com/office/drawing/2014/main" id="{FEA375B0-868A-4E3A-A545-A213BDE9ADE8}"/>
                  </a:ext>
                </a:extLst>
              </p:cNvPr>
              <p:cNvSpPr/>
              <p:nvPr/>
            </p:nvSpPr>
            <p:spPr bwMode="auto">
              <a:xfrm rot="5400000">
                <a:off x="2789993" y="22184769"/>
                <a:ext cx="36576" cy="3657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9" name="Oval 308">
                <a:extLst>
                  <a:ext uri="{FF2B5EF4-FFF2-40B4-BE49-F238E27FC236}">
                    <a16:creationId xmlns:a16="http://schemas.microsoft.com/office/drawing/2014/main" id="{7948888C-1969-48B1-A1BE-049439F66492}"/>
                  </a:ext>
                </a:extLst>
              </p:cNvPr>
              <p:cNvSpPr/>
              <p:nvPr/>
            </p:nvSpPr>
            <p:spPr bwMode="auto">
              <a:xfrm rot="5400000">
                <a:off x="2627473" y="22189341"/>
                <a:ext cx="27432" cy="27432"/>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02" name="Oval 301">
              <a:extLst>
                <a:ext uri="{FF2B5EF4-FFF2-40B4-BE49-F238E27FC236}">
                  <a16:creationId xmlns:a16="http://schemas.microsoft.com/office/drawing/2014/main" id="{B356BA75-DBAF-46A1-AF68-62A6261734EF}"/>
                </a:ext>
              </a:extLst>
            </p:cNvPr>
            <p:cNvSpPr/>
            <p:nvPr/>
          </p:nvSpPr>
          <p:spPr bwMode="auto">
            <a:xfrm>
              <a:off x="3661585" y="22149930"/>
              <a:ext cx="119286" cy="119286"/>
            </a:xfrm>
            <a:prstGeom prst="ellipse">
              <a:avLst/>
            </a:prstGeom>
            <a:noFill/>
            <a:ln w="9525" cap="flat" cmpd="sng" algn="ctr">
              <a:solidFill>
                <a:srgbClr val="00BCF2"/>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3" name="Freeform: Shape 302">
              <a:extLst>
                <a:ext uri="{FF2B5EF4-FFF2-40B4-BE49-F238E27FC236}">
                  <a16:creationId xmlns:a16="http://schemas.microsoft.com/office/drawing/2014/main" id="{B3B1E339-C90B-4CAE-BDD9-B5CA96BDAB96}"/>
                </a:ext>
              </a:extLst>
            </p:cNvPr>
            <p:cNvSpPr/>
            <p:nvPr/>
          </p:nvSpPr>
          <p:spPr bwMode="auto">
            <a:xfrm rot="7911718">
              <a:off x="3693796" y="22191285"/>
              <a:ext cx="54864" cy="36576"/>
            </a:xfrm>
            <a:custGeom>
              <a:avLst/>
              <a:gdLst>
                <a:gd name="connsiteX0" fmla="*/ 0 w 142568"/>
                <a:gd name="connsiteY0" fmla="*/ 27432 h 91595"/>
                <a:gd name="connsiteX1" fmla="*/ 0 w 142568"/>
                <a:gd name="connsiteY1" fmla="*/ 0 h 91595"/>
                <a:gd name="connsiteX2" fmla="*/ 139147 w 142568"/>
                <a:gd name="connsiteY2" fmla="*/ 0 h 91595"/>
                <a:gd name="connsiteX3" fmla="*/ 139147 w 142568"/>
                <a:gd name="connsiteY3" fmla="*/ 155 h 91595"/>
                <a:gd name="connsiteX4" fmla="*/ 142568 w 142568"/>
                <a:gd name="connsiteY4" fmla="*/ 155 h 91595"/>
                <a:gd name="connsiteX5" fmla="*/ 142568 w 142568"/>
                <a:gd name="connsiteY5" fmla="*/ 91595 h 91595"/>
                <a:gd name="connsiteX6" fmla="*/ 115136 w 142568"/>
                <a:gd name="connsiteY6" fmla="*/ 91595 h 91595"/>
                <a:gd name="connsiteX7" fmla="*/ 115136 w 142568"/>
                <a:gd name="connsiteY7" fmla="*/ 27432 h 9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568" h="91595">
                  <a:moveTo>
                    <a:pt x="0" y="27432"/>
                  </a:moveTo>
                  <a:lnTo>
                    <a:pt x="0" y="0"/>
                  </a:lnTo>
                  <a:lnTo>
                    <a:pt x="139147" y="0"/>
                  </a:lnTo>
                  <a:lnTo>
                    <a:pt x="139147" y="155"/>
                  </a:lnTo>
                  <a:lnTo>
                    <a:pt x="142568" y="155"/>
                  </a:lnTo>
                  <a:lnTo>
                    <a:pt x="142568" y="91595"/>
                  </a:lnTo>
                  <a:lnTo>
                    <a:pt x="115136" y="91595"/>
                  </a:lnTo>
                  <a:lnTo>
                    <a:pt x="115136" y="27432"/>
                  </a:lnTo>
                  <a:close/>
                </a:path>
              </a:pathLst>
            </a:cu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1345089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97"/>
                                        </p:tgtEl>
                                      </p:cBhvr>
                                    </p:animEffect>
                                    <p:set>
                                      <p:cBhvr>
                                        <p:cTn id="7" dur="1" fill="hold">
                                          <p:stCondLst>
                                            <p:cond delay="499"/>
                                          </p:stCondLst>
                                        </p:cTn>
                                        <p:tgtEl>
                                          <p:spTgt spid="397"/>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400"/>
                                        </p:tgtEl>
                                      </p:cBhvr>
                                    </p:animEffect>
                                    <p:set>
                                      <p:cBhvr>
                                        <p:cTn id="10" dur="1" fill="hold">
                                          <p:stCondLst>
                                            <p:cond delay="499"/>
                                          </p:stCondLst>
                                        </p:cTn>
                                        <p:tgtEl>
                                          <p:spTgt spid="400"/>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403"/>
                                        </p:tgtEl>
                                      </p:cBhvr>
                                    </p:animEffect>
                                    <p:set>
                                      <p:cBhvr>
                                        <p:cTn id="13" dur="1" fill="hold">
                                          <p:stCondLst>
                                            <p:cond delay="499"/>
                                          </p:stCondLst>
                                        </p:cTn>
                                        <p:tgtEl>
                                          <p:spTgt spid="4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14"/>
                                        </p:tgtEl>
                                      </p:cBhvr>
                                    </p:animEffect>
                                    <p:set>
                                      <p:cBhvr>
                                        <p:cTn id="16" dur="1" fill="hold">
                                          <p:stCondLst>
                                            <p:cond delay="499"/>
                                          </p:stCondLst>
                                        </p:cTn>
                                        <p:tgtEl>
                                          <p:spTgt spid="1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4"/>
                                        </p:tgtEl>
                                      </p:cBhvr>
                                    </p:animEffect>
                                    <p:set>
                                      <p:cBhvr>
                                        <p:cTn id="19"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7" grpId="0"/>
      <p:bldP spid="400" grpId="0"/>
      <p:bldP spid="40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 name="Freeform 25">
            <a:extLst>
              <a:ext uri="{FF2B5EF4-FFF2-40B4-BE49-F238E27FC236}">
                <a16:creationId xmlns:a16="http://schemas.microsoft.com/office/drawing/2014/main" id="{F6DBA19B-BD90-4457-BF50-4AFB6B47EB68}"/>
              </a:ext>
            </a:extLst>
          </p:cNvPr>
          <p:cNvSpPr>
            <a:spLocks/>
          </p:cNvSpPr>
          <p:nvPr/>
        </p:nvSpPr>
        <p:spPr bwMode="auto">
          <a:xfrm flipH="1">
            <a:off x="7114015" y="1217220"/>
            <a:ext cx="2198915" cy="2534398"/>
          </a:xfrm>
          <a:custGeom>
            <a:avLst/>
            <a:gdLst>
              <a:gd name="T0" fmla="*/ 1265 w 1265"/>
              <a:gd name="T1" fmla="*/ 1094 h 1458"/>
              <a:gd name="T2" fmla="*/ 1265 w 1265"/>
              <a:gd name="T3" fmla="*/ 364 h 1458"/>
              <a:gd name="T4" fmla="*/ 633 w 1265"/>
              <a:gd name="T5" fmla="*/ 0 h 1458"/>
              <a:gd name="T6" fmla="*/ 0 w 1265"/>
              <a:gd name="T7" fmla="*/ 364 h 1458"/>
              <a:gd name="T8" fmla="*/ 0 w 1265"/>
              <a:gd name="T9" fmla="*/ 1094 h 1458"/>
              <a:gd name="T10" fmla="*/ 633 w 1265"/>
              <a:gd name="T11" fmla="*/ 1458 h 1458"/>
              <a:gd name="T12" fmla="*/ 1265 w 1265"/>
              <a:gd name="T13" fmla="*/ 1094 h 1458"/>
            </a:gdLst>
            <a:ahLst/>
            <a:cxnLst>
              <a:cxn ang="0">
                <a:pos x="T0" y="T1"/>
              </a:cxn>
              <a:cxn ang="0">
                <a:pos x="T2" y="T3"/>
              </a:cxn>
              <a:cxn ang="0">
                <a:pos x="T4" y="T5"/>
              </a:cxn>
              <a:cxn ang="0">
                <a:pos x="T6" y="T7"/>
              </a:cxn>
              <a:cxn ang="0">
                <a:pos x="T8" y="T9"/>
              </a:cxn>
              <a:cxn ang="0">
                <a:pos x="T10" y="T11"/>
              </a:cxn>
              <a:cxn ang="0">
                <a:pos x="T12" y="T13"/>
              </a:cxn>
            </a:cxnLst>
            <a:rect l="0" t="0" r="r" b="b"/>
            <a:pathLst>
              <a:path w="1265" h="1458">
                <a:moveTo>
                  <a:pt x="1265" y="1094"/>
                </a:moveTo>
                <a:lnTo>
                  <a:pt x="1265" y="364"/>
                </a:lnTo>
                <a:lnTo>
                  <a:pt x="633" y="0"/>
                </a:lnTo>
                <a:lnTo>
                  <a:pt x="0" y="364"/>
                </a:lnTo>
                <a:lnTo>
                  <a:pt x="0" y="1094"/>
                </a:lnTo>
                <a:lnTo>
                  <a:pt x="633" y="1458"/>
                </a:lnTo>
                <a:lnTo>
                  <a:pt x="1265" y="1094"/>
                </a:lnTo>
                <a:close/>
              </a:path>
            </a:pathLst>
          </a:custGeom>
          <a:solidFill>
            <a:schemeClr val="accent1">
              <a:alpha val="50000"/>
            </a:schemeClr>
          </a:solidFill>
          <a:ln w="285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7" name="Freeform 25">
            <a:extLst>
              <a:ext uri="{FF2B5EF4-FFF2-40B4-BE49-F238E27FC236}">
                <a16:creationId xmlns:a16="http://schemas.microsoft.com/office/drawing/2014/main" id="{AED1B1E5-07F2-4750-9920-92F7C63EFA9C}"/>
              </a:ext>
            </a:extLst>
          </p:cNvPr>
          <p:cNvSpPr>
            <a:spLocks/>
          </p:cNvSpPr>
          <p:nvPr/>
        </p:nvSpPr>
        <p:spPr bwMode="auto">
          <a:xfrm flipH="1">
            <a:off x="9136739" y="2204191"/>
            <a:ext cx="2198915" cy="2534398"/>
          </a:xfrm>
          <a:custGeom>
            <a:avLst/>
            <a:gdLst>
              <a:gd name="T0" fmla="*/ 1265 w 1265"/>
              <a:gd name="T1" fmla="*/ 1094 h 1458"/>
              <a:gd name="T2" fmla="*/ 1265 w 1265"/>
              <a:gd name="T3" fmla="*/ 364 h 1458"/>
              <a:gd name="T4" fmla="*/ 633 w 1265"/>
              <a:gd name="T5" fmla="*/ 0 h 1458"/>
              <a:gd name="T6" fmla="*/ 0 w 1265"/>
              <a:gd name="T7" fmla="*/ 364 h 1458"/>
              <a:gd name="T8" fmla="*/ 0 w 1265"/>
              <a:gd name="T9" fmla="*/ 1094 h 1458"/>
              <a:gd name="T10" fmla="*/ 633 w 1265"/>
              <a:gd name="T11" fmla="*/ 1458 h 1458"/>
              <a:gd name="T12" fmla="*/ 1265 w 1265"/>
              <a:gd name="T13" fmla="*/ 1094 h 1458"/>
            </a:gdLst>
            <a:ahLst/>
            <a:cxnLst>
              <a:cxn ang="0">
                <a:pos x="T0" y="T1"/>
              </a:cxn>
              <a:cxn ang="0">
                <a:pos x="T2" y="T3"/>
              </a:cxn>
              <a:cxn ang="0">
                <a:pos x="T4" y="T5"/>
              </a:cxn>
              <a:cxn ang="0">
                <a:pos x="T6" y="T7"/>
              </a:cxn>
              <a:cxn ang="0">
                <a:pos x="T8" y="T9"/>
              </a:cxn>
              <a:cxn ang="0">
                <a:pos x="T10" y="T11"/>
              </a:cxn>
              <a:cxn ang="0">
                <a:pos x="T12" y="T13"/>
              </a:cxn>
            </a:cxnLst>
            <a:rect l="0" t="0" r="r" b="b"/>
            <a:pathLst>
              <a:path w="1265" h="1458">
                <a:moveTo>
                  <a:pt x="1265" y="1094"/>
                </a:moveTo>
                <a:lnTo>
                  <a:pt x="1265" y="364"/>
                </a:lnTo>
                <a:lnTo>
                  <a:pt x="633" y="0"/>
                </a:lnTo>
                <a:lnTo>
                  <a:pt x="0" y="364"/>
                </a:lnTo>
                <a:lnTo>
                  <a:pt x="0" y="1094"/>
                </a:lnTo>
                <a:lnTo>
                  <a:pt x="633" y="1458"/>
                </a:lnTo>
                <a:lnTo>
                  <a:pt x="1265" y="1094"/>
                </a:lnTo>
                <a:close/>
              </a:path>
            </a:pathLst>
          </a:custGeom>
          <a:solidFill>
            <a:schemeClr val="accent3">
              <a:alpha val="50000"/>
            </a:schemeClr>
          </a:solidFill>
          <a:ln w="28575"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6" name="Freeform 25">
            <a:extLst>
              <a:ext uri="{FF2B5EF4-FFF2-40B4-BE49-F238E27FC236}">
                <a16:creationId xmlns:a16="http://schemas.microsoft.com/office/drawing/2014/main" id="{B3D6EB04-362A-4D6B-AF38-FDA6F1A277B3}"/>
              </a:ext>
            </a:extLst>
          </p:cNvPr>
          <p:cNvSpPr>
            <a:spLocks/>
          </p:cNvSpPr>
          <p:nvPr/>
        </p:nvSpPr>
        <p:spPr bwMode="auto">
          <a:xfrm flipH="1">
            <a:off x="8193313" y="4091049"/>
            <a:ext cx="2198915" cy="2534398"/>
          </a:xfrm>
          <a:custGeom>
            <a:avLst/>
            <a:gdLst>
              <a:gd name="T0" fmla="*/ 1265 w 1265"/>
              <a:gd name="T1" fmla="*/ 1094 h 1458"/>
              <a:gd name="T2" fmla="*/ 1265 w 1265"/>
              <a:gd name="T3" fmla="*/ 364 h 1458"/>
              <a:gd name="T4" fmla="*/ 633 w 1265"/>
              <a:gd name="T5" fmla="*/ 0 h 1458"/>
              <a:gd name="T6" fmla="*/ 0 w 1265"/>
              <a:gd name="T7" fmla="*/ 364 h 1458"/>
              <a:gd name="T8" fmla="*/ 0 w 1265"/>
              <a:gd name="T9" fmla="*/ 1094 h 1458"/>
              <a:gd name="T10" fmla="*/ 633 w 1265"/>
              <a:gd name="T11" fmla="*/ 1458 h 1458"/>
              <a:gd name="T12" fmla="*/ 1265 w 1265"/>
              <a:gd name="T13" fmla="*/ 1094 h 1458"/>
            </a:gdLst>
            <a:ahLst/>
            <a:cxnLst>
              <a:cxn ang="0">
                <a:pos x="T0" y="T1"/>
              </a:cxn>
              <a:cxn ang="0">
                <a:pos x="T2" y="T3"/>
              </a:cxn>
              <a:cxn ang="0">
                <a:pos x="T4" y="T5"/>
              </a:cxn>
              <a:cxn ang="0">
                <a:pos x="T6" y="T7"/>
              </a:cxn>
              <a:cxn ang="0">
                <a:pos x="T8" y="T9"/>
              </a:cxn>
              <a:cxn ang="0">
                <a:pos x="T10" y="T11"/>
              </a:cxn>
              <a:cxn ang="0">
                <a:pos x="T12" y="T13"/>
              </a:cxn>
            </a:cxnLst>
            <a:rect l="0" t="0" r="r" b="b"/>
            <a:pathLst>
              <a:path w="1265" h="1458">
                <a:moveTo>
                  <a:pt x="1265" y="1094"/>
                </a:moveTo>
                <a:lnTo>
                  <a:pt x="1265" y="364"/>
                </a:lnTo>
                <a:lnTo>
                  <a:pt x="633" y="0"/>
                </a:lnTo>
                <a:lnTo>
                  <a:pt x="0" y="364"/>
                </a:lnTo>
                <a:lnTo>
                  <a:pt x="0" y="1094"/>
                </a:lnTo>
                <a:lnTo>
                  <a:pt x="633" y="1458"/>
                </a:lnTo>
                <a:lnTo>
                  <a:pt x="1265" y="1094"/>
                </a:lnTo>
                <a:close/>
              </a:path>
            </a:pathLst>
          </a:custGeom>
          <a:solidFill>
            <a:srgbClr val="00BCF2">
              <a:alpha val="50000"/>
            </a:srgbClr>
          </a:solidFill>
          <a:ln w="28575" cap="flat">
            <a:solidFill>
              <a:srgbClr val="00BCF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 name="Title 1">
            <a:extLst>
              <a:ext uri="{FF2B5EF4-FFF2-40B4-BE49-F238E27FC236}">
                <a16:creationId xmlns:a16="http://schemas.microsoft.com/office/drawing/2014/main" id="{3F9F1597-2F33-4FCC-A84E-5B0875D9CAE1}"/>
              </a:ext>
            </a:extLst>
          </p:cNvPr>
          <p:cNvSpPr>
            <a:spLocks noGrp="1"/>
          </p:cNvSpPr>
          <p:nvPr>
            <p:ph type="title"/>
          </p:nvPr>
        </p:nvSpPr>
        <p:spPr/>
        <p:txBody>
          <a:bodyPr/>
          <a:lstStyle/>
          <a:p>
            <a:r>
              <a:rPr lang="en-US"/>
              <a:t>Azure Blockchain helps developers meet each need</a:t>
            </a:r>
          </a:p>
        </p:txBody>
      </p:sp>
      <p:grpSp>
        <p:nvGrpSpPr>
          <p:cNvPr id="5" name="Group 4">
            <a:extLst>
              <a:ext uri="{FF2B5EF4-FFF2-40B4-BE49-F238E27FC236}">
                <a16:creationId xmlns:a16="http://schemas.microsoft.com/office/drawing/2014/main" id="{D1FFFFFA-09DE-49DA-BE50-DD04CF93FB53}"/>
              </a:ext>
            </a:extLst>
          </p:cNvPr>
          <p:cNvGrpSpPr/>
          <p:nvPr/>
        </p:nvGrpSpPr>
        <p:grpSpPr>
          <a:xfrm>
            <a:off x="1203796" y="5442868"/>
            <a:ext cx="922420" cy="820111"/>
            <a:chOff x="496931" y="22279968"/>
            <a:chExt cx="1082402" cy="962349"/>
          </a:xfrm>
        </p:grpSpPr>
        <p:sp>
          <p:nvSpPr>
            <p:cNvPr id="6" name="Rectangle 5">
              <a:extLst>
                <a:ext uri="{FF2B5EF4-FFF2-40B4-BE49-F238E27FC236}">
                  <a16:creationId xmlns:a16="http://schemas.microsoft.com/office/drawing/2014/main" id="{56C8431E-781C-4736-8631-5058A2A66A05}"/>
                </a:ext>
              </a:extLst>
            </p:cNvPr>
            <p:cNvSpPr/>
            <p:nvPr/>
          </p:nvSpPr>
          <p:spPr bwMode="auto">
            <a:xfrm>
              <a:off x="638812" y="22443702"/>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 name="Rectangle 6">
              <a:extLst>
                <a:ext uri="{FF2B5EF4-FFF2-40B4-BE49-F238E27FC236}">
                  <a16:creationId xmlns:a16="http://schemas.microsoft.com/office/drawing/2014/main" id="{50D876BE-7722-42E2-87D9-1D5556E55BF1}"/>
                </a:ext>
              </a:extLst>
            </p:cNvPr>
            <p:cNvSpPr/>
            <p:nvPr/>
          </p:nvSpPr>
          <p:spPr bwMode="auto">
            <a:xfrm>
              <a:off x="638812"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CCE05188-8990-467D-97B1-F9BA698BE982}"/>
                </a:ext>
              </a:extLst>
            </p:cNvPr>
            <p:cNvSpPr/>
            <p:nvPr/>
          </p:nvSpPr>
          <p:spPr bwMode="auto">
            <a:xfrm>
              <a:off x="1104165"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 name="Rectangle 8">
              <a:extLst>
                <a:ext uri="{FF2B5EF4-FFF2-40B4-BE49-F238E27FC236}">
                  <a16:creationId xmlns:a16="http://schemas.microsoft.com/office/drawing/2014/main" id="{B2516502-12B7-46B5-808D-805CBC2D0042}"/>
                </a:ext>
              </a:extLst>
            </p:cNvPr>
            <p:cNvSpPr/>
            <p:nvPr/>
          </p:nvSpPr>
          <p:spPr bwMode="auto">
            <a:xfrm>
              <a:off x="1104165" y="22439799"/>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0" name="Group 9">
              <a:extLst>
                <a:ext uri="{FF2B5EF4-FFF2-40B4-BE49-F238E27FC236}">
                  <a16:creationId xmlns:a16="http://schemas.microsoft.com/office/drawing/2014/main" id="{417A94CD-1861-4651-ABDB-4B4AD9B1FC61}"/>
                </a:ext>
              </a:extLst>
            </p:cNvPr>
            <p:cNvGrpSpPr/>
            <p:nvPr/>
          </p:nvGrpSpPr>
          <p:grpSpPr>
            <a:xfrm>
              <a:off x="496931" y="22279968"/>
              <a:ext cx="1082402" cy="962349"/>
              <a:chOff x="496931" y="22279968"/>
              <a:chExt cx="1082402" cy="962349"/>
            </a:xfrm>
          </p:grpSpPr>
          <p:sp>
            <p:nvSpPr>
              <p:cNvPr id="11" name="Hexagon 10">
                <a:extLst>
                  <a:ext uri="{FF2B5EF4-FFF2-40B4-BE49-F238E27FC236}">
                    <a16:creationId xmlns:a16="http://schemas.microsoft.com/office/drawing/2014/main" id="{8FF860BA-0A22-42A9-8163-7E0D69EA017C}"/>
                  </a:ext>
                </a:extLst>
              </p:cNvPr>
              <p:cNvSpPr/>
              <p:nvPr/>
            </p:nvSpPr>
            <p:spPr bwMode="auto">
              <a:xfrm rot="5400000">
                <a:off x="813077" y="22563259"/>
                <a:ext cx="450110" cy="388024"/>
              </a:xfrm>
              <a:prstGeom prst="hexagon">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 name="Hexagon 11">
                <a:extLst>
                  <a:ext uri="{FF2B5EF4-FFF2-40B4-BE49-F238E27FC236}">
                    <a16:creationId xmlns:a16="http://schemas.microsoft.com/office/drawing/2014/main" id="{659C4813-D03D-4ABC-A8E7-CBDCCB4AFC5C}"/>
                  </a:ext>
                </a:extLst>
              </p:cNvPr>
              <p:cNvSpPr/>
              <p:nvPr/>
            </p:nvSpPr>
            <p:spPr bwMode="auto">
              <a:xfrm rot="5400000">
                <a:off x="1280803"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 name="Hexagon 12">
                <a:extLst>
                  <a:ext uri="{FF2B5EF4-FFF2-40B4-BE49-F238E27FC236}">
                    <a16:creationId xmlns:a16="http://schemas.microsoft.com/office/drawing/2014/main" id="{3B345AC7-2A19-406E-AE1A-F72736D10250}"/>
                  </a:ext>
                </a:extLst>
              </p:cNvPr>
              <p:cNvSpPr/>
              <p:nvPr/>
            </p:nvSpPr>
            <p:spPr bwMode="auto">
              <a:xfrm rot="5400000">
                <a:off x="1280803"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4" name="Hexagon 13">
                <a:extLst>
                  <a:ext uri="{FF2B5EF4-FFF2-40B4-BE49-F238E27FC236}">
                    <a16:creationId xmlns:a16="http://schemas.microsoft.com/office/drawing/2014/main" id="{24702AFA-3AB6-489A-8997-EB50D9759E39}"/>
                  </a:ext>
                </a:extLst>
              </p:cNvPr>
              <p:cNvSpPr/>
              <p:nvPr/>
            </p:nvSpPr>
            <p:spPr bwMode="auto">
              <a:xfrm rot="5400000">
                <a:off x="474817"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5" name="Hexagon 14">
                <a:extLst>
                  <a:ext uri="{FF2B5EF4-FFF2-40B4-BE49-F238E27FC236}">
                    <a16:creationId xmlns:a16="http://schemas.microsoft.com/office/drawing/2014/main" id="{32472666-749A-426A-88FB-A8A96BBEDDDB}"/>
                  </a:ext>
                </a:extLst>
              </p:cNvPr>
              <p:cNvSpPr/>
              <p:nvPr/>
            </p:nvSpPr>
            <p:spPr bwMode="auto">
              <a:xfrm rot="5400000">
                <a:off x="474817"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nvGrpSpPr>
          <p:cNvPr id="16" name="Group 15">
            <a:extLst>
              <a:ext uri="{FF2B5EF4-FFF2-40B4-BE49-F238E27FC236}">
                <a16:creationId xmlns:a16="http://schemas.microsoft.com/office/drawing/2014/main" id="{6068F9ED-BD23-48BE-B64D-1B74684DBC11}"/>
              </a:ext>
            </a:extLst>
          </p:cNvPr>
          <p:cNvGrpSpPr/>
          <p:nvPr/>
        </p:nvGrpSpPr>
        <p:grpSpPr>
          <a:xfrm>
            <a:off x="1080259" y="3677105"/>
            <a:ext cx="1169493" cy="1029714"/>
            <a:chOff x="2408541" y="22149930"/>
            <a:chExt cx="1372330" cy="1208308"/>
          </a:xfrm>
        </p:grpSpPr>
        <p:grpSp>
          <p:nvGrpSpPr>
            <p:cNvPr id="17" name="Group 16">
              <a:extLst>
                <a:ext uri="{FF2B5EF4-FFF2-40B4-BE49-F238E27FC236}">
                  <a16:creationId xmlns:a16="http://schemas.microsoft.com/office/drawing/2014/main" id="{7CE2D45D-39E2-4B97-984D-CCFD217A2670}"/>
                </a:ext>
              </a:extLst>
            </p:cNvPr>
            <p:cNvGrpSpPr/>
            <p:nvPr/>
          </p:nvGrpSpPr>
          <p:grpSpPr>
            <a:xfrm>
              <a:off x="2545382" y="22299654"/>
              <a:ext cx="1082402" cy="962349"/>
              <a:chOff x="496931" y="22279968"/>
              <a:chExt cx="1082402" cy="962349"/>
            </a:xfrm>
          </p:grpSpPr>
          <p:sp>
            <p:nvSpPr>
              <p:cNvPr id="48" name="Rectangle 47">
                <a:extLst>
                  <a:ext uri="{FF2B5EF4-FFF2-40B4-BE49-F238E27FC236}">
                    <a16:creationId xmlns:a16="http://schemas.microsoft.com/office/drawing/2014/main" id="{CAC7FB11-B3E8-4621-B314-FB0AB4403E5B}"/>
                  </a:ext>
                </a:extLst>
              </p:cNvPr>
              <p:cNvSpPr/>
              <p:nvPr/>
            </p:nvSpPr>
            <p:spPr bwMode="auto">
              <a:xfrm>
                <a:off x="638812" y="22443702"/>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 name="Rectangle 48">
                <a:extLst>
                  <a:ext uri="{FF2B5EF4-FFF2-40B4-BE49-F238E27FC236}">
                    <a16:creationId xmlns:a16="http://schemas.microsoft.com/office/drawing/2014/main" id="{048A7850-7E34-47F2-8937-F753BFFE28F3}"/>
                  </a:ext>
                </a:extLst>
              </p:cNvPr>
              <p:cNvSpPr/>
              <p:nvPr/>
            </p:nvSpPr>
            <p:spPr bwMode="auto">
              <a:xfrm>
                <a:off x="638812"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 name="Rectangle 49">
                <a:extLst>
                  <a:ext uri="{FF2B5EF4-FFF2-40B4-BE49-F238E27FC236}">
                    <a16:creationId xmlns:a16="http://schemas.microsoft.com/office/drawing/2014/main" id="{645F6070-0A42-4406-B640-E7AE565C07A5}"/>
                  </a:ext>
                </a:extLst>
              </p:cNvPr>
              <p:cNvSpPr/>
              <p:nvPr/>
            </p:nvSpPr>
            <p:spPr bwMode="auto">
              <a:xfrm>
                <a:off x="1104165"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 name="Rectangle 50">
                <a:extLst>
                  <a:ext uri="{FF2B5EF4-FFF2-40B4-BE49-F238E27FC236}">
                    <a16:creationId xmlns:a16="http://schemas.microsoft.com/office/drawing/2014/main" id="{A0845099-C70F-4623-BDCE-7AA2432934C8}"/>
                  </a:ext>
                </a:extLst>
              </p:cNvPr>
              <p:cNvSpPr/>
              <p:nvPr/>
            </p:nvSpPr>
            <p:spPr bwMode="auto">
              <a:xfrm>
                <a:off x="1104165" y="22439799"/>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52" name="Group 51">
                <a:extLst>
                  <a:ext uri="{FF2B5EF4-FFF2-40B4-BE49-F238E27FC236}">
                    <a16:creationId xmlns:a16="http://schemas.microsoft.com/office/drawing/2014/main" id="{13A63FB6-6F21-4B1F-A1E9-F75400624988}"/>
                  </a:ext>
                </a:extLst>
              </p:cNvPr>
              <p:cNvGrpSpPr/>
              <p:nvPr/>
            </p:nvGrpSpPr>
            <p:grpSpPr>
              <a:xfrm>
                <a:off x="496931" y="22279968"/>
                <a:ext cx="1082402" cy="962349"/>
                <a:chOff x="496931" y="22279968"/>
                <a:chExt cx="1082402" cy="962349"/>
              </a:xfrm>
            </p:grpSpPr>
            <p:sp>
              <p:nvSpPr>
                <p:cNvPr id="53" name="Hexagon 52">
                  <a:extLst>
                    <a:ext uri="{FF2B5EF4-FFF2-40B4-BE49-F238E27FC236}">
                      <a16:creationId xmlns:a16="http://schemas.microsoft.com/office/drawing/2014/main" id="{DCFE4F99-F0CD-4326-A804-04EE0D8EA417}"/>
                    </a:ext>
                  </a:extLst>
                </p:cNvPr>
                <p:cNvSpPr/>
                <p:nvPr/>
              </p:nvSpPr>
              <p:spPr bwMode="auto">
                <a:xfrm rot="5400000">
                  <a:off x="813077" y="22563259"/>
                  <a:ext cx="450110" cy="388024"/>
                </a:xfrm>
                <a:prstGeom prst="hexagon">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4" name="Hexagon 53">
                  <a:extLst>
                    <a:ext uri="{FF2B5EF4-FFF2-40B4-BE49-F238E27FC236}">
                      <a16:creationId xmlns:a16="http://schemas.microsoft.com/office/drawing/2014/main" id="{4E642C53-E73B-4507-B45C-F0EE276D05BE}"/>
                    </a:ext>
                  </a:extLst>
                </p:cNvPr>
                <p:cNvSpPr/>
                <p:nvPr/>
              </p:nvSpPr>
              <p:spPr bwMode="auto">
                <a:xfrm rot="5400000">
                  <a:off x="1280803"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5" name="Hexagon 54">
                  <a:extLst>
                    <a:ext uri="{FF2B5EF4-FFF2-40B4-BE49-F238E27FC236}">
                      <a16:creationId xmlns:a16="http://schemas.microsoft.com/office/drawing/2014/main" id="{5ABB7512-C055-49C5-AFE0-40AF1FA65F70}"/>
                    </a:ext>
                  </a:extLst>
                </p:cNvPr>
                <p:cNvSpPr/>
                <p:nvPr/>
              </p:nvSpPr>
              <p:spPr bwMode="auto">
                <a:xfrm rot="5400000">
                  <a:off x="1280803"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6" name="Hexagon 55">
                  <a:extLst>
                    <a:ext uri="{FF2B5EF4-FFF2-40B4-BE49-F238E27FC236}">
                      <a16:creationId xmlns:a16="http://schemas.microsoft.com/office/drawing/2014/main" id="{FA547042-6416-4AE8-9D94-046843244459}"/>
                    </a:ext>
                  </a:extLst>
                </p:cNvPr>
                <p:cNvSpPr/>
                <p:nvPr/>
              </p:nvSpPr>
              <p:spPr bwMode="auto">
                <a:xfrm rot="5400000">
                  <a:off x="474817"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7" name="Hexagon 56">
                  <a:extLst>
                    <a:ext uri="{FF2B5EF4-FFF2-40B4-BE49-F238E27FC236}">
                      <a16:creationId xmlns:a16="http://schemas.microsoft.com/office/drawing/2014/main" id="{9E0E1E2D-247C-44A2-87D7-ED37CF73BCE5}"/>
                    </a:ext>
                  </a:extLst>
                </p:cNvPr>
                <p:cNvSpPr/>
                <p:nvPr/>
              </p:nvSpPr>
              <p:spPr bwMode="auto">
                <a:xfrm rot="5400000">
                  <a:off x="474817"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sp>
          <p:nvSpPr>
            <p:cNvPr id="18" name="Oval 17">
              <a:extLst>
                <a:ext uri="{FF2B5EF4-FFF2-40B4-BE49-F238E27FC236}">
                  <a16:creationId xmlns:a16="http://schemas.microsoft.com/office/drawing/2014/main" id="{4B36ABDD-9CF3-40D1-A27C-EC4B610D22FF}"/>
                </a:ext>
              </a:extLst>
            </p:cNvPr>
            <p:cNvSpPr/>
            <p:nvPr/>
          </p:nvSpPr>
          <p:spPr bwMode="auto">
            <a:xfrm>
              <a:off x="2408541" y="22167517"/>
              <a:ext cx="80698" cy="80698"/>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 name="Oval 18">
              <a:extLst>
                <a:ext uri="{FF2B5EF4-FFF2-40B4-BE49-F238E27FC236}">
                  <a16:creationId xmlns:a16="http://schemas.microsoft.com/office/drawing/2014/main" id="{D565D0D6-AFC3-44B2-A0EA-7F11E5D79454}"/>
                </a:ext>
              </a:extLst>
            </p:cNvPr>
            <p:cNvSpPr/>
            <p:nvPr/>
          </p:nvSpPr>
          <p:spPr bwMode="auto">
            <a:xfrm>
              <a:off x="2417445" y="22359223"/>
              <a:ext cx="62890" cy="6289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 name="Oval 19">
              <a:extLst>
                <a:ext uri="{FF2B5EF4-FFF2-40B4-BE49-F238E27FC236}">
                  <a16:creationId xmlns:a16="http://schemas.microsoft.com/office/drawing/2014/main" id="{7AF30101-B53F-4597-BE8F-963B22C94ECC}"/>
                </a:ext>
              </a:extLst>
            </p:cNvPr>
            <p:cNvSpPr/>
            <p:nvPr/>
          </p:nvSpPr>
          <p:spPr bwMode="auto">
            <a:xfrm>
              <a:off x="2421043" y="22533121"/>
              <a:ext cx="55694" cy="5569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 name="Oval 20">
              <a:extLst>
                <a:ext uri="{FF2B5EF4-FFF2-40B4-BE49-F238E27FC236}">
                  <a16:creationId xmlns:a16="http://schemas.microsoft.com/office/drawing/2014/main" id="{E6446340-4D38-43FF-B268-8E818C94F011}"/>
                </a:ext>
              </a:extLst>
            </p:cNvPr>
            <p:cNvSpPr/>
            <p:nvPr/>
          </p:nvSpPr>
          <p:spPr bwMode="auto">
            <a:xfrm>
              <a:off x="2422502" y="22699823"/>
              <a:ext cx="52776" cy="52776"/>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 name="Oval 21">
              <a:extLst>
                <a:ext uri="{FF2B5EF4-FFF2-40B4-BE49-F238E27FC236}">
                  <a16:creationId xmlns:a16="http://schemas.microsoft.com/office/drawing/2014/main" id="{008EDCAE-8594-4C20-8ABF-C4B6915D73F7}"/>
                </a:ext>
              </a:extLst>
            </p:cNvPr>
            <p:cNvSpPr/>
            <p:nvPr/>
          </p:nvSpPr>
          <p:spPr bwMode="auto">
            <a:xfrm>
              <a:off x="2426030" y="22863607"/>
              <a:ext cx="45720" cy="45720"/>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 name="Oval 22">
              <a:extLst>
                <a:ext uri="{FF2B5EF4-FFF2-40B4-BE49-F238E27FC236}">
                  <a16:creationId xmlns:a16="http://schemas.microsoft.com/office/drawing/2014/main" id="{AC1930B7-3740-4ECA-B2DA-4ABE3F58DA0E}"/>
                </a:ext>
              </a:extLst>
            </p:cNvPr>
            <p:cNvSpPr/>
            <p:nvPr/>
          </p:nvSpPr>
          <p:spPr bwMode="auto">
            <a:xfrm>
              <a:off x="2430602" y="23020335"/>
              <a:ext cx="36576" cy="3657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 name="Oval 23">
              <a:extLst>
                <a:ext uri="{FF2B5EF4-FFF2-40B4-BE49-F238E27FC236}">
                  <a16:creationId xmlns:a16="http://schemas.microsoft.com/office/drawing/2014/main" id="{61B2A2A4-7DED-48DE-B736-45432F78AB49}"/>
                </a:ext>
              </a:extLst>
            </p:cNvPr>
            <p:cNvSpPr/>
            <p:nvPr/>
          </p:nvSpPr>
          <p:spPr bwMode="auto">
            <a:xfrm>
              <a:off x="2435174" y="23167919"/>
              <a:ext cx="27432" cy="27432"/>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 name="Oval 24">
              <a:extLst>
                <a:ext uri="{FF2B5EF4-FFF2-40B4-BE49-F238E27FC236}">
                  <a16:creationId xmlns:a16="http://schemas.microsoft.com/office/drawing/2014/main" id="{96DF2EC0-A705-4242-A038-CB9727DC6654}"/>
                </a:ext>
              </a:extLst>
            </p:cNvPr>
            <p:cNvSpPr/>
            <p:nvPr/>
          </p:nvSpPr>
          <p:spPr bwMode="auto">
            <a:xfrm>
              <a:off x="2439746" y="23306361"/>
              <a:ext cx="18288" cy="18288"/>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 name="Oval 25">
              <a:extLst>
                <a:ext uri="{FF2B5EF4-FFF2-40B4-BE49-F238E27FC236}">
                  <a16:creationId xmlns:a16="http://schemas.microsoft.com/office/drawing/2014/main" id="{2966EA55-9B67-4E66-9EB5-30FE51014D53}"/>
                </a:ext>
              </a:extLst>
            </p:cNvPr>
            <p:cNvSpPr/>
            <p:nvPr/>
          </p:nvSpPr>
          <p:spPr bwMode="auto">
            <a:xfrm flipV="1">
              <a:off x="3684740" y="23277540"/>
              <a:ext cx="80698" cy="80698"/>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 name="Oval 26">
              <a:extLst>
                <a:ext uri="{FF2B5EF4-FFF2-40B4-BE49-F238E27FC236}">
                  <a16:creationId xmlns:a16="http://schemas.microsoft.com/office/drawing/2014/main" id="{C6CDEBF4-72F4-40E0-A141-B0B7D6C5772C}"/>
                </a:ext>
              </a:extLst>
            </p:cNvPr>
            <p:cNvSpPr/>
            <p:nvPr/>
          </p:nvSpPr>
          <p:spPr bwMode="auto">
            <a:xfrm flipV="1">
              <a:off x="3693644" y="23074995"/>
              <a:ext cx="62890" cy="6289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 name="Oval 27">
              <a:extLst>
                <a:ext uri="{FF2B5EF4-FFF2-40B4-BE49-F238E27FC236}">
                  <a16:creationId xmlns:a16="http://schemas.microsoft.com/office/drawing/2014/main" id="{D743C4D3-3A13-4E78-BE27-7EFF6899AE2F}"/>
                </a:ext>
              </a:extLst>
            </p:cNvPr>
            <p:cNvSpPr/>
            <p:nvPr/>
          </p:nvSpPr>
          <p:spPr bwMode="auto">
            <a:xfrm flipV="1">
              <a:off x="3697242" y="22913235"/>
              <a:ext cx="55694" cy="5569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 name="Oval 28">
              <a:extLst>
                <a:ext uri="{FF2B5EF4-FFF2-40B4-BE49-F238E27FC236}">
                  <a16:creationId xmlns:a16="http://schemas.microsoft.com/office/drawing/2014/main" id="{77F2F1C8-D1D9-423F-A842-7C5D8EEB4949}"/>
                </a:ext>
              </a:extLst>
            </p:cNvPr>
            <p:cNvSpPr/>
            <p:nvPr/>
          </p:nvSpPr>
          <p:spPr bwMode="auto">
            <a:xfrm flipV="1">
              <a:off x="3698701" y="22754393"/>
              <a:ext cx="52776" cy="52776"/>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 name="Oval 29">
              <a:extLst>
                <a:ext uri="{FF2B5EF4-FFF2-40B4-BE49-F238E27FC236}">
                  <a16:creationId xmlns:a16="http://schemas.microsoft.com/office/drawing/2014/main" id="{BB280209-AF82-4CB6-A9E0-D0D75B33A9AE}"/>
                </a:ext>
              </a:extLst>
            </p:cNvPr>
            <p:cNvSpPr/>
            <p:nvPr/>
          </p:nvSpPr>
          <p:spPr bwMode="auto">
            <a:xfrm flipV="1">
              <a:off x="3702229" y="22602607"/>
              <a:ext cx="45720" cy="457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 name="Oval 30">
              <a:extLst>
                <a:ext uri="{FF2B5EF4-FFF2-40B4-BE49-F238E27FC236}">
                  <a16:creationId xmlns:a16="http://schemas.microsoft.com/office/drawing/2014/main" id="{63006E1B-71A0-4160-9EDD-532DC56C8489}"/>
                </a:ext>
              </a:extLst>
            </p:cNvPr>
            <p:cNvSpPr/>
            <p:nvPr/>
          </p:nvSpPr>
          <p:spPr bwMode="auto">
            <a:xfrm flipV="1">
              <a:off x="3706801" y="22459965"/>
              <a:ext cx="36576" cy="3657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Oval 31">
              <a:extLst>
                <a:ext uri="{FF2B5EF4-FFF2-40B4-BE49-F238E27FC236}">
                  <a16:creationId xmlns:a16="http://schemas.microsoft.com/office/drawing/2014/main" id="{985431C5-4454-4770-9E93-CD50ACD519F6}"/>
                </a:ext>
              </a:extLst>
            </p:cNvPr>
            <p:cNvSpPr/>
            <p:nvPr/>
          </p:nvSpPr>
          <p:spPr bwMode="auto">
            <a:xfrm flipV="1">
              <a:off x="3711373" y="22326467"/>
              <a:ext cx="27432" cy="27432"/>
            </a:xfrm>
            <a:prstGeom prst="ellipse">
              <a:avLst/>
            </a:prstGeom>
            <a:solidFill>
              <a:srgbClr val="00BCF2">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 name="Oval 32">
              <a:extLst>
                <a:ext uri="{FF2B5EF4-FFF2-40B4-BE49-F238E27FC236}">
                  <a16:creationId xmlns:a16="http://schemas.microsoft.com/office/drawing/2014/main" id="{33B92E62-9E96-4737-BE36-CBD2255F5E46}"/>
                </a:ext>
              </a:extLst>
            </p:cNvPr>
            <p:cNvSpPr/>
            <p:nvPr/>
          </p:nvSpPr>
          <p:spPr bwMode="auto">
            <a:xfrm rot="5400000">
              <a:off x="3486760" y="23284133"/>
              <a:ext cx="62890" cy="6289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 name="Oval 33">
              <a:extLst>
                <a:ext uri="{FF2B5EF4-FFF2-40B4-BE49-F238E27FC236}">
                  <a16:creationId xmlns:a16="http://schemas.microsoft.com/office/drawing/2014/main" id="{4D8B65AA-535E-4084-B288-829709BC5BD7}"/>
                </a:ext>
              </a:extLst>
            </p:cNvPr>
            <p:cNvSpPr/>
            <p:nvPr/>
          </p:nvSpPr>
          <p:spPr bwMode="auto">
            <a:xfrm rot="5400000">
              <a:off x="3295978" y="23287731"/>
              <a:ext cx="55694" cy="5569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 name="Oval 34">
              <a:extLst>
                <a:ext uri="{FF2B5EF4-FFF2-40B4-BE49-F238E27FC236}">
                  <a16:creationId xmlns:a16="http://schemas.microsoft.com/office/drawing/2014/main" id="{70B24B8A-21EF-4973-B1BA-4B803EE7436F}"/>
                </a:ext>
              </a:extLst>
            </p:cNvPr>
            <p:cNvSpPr/>
            <p:nvPr/>
          </p:nvSpPr>
          <p:spPr bwMode="auto">
            <a:xfrm rot="5400000">
              <a:off x="3108114" y="23289190"/>
              <a:ext cx="52776" cy="52776"/>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 name="Oval 35">
              <a:extLst>
                <a:ext uri="{FF2B5EF4-FFF2-40B4-BE49-F238E27FC236}">
                  <a16:creationId xmlns:a16="http://schemas.microsoft.com/office/drawing/2014/main" id="{CEDDFA20-A2FD-44CE-8308-78027B2AF624}"/>
                </a:ext>
              </a:extLst>
            </p:cNvPr>
            <p:cNvSpPr/>
            <p:nvPr/>
          </p:nvSpPr>
          <p:spPr bwMode="auto">
            <a:xfrm rot="5400000">
              <a:off x="2927306" y="23292718"/>
              <a:ext cx="45720" cy="45720"/>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 name="Oval 36">
              <a:extLst>
                <a:ext uri="{FF2B5EF4-FFF2-40B4-BE49-F238E27FC236}">
                  <a16:creationId xmlns:a16="http://schemas.microsoft.com/office/drawing/2014/main" id="{D2BDD057-226C-48B1-B4A4-22A7427001EB}"/>
                </a:ext>
              </a:extLst>
            </p:cNvPr>
            <p:cNvSpPr/>
            <p:nvPr/>
          </p:nvSpPr>
          <p:spPr bwMode="auto">
            <a:xfrm rot="5400000">
              <a:off x="2755642" y="23297290"/>
              <a:ext cx="36576" cy="3657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 name="Oval 37">
              <a:extLst>
                <a:ext uri="{FF2B5EF4-FFF2-40B4-BE49-F238E27FC236}">
                  <a16:creationId xmlns:a16="http://schemas.microsoft.com/office/drawing/2014/main" id="{068264CB-7296-4CFA-8981-1323C09EAB30}"/>
                </a:ext>
              </a:extLst>
            </p:cNvPr>
            <p:cNvSpPr/>
            <p:nvPr/>
          </p:nvSpPr>
          <p:spPr bwMode="auto">
            <a:xfrm rot="5400000">
              <a:off x="2593122" y="23301862"/>
              <a:ext cx="27432" cy="27432"/>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9" name="Group 38">
              <a:extLst>
                <a:ext uri="{FF2B5EF4-FFF2-40B4-BE49-F238E27FC236}">
                  <a16:creationId xmlns:a16="http://schemas.microsoft.com/office/drawing/2014/main" id="{2BD22B11-214B-4545-A0F5-B30581156C58}"/>
                </a:ext>
              </a:extLst>
            </p:cNvPr>
            <p:cNvGrpSpPr/>
            <p:nvPr/>
          </p:nvGrpSpPr>
          <p:grpSpPr>
            <a:xfrm flipH="1">
              <a:off x="2627473" y="22176063"/>
              <a:ext cx="956528" cy="62890"/>
              <a:chOff x="2627473" y="22171612"/>
              <a:chExt cx="956528" cy="62890"/>
            </a:xfrm>
          </p:grpSpPr>
          <p:sp>
            <p:nvSpPr>
              <p:cNvPr id="42" name="Oval 41">
                <a:extLst>
                  <a:ext uri="{FF2B5EF4-FFF2-40B4-BE49-F238E27FC236}">
                    <a16:creationId xmlns:a16="http://schemas.microsoft.com/office/drawing/2014/main" id="{15BB2DCC-2BB6-4CBC-82F0-160ABAC90317}"/>
                  </a:ext>
                </a:extLst>
              </p:cNvPr>
              <p:cNvSpPr/>
              <p:nvPr/>
            </p:nvSpPr>
            <p:spPr bwMode="auto">
              <a:xfrm rot="5400000">
                <a:off x="3521111" y="22171612"/>
                <a:ext cx="62890" cy="6289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 name="Oval 42">
                <a:extLst>
                  <a:ext uri="{FF2B5EF4-FFF2-40B4-BE49-F238E27FC236}">
                    <a16:creationId xmlns:a16="http://schemas.microsoft.com/office/drawing/2014/main" id="{2BDBA4E4-4A94-4102-98AD-C1A47F885C5E}"/>
                  </a:ext>
                </a:extLst>
              </p:cNvPr>
              <p:cNvSpPr/>
              <p:nvPr/>
            </p:nvSpPr>
            <p:spPr bwMode="auto">
              <a:xfrm rot="5400000">
                <a:off x="3330329" y="22175210"/>
                <a:ext cx="55694" cy="5569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 name="Oval 43">
                <a:extLst>
                  <a:ext uri="{FF2B5EF4-FFF2-40B4-BE49-F238E27FC236}">
                    <a16:creationId xmlns:a16="http://schemas.microsoft.com/office/drawing/2014/main" id="{20B2B019-1AED-4E4E-94F5-3EFE2430CBDD}"/>
                  </a:ext>
                </a:extLst>
              </p:cNvPr>
              <p:cNvSpPr/>
              <p:nvPr/>
            </p:nvSpPr>
            <p:spPr bwMode="auto">
              <a:xfrm rot="5400000">
                <a:off x="3142465" y="22176669"/>
                <a:ext cx="52776" cy="52776"/>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 name="Oval 44">
                <a:extLst>
                  <a:ext uri="{FF2B5EF4-FFF2-40B4-BE49-F238E27FC236}">
                    <a16:creationId xmlns:a16="http://schemas.microsoft.com/office/drawing/2014/main" id="{396EF380-6389-4501-8DCA-E9D3712DCD4D}"/>
                  </a:ext>
                </a:extLst>
              </p:cNvPr>
              <p:cNvSpPr/>
              <p:nvPr/>
            </p:nvSpPr>
            <p:spPr bwMode="auto">
              <a:xfrm rot="5400000">
                <a:off x="2961657" y="22180197"/>
                <a:ext cx="45720" cy="45720"/>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 name="Oval 45">
                <a:extLst>
                  <a:ext uri="{FF2B5EF4-FFF2-40B4-BE49-F238E27FC236}">
                    <a16:creationId xmlns:a16="http://schemas.microsoft.com/office/drawing/2014/main" id="{76A6E2EE-43DF-47CA-9348-463B9E92CA2A}"/>
                  </a:ext>
                </a:extLst>
              </p:cNvPr>
              <p:cNvSpPr/>
              <p:nvPr/>
            </p:nvSpPr>
            <p:spPr bwMode="auto">
              <a:xfrm rot="5400000">
                <a:off x="2789993" y="22184769"/>
                <a:ext cx="36576" cy="3657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 name="Oval 46">
                <a:extLst>
                  <a:ext uri="{FF2B5EF4-FFF2-40B4-BE49-F238E27FC236}">
                    <a16:creationId xmlns:a16="http://schemas.microsoft.com/office/drawing/2014/main" id="{C9AC7D2D-B21E-42C9-B3D2-CDE6EC53DC1A}"/>
                  </a:ext>
                </a:extLst>
              </p:cNvPr>
              <p:cNvSpPr/>
              <p:nvPr/>
            </p:nvSpPr>
            <p:spPr bwMode="auto">
              <a:xfrm rot="5400000">
                <a:off x="2627473" y="22189341"/>
                <a:ext cx="27432" cy="27432"/>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0" name="Oval 39">
              <a:extLst>
                <a:ext uri="{FF2B5EF4-FFF2-40B4-BE49-F238E27FC236}">
                  <a16:creationId xmlns:a16="http://schemas.microsoft.com/office/drawing/2014/main" id="{6ADDE388-0677-4650-BAA0-AE277354EDB4}"/>
                </a:ext>
              </a:extLst>
            </p:cNvPr>
            <p:cNvSpPr/>
            <p:nvPr/>
          </p:nvSpPr>
          <p:spPr bwMode="auto">
            <a:xfrm>
              <a:off x="3661585" y="22149930"/>
              <a:ext cx="119286" cy="119286"/>
            </a:xfrm>
            <a:prstGeom prst="ellipse">
              <a:avLst/>
            </a:prstGeom>
            <a:noFill/>
            <a:ln w="9525" cap="flat" cmpd="sng" algn="ctr">
              <a:solidFill>
                <a:srgbClr val="00BCF2"/>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 name="Freeform: Shape 40">
              <a:extLst>
                <a:ext uri="{FF2B5EF4-FFF2-40B4-BE49-F238E27FC236}">
                  <a16:creationId xmlns:a16="http://schemas.microsoft.com/office/drawing/2014/main" id="{E12F3564-4A03-4D17-9D28-196005B25E68}"/>
                </a:ext>
              </a:extLst>
            </p:cNvPr>
            <p:cNvSpPr/>
            <p:nvPr/>
          </p:nvSpPr>
          <p:spPr bwMode="auto">
            <a:xfrm rot="7911718">
              <a:off x="3693796" y="22191285"/>
              <a:ext cx="54864" cy="36576"/>
            </a:xfrm>
            <a:custGeom>
              <a:avLst/>
              <a:gdLst>
                <a:gd name="connsiteX0" fmla="*/ 0 w 142568"/>
                <a:gd name="connsiteY0" fmla="*/ 27432 h 91595"/>
                <a:gd name="connsiteX1" fmla="*/ 0 w 142568"/>
                <a:gd name="connsiteY1" fmla="*/ 0 h 91595"/>
                <a:gd name="connsiteX2" fmla="*/ 139147 w 142568"/>
                <a:gd name="connsiteY2" fmla="*/ 0 h 91595"/>
                <a:gd name="connsiteX3" fmla="*/ 139147 w 142568"/>
                <a:gd name="connsiteY3" fmla="*/ 155 h 91595"/>
                <a:gd name="connsiteX4" fmla="*/ 142568 w 142568"/>
                <a:gd name="connsiteY4" fmla="*/ 155 h 91595"/>
                <a:gd name="connsiteX5" fmla="*/ 142568 w 142568"/>
                <a:gd name="connsiteY5" fmla="*/ 91595 h 91595"/>
                <a:gd name="connsiteX6" fmla="*/ 115136 w 142568"/>
                <a:gd name="connsiteY6" fmla="*/ 91595 h 91595"/>
                <a:gd name="connsiteX7" fmla="*/ 115136 w 142568"/>
                <a:gd name="connsiteY7" fmla="*/ 27432 h 9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568" h="91595">
                  <a:moveTo>
                    <a:pt x="0" y="27432"/>
                  </a:moveTo>
                  <a:lnTo>
                    <a:pt x="0" y="0"/>
                  </a:lnTo>
                  <a:lnTo>
                    <a:pt x="139147" y="0"/>
                  </a:lnTo>
                  <a:lnTo>
                    <a:pt x="139147" y="155"/>
                  </a:lnTo>
                  <a:lnTo>
                    <a:pt x="142568" y="155"/>
                  </a:lnTo>
                  <a:lnTo>
                    <a:pt x="142568" y="91595"/>
                  </a:lnTo>
                  <a:lnTo>
                    <a:pt x="115136" y="91595"/>
                  </a:lnTo>
                  <a:lnTo>
                    <a:pt x="115136" y="27432"/>
                  </a:lnTo>
                  <a:close/>
                </a:path>
              </a:pathLst>
            </a:cu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14" name="Group 113">
            <a:extLst>
              <a:ext uri="{FF2B5EF4-FFF2-40B4-BE49-F238E27FC236}">
                <a16:creationId xmlns:a16="http://schemas.microsoft.com/office/drawing/2014/main" id="{CDBCF2DA-FD31-4302-9306-62F831CE6F18}"/>
              </a:ext>
            </a:extLst>
          </p:cNvPr>
          <p:cNvGrpSpPr/>
          <p:nvPr/>
        </p:nvGrpSpPr>
        <p:grpSpPr>
          <a:xfrm>
            <a:off x="992285" y="1834120"/>
            <a:ext cx="1413268" cy="1309655"/>
            <a:chOff x="992285" y="1839090"/>
            <a:chExt cx="1413268" cy="1309655"/>
          </a:xfrm>
        </p:grpSpPr>
        <p:grpSp>
          <p:nvGrpSpPr>
            <p:cNvPr id="140" name="Group 139">
              <a:extLst>
                <a:ext uri="{FF2B5EF4-FFF2-40B4-BE49-F238E27FC236}">
                  <a16:creationId xmlns:a16="http://schemas.microsoft.com/office/drawing/2014/main" id="{AC4A57A7-E900-4F06-872C-294A8CE07C92}"/>
                </a:ext>
              </a:extLst>
            </p:cNvPr>
            <p:cNvGrpSpPr/>
            <p:nvPr/>
          </p:nvGrpSpPr>
          <p:grpSpPr>
            <a:xfrm>
              <a:off x="992285" y="1839090"/>
              <a:ext cx="1413268" cy="1309655"/>
              <a:chOff x="1012181" y="1875471"/>
              <a:chExt cx="1441607" cy="1335916"/>
            </a:xfrm>
            <a:solidFill>
              <a:schemeClr val="tx2"/>
            </a:solidFill>
          </p:grpSpPr>
          <p:sp>
            <p:nvSpPr>
              <p:cNvPr id="59" name="Hexagon 58">
                <a:extLst>
                  <a:ext uri="{FF2B5EF4-FFF2-40B4-BE49-F238E27FC236}">
                    <a16:creationId xmlns:a16="http://schemas.microsoft.com/office/drawing/2014/main" id="{301DA072-28EE-48D9-9984-6A3D52C8BDA0}"/>
                  </a:ext>
                </a:extLst>
              </p:cNvPr>
              <p:cNvSpPr/>
              <p:nvPr/>
            </p:nvSpPr>
            <p:spPr bwMode="auto">
              <a:xfrm rot="5400000">
                <a:off x="1246107" y="2713450"/>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0" name="Hexagon 59">
                <a:extLst>
                  <a:ext uri="{FF2B5EF4-FFF2-40B4-BE49-F238E27FC236}">
                    <a16:creationId xmlns:a16="http://schemas.microsoft.com/office/drawing/2014/main" id="{C1B1E746-744E-48F6-B338-366210827107}"/>
                  </a:ext>
                </a:extLst>
              </p:cNvPr>
              <p:cNvSpPr/>
              <p:nvPr/>
            </p:nvSpPr>
            <p:spPr bwMode="auto">
              <a:xfrm rot="5400000">
                <a:off x="1495575" y="2713450"/>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1" name="Hexagon 60">
                <a:extLst>
                  <a:ext uri="{FF2B5EF4-FFF2-40B4-BE49-F238E27FC236}">
                    <a16:creationId xmlns:a16="http://schemas.microsoft.com/office/drawing/2014/main" id="{F1A7E285-E58D-4FCC-82F5-E41F215FF4C9}"/>
                  </a:ext>
                </a:extLst>
              </p:cNvPr>
              <p:cNvSpPr/>
              <p:nvPr/>
            </p:nvSpPr>
            <p:spPr bwMode="auto">
              <a:xfrm rot="5400000">
                <a:off x="1745042" y="2713450"/>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2" name="Hexagon 61">
                <a:extLst>
                  <a:ext uri="{FF2B5EF4-FFF2-40B4-BE49-F238E27FC236}">
                    <a16:creationId xmlns:a16="http://schemas.microsoft.com/office/drawing/2014/main" id="{97BA204E-581F-46CE-8DBE-2903804E6B38}"/>
                  </a:ext>
                </a:extLst>
              </p:cNvPr>
              <p:cNvSpPr/>
              <p:nvPr/>
            </p:nvSpPr>
            <p:spPr bwMode="auto">
              <a:xfrm rot="5400000">
                <a:off x="1994509" y="2713450"/>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3" name="Hexagon 62">
                <a:extLst>
                  <a:ext uri="{FF2B5EF4-FFF2-40B4-BE49-F238E27FC236}">
                    <a16:creationId xmlns:a16="http://schemas.microsoft.com/office/drawing/2014/main" id="{2964BD8F-A103-4019-9805-259C550CE51F}"/>
                  </a:ext>
                </a:extLst>
              </p:cNvPr>
              <p:cNvSpPr/>
              <p:nvPr/>
            </p:nvSpPr>
            <p:spPr bwMode="auto">
              <a:xfrm rot="5400000">
                <a:off x="1246107" y="2433761"/>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4" name="Hexagon 63">
                <a:extLst>
                  <a:ext uri="{FF2B5EF4-FFF2-40B4-BE49-F238E27FC236}">
                    <a16:creationId xmlns:a16="http://schemas.microsoft.com/office/drawing/2014/main" id="{0CF7B81E-2ED5-4B92-A06D-8E225A22BC7F}"/>
                  </a:ext>
                </a:extLst>
              </p:cNvPr>
              <p:cNvSpPr/>
              <p:nvPr/>
            </p:nvSpPr>
            <p:spPr bwMode="auto">
              <a:xfrm rot="5400000">
                <a:off x="1495575" y="2433761"/>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5" name="Hexagon 64">
                <a:extLst>
                  <a:ext uri="{FF2B5EF4-FFF2-40B4-BE49-F238E27FC236}">
                    <a16:creationId xmlns:a16="http://schemas.microsoft.com/office/drawing/2014/main" id="{B67DAE89-C892-4F5D-9ACC-A0280C91E9DD}"/>
                  </a:ext>
                </a:extLst>
              </p:cNvPr>
              <p:cNvSpPr/>
              <p:nvPr/>
            </p:nvSpPr>
            <p:spPr bwMode="auto">
              <a:xfrm rot="5400000">
                <a:off x="1745042" y="2433761"/>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6" name="Hexagon 65">
                <a:extLst>
                  <a:ext uri="{FF2B5EF4-FFF2-40B4-BE49-F238E27FC236}">
                    <a16:creationId xmlns:a16="http://schemas.microsoft.com/office/drawing/2014/main" id="{F449BC44-EA0E-4A15-8526-77CE311D397E}"/>
                  </a:ext>
                </a:extLst>
              </p:cNvPr>
              <p:cNvSpPr/>
              <p:nvPr/>
            </p:nvSpPr>
            <p:spPr bwMode="auto">
              <a:xfrm rot="5400000">
                <a:off x="1994509" y="2433761"/>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7" name="Hexagon 66">
                <a:extLst>
                  <a:ext uri="{FF2B5EF4-FFF2-40B4-BE49-F238E27FC236}">
                    <a16:creationId xmlns:a16="http://schemas.microsoft.com/office/drawing/2014/main" id="{157DA167-3D90-4B15-9A90-765B331EB5F7}"/>
                  </a:ext>
                </a:extLst>
              </p:cNvPr>
              <p:cNvSpPr/>
              <p:nvPr/>
            </p:nvSpPr>
            <p:spPr bwMode="auto">
              <a:xfrm rot="5400000">
                <a:off x="1246107" y="2163293"/>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8" name="Hexagon 67">
                <a:extLst>
                  <a:ext uri="{FF2B5EF4-FFF2-40B4-BE49-F238E27FC236}">
                    <a16:creationId xmlns:a16="http://schemas.microsoft.com/office/drawing/2014/main" id="{D6E4E3B2-0B16-415A-8081-3108AC20471F}"/>
                  </a:ext>
                </a:extLst>
              </p:cNvPr>
              <p:cNvSpPr/>
              <p:nvPr/>
            </p:nvSpPr>
            <p:spPr bwMode="auto">
              <a:xfrm rot="5400000">
                <a:off x="1495575" y="216329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9" name="Hexagon 68">
                <a:extLst>
                  <a:ext uri="{FF2B5EF4-FFF2-40B4-BE49-F238E27FC236}">
                    <a16:creationId xmlns:a16="http://schemas.microsoft.com/office/drawing/2014/main" id="{A7E4EA34-2562-4B9D-9370-DAAE44856E87}"/>
                  </a:ext>
                </a:extLst>
              </p:cNvPr>
              <p:cNvSpPr/>
              <p:nvPr/>
            </p:nvSpPr>
            <p:spPr bwMode="auto">
              <a:xfrm rot="5400000">
                <a:off x="1745042" y="216329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0" name="Hexagon 69">
                <a:extLst>
                  <a:ext uri="{FF2B5EF4-FFF2-40B4-BE49-F238E27FC236}">
                    <a16:creationId xmlns:a16="http://schemas.microsoft.com/office/drawing/2014/main" id="{E25E3379-636B-409E-B6D3-F1778FA974A7}"/>
                  </a:ext>
                </a:extLst>
              </p:cNvPr>
              <p:cNvSpPr/>
              <p:nvPr/>
            </p:nvSpPr>
            <p:spPr bwMode="auto">
              <a:xfrm rot="5400000">
                <a:off x="1994509" y="216329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1" name="Hexagon 70">
                <a:extLst>
                  <a:ext uri="{FF2B5EF4-FFF2-40B4-BE49-F238E27FC236}">
                    <a16:creationId xmlns:a16="http://schemas.microsoft.com/office/drawing/2014/main" id="{77CC90DA-53E6-4DBA-9A3D-6810CA531C11}"/>
                  </a:ext>
                </a:extLst>
              </p:cNvPr>
              <p:cNvSpPr/>
              <p:nvPr/>
            </p:nvSpPr>
            <p:spPr bwMode="auto">
              <a:xfrm rot="5400000">
                <a:off x="1246107" y="189352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2" name="Hexagon 71">
                <a:extLst>
                  <a:ext uri="{FF2B5EF4-FFF2-40B4-BE49-F238E27FC236}">
                    <a16:creationId xmlns:a16="http://schemas.microsoft.com/office/drawing/2014/main" id="{BE79D25C-EC95-4B1A-9F13-E0BC6A612910}"/>
                  </a:ext>
                </a:extLst>
              </p:cNvPr>
              <p:cNvSpPr/>
              <p:nvPr/>
            </p:nvSpPr>
            <p:spPr bwMode="auto">
              <a:xfrm rot="5400000">
                <a:off x="1495575" y="189352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3" name="Hexagon 72">
                <a:extLst>
                  <a:ext uri="{FF2B5EF4-FFF2-40B4-BE49-F238E27FC236}">
                    <a16:creationId xmlns:a16="http://schemas.microsoft.com/office/drawing/2014/main" id="{443C61AE-EE91-46A8-AB4D-EE1204AEFBC3}"/>
                  </a:ext>
                </a:extLst>
              </p:cNvPr>
              <p:cNvSpPr/>
              <p:nvPr/>
            </p:nvSpPr>
            <p:spPr bwMode="auto">
              <a:xfrm rot="5400000">
                <a:off x="1745042" y="189352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4" name="Hexagon 73">
                <a:extLst>
                  <a:ext uri="{FF2B5EF4-FFF2-40B4-BE49-F238E27FC236}">
                    <a16:creationId xmlns:a16="http://schemas.microsoft.com/office/drawing/2014/main" id="{8DC4011D-BA54-4BBF-9BAE-9464C6E68FE8}"/>
                  </a:ext>
                </a:extLst>
              </p:cNvPr>
              <p:cNvSpPr/>
              <p:nvPr/>
            </p:nvSpPr>
            <p:spPr bwMode="auto">
              <a:xfrm rot="5400000">
                <a:off x="1994509" y="189352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5" name="Hexagon 74">
                <a:extLst>
                  <a:ext uri="{FF2B5EF4-FFF2-40B4-BE49-F238E27FC236}">
                    <a16:creationId xmlns:a16="http://schemas.microsoft.com/office/drawing/2014/main" id="{2A98ED1C-BC57-4224-9576-5191BFD90AEB}"/>
                  </a:ext>
                </a:extLst>
              </p:cNvPr>
              <p:cNvSpPr/>
              <p:nvPr/>
            </p:nvSpPr>
            <p:spPr bwMode="auto">
              <a:xfrm rot="5400000">
                <a:off x="996640" y="1891017"/>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6" name="Hexagon 75">
                <a:extLst>
                  <a:ext uri="{FF2B5EF4-FFF2-40B4-BE49-F238E27FC236}">
                    <a16:creationId xmlns:a16="http://schemas.microsoft.com/office/drawing/2014/main" id="{1B862729-437C-4C2B-AA8E-B522AEF2646E}"/>
                  </a:ext>
                </a:extLst>
              </p:cNvPr>
              <p:cNvSpPr/>
              <p:nvPr/>
            </p:nvSpPr>
            <p:spPr bwMode="auto">
              <a:xfrm rot="5400000">
                <a:off x="2243975" y="1891013"/>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7" name="Hexagon 76">
                <a:extLst>
                  <a:ext uri="{FF2B5EF4-FFF2-40B4-BE49-F238E27FC236}">
                    <a16:creationId xmlns:a16="http://schemas.microsoft.com/office/drawing/2014/main" id="{4BACE5B4-FE64-41B9-A43A-4ED61601DA64}"/>
                  </a:ext>
                </a:extLst>
              </p:cNvPr>
              <p:cNvSpPr/>
              <p:nvPr/>
            </p:nvSpPr>
            <p:spPr bwMode="auto">
              <a:xfrm rot="5400000">
                <a:off x="996640" y="2160755"/>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8" name="Hexagon 77">
                <a:extLst>
                  <a:ext uri="{FF2B5EF4-FFF2-40B4-BE49-F238E27FC236}">
                    <a16:creationId xmlns:a16="http://schemas.microsoft.com/office/drawing/2014/main" id="{905D2B73-A7F2-4C24-8924-1E64819E701A}"/>
                  </a:ext>
                </a:extLst>
              </p:cNvPr>
              <p:cNvSpPr/>
              <p:nvPr/>
            </p:nvSpPr>
            <p:spPr bwMode="auto">
              <a:xfrm rot="5400000">
                <a:off x="996640" y="2437244"/>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9" name="Hexagon 78">
                <a:extLst>
                  <a:ext uri="{FF2B5EF4-FFF2-40B4-BE49-F238E27FC236}">
                    <a16:creationId xmlns:a16="http://schemas.microsoft.com/office/drawing/2014/main" id="{46BAEFF7-11FF-4DA8-B982-513B9B3FE539}"/>
                  </a:ext>
                </a:extLst>
              </p:cNvPr>
              <p:cNvSpPr/>
              <p:nvPr/>
            </p:nvSpPr>
            <p:spPr bwMode="auto">
              <a:xfrm rot="5400000">
                <a:off x="996640" y="2713734"/>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0" name="Hexagon 79">
                <a:extLst>
                  <a:ext uri="{FF2B5EF4-FFF2-40B4-BE49-F238E27FC236}">
                    <a16:creationId xmlns:a16="http://schemas.microsoft.com/office/drawing/2014/main" id="{F94FB778-0C04-4B06-B42A-31B2AC438A8B}"/>
                  </a:ext>
                </a:extLst>
              </p:cNvPr>
              <p:cNvSpPr/>
              <p:nvPr/>
            </p:nvSpPr>
            <p:spPr bwMode="auto">
              <a:xfrm rot="5400000">
                <a:off x="2243975" y="2160755"/>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1" name="Hexagon 80">
                <a:extLst>
                  <a:ext uri="{FF2B5EF4-FFF2-40B4-BE49-F238E27FC236}">
                    <a16:creationId xmlns:a16="http://schemas.microsoft.com/office/drawing/2014/main" id="{6BFF4B9C-1E26-4DDC-B8B6-4573493DE23F}"/>
                  </a:ext>
                </a:extLst>
              </p:cNvPr>
              <p:cNvSpPr/>
              <p:nvPr/>
            </p:nvSpPr>
            <p:spPr bwMode="auto">
              <a:xfrm rot="5400000">
                <a:off x="2243975" y="2437244"/>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2" name="Hexagon 81">
                <a:extLst>
                  <a:ext uri="{FF2B5EF4-FFF2-40B4-BE49-F238E27FC236}">
                    <a16:creationId xmlns:a16="http://schemas.microsoft.com/office/drawing/2014/main" id="{22CE1FBA-0084-4BC0-AE35-ED2D5728CE0F}"/>
                  </a:ext>
                </a:extLst>
              </p:cNvPr>
              <p:cNvSpPr/>
              <p:nvPr/>
            </p:nvSpPr>
            <p:spPr bwMode="auto">
              <a:xfrm rot="5400000">
                <a:off x="2243975" y="2713734"/>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3" name="Hexagon 82">
                <a:extLst>
                  <a:ext uri="{FF2B5EF4-FFF2-40B4-BE49-F238E27FC236}">
                    <a16:creationId xmlns:a16="http://schemas.microsoft.com/office/drawing/2014/main" id="{92F89CDF-FF17-4CEF-83DF-51FE2733F831}"/>
                  </a:ext>
                </a:extLst>
              </p:cNvPr>
              <p:cNvSpPr/>
              <p:nvPr/>
            </p:nvSpPr>
            <p:spPr bwMode="auto">
              <a:xfrm rot="5400000">
                <a:off x="996639" y="3001572"/>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4" name="Hexagon 83">
                <a:extLst>
                  <a:ext uri="{FF2B5EF4-FFF2-40B4-BE49-F238E27FC236}">
                    <a16:creationId xmlns:a16="http://schemas.microsoft.com/office/drawing/2014/main" id="{B629C0B0-7266-4B69-906D-7033C392B045}"/>
                  </a:ext>
                </a:extLst>
              </p:cNvPr>
              <p:cNvSpPr/>
              <p:nvPr/>
            </p:nvSpPr>
            <p:spPr bwMode="auto">
              <a:xfrm rot="5400000">
                <a:off x="2243974" y="3001572"/>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5" name="Hexagon 84">
                <a:extLst>
                  <a:ext uri="{FF2B5EF4-FFF2-40B4-BE49-F238E27FC236}">
                    <a16:creationId xmlns:a16="http://schemas.microsoft.com/office/drawing/2014/main" id="{726C428A-D042-450C-9EB2-BDC7E09B6067}"/>
                  </a:ext>
                </a:extLst>
              </p:cNvPr>
              <p:cNvSpPr/>
              <p:nvPr/>
            </p:nvSpPr>
            <p:spPr bwMode="auto">
              <a:xfrm rot="5400000">
                <a:off x="1246106" y="3001572"/>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6" name="Hexagon 85">
                <a:extLst>
                  <a:ext uri="{FF2B5EF4-FFF2-40B4-BE49-F238E27FC236}">
                    <a16:creationId xmlns:a16="http://schemas.microsoft.com/office/drawing/2014/main" id="{5B05F8D6-126B-45E6-8672-6AEDFB31F594}"/>
                  </a:ext>
                </a:extLst>
              </p:cNvPr>
              <p:cNvSpPr/>
              <p:nvPr/>
            </p:nvSpPr>
            <p:spPr bwMode="auto">
              <a:xfrm rot="5400000">
                <a:off x="1495574" y="3001574"/>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7" name="Hexagon 86">
                <a:extLst>
                  <a:ext uri="{FF2B5EF4-FFF2-40B4-BE49-F238E27FC236}">
                    <a16:creationId xmlns:a16="http://schemas.microsoft.com/office/drawing/2014/main" id="{B70FF7C6-0191-4289-A94B-0676D0159C8B}"/>
                  </a:ext>
                </a:extLst>
              </p:cNvPr>
              <p:cNvSpPr/>
              <p:nvPr/>
            </p:nvSpPr>
            <p:spPr bwMode="auto">
              <a:xfrm rot="5400000">
                <a:off x="1745041" y="300157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8" name="Hexagon 87">
                <a:extLst>
                  <a:ext uri="{FF2B5EF4-FFF2-40B4-BE49-F238E27FC236}">
                    <a16:creationId xmlns:a16="http://schemas.microsoft.com/office/drawing/2014/main" id="{23CCBBCF-50F2-40C2-99C5-30F4C49C2B09}"/>
                  </a:ext>
                </a:extLst>
              </p:cNvPr>
              <p:cNvSpPr/>
              <p:nvPr/>
            </p:nvSpPr>
            <p:spPr bwMode="auto">
              <a:xfrm rot="5400000">
                <a:off x="1994509" y="3001567"/>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139" name="Group 138">
              <a:extLst>
                <a:ext uri="{FF2B5EF4-FFF2-40B4-BE49-F238E27FC236}">
                  <a16:creationId xmlns:a16="http://schemas.microsoft.com/office/drawing/2014/main" id="{A85FBF78-8605-4E8B-AB97-36A98D7DD15E}"/>
                </a:ext>
              </a:extLst>
            </p:cNvPr>
            <p:cNvGrpSpPr/>
            <p:nvPr/>
          </p:nvGrpSpPr>
          <p:grpSpPr>
            <a:xfrm>
              <a:off x="1114166" y="1979032"/>
              <a:ext cx="1169506" cy="1029771"/>
              <a:chOff x="1143125" y="1983458"/>
              <a:chExt cx="1192957" cy="1050420"/>
            </a:xfrm>
          </p:grpSpPr>
          <p:grpSp>
            <p:nvGrpSpPr>
              <p:cNvPr id="89" name="Group 88">
                <a:extLst>
                  <a:ext uri="{FF2B5EF4-FFF2-40B4-BE49-F238E27FC236}">
                    <a16:creationId xmlns:a16="http://schemas.microsoft.com/office/drawing/2014/main" id="{B948F78E-DFCA-4CF2-8B10-F3AF3B7E48A0}"/>
                  </a:ext>
                </a:extLst>
              </p:cNvPr>
              <p:cNvGrpSpPr/>
              <p:nvPr/>
            </p:nvGrpSpPr>
            <p:grpSpPr>
              <a:xfrm>
                <a:off x="1262080" y="2113675"/>
                <a:ext cx="940915" cy="836555"/>
                <a:chOff x="496931" y="22279968"/>
                <a:chExt cx="1082402" cy="962349"/>
              </a:xfrm>
            </p:grpSpPr>
            <p:sp>
              <p:nvSpPr>
                <p:cNvPr id="122" name="Rectangle 121">
                  <a:extLst>
                    <a:ext uri="{FF2B5EF4-FFF2-40B4-BE49-F238E27FC236}">
                      <a16:creationId xmlns:a16="http://schemas.microsoft.com/office/drawing/2014/main" id="{E6EEE0B5-3939-4172-A74E-5AF4D1D5629D}"/>
                    </a:ext>
                  </a:extLst>
                </p:cNvPr>
                <p:cNvSpPr/>
                <p:nvPr/>
              </p:nvSpPr>
              <p:spPr bwMode="auto">
                <a:xfrm>
                  <a:off x="638812" y="22443702"/>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3" name="Rectangle 122">
                  <a:extLst>
                    <a:ext uri="{FF2B5EF4-FFF2-40B4-BE49-F238E27FC236}">
                      <a16:creationId xmlns:a16="http://schemas.microsoft.com/office/drawing/2014/main" id="{E46E3E03-3B1C-4B02-B911-78AE4F768629}"/>
                    </a:ext>
                  </a:extLst>
                </p:cNvPr>
                <p:cNvSpPr/>
                <p:nvPr/>
              </p:nvSpPr>
              <p:spPr bwMode="auto">
                <a:xfrm>
                  <a:off x="638812"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4" name="Rectangle 123">
                  <a:extLst>
                    <a:ext uri="{FF2B5EF4-FFF2-40B4-BE49-F238E27FC236}">
                      <a16:creationId xmlns:a16="http://schemas.microsoft.com/office/drawing/2014/main" id="{C94E26FE-E67B-48DD-8854-CEBCEAA113DD}"/>
                    </a:ext>
                  </a:extLst>
                </p:cNvPr>
                <p:cNvSpPr/>
                <p:nvPr/>
              </p:nvSpPr>
              <p:spPr bwMode="auto">
                <a:xfrm>
                  <a:off x="1104165"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5" name="Rectangle 124">
                  <a:extLst>
                    <a:ext uri="{FF2B5EF4-FFF2-40B4-BE49-F238E27FC236}">
                      <a16:creationId xmlns:a16="http://schemas.microsoft.com/office/drawing/2014/main" id="{39FAD672-78A6-46D5-A318-71CC61097BF7}"/>
                    </a:ext>
                  </a:extLst>
                </p:cNvPr>
                <p:cNvSpPr/>
                <p:nvPr/>
              </p:nvSpPr>
              <p:spPr bwMode="auto">
                <a:xfrm>
                  <a:off x="1104165" y="22439799"/>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26" name="Group 125">
                  <a:extLst>
                    <a:ext uri="{FF2B5EF4-FFF2-40B4-BE49-F238E27FC236}">
                      <a16:creationId xmlns:a16="http://schemas.microsoft.com/office/drawing/2014/main" id="{BB436DF4-5FCF-4683-A5D4-E2F3D51B85C7}"/>
                    </a:ext>
                  </a:extLst>
                </p:cNvPr>
                <p:cNvGrpSpPr/>
                <p:nvPr/>
              </p:nvGrpSpPr>
              <p:grpSpPr>
                <a:xfrm>
                  <a:off x="496931" y="22279968"/>
                  <a:ext cx="1082402" cy="962349"/>
                  <a:chOff x="496931" y="22279968"/>
                  <a:chExt cx="1082402" cy="962349"/>
                </a:xfrm>
              </p:grpSpPr>
              <p:sp>
                <p:nvSpPr>
                  <p:cNvPr id="127" name="Hexagon 126">
                    <a:extLst>
                      <a:ext uri="{FF2B5EF4-FFF2-40B4-BE49-F238E27FC236}">
                        <a16:creationId xmlns:a16="http://schemas.microsoft.com/office/drawing/2014/main" id="{35F5B003-9D30-4180-B9AA-EE95D5E0DB35}"/>
                      </a:ext>
                    </a:extLst>
                  </p:cNvPr>
                  <p:cNvSpPr/>
                  <p:nvPr/>
                </p:nvSpPr>
                <p:spPr bwMode="auto">
                  <a:xfrm rot="5400000">
                    <a:off x="813077" y="22563259"/>
                    <a:ext cx="450110" cy="388024"/>
                  </a:xfrm>
                  <a:prstGeom prst="hexagon">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8" name="Hexagon 127">
                    <a:extLst>
                      <a:ext uri="{FF2B5EF4-FFF2-40B4-BE49-F238E27FC236}">
                        <a16:creationId xmlns:a16="http://schemas.microsoft.com/office/drawing/2014/main" id="{48E45F1F-A177-424A-8AF6-5D115C598A90}"/>
                      </a:ext>
                    </a:extLst>
                  </p:cNvPr>
                  <p:cNvSpPr/>
                  <p:nvPr/>
                </p:nvSpPr>
                <p:spPr bwMode="auto">
                  <a:xfrm rot="5400000">
                    <a:off x="1280803"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9" name="Hexagon 128">
                    <a:extLst>
                      <a:ext uri="{FF2B5EF4-FFF2-40B4-BE49-F238E27FC236}">
                        <a16:creationId xmlns:a16="http://schemas.microsoft.com/office/drawing/2014/main" id="{92461B76-DCCA-4A98-9B5A-12BA8CCA0DD2}"/>
                      </a:ext>
                    </a:extLst>
                  </p:cNvPr>
                  <p:cNvSpPr/>
                  <p:nvPr/>
                </p:nvSpPr>
                <p:spPr bwMode="auto">
                  <a:xfrm rot="5400000">
                    <a:off x="1280803"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0" name="Hexagon 129">
                    <a:extLst>
                      <a:ext uri="{FF2B5EF4-FFF2-40B4-BE49-F238E27FC236}">
                        <a16:creationId xmlns:a16="http://schemas.microsoft.com/office/drawing/2014/main" id="{A838893B-EF3C-4BDA-B149-D88D80098020}"/>
                      </a:ext>
                    </a:extLst>
                  </p:cNvPr>
                  <p:cNvSpPr/>
                  <p:nvPr/>
                </p:nvSpPr>
                <p:spPr bwMode="auto">
                  <a:xfrm rot="5400000">
                    <a:off x="474817"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1" name="Hexagon 130">
                    <a:extLst>
                      <a:ext uri="{FF2B5EF4-FFF2-40B4-BE49-F238E27FC236}">
                        <a16:creationId xmlns:a16="http://schemas.microsoft.com/office/drawing/2014/main" id="{B16C22C2-0EF6-4142-9D68-EADD12BCBAE4}"/>
                      </a:ext>
                    </a:extLst>
                  </p:cNvPr>
                  <p:cNvSpPr/>
                  <p:nvPr/>
                </p:nvSpPr>
                <p:spPr bwMode="auto">
                  <a:xfrm rot="5400000">
                    <a:off x="474817"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nvGrpSpPr>
              <p:cNvPr id="138" name="Group 137">
                <a:extLst>
                  <a:ext uri="{FF2B5EF4-FFF2-40B4-BE49-F238E27FC236}">
                    <a16:creationId xmlns:a16="http://schemas.microsoft.com/office/drawing/2014/main" id="{74209EA0-8384-4FC6-98D8-8012AB9A9947}"/>
                  </a:ext>
                </a:extLst>
              </p:cNvPr>
              <p:cNvGrpSpPr/>
              <p:nvPr/>
            </p:nvGrpSpPr>
            <p:grpSpPr>
              <a:xfrm>
                <a:off x="1143125" y="1983458"/>
                <a:ext cx="1192957" cy="1050420"/>
                <a:chOff x="1143125" y="1983458"/>
                <a:chExt cx="1192957" cy="1050420"/>
              </a:xfrm>
            </p:grpSpPr>
            <p:grpSp>
              <p:nvGrpSpPr>
                <p:cNvPr id="3" name="Group 2">
                  <a:extLst>
                    <a:ext uri="{FF2B5EF4-FFF2-40B4-BE49-F238E27FC236}">
                      <a16:creationId xmlns:a16="http://schemas.microsoft.com/office/drawing/2014/main" id="{404444D4-D147-4E6F-9683-EE8E70072CEA}"/>
                    </a:ext>
                  </a:extLst>
                </p:cNvPr>
                <p:cNvGrpSpPr/>
                <p:nvPr/>
              </p:nvGrpSpPr>
              <p:grpSpPr>
                <a:xfrm>
                  <a:off x="1143125" y="1998811"/>
                  <a:ext cx="70150" cy="1005876"/>
                  <a:chOff x="1143125" y="1998811"/>
                  <a:chExt cx="70150" cy="1005876"/>
                </a:xfrm>
              </p:grpSpPr>
              <p:sp>
                <p:nvSpPr>
                  <p:cNvPr id="90" name="Oval 89">
                    <a:extLst>
                      <a:ext uri="{FF2B5EF4-FFF2-40B4-BE49-F238E27FC236}">
                        <a16:creationId xmlns:a16="http://schemas.microsoft.com/office/drawing/2014/main" id="{3CF1587D-75CE-478C-8653-F0E459FCCF2F}"/>
                      </a:ext>
                    </a:extLst>
                  </p:cNvPr>
                  <p:cNvSpPr/>
                  <p:nvPr/>
                </p:nvSpPr>
                <p:spPr bwMode="auto">
                  <a:xfrm>
                    <a:off x="1143125" y="1998811"/>
                    <a:ext cx="70150" cy="7015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 name="Oval 90">
                    <a:extLst>
                      <a:ext uri="{FF2B5EF4-FFF2-40B4-BE49-F238E27FC236}">
                        <a16:creationId xmlns:a16="http://schemas.microsoft.com/office/drawing/2014/main" id="{E436F79B-3A71-4678-A111-E59E5DAA3941}"/>
                      </a:ext>
                    </a:extLst>
                  </p:cNvPr>
                  <p:cNvSpPr/>
                  <p:nvPr/>
                </p:nvSpPr>
                <p:spPr bwMode="auto">
                  <a:xfrm>
                    <a:off x="1150865" y="2165458"/>
                    <a:ext cx="54669" cy="54669"/>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 name="Oval 91">
                    <a:extLst>
                      <a:ext uri="{FF2B5EF4-FFF2-40B4-BE49-F238E27FC236}">
                        <a16:creationId xmlns:a16="http://schemas.microsoft.com/office/drawing/2014/main" id="{EE2CCAF2-DDAE-4981-BA9B-DDF31DD85714}"/>
                      </a:ext>
                    </a:extLst>
                  </p:cNvPr>
                  <p:cNvSpPr/>
                  <p:nvPr/>
                </p:nvSpPr>
                <p:spPr bwMode="auto">
                  <a:xfrm>
                    <a:off x="1153991" y="2316624"/>
                    <a:ext cx="48414" cy="4841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 name="Oval 92">
                    <a:extLst>
                      <a:ext uri="{FF2B5EF4-FFF2-40B4-BE49-F238E27FC236}">
                        <a16:creationId xmlns:a16="http://schemas.microsoft.com/office/drawing/2014/main" id="{DA7CDAFA-5429-4B0C-B263-33850E75E733}"/>
                      </a:ext>
                    </a:extLst>
                  </p:cNvPr>
                  <p:cNvSpPr/>
                  <p:nvPr/>
                </p:nvSpPr>
                <p:spPr bwMode="auto">
                  <a:xfrm>
                    <a:off x="1155261" y="2461536"/>
                    <a:ext cx="45877" cy="45877"/>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 name="Oval 93">
                    <a:extLst>
                      <a:ext uri="{FF2B5EF4-FFF2-40B4-BE49-F238E27FC236}">
                        <a16:creationId xmlns:a16="http://schemas.microsoft.com/office/drawing/2014/main" id="{26C01D28-8A51-49CA-A9F3-A9F86224477E}"/>
                      </a:ext>
                    </a:extLst>
                  </p:cNvPr>
                  <p:cNvSpPr/>
                  <p:nvPr/>
                </p:nvSpPr>
                <p:spPr bwMode="auto">
                  <a:xfrm>
                    <a:off x="1158327" y="2603911"/>
                    <a:ext cx="39744" cy="39744"/>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 name="Oval 94">
                    <a:extLst>
                      <a:ext uri="{FF2B5EF4-FFF2-40B4-BE49-F238E27FC236}">
                        <a16:creationId xmlns:a16="http://schemas.microsoft.com/office/drawing/2014/main" id="{78470EC7-0F64-4FF2-B40A-A00F4C191C84}"/>
                      </a:ext>
                    </a:extLst>
                  </p:cNvPr>
                  <p:cNvSpPr/>
                  <p:nvPr/>
                </p:nvSpPr>
                <p:spPr bwMode="auto">
                  <a:xfrm>
                    <a:off x="1162303" y="2740152"/>
                    <a:ext cx="31795" cy="31795"/>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 name="Oval 95">
                    <a:extLst>
                      <a:ext uri="{FF2B5EF4-FFF2-40B4-BE49-F238E27FC236}">
                        <a16:creationId xmlns:a16="http://schemas.microsoft.com/office/drawing/2014/main" id="{1D430E06-F2B0-4B4F-B839-116C08C94062}"/>
                      </a:ext>
                    </a:extLst>
                  </p:cNvPr>
                  <p:cNvSpPr/>
                  <p:nvPr/>
                </p:nvSpPr>
                <p:spPr bwMode="auto">
                  <a:xfrm>
                    <a:off x="1166275" y="2868445"/>
                    <a:ext cx="23846" cy="23846"/>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 name="Oval 96">
                    <a:extLst>
                      <a:ext uri="{FF2B5EF4-FFF2-40B4-BE49-F238E27FC236}">
                        <a16:creationId xmlns:a16="http://schemas.microsoft.com/office/drawing/2014/main" id="{9CB8C65C-EBA2-4813-B934-94E06AB5FCF1}"/>
                      </a:ext>
                    </a:extLst>
                  </p:cNvPr>
                  <p:cNvSpPr/>
                  <p:nvPr/>
                </p:nvSpPr>
                <p:spPr bwMode="auto">
                  <a:xfrm>
                    <a:off x="1170251" y="2988790"/>
                    <a:ext cx="15897" cy="1589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32" name="Group 131">
                  <a:extLst>
                    <a:ext uri="{FF2B5EF4-FFF2-40B4-BE49-F238E27FC236}">
                      <a16:creationId xmlns:a16="http://schemas.microsoft.com/office/drawing/2014/main" id="{E0BF9B9A-595E-4068-B57B-74F028521321}"/>
                    </a:ext>
                  </a:extLst>
                </p:cNvPr>
                <p:cNvGrpSpPr/>
                <p:nvPr/>
              </p:nvGrpSpPr>
              <p:grpSpPr>
                <a:xfrm>
                  <a:off x="1303579" y="2963728"/>
                  <a:ext cx="1019075" cy="70150"/>
                  <a:chOff x="1303579" y="2963728"/>
                  <a:chExt cx="1019075" cy="70150"/>
                </a:xfrm>
              </p:grpSpPr>
              <p:sp>
                <p:nvSpPr>
                  <p:cNvPr id="98" name="Oval 97">
                    <a:extLst>
                      <a:ext uri="{FF2B5EF4-FFF2-40B4-BE49-F238E27FC236}">
                        <a16:creationId xmlns:a16="http://schemas.microsoft.com/office/drawing/2014/main" id="{AAACC09F-7CE9-4C7F-A35E-3497B68922D5}"/>
                      </a:ext>
                    </a:extLst>
                  </p:cNvPr>
                  <p:cNvSpPr/>
                  <p:nvPr/>
                </p:nvSpPr>
                <p:spPr bwMode="auto">
                  <a:xfrm flipV="1">
                    <a:off x="2252504" y="2963728"/>
                    <a:ext cx="70150" cy="7015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 name="Oval 104">
                    <a:extLst>
                      <a:ext uri="{FF2B5EF4-FFF2-40B4-BE49-F238E27FC236}">
                        <a16:creationId xmlns:a16="http://schemas.microsoft.com/office/drawing/2014/main" id="{42B1A46D-CFDD-41F9-A725-E585D38A042F}"/>
                      </a:ext>
                    </a:extLst>
                  </p:cNvPr>
                  <p:cNvSpPr/>
                  <p:nvPr/>
                </p:nvSpPr>
                <p:spPr bwMode="auto">
                  <a:xfrm rot="5400000">
                    <a:off x="2080403" y="2969457"/>
                    <a:ext cx="54669" cy="54669"/>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 name="Oval 105">
                    <a:extLst>
                      <a:ext uri="{FF2B5EF4-FFF2-40B4-BE49-F238E27FC236}">
                        <a16:creationId xmlns:a16="http://schemas.microsoft.com/office/drawing/2014/main" id="{8AAD7CF4-A1E4-4F4F-A192-E160124ACBE7}"/>
                      </a:ext>
                    </a:extLst>
                  </p:cNvPr>
                  <p:cNvSpPr/>
                  <p:nvPr/>
                </p:nvSpPr>
                <p:spPr bwMode="auto">
                  <a:xfrm rot="5400000">
                    <a:off x="1914560" y="2972588"/>
                    <a:ext cx="48414" cy="4841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 name="Oval 106">
                    <a:extLst>
                      <a:ext uri="{FF2B5EF4-FFF2-40B4-BE49-F238E27FC236}">
                        <a16:creationId xmlns:a16="http://schemas.microsoft.com/office/drawing/2014/main" id="{D0379720-7BD7-4F3B-B262-8DA6048EB656}"/>
                      </a:ext>
                    </a:extLst>
                  </p:cNvPr>
                  <p:cNvSpPr/>
                  <p:nvPr/>
                </p:nvSpPr>
                <p:spPr bwMode="auto">
                  <a:xfrm rot="5400000">
                    <a:off x="1751253" y="2973860"/>
                    <a:ext cx="45877" cy="45877"/>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 name="Oval 107">
                    <a:extLst>
                      <a:ext uri="{FF2B5EF4-FFF2-40B4-BE49-F238E27FC236}">
                        <a16:creationId xmlns:a16="http://schemas.microsoft.com/office/drawing/2014/main" id="{50504B57-3F79-492F-8F91-9554F4F1BD7B}"/>
                      </a:ext>
                    </a:extLst>
                  </p:cNvPr>
                  <p:cNvSpPr/>
                  <p:nvPr/>
                </p:nvSpPr>
                <p:spPr bwMode="auto">
                  <a:xfrm rot="5400000">
                    <a:off x="1594078" y="2976934"/>
                    <a:ext cx="39744" cy="39744"/>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 name="Oval 108">
                    <a:extLst>
                      <a:ext uri="{FF2B5EF4-FFF2-40B4-BE49-F238E27FC236}">
                        <a16:creationId xmlns:a16="http://schemas.microsoft.com/office/drawing/2014/main" id="{5EF40C6D-9BCB-4738-AF9A-3C9DEE2A5F2A}"/>
                      </a:ext>
                    </a:extLst>
                  </p:cNvPr>
                  <p:cNvSpPr/>
                  <p:nvPr/>
                </p:nvSpPr>
                <p:spPr bwMode="auto">
                  <a:xfrm rot="5400000">
                    <a:off x="1444854" y="2980917"/>
                    <a:ext cx="31795" cy="31795"/>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 name="Oval 109">
                    <a:extLst>
                      <a:ext uri="{FF2B5EF4-FFF2-40B4-BE49-F238E27FC236}">
                        <a16:creationId xmlns:a16="http://schemas.microsoft.com/office/drawing/2014/main" id="{11B910B4-487E-4710-A6C4-3FE55DD81A2A}"/>
                      </a:ext>
                    </a:extLst>
                  </p:cNvPr>
                  <p:cNvSpPr/>
                  <p:nvPr/>
                </p:nvSpPr>
                <p:spPr bwMode="auto">
                  <a:xfrm rot="5400000">
                    <a:off x="1303579" y="2984893"/>
                    <a:ext cx="23846" cy="23846"/>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11" name="Group 110">
                  <a:extLst>
                    <a:ext uri="{FF2B5EF4-FFF2-40B4-BE49-F238E27FC236}">
                      <a16:creationId xmlns:a16="http://schemas.microsoft.com/office/drawing/2014/main" id="{2E00BEE3-E981-4B34-B889-028EFD56783F}"/>
                    </a:ext>
                  </a:extLst>
                </p:cNvPr>
                <p:cNvGrpSpPr/>
                <p:nvPr/>
              </p:nvGrpSpPr>
              <p:grpSpPr>
                <a:xfrm flipH="1">
                  <a:off x="1333440" y="2006253"/>
                  <a:ext cx="831495" cy="54669"/>
                  <a:chOff x="2627473" y="22171612"/>
                  <a:chExt cx="956528" cy="62890"/>
                </a:xfrm>
              </p:grpSpPr>
              <p:sp>
                <p:nvSpPr>
                  <p:cNvPr id="116" name="Oval 115">
                    <a:extLst>
                      <a:ext uri="{FF2B5EF4-FFF2-40B4-BE49-F238E27FC236}">
                        <a16:creationId xmlns:a16="http://schemas.microsoft.com/office/drawing/2014/main" id="{B8C2BA20-AFB9-4857-AB0E-A8DEB4921C4F}"/>
                      </a:ext>
                    </a:extLst>
                  </p:cNvPr>
                  <p:cNvSpPr/>
                  <p:nvPr/>
                </p:nvSpPr>
                <p:spPr bwMode="auto">
                  <a:xfrm rot="5400000">
                    <a:off x="3521111" y="22171612"/>
                    <a:ext cx="62890" cy="6289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7" name="Oval 116">
                    <a:extLst>
                      <a:ext uri="{FF2B5EF4-FFF2-40B4-BE49-F238E27FC236}">
                        <a16:creationId xmlns:a16="http://schemas.microsoft.com/office/drawing/2014/main" id="{1EEBFC91-9342-492B-B813-0186361FF456}"/>
                      </a:ext>
                    </a:extLst>
                  </p:cNvPr>
                  <p:cNvSpPr/>
                  <p:nvPr/>
                </p:nvSpPr>
                <p:spPr bwMode="auto">
                  <a:xfrm rot="5400000">
                    <a:off x="3330329" y="22175210"/>
                    <a:ext cx="55694" cy="5569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8" name="Oval 117">
                    <a:extLst>
                      <a:ext uri="{FF2B5EF4-FFF2-40B4-BE49-F238E27FC236}">
                        <a16:creationId xmlns:a16="http://schemas.microsoft.com/office/drawing/2014/main" id="{376538FF-A741-418A-A5D2-7B774535A837}"/>
                      </a:ext>
                    </a:extLst>
                  </p:cNvPr>
                  <p:cNvSpPr/>
                  <p:nvPr/>
                </p:nvSpPr>
                <p:spPr bwMode="auto">
                  <a:xfrm rot="5400000">
                    <a:off x="3142465" y="22176669"/>
                    <a:ext cx="52776" cy="52776"/>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9" name="Oval 118">
                    <a:extLst>
                      <a:ext uri="{FF2B5EF4-FFF2-40B4-BE49-F238E27FC236}">
                        <a16:creationId xmlns:a16="http://schemas.microsoft.com/office/drawing/2014/main" id="{DF3AD699-8DB4-4F2E-8DC9-8E09DEAAD577}"/>
                      </a:ext>
                    </a:extLst>
                  </p:cNvPr>
                  <p:cNvSpPr/>
                  <p:nvPr/>
                </p:nvSpPr>
                <p:spPr bwMode="auto">
                  <a:xfrm rot="5400000">
                    <a:off x="2961657" y="22180197"/>
                    <a:ext cx="45720" cy="45720"/>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0" name="Oval 119">
                    <a:extLst>
                      <a:ext uri="{FF2B5EF4-FFF2-40B4-BE49-F238E27FC236}">
                        <a16:creationId xmlns:a16="http://schemas.microsoft.com/office/drawing/2014/main" id="{A21938F2-DE12-4BDC-858B-AFE948F1D7F1}"/>
                      </a:ext>
                    </a:extLst>
                  </p:cNvPr>
                  <p:cNvSpPr/>
                  <p:nvPr/>
                </p:nvSpPr>
                <p:spPr bwMode="auto">
                  <a:xfrm rot="5400000">
                    <a:off x="2789993" y="22184769"/>
                    <a:ext cx="36576" cy="3657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1" name="Oval 120">
                    <a:extLst>
                      <a:ext uri="{FF2B5EF4-FFF2-40B4-BE49-F238E27FC236}">
                        <a16:creationId xmlns:a16="http://schemas.microsoft.com/office/drawing/2014/main" id="{9B2960DC-F313-4F19-AD14-36A7B933CEC1}"/>
                      </a:ext>
                    </a:extLst>
                  </p:cNvPr>
                  <p:cNvSpPr/>
                  <p:nvPr/>
                </p:nvSpPr>
                <p:spPr bwMode="auto">
                  <a:xfrm rot="5400000">
                    <a:off x="2627473" y="22189341"/>
                    <a:ext cx="27432" cy="27432"/>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37" name="Group 136">
                  <a:extLst>
                    <a:ext uri="{FF2B5EF4-FFF2-40B4-BE49-F238E27FC236}">
                      <a16:creationId xmlns:a16="http://schemas.microsoft.com/office/drawing/2014/main" id="{88D8BF50-41C0-4409-93E6-915F726051D6}"/>
                    </a:ext>
                  </a:extLst>
                </p:cNvPr>
                <p:cNvGrpSpPr/>
                <p:nvPr/>
              </p:nvGrpSpPr>
              <p:grpSpPr>
                <a:xfrm>
                  <a:off x="2232389" y="1983458"/>
                  <a:ext cx="103693" cy="858871"/>
                  <a:chOff x="2232389" y="1983458"/>
                  <a:chExt cx="103693" cy="858871"/>
                </a:xfrm>
              </p:grpSpPr>
              <p:sp>
                <p:nvSpPr>
                  <p:cNvPr id="99" name="Oval 98">
                    <a:extLst>
                      <a:ext uri="{FF2B5EF4-FFF2-40B4-BE49-F238E27FC236}">
                        <a16:creationId xmlns:a16="http://schemas.microsoft.com/office/drawing/2014/main" id="{37289C49-5000-47B5-844F-FFB6606FB933}"/>
                      </a:ext>
                    </a:extLst>
                  </p:cNvPr>
                  <p:cNvSpPr/>
                  <p:nvPr/>
                </p:nvSpPr>
                <p:spPr bwMode="auto">
                  <a:xfrm flipV="1">
                    <a:off x="2260245" y="2787660"/>
                    <a:ext cx="54669" cy="54669"/>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 name="Oval 99">
                    <a:extLst>
                      <a:ext uri="{FF2B5EF4-FFF2-40B4-BE49-F238E27FC236}">
                        <a16:creationId xmlns:a16="http://schemas.microsoft.com/office/drawing/2014/main" id="{A6E9F944-A333-4C05-94D7-39F6D5B87F2B}"/>
                      </a:ext>
                    </a:extLst>
                  </p:cNvPr>
                  <p:cNvSpPr/>
                  <p:nvPr/>
                </p:nvSpPr>
                <p:spPr bwMode="auto">
                  <a:xfrm flipV="1">
                    <a:off x="2263372" y="2647045"/>
                    <a:ext cx="48414" cy="4841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 name="Oval 100">
                    <a:extLst>
                      <a:ext uri="{FF2B5EF4-FFF2-40B4-BE49-F238E27FC236}">
                        <a16:creationId xmlns:a16="http://schemas.microsoft.com/office/drawing/2014/main" id="{1C9B7D88-5738-4395-B697-463979A68921}"/>
                      </a:ext>
                    </a:extLst>
                  </p:cNvPr>
                  <p:cNvSpPr/>
                  <p:nvPr/>
                </p:nvSpPr>
                <p:spPr bwMode="auto">
                  <a:xfrm flipV="1">
                    <a:off x="2264641" y="2508966"/>
                    <a:ext cx="45877" cy="45877"/>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 name="Oval 101">
                    <a:extLst>
                      <a:ext uri="{FF2B5EF4-FFF2-40B4-BE49-F238E27FC236}">
                        <a16:creationId xmlns:a16="http://schemas.microsoft.com/office/drawing/2014/main" id="{0B810A00-A281-4341-84CC-09802C4D3418}"/>
                      </a:ext>
                    </a:extLst>
                  </p:cNvPr>
                  <p:cNvSpPr/>
                  <p:nvPr/>
                </p:nvSpPr>
                <p:spPr bwMode="auto">
                  <a:xfrm flipV="1">
                    <a:off x="2267707" y="2377021"/>
                    <a:ext cx="39744" cy="3974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 name="Oval 102">
                    <a:extLst>
                      <a:ext uri="{FF2B5EF4-FFF2-40B4-BE49-F238E27FC236}">
                        <a16:creationId xmlns:a16="http://schemas.microsoft.com/office/drawing/2014/main" id="{406165D7-CBF1-4D34-8719-C5D3BC951EF6}"/>
                      </a:ext>
                    </a:extLst>
                  </p:cNvPr>
                  <p:cNvSpPr/>
                  <p:nvPr/>
                </p:nvSpPr>
                <p:spPr bwMode="auto">
                  <a:xfrm flipV="1">
                    <a:off x="2271681" y="2253024"/>
                    <a:ext cx="31795" cy="31795"/>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 name="Oval 103">
                    <a:extLst>
                      <a:ext uri="{FF2B5EF4-FFF2-40B4-BE49-F238E27FC236}">
                        <a16:creationId xmlns:a16="http://schemas.microsoft.com/office/drawing/2014/main" id="{50B43002-9A51-490F-98C1-53EAFE079A2B}"/>
                      </a:ext>
                    </a:extLst>
                  </p:cNvPr>
                  <p:cNvSpPr/>
                  <p:nvPr/>
                </p:nvSpPr>
                <p:spPr bwMode="auto">
                  <a:xfrm flipV="1">
                    <a:off x="2275656" y="2136976"/>
                    <a:ext cx="23846" cy="23846"/>
                  </a:xfrm>
                  <a:prstGeom prst="ellipse">
                    <a:avLst/>
                  </a:prstGeom>
                  <a:solidFill>
                    <a:srgbClr val="00BCF2">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 name="Oval 111">
                    <a:extLst>
                      <a:ext uri="{FF2B5EF4-FFF2-40B4-BE49-F238E27FC236}">
                        <a16:creationId xmlns:a16="http://schemas.microsoft.com/office/drawing/2014/main" id="{9B69903C-BE92-4682-A802-BF1B4C6AA117}"/>
                      </a:ext>
                    </a:extLst>
                  </p:cNvPr>
                  <p:cNvSpPr/>
                  <p:nvPr/>
                </p:nvSpPr>
                <p:spPr bwMode="auto">
                  <a:xfrm>
                    <a:off x="2232389" y="1983458"/>
                    <a:ext cx="103693" cy="103693"/>
                  </a:xfrm>
                  <a:prstGeom prst="ellipse">
                    <a:avLst/>
                  </a:prstGeom>
                  <a:noFill/>
                  <a:ln w="9525" cap="flat" cmpd="sng" algn="ctr">
                    <a:solidFill>
                      <a:srgbClr val="00BCF2"/>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 name="Freeform: Shape 112">
                    <a:extLst>
                      <a:ext uri="{FF2B5EF4-FFF2-40B4-BE49-F238E27FC236}">
                        <a16:creationId xmlns:a16="http://schemas.microsoft.com/office/drawing/2014/main" id="{BAC1B8E8-6AE1-4CE7-BDFD-EC10BBF60665}"/>
                      </a:ext>
                    </a:extLst>
                  </p:cNvPr>
                  <p:cNvSpPr/>
                  <p:nvPr/>
                </p:nvSpPr>
                <p:spPr bwMode="auto">
                  <a:xfrm rot="7911718">
                    <a:off x="2260397" y="2019233"/>
                    <a:ext cx="47692" cy="31795"/>
                  </a:xfrm>
                  <a:custGeom>
                    <a:avLst/>
                    <a:gdLst>
                      <a:gd name="connsiteX0" fmla="*/ 0 w 142568"/>
                      <a:gd name="connsiteY0" fmla="*/ 27432 h 91595"/>
                      <a:gd name="connsiteX1" fmla="*/ 0 w 142568"/>
                      <a:gd name="connsiteY1" fmla="*/ 0 h 91595"/>
                      <a:gd name="connsiteX2" fmla="*/ 139147 w 142568"/>
                      <a:gd name="connsiteY2" fmla="*/ 0 h 91595"/>
                      <a:gd name="connsiteX3" fmla="*/ 139147 w 142568"/>
                      <a:gd name="connsiteY3" fmla="*/ 155 h 91595"/>
                      <a:gd name="connsiteX4" fmla="*/ 142568 w 142568"/>
                      <a:gd name="connsiteY4" fmla="*/ 155 h 91595"/>
                      <a:gd name="connsiteX5" fmla="*/ 142568 w 142568"/>
                      <a:gd name="connsiteY5" fmla="*/ 91595 h 91595"/>
                      <a:gd name="connsiteX6" fmla="*/ 115136 w 142568"/>
                      <a:gd name="connsiteY6" fmla="*/ 91595 h 91595"/>
                      <a:gd name="connsiteX7" fmla="*/ 115136 w 142568"/>
                      <a:gd name="connsiteY7" fmla="*/ 27432 h 9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568" h="91595">
                        <a:moveTo>
                          <a:pt x="0" y="27432"/>
                        </a:moveTo>
                        <a:lnTo>
                          <a:pt x="0" y="0"/>
                        </a:lnTo>
                        <a:lnTo>
                          <a:pt x="139147" y="0"/>
                        </a:lnTo>
                        <a:lnTo>
                          <a:pt x="139147" y="155"/>
                        </a:lnTo>
                        <a:lnTo>
                          <a:pt x="142568" y="155"/>
                        </a:lnTo>
                        <a:lnTo>
                          <a:pt x="142568" y="91595"/>
                        </a:lnTo>
                        <a:lnTo>
                          <a:pt x="115136" y="91595"/>
                        </a:lnTo>
                        <a:lnTo>
                          <a:pt x="115136" y="27432"/>
                        </a:lnTo>
                        <a:close/>
                      </a:path>
                    </a:pathLst>
                  </a:cu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grpSp>
      <p:grpSp>
        <p:nvGrpSpPr>
          <p:cNvPr id="148" name="Group 147">
            <a:extLst>
              <a:ext uri="{FF2B5EF4-FFF2-40B4-BE49-F238E27FC236}">
                <a16:creationId xmlns:a16="http://schemas.microsoft.com/office/drawing/2014/main" id="{619C2A6D-A005-46E0-A9D6-A9EB67767316}"/>
              </a:ext>
            </a:extLst>
          </p:cNvPr>
          <p:cNvGrpSpPr/>
          <p:nvPr/>
        </p:nvGrpSpPr>
        <p:grpSpPr>
          <a:xfrm flipH="1">
            <a:off x="10624456" y="4640305"/>
            <a:ext cx="3885145" cy="2602323"/>
            <a:chOff x="485776" y="12163427"/>
            <a:chExt cx="5884863" cy="3941763"/>
          </a:xfrm>
        </p:grpSpPr>
        <p:sp>
          <p:nvSpPr>
            <p:cNvPr id="182" name="Freeform 5">
              <a:extLst>
                <a:ext uri="{FF2B5EF4-FFF2-40B4-BE49-F238E27FC236}">
                  <a16:creationId xmlns:a16="http://schemas.microsoft.com/office/drawing/2014/main" id="{96E309B0-F48A-45AF-ABA0-C113A61557B3}"/>
                </a:ext>
              </a:extLst>
            </p:cNvPr>
            <p:cNvSpPr>
              <a:spLocks/>
            </p:cNvSpPr>
            <p:nvPr/>
          </p:nvSpPr>
          <p:spPr bwMode="auto">
            <a:xfrm>
              <a:off x="485776" y="13768390"/>
              <a:ext cx="1658938" cy="1911350"/>
            </a:xfrm>
            <a:custGeom>
              <a:avLst/>
              <a:gdLst>
                <a:gd name="T0" fmla="*/ 1045 w 1045"/>
                <a:gd name="T1" fmla="*/ 904 h 1204"/>
                <a:gd name="T2" fmla="*/ 1045 w 1045"/>
                <a:gd name="T3" fmla="*/ 302 h 1204"/>
                <a:gd name="T4" fmla="*/ 523 w 1045"/>
                <a:gd name="T5" fmla="*/ 0 h 1204"/>
                <a:gd name="T6" fmla="*/ 0 w 1045"/>
                <a:gd name="T7" fmla="*/ 302 h 1204"/>
                <a:gd name="T8" fmla="*/ 0 w 1045"/>
                <a:gd name="T9" fmla="*/ 904 h 1204"/>
                <a:gd name="T10" fmla="*/ 523 w 1045"/>
                <a:gd name="T11" fmla="*/ 1204 h 1204"/>
                <a:gd name="T12" fmla="*/ 1045 w 1045"/>
                <a:gd name="T13" fmla="*/ 904 h 1204"/>
              </a:gdLst>
              <a:ahLst/>
              <a:cxnLst>
                <a:cxn ang="0">
                  <a:pos x="T0" y="T1"/>
                </a:cxn>
                <a:cxn ang="0">
                  <a:pos x="T2" y="T3"/>
                </a:cxn>
                <a:cxn ang="0">
                  <a:pos x="T4" y="T5"/>
                </a:cxn>
                <a:cxn ang="0">
                  <a:pos x="T6" y="T7"/>
                </a:cxn>
                <a:cxn ang="0">
                  <a:pos x="T8" y="T9"/>
                </a:cxn>
                <a:cxn ang="0">
                  <a:pos x="T10" y="T11"/>
                </a:cxn>
                <a:cxn ang="0">
                  <a:pos x="T12" y="T13"/>
                </a:cxn>
              </a:cxnLst>
              <a:rect l="0" t="0" r="r" b="b"/>
              <a:pathLst>
                <a:path w="1045" h="1204">
                  <a:moveTo>
                    <a:pt x="1045" y="904"/>
                  </a:moveTo>
                  <a:lnTo>
                    <a:pt x="1045" y="302"/>
                  </a:lnTo>
                  <a:lnTo>
                    <a:pt x="523" y="0"/>
                  </a:lnTo>
                  <a:lnTo>
                    <a:pt x="0" y="302"/>
                  </a:lnTo>
                  <a:lnTo>
                    <a:pt x="0" y="904"/>
                  </a:lnTo>
                  <a:lnTo>
                    <a:pt x="523" y="1204"/>
                  </a:lnTo>
                  <a:lnTo>
                    <a:pt x="1045" y="904"/>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3" name="Line 6">
              <a:extLst>
                <a:ext uri="{FF2B5EF4-FFF2-40B4-BE49-F238E27FC236}">
                  <a16:creationId xmlns:a16="http://schemas.microsoft.com/office/drawing/2014/main" id="{F8C8A414-7A62-4997-A3CD-4EC3C95736BA}"/>
                </a:ext>
              </a:extLst>
            </p:cNvPr>
            <p:cNvSpPr>
              <a:spLocks noChangeShapeType="1"/>
            </p:cNvSpPr>
            <p:nvPr/>
          </p:nvSpPr>
          <p:spPr bwMode="auto">
            <a:xfrm flipV="1">
              <a:off x="485776" y="14247815"/>
              <a:ext cx="1658938" cy="9556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4" name="Line 7">
              <a:extLst>
                <a:ext uri="{FF2B5EF4-FFF2-40B4-BE49-F238E27FC236}">
                  <a16:creationId xmlns:a16="http://schemas.microsoft.com/office/drawing/2014/main" id="{E00CF7D5-D2DA-468F-979C-ED28C39FF942}"/>
                </a:ext>
              </a:extLst>
            </p:cNvPr>
            <p:cNvSpPr>
              <a:spLocks noChangeShapeType="1"/>
            </p:cNvSpPr>
            <p:nvPr/>
          </p:nvSpPr>
          <p:spPr bwMode="auto">
            <a:xfrm flipH="1" flipV="1">
              <a:off x="485776" y="14247815"/>
              <a:ext cx="1658938" cy="9556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5" name="Line 8">
              <a:extLst>
                <a:ext uri="{FF2B5EF4-FFF2-40B4-BE49-F238E27FC236}">
                  <a16:creationId xmlns:a16="http://schemas.microsoft.com/office/drawing/2014/main" id="{3A01694E-DAB0-4A39-8956-D8F98E5CF000}"/>
                </a:ext>
              </a:extLst>
            </p:cNvPr>
            <p:cNvSpPr>
              <a:spLocks noChangeShapeType="1"/>
            </p:cNvSpPr>
            <p:nvPr/>
          </p:nvSpPr>
          <p:spPr bwMode="auto">
            <a:xfrm flipV="1">
              <a:off x="1316039" y="13768390"/>
              <a:ext cx="0" cy="191135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6" name="Freeform 9">
              <a:extLst>
                <a:ext uri="{FF2B5EF4-FFF2-40B4-BE49-F238E27FC236}">
                  <a16:creationId xmlns:a16="http://schemas.microsoft.com/office/drawing/2014/main" id="{0DD4C679-F3EC-4926-8B11-381F7DA1B9C1}"/>
                </a:ext>
              </a:extLst>
            </p:cNvPr>
            <p:cNvSpPr>
              <a:spLocks/>
            </p:cNvSpPr>
            <p:nvPr/>
          </p:nvSpPr>
          <p:spPr bwMode="auto">
            <a:xfrm>
              <a:off x="1512889" y="13403265"/>
              <a:ext cx="1006475" cy="1162050"/>
            </a:xfrm>
            <a:custGeom>
              <a:avLst/>
              <a:gdLst>
                <a:gd name="T0" fmla="*/ 634 w 634"/>
                <a:gd name="T1" fmla="*/ 549 h 732"/>
                <a:gd name="T2" fmla="*/ 634 w 634"/>
                <a:gd name="T3" fmla="*/ 183 h 732"/>
                <a:gd name="T4" fmla="*/ 317 w 634"/>
                <a:gd name="T5" fmla="*/ 0 h 732"/>
                <a:gd name="T6" fmla="*/ 0 w 634"/>
                <a:gd name="T7" fmla="*/ 183 h 732"/>
                <a:gd name="T8" fmla="*/ 0 w 634"/>
                <a:gd name="T9" fmla="*/ 549 h 732"/>
                <a:gd name="T10" fmla="*/ 317 w 634"/>
                <a:gd name="T11" fmla="*/ 732 h 732"/>
                <a:gd name="T12" fmla="*/ 634 w 634"/>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4" h="732">
                  <a:moveTo>
                    <a:pt x="634" y="549"/>
                  </a:moveTo>
                  <a:lnTo>
                    <a:pt x="634" y="183"/>
                  </a:lnTo>
                  <a:lnTo>
                    <a:pt x="317" y="0"/>
                  </a:lnTo>
                  <a:lnTo>
                    <a:pt x="0" y="183"/>
                  </a:lnTo>
                  <a:lnTo>
                    <a:pt x="0" y="549"/>
                  </a:lnTo>
                  <a:lnTo>
                    <a:pt x="317" y="732"/>
                  </a:lnTo>
                  <a:lnTo>
                    <a:pt x="634"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7" name="Line 10">
              <a:extLst>
                <a:ext uri="{FF2B5EF4-FFF2-40B4-BE49-F238E27FC236}">
                  <a16:creationId xmlns:a16="http://schemas.microsoft.com/office/drawing/2014/main" id="{AFEC8E22-42E4-45AE-8852-2EBD1772D09B}"/>
                </a:ext>
              </a:extLst>
            </p:cNvPr>
            <p:cNvSpPr>
              <a:spLocks noChangeShapeType="1"/>
            </p:cNvSpPr>
            <p:nvPr/>
          </p:nvSpPr>
          <p:spPr bwMode="auto">
            <a:xfrm flipV="1">
              <a:off x="1512889" y="13693777"/>
              <a:ext cx="1006475"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8" name="Line 11">
              <a:extLst>
                <a:ext uri="{FF2B5EF4-FFF2-40B4-BE49-F238E27FC236}">
                  <a16:creationId xmlns:a16="http://schemas.microsoft.com/office/drawing/2014/main" id="{1A178DC4-ADA1-4045-8E24-EE3B693EDC27}"/>
                </a:ext>
              </a:extLst>
            </p:cNvPr>
            <p:cNvSpPr>
              <a:spLocks noChangeShapeType="1"/>
            </p:cNvSpPr>
            <p:nvPr/>
          </p:nvSpPr>
          <p:spPr bwMode="auto">
            <a:xfrm flipH="1" flipV="1">
              <a:off x="1512889" y="13693777"/>
              <a:ext cx="1006475"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9" name="Line 12">
              <a:extLst>
                <a:ext uri="{FF2B5EF4-FFF2-40B4-BE49-F238E27FC236}">
                  <a16:creationId xmlns:a16="http://schemas.microsoft.com/office/drawing/2014/main" id="{CE9A3C1E-623F-475B-86F6-686E6362A87E}"/>
                </a:ext>
              </a:extLst>
            </p:cNvPr>
            <p:cNvSpPr>
              <a:spLocks noChangeShapeType="1"/>
            </p:cNvSpPr>
            <p:nvPr/>
          </p:nvSpPr>
          <p:spPr bwMode="auto">
            <a:xfrm flipV="1">
              <a:off x="2016126" y="13403265"/>
              <a:ext cx="0" cy="116205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0" name="Freeform 13">
              <a:extLst>
                <a:ext uri="{FF2B5EF4-FFF2-40B4-BE49-F238E27FC236}">
                  <a16:creationId xmlns:a16="http://schemas.microsoft.com/office/drawing/2014/main" id="{BCF5249B-598F-4F05-ACD5-38FD0CF9D402}"/>
                </a:ext>
              </a:extLst>
            </p:cNvPr>
            <p:cNvSpPr>
              <a:spLocks/>
            </p:cNvSpPr>
            <p:nvPr/>
          </p:nvSpPr>
          <p:spPr bwMode="auto">
            <a:xfrm>
              <a:off x="1703389" y="14851065"/>
              <a:ext cx="1008063" cy="1162050"/>
            </a:xfrm>
            <a:custGeom>
              <a:avLst/>
              <a:gdLst>
                <a:gd name="T0" fmla="*/ 635 w 635"/>
                <a:gd name="T1" fmla="*/ 549 h 732"/>
                <a:gd name="T2" fmla="*/ 635 w 635"/>
                <a:gd name="T3" fmla="*/ 183 h 732"/>
                <a:gd name="T4" fmla="*/ 318 w 635"/>
                <a:gd name="T5" fmla="*/ 0 h 732"/>
                <a:gd name="T6" fmla="*/ 0 w 635"/>
                <a:gd name="T7" fmla="*/ 183 h 732"/>
                <a:gd name="T8" fmla="*/ 0 w 635"/>
                <a:gd name="T9" fmla="*/ 549 h 732"/>
                <a:gd name="T10" fmla="*/ 318 w 635"/>
                <a:gd name="T11" fmla="*/ 732 h 732"/>
                <a:gd name="T12" fmla="*/ 635 w 635"/>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5" h="732">
                  <a:moveTo>
                    <a:pt x="635" y="549"/>
                  </a:moveTo>
                  <a:lnTo>
                    <a:pt x="635" y="183"/>
                  </a:lnTo>
                  <a:lnTo>
                    <a:pt x="318" y="0"/>
                  </a:lnTo>
                  <a:lnTo>
                    <a:pt x="0" y="183"/>
                  </a:lnTo>
                  <a:lnTo>
                    <a:pt x="0" y="549"/>
                  </a:lnTo>
                  <a:lnTo>
                    <a:pt x="318" y="732"/>
                  </a:lnTo>
                  <a:lnTo>
                    <a:pt x="635"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1" name="Line 14">
              <a:extLst>
                <a:ext uri="{FF2B5EF4-FFF2-40B4-BE49-F238E27FC236}">
                  <a16:creationId xmlns:a16="http://schemas.microsoft.com/office/drawing/2014/main" id="{5A23B8F1-487E-4D2F-83EE-B7E882E2882D}"/>
                </a:ext>
              </a:extLst>
            </p:cNvPr>
            <p:cNvSpPr>
              <a:spLocks noChangeShapeType="1"/>
            </p:cNvSpPr>
            <p:nvPr/>
          </p:nvSpPr>
          <p:spPr bwMode="auto">
            <a:xfrm flipV="1">
              <a:off x="1703389" y="15141577"/>
              <a:ext cx="1008063"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2" name="Line 15">
              <a:extLst>
                <a:ext uri="{FF2B5EF4-FFF2-40B4-BE49-F238E27FC236}">
                  <a16:creationId xmlns:a16="http://schemas.microsoft.com/office/drawing/2014/main" id="{9DBBC904-4C33-4809-B7AA-E34BB5E80831}"/>
                </a:ext>
              </a:extLst>
            </p:cNvPr>
            <p:cNvSpPr>
              <a:spLocks noChangeShapeType="1"/>
            </p:cNvSpPr>
            <p:nvPr/>
          </p:nvSpPr>
          <p:spPr bwMode="auto">
            <a:xfrm flipH="1" flipV="1">
              <a:off x="1703389" y="15141577"/>
              <a:ext cx="1008063"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3" name="Line 16">
              <a:extLst>
                <a:ext uri="{FF2B5EF4-FFF2-40B4-BE49-F238E27FC236}">
                  <a16:creationId xmlns:a16="http://schemas.microsoft.com/office/drawing/2014/main" id="{281D80E1-0E59-437F-B129-4F8F6AF7DD7A}"/>
                </a:ext>
              </a:extLst>
            </p:cNvPr>
            <p:cNvSpPr>
              <a:spLocks noChangeShapeType="1"/>
            </p:cNvSpPr>
            <p:nvPr/>
          </p:nvSpPr>
          <p:spPr bwMode="auto">
            <a:xfrm flipV="1">
              <a:off x="2208214" y="14851065"/>
              <a:ext cx="0" cy="116205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4" name="Freeform 17">
              <a:extLst>
                <a:ext uri="{FF2B5EF4-FFF2-40B4-BE49-F238E27FC236}">
                  <a16:creationId xmlns:a16="http://schemas.microsoft.com/office/drawing/2014/main" id="{CF67E5AB-8E20-437E-A45B-CB158E1D4EAF}"/>
                </a:ext>
              </a:extLst>
            </p:cNvPr>
            <p:cNvSpPr>
              <a:spLocks/>
            </p:cNvSpPr>
            <p:nvPr/>
          </p:nvSpPr>
          <p:spPr bwMode="auto">
            <a:xfrm>
              <a:off x="2306639" y="13830302"/>
              <a:ext cx="1366838" cy="1574800"/>
            </a:xfrm>
            <a:custGeom>
              <a:avLst/>
              <a:gdLst>
                <a:gd name="T0" fmla="*/ 861 w 861"/>
                <a:gd name="T1" fmla="*/ 744 h 992"/>
                <a:gd name="T2" fmla="*/ 861 w 861"/>
                <a:gd name="T3" fmla="*/ 248 h 992"/>
                <a:gd name="T4" fmla="*/ 430 w 861"/>
                <a:gd name="T5" fmla="*/ 0 h 992"/>
                <a:gd name="T6" fmla="*/ 0 w 861"/>
                <a:gd name="T7" fmla="*/ 248 h 992"/>
                <a:gd name="T8" fmla="*/ 0 w 861"/>
                <a:gd name="T9" fmla="*/ 744 h 992"/>
                <a:gd name="T10" fmla="*/ 430 w 861"/>
                <a:gd name="T11" fmla="*/ 992 h 992"/>
                <a:gd name="T12" fmla="*/ 861 w 861"/>
                <a:gd name="T13" fmla="*/ 744 h 992"/>
              </a:gdLst>
              <a:ahLst/>
              <a:cxnLst>
                <a:cxn ang="0">
                  <a:pos x="T0" y="T1"/>
                </a:cxn>
                <a:cxn ang="0">
                  <a:pos x="T2" y="T3"/>
                </a:cxn>
                <a:cxn ang="0">
                  <a:pos x="T4" y="T5"/>
                </a:cxn>
                <a:cxn ang="0">
                  <a:pos x="T6" y="T7"/>
                </a:cxn>
                <a:cxn ang="0">
                  <a:pos x="T8" y="T9"/>
                </a:cxn>
                <a:cxn ang="0">
                  <a:pos x="T10" y="T11"/>
                </a:cxn>
                <a:cxn ang="0">
                  <a:pos x="T12" y="T13"/>
                </a:cxn>
              </a:cxnLst>
              <a:rect l="0" t="0" r="r" b="b"/>
              <a:pathLst>
                <a:path w="861" h="992">
                  <a:moveTo>
                    <a:pt x="861" y="744"/>
                  </a:moveTo>
                  <a:lnTo>
                    <a:pt x="861" y="248"/>
                  </a:lnTo>
                  <a:lnTo>
                    <a:pt x="430" y="0"/>
                  </a:lnTo>
                  <a:lnTo>
                    <a:pt x="0" y="248"/>
                  </a:lnTo>
                  <a:lnTo>
                    <a:pt x="0" y="744"/>
                  </a:lnTo>
                  <a:lnTo>
                    <a:pt x="430" y="992"/>
                  </a:lnTo>
                  <a:lnTo>
                    <a:pt x="861" y="744"/>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5" name="Line 18">
              <a:extLst>
                <a:ext uri="{FF2B5EF4-FFF2-40B4-BE49-F238E27FC236}">
                  <a16:creationId xmlns:a16="http://schemas.microsoft.com/office/drawing/2014/main" id="{C7C87988-9EEF-4319-B604-CF392E63AE46}"/>
                </a:ext>
              </a:extLst>
            </p:cNvPr>
            <p:cNvSpPr>
              <a:spLocks noChangeShapeType="1"/>
            </p:cNvSpPr>
            <p:nvPr/>
          </p:nvSpPr>
          <p:spPr bwMode="auto">
            <a:xfrm flipV="1">
              <a:off x="2306639" y="14224002"/>
              <a:ext cx="1366838" cy="78740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6" name="Line 19">
              <a:extLst>
                <a:ext uri="{FF2B5EF4-FFF2-40B4-BE49-F238E27FC236}">
                  <a16:creationId xmlns:a16="http://schemas.microsoft.com/office/drawing/2014/main" id="{B959A213-F66F-46C0-BEEB-DEC9CB569BE3}"/>
                </a:ext>
              </a:extLst>
            </p:cNvPr>
            <p:cNvSpPr>
              <a:spLocks noChangeShapeType="1"/>
            </p:cNvSpPr>
            <p:nvPr/>
          </p:nvSpPr>
          <p:spPr bwMode="auto">
            <a:xfrm flipH="1" flipV="1">
              <a:off x="2306639" y="14224002"/>
              <a:ext cx="1366838" cy="78740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7" name="Line 20">
              <a:extLst>
                <a:ext uri="{FF2B5EF4-FFF2-40B4-BE49-F238E27FC236}">
                  <a16:creationId xmlns:a16="http://schemas.microsoft.com/office/drawing/2014/main" id="{5125C366-9AB6-44FA-8264-70EE2B70CF99}"/>
                </a:ext>
              </a:extLst>
            </p:cNvPr>
            <p:cNvSpPr>
              <a:spLocks noChangeShapeType="1"/>
            </p:cNvSpPr>
            <p:nvPr/>
          </p:nvSpPr>
          <p:spPr bwMode="auto">
            <a:xfrm flipV="1">
              <a:off x="2989264" y="13830302"/>
              <a:ext cx="0" cy="157480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8" name="Freeform 21">
              <a:extLst>
                <a:ext uri="{FF2B5EF4-FFF2-40B4-BE49-F238E27FC236}">
                  <a16:creationId xmlns:a16="http://schemas.microsoft.com/office/drawing/2014/main" id="{A46A23DB-EAD7-438E-8E32-63E393A581B0}"/>
                </a:ext>
              </a:extLst>
            </p:cNvPr>
            <p:cNvSpPr>
              <a:spLocks/>
            </p:cNvSpPr>
            <p:nvPr/>
          </p:nvSpPr>
          <p:spPr bwMode="auto">
            <a:xfrm>
              <a:off x="4000501" y="13792202"/>
              <a:ext cx="2006600" cy="2312988"/>
            </a:xfrm>
            <a:custGeom>
              <a:avLst/>
              <a:gdLst>
                <a:gd name="T0" fmla="*/ 1264 w 1264"/>
                <a:gd name="T1" fmla="*/ 1093 h 1457"/>
                <a:gd name="T2" fmla="*/ 1264 w 1264"/>
                <a:gd name="T3" fmla="*/ 364 h 1457"/>
                <a:gd name="T4" fmla="*/ 632 w 1264"/>
                <a:gd name="T5" fmla="*/ 0 h 1457"/>
                <a:gd name="T6" fmla="*/ 0 w 1264"/>
                <a:gd name="T7" fmla="*/ 364 h 1457"/>
                <a:gd name="T8" fmla="*/ 0 w 1264"/>
                <a:gd name="T9" fmla="*/ 1093 h 1457"/>
                <a:gd name="T10" fmla="*/ 632 w 1264"/>
                <a:gd name="T11" fmla="*/ 1457 h 1457"/>
                <a:gd name="T12" fmla="*/ 1264 w 1264"/>
                <a:gd name="T13" fmla="*/ 1093 h 1457"/>
              </a:gdLst>
              <a:ahLst/>
              <a:cxnLst>
                <a:cxn ang="0">
                  <a:pos x="T0" y="T1"/>
                </a:cxn>
                <a:cxn ang="0">
                  <a:pos x="T2" y="T3"/>
                </a:cxn>
                <a:cxn ang="0">
                  <a:pos x="T4" y="T5"/>
                </a:cxn>
                <a:cxn ang="0">
                  <a:pos x="T6" y="T7"/>
                </a:cxn>
                <a:cxn ang="0">
                  <a:pos x="T8" y="T9"/>
                </a:cxn>
                <a:cxn ang="0">
                  <a:pos x="T10" y="T11"/>
                </a:cxn>
                <a:cxn ang="0">
                  <a:pos x="T12" y="T13"/>
                </a:cxn>
              </a:cxnLst>
              <a:rect l="0" t="0" r="r" b="b"/>
              <a:pathLst>
                <a:path w="1264" h="1457">
                  <a:moveTo>
                    <a:pt x="1264" y="1093"/>
                  </a:moveTo>
                  <a:lnTo>
                    <a:pt x="1264" y="364"/>
                  </a:lnTo>
                  <a:lnTo>
                    <a:pt x="632" y="0"/>
                  </a:lnTo>
                  <a:lnTo>
                    <a:pt x="0" y="364"/>
                  </a:lnTo>
                  <a:lnTo>
                    <a:pt x="0" y="1093"/>
                  </a:lnTo>
                  <a:lnTo>
                    <a:pt x="632" y="1457"/>
                  </a:lnTo>
                  <a:lnTo>
                    <a:pt x="1264" y="1093"/>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9" name="Line 22">
              <a:extLst>
                <a:ext uri="{FF2B5EF4-FFF2-40B4-BE49-F238E27FC236}">
                  <a16:creationId xmlns:a16="http://schemas.microsoft.com/office/drawing/2014/main" id="{E7767D4B-2DAF-461E-A290-B0FEC143D41A}"/>
                </a:ext>
              </a:extLst>
            </p:cNvPr>
            <p:cNvSpPr>
              <a:spLocks noChangeShapeType="1"/>
            </p:cNvSpPr>
            <p:nvPr/>
          </p:nvSpPr>
          <p:spPr bwMode="auto">
            <a:xfrm flipV="1">
              <a:off x="4000501" y="14370052"/>
              <a:ext cx="2006600" cy="115728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0" name="Line 23">
              <a:extLst>
                <a:ext uri="{FF2B5EF4-FFF2-40B4-BE49-F238E27FC236}">
                  <a16:creationId xmlns:a16="http://schemas.microsoft.com/office/drawing/2014/main" id="{D83B9C9E-DB77-4188-90EC-73C42B4C70B0}"/>
                </a:ext>
              </a:extLst>
            </p:cNvPr>
            <p:cNvSpPr>
              <a:spLocks noChangeShapeType="1"/>
            </p:cNvSpPr>
            <p:nvPr/>
          </p:nvSpPr>
          <p:spPr bwMode="auto">
            <a:xfrm flipH="1" flipV="1">
              <a:off x="4000501" y="14370052"/>
              <a:ext cx="2006600" cy="115728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1" name="Line 24">
              <a:extLst>
                <a:ext uri="{FF2B5EF4-FFF2-40B4-BE49-F238E27FC236}">
                  <a16:creationId xmlns:a16="http://schemas.microsoft.com/office/drawing/2014/main" id="{3233A918-3DB1-4088-9066-2685EEE05422}"/>
                </a:ext>
              </a:extLst>
            </p:cNvPr>
            <p:cNvSpPr>
              <a:spLocks noChangeShapeType="1"/>
            </p:cNvSpPr>
            <p:nvPr/>
          </p:nvSpPr>
          <p:spPr bwMode="auto">
            <a:xfrm flipV="1">
              <a:off x="5003801" y="13792202"/>
              <a:ext cx="0" cy="231298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2" name="Freeform 25">
              <a:extLst>
                <a:ext uri="{FF2B5EF4-FFF2-40B4-BE49-F238E27FC236}">
                  <a16:creationId xmlns:a16="http://schemas.microsoft.com/office/drawing/2014/main" id="{F1F8E2C5-A143-4F8F-B939-113258D8335D}"/>
                </a:ext>
              </a:extLst>
            </p:cNvPr>
            <p:cNvSpPr>
              <a:spLocks/>
            </p:cNvSpPr>
            <p:nvPr/>
          </p:nvSpPr>
          <p:spPr bwMode="auto">
            <a:xfrm>
              <a:off x="4362451" y="12163427"/>
              <a:ext cx="2008188" cy="2314575"/>
            </a:xfrm>
            <a:custGeom>
              <a:avLst/>
              <a:gdLst>
                <a:gd name="T0" fmla="*/ 1265 w 1265"/>
                <a:gd name="T1" fmla="*/ 1094 h 1458"/>
                <a:gd name="T2" fmla="*/ 1265 w 1265"/>
                <a:gd name="T3" fmla="*/ 364 h 1458"/>
                <a:gd name="T4" fmla="*/ 633 w 1265"/>
                <a:gd name="T5" fmla="*/ 0 h 1458"/>
                <a:gd name="T6" fmla="*/ 0 w 1265"/>
                <a:gd name="T7" fmla="*/ 364 h 1458"/>
                <a:gd name="T8" fmla="*/ 0 w 1265"/>
                <a:gd name="T9" fmla="*/ 1094 h 1458"/>
                <a:gd name="T10" fmla="*/ 633 w 1265"/>
                <a:gd name="T11" fmla="*/ 1458 h 1458"/>
                <a:gd name="T12" fmla="*/ 1265 w 1265"/>
                <a:gd name="T13" fmla="*/ 1094 h 1458"/>
              </a:gdLst>
              <a:ahLst/>
              <a:cxnLst>
                <a:cxn ang="0">
                  <a:pos x="T0" y="T1"/>
                </a:cxn>
                <a:cxn ang="0">
                  <a:pos x="T2" y="T3"/>
                </a:cxn>
                <a:cxn ang="0">
                  <a:pos x="T4" y="T5"/>
                </a:cxn>
                <a:cxn ang="0">
                  <a:pos x="T6" y="T7"/>
                </a:cxn>
                <a:cxn ang="0">
                  <a:pos x="T8" y="T9"/>
                </a:cxn>
                <a:cxn ang="0">
                  <a:pos x="T10" y="T11"/>
                </a:cxn>
                <a:cxn ang="0">
                  <a:pos x="T12" y="T13"/>
                </a:cxn>
              </a:cxnLst>
              <a:rect l="0" t="0" r="r" b="b"/>
              <a:pathLst>
                <a:path w="1265" h="1458">
                  <a:moveTo>
                    <a:pt x="1265" y="1094"/>
                  </a:moveTo>
                  <a:lnTo>
                    <a:pt x="1265" y="364"/>
                  </a:lnTo>
                  <a:lnTo>
                    <a:pt x="633" y="0"/>
                  </a:lnTo>
                  <a:lnTo>
                    <a:pt x="0" y="364"/>
                  </a:lnTo>
                  <a:lnTo>
                    <a:pt x="0" y="1094"/>
                  </a:lnTo>
                  <a:lnTo>
                    <a:pt x="633" y="1458"/>
                  </a:lnTo>
                  <a:lnTo>
                    <a:pt x="1265" y="1094"/>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3" name="Line 26">
              <a:extLst>
                <a:ext uri="{FF2B5EF4-FFF2-40B4-BE49-F238E27FC236}">
                  <a16:creationId xmlns:a16="http://schemas.microsoft.com/office/drawing/2014/main" id="{8EFDB548-7A97-4D7F-A140-20F195D11007}"/>
                </a:ext>
              </a:extLst>
            </p:cNvPr>
            <p:cNvSpPr>
              <a:spLocks noChangeShapeType="1"/>
            </p:cNvSpPr>
            <p:nvPr/>
          </p:nvSpPr>
          <p:spPr bwMode="auto">
            <a:xfrm flipV="1">
              <a:off x="4362451" y="12741277"/>
              <a:ext cx="2008188" cy="11588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4" name="Line 27">
              <a:extLst>
                <a:ext uri="{FF2B5EF4-FFF2-40B4-BE49-F238E27FC236}">
                  <a16:creationId xmlns:a16="http://schemas.microsoft.com/office/drawing/2014/main" id="{2F201F26-73C0-4E62-A449-DA9BB4192944}"/>
                </a:ext>
              </a:extLst>
            </p:cNvPr>
            <p:cNvSpPr>
              <a:spLocks noChangeShapeType="1"/>
            </p:cNvSpPr>
            <p:nvPr/>
          </p:nvSpPr>
          <p:spPr bwMode="auto">
            <a:xfrm flipH="1" flipV="1">
              <a:off x="4362451" y="12741277"/>
              <a:ext cx="2008188" cy="11588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5" name="Line 28">
              <a:extLst>
                <a:ext uri="{FF2B5EF4-FFF2-40B4-BE49-F238E27FC236}">
                  <a16:creationId xmlns:a16="http://schemas.microsoft.com/office/drawing/2014/main" id="{4583922F-8E82-4634-9338-3A2B4D96EAB8}"/>
                </a:ext>
              </a:extLst>
            </p:cNvPr>
            <p:cNvSpPr>
              <a:spLocks noChangeShapeType="1"/>
            </p:cNvSpPr>
            <p:nvPr/>
          </p:nvSpPr>
          <p:spPr bwMode="auto">
            <a:xfrm flipV="1">
              <a:off x="5367339" y="12163427"/>
              <a:ext cx="0" cy="23145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6" name="Freeform 29">
              <a:extLst>
                <a:ext uri="{FF2B5EF4-FFF2-40B4-BE49-F238E27FC236}">
                  <a16:creationId xmlns:a16="http://schemas.microsoft.com/office/drawing/2014/main" id="{42262F5C-D935-469F-AC3C-27E046704B66}"/>
                </a:ext>
              </a:extLst>
            </p:cNvPr>
            <p:cNvSpPr>
              <a:spLocks/>
            </p:cNvSpPr>
            <p:nvPr/>
          </p:nvSpPr>
          <p:spPr bwMode="auto">
            <a:xfrm>
              <a:off x="3197226" y="14689140"/>
              <a:ext cx="1065213" cy="1228725"/>
            </a:xfrm>
            <a:custGeom>
              <a:avLst/>
              <a:gdLst>
                <a:gd name="T0" fmla="*/ 671 w 671"/>
                <a:gd name="T1" fmla="*/ 581 h 774"/>
                <a:gd name="T2" fmla="*/ 671 w 671"/>
                <a:gd name="T3" fmla="*/ 194 h 774"/>
                <a:gd name="T4" fmla="*/ 335 w 671"/>
                <a:gd name="T5" fmla="*/ 0 h 774"/>
                <a:gd name="T6" fmla="*/ 0 w 671"/>
                <a:gd name="T7" fmla="*/ 194 h 774"/>
                <a:gd name="T8" fmla="*/ 0 w 671"/>
                <a:gd name="T9" fmla="*/ 581 h 774"/>
                <a:gd name="T10" fmla="*/ 335 w 671"/>
                <a:gd name="T11" fmla="*/ 774 h 774"/>
                <a:gd name="T12" fmla="*/ 671 w 671"/>
                <a:gd name="T13" fmla="*/ 581 h 774"/>
              </a:gdLst>
              <a:ahLst/>
              <a:cxnLst>
                <a:cxn ang="0">
                  <a:pos x="T0" y="T1"/>
                </a:cxn>
                <a:cxn ang="0">
                  <a:pos x="T2" y="T3"/>
                </a:cxn>
                <a:cxn ang="0">
                  <a:pos x="T4" y="T5"/>
                </a:cxn>
                <a:cxn ang="0">
                  <a:pos x="T6" y="T7"/>
                </a:cxn>
                <a:cxn ang="0">
                  <a:pos x="T8" y="T9"/>
                </a:cxn>
                <a:cxn ang="0">
                  <a:pos x="T10" y="T11"/>
                </a:cxn>
                <a:cxn ang="0">
                  <a:pos x="T12" y="T13"/>
                </a:cxn>
              </a:cxnLst>
              <a:rect l="0" t="0" r="r" b="b"/>
              <a:pathLst>
                <a:path w="671" h="774">
                  <a:moveTo>
                    <a:pt x="671" y="581"/>
                  </a:moveTo>
                  <a:lnTo>
                    <a:pt x="671" y="194"/>
                  </a:lnTo>
                  <a:lnTo>
                    <a:pt x="335" y="0"/>
                  </a:lnTo>
                  <a:lnTo>
                    <a:pt x="0" y="194"/>
                  </a:lnTo>
                  <a:lnTo>
                    <a:pt x="0" y="581"/>
                  </a:lnTo>
                  <a:lnTo>
                    <a:pt x="335" y="774"/>
                  </a:lnTo>
                  <a:lnTo>
                    <a:pt x="671" y="581"/>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7" name="Line 30">
              <a:extLst>
                <a:ext uri="{FF2B5EF4-FFF2-40B4-BE49-F238E27FC236}">
                  <a16:creationId xmlns:a16="http://schemas.microsoft.com/office/drawing/2014/main" id="{FC764CB8-1629-4949-B17C-CBF7B3B77ECD}"/>
                </a:ext>
              </a:extLst>
            </p:cNvPr>
            <p:cNvSpPr>
              <a:spLocks noChangeShapeType="1"/>
            </p:cNvSpPr>
            <p:nvPr/>
          </p:nvSpPr>
          <p:spPr bwMode="auto">
            <a:xfrm flipV="1">
              <a:off x="3197226" y="14997115"/>
              <a:ext cx="1065213" cy="614363"/>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8" name="Line 31">
              <a:extLst>
                <a:ext uri="{FF2B5EF4-FFF2-40B4-BE49-F238E27FC236}">
                  <a16:creationId xmlns:a16="http://schemas.microsoft.com/office/drawing/2014/main" id="{5488E0DE-C789-404A-8470-345D20D72E50}"/>
                </a:ext>
              </a:extLst>
            </p:cNvPr>
            <p:cNvSpPr>
              <a:spLocks noChangeShapeType="1"/>
            </p:cNvSpPr>
            <p:nvPr/>
          </p:nvSpPr>
          <p:spPr bwMode="auto">
            <a:xfrm flipH="1" flipV="1">
              <a:off x="3197226" y="14997115"/>
              <a:ext cx="1065213" cy="614363"/>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9" name="Line 32">
              <a:extLst>
                <a:ext uri="{FF2B5EF4-FFF2-40B4-BE49-F238E27FC236}">
                  <a16:creationId xmlns:a16="http://schemas.microsoft.com/office/drawing/2014/main" id="{3B1A7631-C5D2-4AD2-8326-2E3D6BE5A6CF}"/>
                </a:ext>
              </a:extLst>
            </p:cNvPr>
            <p:cNvSpPr>
              <a:spLocks noChangeShapeType="1"/>
            </p:cNvSpPr>
            <p:nvPr/>
          </p:nvSpPr>
          <p:spPr bwMode="auto">
            <a:xfrm flipV="1">
              <a:off x="3729039" y="14689140"/>
              <a:ext cx="0" cy="12287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0" name="Freeform 33">
              <a:extLst>
                <a:ext uri="{FF2B5EF4-FFF2-40B4-BE49-F238E27FC236}">
                  <a16:creationId xmlns:a16="http://schemas.microsoft.com/office/drawing/2014/main" id="{75C39377-5697-461D-8487-CCD793C70A01}"/>
                </a:ext>
              </a:extLst>
            </p:cNvPr>
            <p:cNvSpPr>
              <a:spLocks/>
            </p:cNvSpPr>
            <p:nvPr/>
          </p:nvSpPr>
          <p:spPr bwMode="auto">
            <a:xfrm>
              <a:off x="3230564" y="13009565"/>
              <a:ext cx="1316038" cy="1519238"/>
            </a:xfrm>
            <a:custGeom>
              <a:avLst/>
              <a:gdLst>
                <a:gd name="T0" fmla="*/ 829 w 829"/>
                <a:gd name="T1" fmla="*/ 718 h 957"/>
                <a:gd name="T2" fmla="*/ 829 w 829"/>
                <a:gd name="T3" fmla="*/ 240 h 957"/>
                <a:gd name="T4" fmla="*/ 414 w 829"/>
                <a:gd name="T5" fmla="*/ 0 h 957"/>
                <a:gd name="T6" fmla="*/ 0 w 829"/>
                <a:gd name="T7" fmla="*/ 240 h 957"/>
                <a:gd name="T8" fmla="*/ 0 w 829"/>
                <a:gd name="T9" fmla="*/ 718 h 957"/>
                <a:gd name="T10" fmla="*/ 414 w 829"/>
                <a:gd name="T11" fmla="*/ 957 h 957"/>
                <a:gd name="T12" fmla="*/ 829 w 829"/>
                <a:gd name="T13" fmla="*/ 718 h 957"/>
              </a:gdLst>
              <a:ahLst/>
              <a:cxnLst>
                <a:cxn ang="0">
                  <a:pos x="T0" y="T1"/>
                </a:cxn>
                <a:cxn ang="0">
                  <a:pos x="T2" y="T3"/>
                </a:cxn>
                <a:cxn ang="0">
                  <a:pos x="T4" y="T5"/>
                </a:cxn>
                <a:cxn ang="0">
                  <a:pos x="T6" y="T7"/>
                </a:cxn>
                <a:cxn ang="0">
                  <a:pos x="T8" y="T9"/>
                </a:cxn>
                <a:cxn ang="0">
                  <a:pos x="T10" y="T11"/>
                </a:cxn>
                <a:cxn ang="0">
                  <a:pos x="T12" y="T13"/>
                </a:cxn>
              </a:cxnLst>
              <a:rect l="0" t="0" r="r" b="b"/>
              <a:pathLst>
                <a:path w="829" h="957">
                  <a:moveTo>
                    <a:pt x="829" y="718"/>
                  </a:moveTo>
                  <a:lnTo>
                    <a:pt x="829" y="240"/>
                  </a:lnTo>
                  <a:lnTo>
                    <a:pt x="414" y="0"/>
                  </a:lnTo>
                  <a:lnTo>
                    <a:pt x="0" y="240"/>
                  </a:lnTo>
                  <a:lnTo>
                    <a:pt x="0" y="718"/>
                  </a:lnTo>
                  <a:lnTo>
                    <a:pt x="414" y="957"/>
                  </a:lnTo>
                  <a:lnTo>
                    <a:pt x="829" y="718"/>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1" name="Line 34">
              <a:extLst>
                <a:ext uri="{FF2B5EF4-FFF2-40B4-BE49-F238E27FC236}">
                  <a16:creationId xmlns:a16="http://schemas.microsoft.com/office/drawing/2014/main" id="{43CD76B6-152E-45D7-8FAE-F4B6355829B0}"/>
                </a:ext>
              </a:extLst>
            </p:cNvPr>
            <p:cNvSpPr>
              <a:spLocks noChangeShapeType="1"/>
            </p:cNvSpPr>
            <p:nvPr/>
          </p:nvSpPr>
          <p:spPr bwMode="auto">
            <a:xfrm flipV="1">
              <a:off x="3230564" y="13390565"/>
              <a:ext cx="1316038" cy="7588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2" name="Line 35">
              <a:extLst>
                <a:ext uri="{FF2B5EF4-FFF2-40B4-BE49-F238E27FC236}">
                  <a16:creationId xmlns:a16="http://schemas.microsoft.com/office/drawing/2014/main" id="{E2044F5D-7E05-4C22-8B30-40C2830D4CD4}"/>
                </a:ext>
              </a:extLst>
            </p:cNvPr>
            <p:cNvSpPr>
              <a:spLocks noChangeShapeType="1"/>
            </p:cNvSpPr>
            <p:nvPr/>
          </p:nvSpPr>
          <p:spPr bwMode="auto">
            <a:xfrm flipH="1" flipV="1">
              <a:off x="3230564" y="13390565"/>
              <a:ext cx="1316038" cy="7588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3" name="Line 36">
              <a:extLst>
                <a:ext uri="{FF2B5EF4-FFF2-40B4-BE49-F238E27FC236}">
                  <a16:creationId xmlns:a16="http://schemas.microsoft.com/office/drawing/2014/main" id="{DC2294AB-C3E6-48CA-A6A0-595D04DFA42F}"/>
                </a:ext>
              </a:extLst>
            </p:cNvPr>
            <p:cNvSpPr>
              <a:spLocks noChangeShapeType="1"/>
            </p:cNvSpPr>
            <p:nvPr/>
          </p:nvSpPr>
          <p:spPr bwMode="auto">
            <a:xfrm flipV="1">
              <a:off x="3887789" y="13009565"/>
              <a:ext cx="0" cy="151923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49" name="Group 148">
            <a:extLst>
              <a:ext uri="{FF2B5EF4-FFF2-40B4-BE49-F238E27FC236}">
                <a16:creationId xmlns:a16="http://schemas.microsoft.com/office/drawing/2014/main" id="{585AC0F9-9231-43F9-8FEC-7BEA9687DF03}"/>
              </a:ext>
            </a:extLst>
          </p:cNvPr>
          <p:cNvGrpSpPr/>
          <p:nvPr/>
        </p:nvGrpSpPr>
        <p:grpSpPr>
          <a:xfrm rot="10800000" flipH="1">
            <a:off x="5986109" y="6297747"/>
            <a:ext cx="2911148" cy="1949926"/>
            <a:chOff x="485776" y="12163427"/>
            <a:chExt cx="5884863" cy="3941763"/>
          </a:xfrm>
        </p:grpSpPr>
        <p:sp>
          <p:nvSpPr>
            <p:cNvPr id="150" name="Freeform 5">
              <a:extLst>
                <a:ext uri="{FF2B5EF4-FFF2-40B4-BE49-F238E27FC236}">
                  <a16:creationId xmlns:a16="http://schemas.microsoft.com/office/drawing/2014/main" id="{6B1CFC53-BF52-4C56-86D4-86F18D2F01D3}"/>
                </a:ext>
              </a:extLst>
            </p:cNvPr>
            <p:cNvSpPr>
              <a:spLocks/>
            </p:cNvSpPr>
            <p:nvPr/>
          </p:nvSpPr>
          <p:spPr bwMode="auto">
            <a:xfrm>
              <a:off x="485776" y="13768390"/>
              <a:ext cx="1658938" cy="1911350"/>
            </a:xfrm>
            <a:custGeom>
              <a:avLst/>
              <a:gdLst>
                <a:gd name="T0" fmla="*/ 1045 w 1045"/>
                <a:gd name="T1" fmla="*/ 904 h 1204"/>
                <a:gd name="T2" fmla="*/ 1045 w 1045"/>
                <a:gd name="T3" fmla="*/ 302 h 1204"/>
                <a:gd name="T4" fmla="*/ 523 w 1045"/>
                <a:gd name="T5" fmla="*/ 0 h 1204"/>
                <a:gd name="T6" fmla="*/ 0 w 1045"/>
                <a:gd name="T7" fmla="*/ 302 h 1204"/>
                <a:gd name="T8" fmla="*/ 0 w 1045"/>
                <a:gd name="T9" fmla="*/ 904 h 1204"/>
                <a:gd name="T10" fmla="*/ 523 w 1045"/>
                <a:gd name="T11" fmla="*/ 1204 h 1204"/>
                <a:gd name="T12" fmla="*/ 1045 w 1045"/>
                <a:gd name="T13" fmla="*/ 904 h 1204"/>
              </a:gdLst>
              <a:ahLst/>
              <a:cxnLst>
                <a:cxn ang="0">
                  <a:pos x="T0" y="T1"/>
                </a:cxn>
                <a:cxn ang="0">
                  <a:pos x="T2" y="T3"/>
                </a:cxn>
                <a:cxn ang="0">
                  <a:pos x="T4" y="T5"/>
                </a:cxn>
                <a:cxn ang="0">
                  <a:pos x="T6" y="T7"/>
                </a:cxn>
                <a:cxn ang="0">
                  <a:pos x="T8" y="T9"/>
                </a:cxn>
                <a:cxn ang="0">
                  <a:pos x="T10" y="T11"/>
                </a:cxn>
                <a:cxn ang="0">
                  <a:pos x="T12" y="T13"/>
                </a:cxn>
              </a:cxnLst>
              <a:rect l="0" t="0" r="r" b="b"/>
              <a:pathLst>
                <a:path w="1045" h="1204">
                  <a:moveTo>
                    <a:pt x="1045" y="904"/>
                  </a:moveTo>
                  <a:lnTo>
                    <a:pt x="1045" y="302"/>
                  </a:lnTo>
                  <a:lnTo>
                    <a:pt x="523" y="0"/>
                  </a:lnTo>
                  <a:lnTo>
                    <a:pt x="0" y="302"/>
                  </a:lnTo>
                  <a:lnTo>
                    <a:pt x="0" y="904"/>
                  </a:lnTo>
                  <a:lnTo>
                    <a:pt x="523" y="1204"/>
                  </a:lnTo>
                  <a:lnTo>
                    <a:pt x="1045" y="904"/>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1" name="Line 6">
              <a:extLst>
                <a:ext uri="{FF2B5EF4-FFF2-40B4-BE49-F238E27FC236}">
                  <a16:creationId xmlns:a16="http://schemas.microsoft.com/office/drawing/2014/main" id="{66711BC3-51FC-4CD8-8467-31BA087B8F3C}"/>
                </a:ext>
              </a:extLst>
            </p:cNvPr>
            <p:cNvSpPr>
              <a:spLocks noChangeShapeType="1"/>
            </p:cNvSpPr>
            <p:nvPr/>
          </p:nvSpPr>
          <p:spPr bwMode="auto">
            <a:xfrm flipV="1">
              <a:off x="485776" y="14247815"/>
              <a:ext cx="1658938" cy="9556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2" name="Line 7">
              <a:extLst>
                <a:ext uri="{FF2B5EF4-FFF2-40B4-BE49-F238E27FC236}">
                  <a16:creationId xmlns:a16="http://schemas.microsoft.com/office/drawing/2014/main" id="{A1566CE3-8931-46F1-866D-1BBE94C48DB8}"/>
                </a:ext>
              </a:extLst>
            </p:cNvPr>
            <p:cNvSpPr>
              <a:spLocks noChangeShapeType="1"/>
            </p:cNvSpPr>
            <p:nvPr/>
          </p:nvSpPr>
          <p:spPr bwMode="auto">
            <a:xfrm flipH="1" flipV="1">
              <a:off x="485776" y="14247815"/>
              <a:ext cx="1658938" cy="9556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3" name="Line 8">
              <a:extLst>
                <a:ext uri="{FF2B5EF4-FFF2-40B4-BE49-F238E27FC236}">
                  <a16:creationId xmlns:a16="http://schemas.microsoft.com/office/drawing/2014/main" id="{58998FBC-12EC-4D10-BC20-C5BBC146269C}"/>
                </a:ext>
              </a:extLst>
            </p:cNvPr>
            <p:cNvSpPr>
              <a:spLocks noChangeShapeType="1"/>
            </p:cNvSpPr>
            <p:nvPr/>
          </p:nvSpPr>
          <p:spPr bwMode="auto">
            <a:xfrm flipV="1">
              <a:off x="1316039" y="13768390"/>
              <a:ext cx="0" cy="191135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4" name="Freeform 9">
              <a:extLst>
                <a:ext uri="{FF2B5EF4-FFF2-40B4-BE49-F238E27FC236}">
                  <a16:creationId xmlns:a16="http://schemas.microsoft.com/office/drawing/2014/main" id="{8A74888E-D534-46F7-B132-4DDA5295B140}"/>
                </a:ext>
              </a:extLst>
            </p:cNvPr>
            <p:cNvSpPr>
              <a:spLocks/>
            </p:cNvSpPr>
            <p:nvPr/>
          </p:nvSpPr>
          <p:spPr bwMode="auto">
            <a:xfrm>
              <a:off x="1512889" y="13403265"/>
              <a:ext cx="1006475" cy="1162050"/>
            </a:xfrm>
            <a:custGeom>
              <a:avLst/>
              <a:gdLst>
                <a:gd name="T0" fmla="*/ 634 w 634"/>
                <a:gd name="T1" fmla="*/ 549 h 732"/>
                <a:gd name="T2" fmla="*/ 634 w 634"/>
                <a:gd name="T3" fmla="*/ 183 h 732"/>
                <a:gd name="T4" fmla="*/ 317 w 634"/>
                <a:gd name="T5" fmla="*/ 0 h 732"/>
                <a:gd name="T6" fmla="*/ 0 w 634"/>
                <a:gd name="T7" fmla="*/ 183 h 732"/>
                <a:gd name="T8" fmla="*/ 0 w 634"/>
                <a:gd name="T9" fmla="*/ 549 h 732"/>
                <a:gd name="T10" fmla="*/ 317 w 634"/>
                <a:gd name="T11" fmla="*/ 732 h 732"/>
                <a:gd name="T12" fmla="*/ 634 w 634"/>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4" h="732">
                  <a:moveTo>
                    <a:pt x="634" y="549"/>
                  </a:moveTo>
                  <a:lnTo>
                    <a:pt x="634" y="183"/>
                  </a:lnTo>
                  <a:lnTo>
                    <a:pt x="317" y="0"/>
                  </a:lnTo>
                  <a:lnTo>
                    <a:pt x="0" y="183"/>
                  </a:lnTo>
                  <a:lnTo>
                    <a:pt x="0" y="549"/>
                  </a:lnTo>
                  <a:lnTo>
                    <a:pt x="317" y="732"/>
                  </a:lnTo>
                  <a:lnTo>
                    <a:pt x="634"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5" name="Line 10">
              <a:extLst>
                <a:ext uri="{FF2B5EF4-FFF2-40B4-BE49-F238E27FC236}">
                  <a16:creationId xmlns:a16="http://schemas.microsoft.com/office/drawing/2014/main" id="{D4CD160D-1A1B-44E4-AA6D-4ABA3BF19E93}"/>
                </a:ext>
              </a:extLst>
            </p:cNvPr>
            <p:cNvSpPr>
              <a:spLocks noChangeShapeType="1"/>
            </p:cNvSpPr>
            <p:nvPr/>
          </p:nvSpPr>
          <p:spPr bwMode="auto">
            <a:xfrm flipV="1">
              <a:off x="1512889" y="13693777"/>
              <a:ext cx="1006475"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6" name="Line 11">
              <a:extLst>
                <a:ext uri="{FF2B5EF4-FFF2-40B4-BE49-F238E27FC236}">
                  <a16:creationId xmlns:a16="http://schemas.microsoft.com/office/drawing/2014/main" id="{E2DC7241-1957-4D65-B6E1-029F1431B23B}"/>
                </a:ext>
              </a:extLst>
            </p:cNvPr>
            <p:cNvSpPr>
              <a:spLocks noChangeShapeType="1"/>
            </p:cNvSpPr>
            <p:nvPr/>
          </p:nvSpPr>
          <p:spPr bwMode="auto">
            <a:xfrm flipH="1" flipV="1">
              <a:off x="1512889" y="13693777"/>
              <a:ext cx="1006475"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Line 12">
              <a:extLst>
                <a:ext uri="{FF2B5EF4-FFF2-40B4-BE49-F238E27FC236}">
                  <a16:creationId xmlns:a16="http://schemas.microsoft.com/office/drawing/2014/main" id="{95344760-D315-4366-A71A-2393812853AB}"/>
                </a:ext>
              </a:extLst>
            </p:cNvPr>
            <p:cNvSpPr>
              <a:spLocks noChangeShapeType="1"/>
            </p:cNvSpPr>
            <p:nvPr/>
          </p:nvSpPr>
          <p:spPr bwMode="auto">
            <a:xfrm flipV="1">
              <a:off x="2016126" y="13403265"/>
              <a:ext cx="0" cy="116205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8" name="Freeform 13">
              <a:extLst>
                <a:ext uri="{FF2B5EF4-FFF2-40B4-BE49-F238E27FC236}">
                  <a16:creationId xmlns:a16="http://schemas.microsoft.com/office/drawing/2014/main" id="{F1D7276A-4D45-48D1-97C1-37E5D5F374B5}"/>
                </a:ext>
              </a:extLst>
            </p:cNvPr>
            <p:cNvSpPr>
              <a:spLocks/>
            </p:cNvSpPr>
            <p:nvPr/>
          </p:nvSpPr>
          <p:spPr bwMode="auto">
            <a:xfrm>
              <a:off x="1703389" y="14851065"/>
              <a:ext cx="1008063" cy="1162050"/>
            </a:xfrm>
            <a:custGeom>
              <a:avLst/>
              <a:gdLst>
                <a:gd name="T0" fmla="*/ 635 w 635"/>
                <a:gd name="T1" fmla="*/ 549 h 732"/>
                <a:gd name="T2" fmla="*/ 635 w 635"/>
                <a:gd name="T3" fmla="*/ 183 h 732"/>
                <a:gd name="T4" fmla="*/ 318 w 635"/>
                <a:gd name="T5" fmla="*/ 0 h 732"/>
                <a:gd name="T6" fmla="*/ 0 w 635"/>
                <a:gd name="T7" fmla="*/ 183 h 732"/>
                <a:gd name="T8" fmla="*/ 0 w 635"/>
                <a:gd name="T9" fmla="*/ 549 h 732"/>
                <a:gd name="T10" fmla="*/ 318 w 635"/>
                <a:gd name="T11" fmla="*/ 732 h 732"/>
                <a:gd name="T12" fmla="*/ 635 w 635"/>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5" h="732">
                  <a:moveTo>
                    <a:pt x="635" y="549"/>
                  </a:moveTo>
                  <a:lnTo>
                    <a:pt x="635" y="183"/>
                  </a:lnTo>
                  <a:lnTo>
                    <a:pt x="318" y="0"/>
                  </a:lnTo>
                  <a:lnTo>
                    <a:pt x="0" y="183"/>
                  </a:lnTo>
                  <a:lnTo>
                    <a:pt x="0" y="549"/>
                  </a:lnTo>
                  <a:lnTo>
                    <a:pt x="318" y="732"/>
                  </a:lnTo>
                  <a:lnTo>
                    <a:pt x="635"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9" name="Line 14">
              <a:extLst>
                <a:ext uri="{FF2B5EF4-FFF2-40B4-BE49-F238E27FC236}">
                  <a16:creationId xmlns:a16="http://schemas.microsoft.com/office/drawing/2014/main" id="{1D09DE1A-66D8-4A68-A97F-36E686D0B01F}"/>
                </a:ext>
              </a:extLst>
            </p:cNvPr>
            <p:cNvSpPr>
              <a:spLocks noChangeShapeType="1"/>
            </p:cNvSpPr>
            <p:nvPr/>
          </p:nvSpPr>
          <p:spPr bwMode="auto">
            <a:xfrm flipV="1">
              <a:off x="1703389" y="15141577"/>
              <a:ext cx="1008063"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0" name="Line 15">
              <a:extLst>
                <a:ext uri="{FF2B5EF4-FFF2-40B4-BE49-F238E27FC236}">
                  <a16:creationId xmlns:a16="http://schemas.microsoft.com/office/drawing/2014/main" id="{007F982C-E8C8-4E40-AA4E-55717F5E3127}"/>
                </a:ext>
              </a:extLst>
            </p:cNvPr>
            <p:cNvSpPr>
              <a:spLocks noChangeShapeType="1"/>
            </p:cNvSpPr>
            <p:nvPr/>
          </p:nvSpPr>
          <p:spPr bwMode="auto">
            <a:xfrm flipH="1" flipV="1">
              <a:off x="1703389" y="15141577"/>
              <a:ext cx="1008063"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1" name="Line 16">
              <a:extLst>
                <a:ext uri="{FF2B5EF4-FFF2-40B4-BE49-F238E27FC236}">
                  <a16:creationId xmlns:a16="http://schemas.microsoft.com/office/drawing/2014/main" id="{4794D73A-4903-4F56-89F1-5C3A1FF02D2F}"/>
                </a:ext>
              </a:extLst>
            </p:cNvPr>
            <p:cNvSpPr>
              <a:spLocks noChangeShapeType="1"/>
            </p:cNvSpPr>
            <p:nvPr/>
          </p:nvSpPr>
          <p:spPr bwMode="auto">
            <a:xfrm flipV="1">
              <a:off x="2208214" y="14851065"/>
              <a:ext cx="0" cy="116205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2" name="Freeform 17">
              <a:extLst>
                <a:ext uri="{FF2B5EF4-FFF2-40B4-BE49-F238E27FC236}">
                  <a16:creationId xmlns:a16="http://schemas.microsoft.com/office/drawing/2014/main" id="{DC39C698-9E14-4688-8782-7DC75916D9DE}"/>
                </a:ext>
              </a:extLst>
            </p:cNvPr>
            <p:cNvSpPr>
              <a:spLocks/>
            </p:cNvSpPr>
            <p:nvPr/>
          </p:nvSpPr>
          <p:spPr bwMode="auto">
            <a:xfrm>
              <a:off x="2306639" y="13830302"/>
              <a:ext cx="1366838" cy="1574800"/>
            </a:xfrm>
            <a:custGeom>
              <a:avLst/>
              <a:gdLst>
                <a:gd name="T0" fmla="*/ 861 w 861"/>
                <a:gd name="T1" fmla="*/ 744 h 992"/>
                <a:gd name="T2" fmla="*/ 861 w 861"/>
                <a:gd name="T3" fmla="*/ 248 h 992"/>
                <a:gd name="T4" fmla="*/ 430 w 861"/>
                <a:gd name="T5" fmla="*/ 0 h 992"/>
                <a:gd name="T6" fmla="*/ 0 w 861"/>
                <a:gd name="T7" fmla="*/ 248 h 992"/>
                <a:gd name="T8" fmla="*/ 0 w 861"/>
                <a:gd name="T9" fmla="*/ 744 h 992"/>
                <a:gd name="T10" fmla="*/ 430 w 861"/>
                <a:gd name="T11" fmla="*/ 992 h 992"/>
                <a:gd name="T12" fmla="*/ 861 w 861"/>
                <a:gd name="T13" fmla="*/ 744 h 992"/>
              </a:gdLst>
              <a:ahLst/>
              <a:cxnLst>
                <a:cxn ang="0">
                  <a:pos x="T0" y="T1"/>
                </a:cxn>
                <a:cxn ang="0">
                  <a:pos x="T2" y="T3"/>
                </a:cxn>
                <a:cxn ang="0">
                  <a:pos x="T4" y="T5"/>
                </a:cxn>
                <a:cxn ang="0">
                  <a:pos x="T6" y="T7"/>
                </a:cxn>
                <a:cxn ang="0">
                  <a:pos x="T8" y="T9"/>
                </a:cxn>
                <a:cxn ang="0">
                  <a:pos x="T10" y="T11"/>
                </a:cxn>
                <a:cxn ang="0">
                  <a:pos x="T12" y="T13"/>
                </a:cxn>
              </a:cxnLst>
              <a:rect l="0" t="0" r="r" b="b"/>
              <a:pathLst>
                <a:path w="861" h="992">
                  <a:moveTo>
                    <a:pt x="861" y="744"/>
                  </a:moveTo>
                  <a:lnTo>
                    <a:pt x="861" y="248"/>
                  </a:lnTo>
                  <a:lnTo>
                    <a:pt x="430" y="0"/>
                  </a:lnTo>
                  <a:lnTo>
                    <a:pt x="0" y="248"/>
                  </a:lnTo>
                  <a:lnTo>
                    <a:pt x="0" y="744"/>
                  </a:lnTo>
                  <a:lnTo>
                    <a:pt x="430" y="992"/>
                  </a:lnTo>
                  <a:lnTo>
                    <a:pt x="861" y="744"/>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3" name="Line 18">
              <a:extLst>
                <a:ext uri="{FF2B5EF4-FFF2-40B4-BE49-F238E27FC236}">
                  <a16:creationId xmlns:a16="http://schemas.microsoft.com/office/drawing/2014/main" id="{8FDDDCCD-B779-4329-B33D-059243250E67}"/>
                </a:ext>
              </a:extLst>
            </p:cNvPr>
            <p:cNvSpPr>
              <a:spLocks noChangeShapeType="1"/>
            </p:cNvSpPr>
            <p:nvPr/>
          </p:nvSpPr>
          <p:spPr bwMode="auto">
            <a:xfrm flipV="1">
              <a:off x="2306639" y="14224002"/>
              <a:ext cx="1366838" cy="78740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4" name="Line 19">
              <a:extLst>
                <a:ext uri="{FF2B5EF4-FFF2-40B4-BE49-F238E27FC236}">
                  <a16:creationId xmlns:a16="http://schemas.microsoft.com/office/drawing/2014/main" id="{DFAB99C3-B046-4B81-B965-E976F1290EA9}"/>
                </a:ext>
              </a:extLst>
            </p:cNvPr>
            <p:cNvSpPr>
              <a:spLocks noChangeShapeType="1"/>
            </p:cNvSpPr>
            <p:nvPr/>
          </p:nvSpPr>
          <p:spPr bwMode="auto">
            <a:xfrm flipH="1" flipV="1">
              <a:off x="2306639" y="14224002"/>
              <a:ext cx="1366838" cy="78740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5" name="Line 20">
              <a:extLst>
                <a:ext uri="{FF2B5EF4-FFF2-40B4-BE49-F238E27FC236}">
                  <a16:creationId xmlns:a16="http://schemas.microsoft.com/office/drawing/2014/main" id="{1FB10008-7F90-4546-8EF4-C5EA00CC2E7E}"/>
                </a:ext>
              </a:extLst>
            </p:cNvPr>
            <p:cNvSpPr>
              <a:spLocks noChangeShapeType="1"/>
            </p:cNvSpPr>
            <p:nvPr/>
          </p:nvSpPr>
          <p:spPr bwMode="auto">
            <a:xfrm flipV="1">
              <a:off x="2989264" y="13830302"/>
              <a:ext cx="0" cy="157480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6" name="Freeform 21">
              <a:extLst>
                <a:ext uri="{FF2B5EF4-FFF2-40B4-BE49-F238E27FC236}">
                  <a16:creationId xmlns:a16="http://schemas.microsoft.com/office/drawing/2014/main" id="{050D4BDD-CF2A-48A9-B927-A323E6E96DED}"/>
                </a:ext>
              </a:extLst>
            </p:cNvPr>
            <p:cNvSpPr>
              <a:spLocks/>
            </p:cNvSpPr>
            <p:nvPr/>
          </p:nvSpPr>
          <p:spPr bwMode="auto">
            <a:xfrm>
              <a:off x="4000501" y="13792202"/>
              <a:ext cx="2006600" cy="2312988"/>
            </a:xfrm>
            <a:custGeom>
              <a:avLst/>
              <a:gdLst>
                <a:gd name="T0" fmla="*/ 1264 w 1264"/>
                <a:gd name="T1" fmla="*/ 1093 h 1457"/>
                <a:gd name="T2" fmla="*/ 1264 w 1264"/>
                <a:gd name="T3" fmla="*/ 364 h 1457"/>
                <a:gd name="T4" fmla="*/ 632 w 1264"/>
                <a:gd name="T5" fmla="*/ 0 h 1457"/>
                <a:gd name="T6" fmla="*/ 0 w 1264"/>
                <a:gd name="T7" fmla="*/ 364 h 1457"/>
                <a:gd name="T8" fmla="*/ 0 w 1264"/>
                <a:gd name="T9" fmla="*/ 1093 h 1457"/>
                <a:gd name="T10" fmla="*/ 632 w 1264"/>
                <a:gd name="T11" fmla="*/ 1457 h 1457"/>
                <a:gd name="T12" fmla="*/ 1264 w 1264"/>
                <a:gd name="T13" fmla="*/ 1093 h 1457"/>
              </a:gdLst>
              <a:ahLst/>
              <a:cxnLst>
                <a:cxn ang="0">
                  <a:pos x="T0" y="T1"/>
                </a:cxn>
                <a:cxn ang="0">
                  <a:pos x="T2" y="T3"/>
                </a:cxn>
                <a:cxn ang="0">
                  <a:pos x="T4" y="T5"/>
                </a:cxn>
                <a:cxn ang="0">
                  <a:pos x="T6" y="T7"/>
                </a:cxn>
                <a:cxn ang="0">
                  <a:pos x="T8" y="T9"/>
                </a:cxn>
                <a:cxn ang="0">
                  <a:pos x="T10" y="T11"/>
                </a:cxn>
                <a:cxn ang="0">
                  <a:pos x="T12" y="T13"/>
                </a:cxn>
              </a:cxnLst>
              <a:rect l="0" t="0" r="r" b="b"/>
              <a:pathLst>
                <a:path w="1264" h="1457">
                  <a:moveTo>
                    <a:pt x="1264" y="1093"/>
                  </a:moveTo>
                  <a:lnTo>
                    <a:pt x="1264" y="364"/>
                  </a:lnTo>
                  <a:lnTo>
                    <a:pt x="632" y="0"/>
                  </a:lnTo>
                  <a:lnTo>
                    <a:pt x="0" y="364"/>
                  </a:lnTo>
                  <a:lnTo>
                    <a:pt x="0" y="1093"/>
                  </a:lnTo>
                  <a:lnTo>
                    <a:pt x="632" y="1457"/>
                  </a:lnTo>
                  <a:lnTo>
                    <a:pt x="1264" y="1093"/>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7" name="Line 22">
              <a:extLst>
                <a:ext uri="{FF2B5EF4-FFF2-40B4-BE49-F238E27FC236}">
                  <a16:creationId xmlns:a16="http://schemas.microsoft.com/office/drawing/2014/main" id="{98217155-3F42-417A-8CD0-935CFA0E3C1A}"/>
                </a:ext>
              </a:extLst>
            </p:cNvPr>
            <p:cNvSpPr>
              <a:spLocks noChangeShapeType="1"/>
            </p:cNvSpPr>
            <p:nvPr/>
          </p:nvSpPr>
          <p:spPr bwMode="auto">
            <a:xfrm flipV="1">
              <a:off x="4000501" y="14370052"/>
              <a:ext cx="2006600" cy="115728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8" name="Line 23">
              <a:extLst>
                <a:ext uri="{FF2B5EF4-FFF2-40B4-BE49-F238E27FC236}">
                  <a16:creationId xmlns:a16="http://schemas.microsoft.com/office/drawing/2014/main" id="{57C9C5C7-9DB9-4CC6-8F49-BEF946294D5F}"/>
                </a:ext>
              </a:extLst>
            </p:cNvPr>
            <p:cNvSpPr>
              <a:spLocks noChangeShapeType="1"/>
            </p:cNvSpPr>
            <p:nvPr/>
          </p:nvSpPr>
          <p:spPr bwMode="auto">
            <a:xfrm flipH="1" flipV="1">
              <a:off x="4000501" y="14370052"/>
              <a:ext cx="2006600" cy="115728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9" name="Line 24">
              <a:extLst>
                <a:ext uri="{FF2B5EF4-FFF2-40B4-BE49-F238E27FC236}">
                  <a16:creationId xmlns:a16="http://schemas.microsoft.com/office/drawing/2014/main" id="{84082A4D-74F5-47A3-B817-AF3D9EA5804E}"/>
                </a:ext>
              </a:extLst>
            </p:cNvPr>
            <p:cNvSpPr>
              <a:spLocks noChangeShapeType="1"/>
            </p:cNvSpPr>
            <p:nvPr/>
          </p:nvSpPr>
          <p:spPr bwMode="auto">
            <a:xfrm flipV="1">
              <a:off x="5003801" y="13792202"/>
              <a:ext cx="0" cy="231298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0" name="Freeform 25">
              <a:extLst>
                <a:ext uri="{FF2B5EF4-FFF2-40B4-BE49-F238E27FC236}">
                  <a16:creationId xmlns:a16="http://schemas.microsoft.com/office/drawing/2014/main" id="{60C58BAE-9B36-459A-843D-1020DAF739F9}"/>
                </a:ext>
              </a:extLst>
            </p:cNvPr>
            <p:cNvSpPr>
              <a:spLocks/>
            </p:cNvSpPr>
            <p:nvPr/>
          </p:nvSpPr>
          <p:spPr bwMode="auto">
            <a:xfrm>
              <a:off x="4362451" y="12163427"/>
              <a:ext cx="2008188" cy="2314575"/>
            </a:xfrm>
            <a:custGeom>
              <a:avLst/>
              <a:gdLst>
                <a:gd name="T0" fmla="*/ 1265 w 1265"/>
                <a:gd name="T1" fmla="*/ 1094 h 1458"/>
                <a:gd name="T2" fmla="*/ 1265 w 1265"/>
                <a:gd name="T3" fmla="*/ 364 h 1458"/>
                <a:gd name="T4" fmla="*/ 633 w 1265"/>
                <a:gd name="T5" fmla="*/ 0 h 1458"/>
                <a:gd name="T6" fmla="*/ 0 w 1265"/>
                <a:gd name="T7" fmla="*/ 364 h 1458"/>
                <a:gd name="T8" fmla="*/ 0 w 1265"/>
                <a:gd name="T9" fmla="*/ 1094 h 1458"/>
                <a:gd name="T10" fmla="*/ 633 w 1265"/>
                <a:gd name="T11" fmla="*/ 1458 h 1458"/>
                <a:gd name="T12" fmla="*/ 1265 w 1265"/>
                <a:gd name="T13" fmla="*/ 1094 h 1458"/>
              </a:gdLst>
              <a:ahLst/>
              <a:cxnLst>
                <a:cxn ang="0">
                  <a:pos x="T0" y="T1"/>
                </a:cxn>
                <a:cxn ang="0">
                  <a:pos x="T2" y="T3"/>
                </a:cxn>
                <a:cxn ang="0">
                  <a:pos x="T4" y="T5"/>
                </a:cxn>
                <a:cxn ang="0">
                  <a:pos x="T6" y="T7"/>
                </a:cxn>
                <a:cxn ang="0">
                  <a:pos x="T8" y="T9"/>
                </a:cxn>
                <a:cxn ang="0">
                  <a:pos x="T10" y="T11"/>
                </a:cxn>
                <a:cxn ang="0">
                  <a:pos x="T12" y="T13"/>
                </a:cxn>
              </a:cxnLst>
              <a:rect l="0" t="0" r="r" b="b"/>
              <a:pathLst>
                <a:path w="1265" h="1458">
                  <a:moveTo>
                    <a:pt x="1265" y="1094"/>
                  </a:moveTo>
                  <a:lnTo>
                    <a:pt x="1265" y="364"/>
                  </a:lnTo>
                  <a:lnTo>
                    <a:pt x="633" y="0"/>
                  </a:lnTo>
                  <a:lnTo>
                    <a:pt x="0" y="364"/>
                  </a:lnTo>
                  <a:lnTo>
                    <a:pt x="0" y="1094"/>
                  </a:lnTo>
                  <a:lnTo>
                    <a:pt x="633" y="1458"/>
                  </a:lnTo>
                  <a:lnTo>
                    <a:pt x="1265" y="1094"/>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1" name="Line 26">
              <a:extLst>
                <a:ext uri="{FF2B5EF4-FFF2-40B4-BE49-F238E27FC236}">
                  <a16:creationId xmlns:a16="http://schemas.microsoft.com/office/drawing/2014/main" id="{BE3E14C9-5F07-4201-8338-BD4EB7ABA241}"/>
                </a:ext>
              </a:extLst>
            </p:cNvPr>
            <p:cNvSpPr>
              <a:spLocks noChangeShapeType="1"/>
            </p:cNvSpPr>
            <p:nvPr/>
          </p:nvSpPr>
          <p:spPr bwMode="auto">
            <a:xfrm flipV="1">
              <a:off x="4362451" y="12741277"/>
              <a:ext cx="2008188" cy="11588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2" name="Line 27">
              <a:extLst>
                <a:ext uri="{FF2B5EF4-FFF2-40B4-BE49-F238E27FC236}">
                  <a16:creationId xmlns:a16="http://schemas.microsoft.com/office/drawing/2014/main" id="{22F36DB5-956A-47EC-A1C6-E14B952D8C97}"/>
                </a:ext>
              </a:extLst>
            </p:cNvPr>
            <p:cNvSpPr>
              <a:spLocks noChangeShapeType="1"/>
            </p:cNvSpPr>
            <p:nvPr/>
          </p:nvSpPr>
          <p:spPr bwMode="auto">
            <a:xfrm flipH="1" flipV="1">
              <a:off x="4362451" y="12741277"/>
              <a:ext cx="2008188" cy="11588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3" name="Line 28">
              <a:extLst>
                <a:ext uri="{FF2B5EF4-FFF2-40B4-BE49-F238E27FC236}">
                  <a16:creationId xmlns:a16="http://schemas.microsoft.com/office/drawing/2014/main" id="{B7650524-A347-4E27-8004-64850800347E}"/>
                </a:ext>
              </a:extLst>
            </p:cNvPr>
            <p:cNvSpPr>
              <a:spLocks noChangeShapeType="1"/>
            </p:cNvSpPr>
            <p:nvPr/>
          </p:nvSpPr>
          <p:spPr bwMode="auto">
            <a:xfrm flipV="1">
              <a:off x="5367339" y="12163427"/>
              <a:ext cx="0" cy="23145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4" name="Freeform 29">
              <a:extLst>
                <a:ext uri="{FF2B5EF4-FFF2-40B4-BE49-F238E27FC236}">
                  <a16:creationId xmlns:a16="http://schemas.microsoft.com/office/drawing/2014/main" id="{0708F2DB-10C9-4B90-A7CD-8597C35D7D7A}"/>
                </a:ext>
              </a:extLst>
            </p:cNvPr>
            <p:cNvSpPr>
              <a:spLocks/>
            </p:cNvSpPr>
            <p:nvPr/>
          </p:nvSpPr>
          <p:spPr bwMode="auto">
            <a:xfrm>
              <a:off x="3197226" y="14689140"/>
              <a:ext cx="1065213" cy="1228725"/>
            </a:xfrm>
            <a:custGeom>
              <a:avLst/>
              <a:gdLst>
                <a:gd name="T0" fmla="*/ 671 w 671"/>
                <a:gd name="T1" fmla="*/ 581 h 774"/>
                <a:gd name="T2" fmla="*/ 671 w 671"/>
                <a:gd name="T3" fmla="*/ 194 h 774"/>
                <a:gd name="T4" fmla="*/ 335 w 671"/>
                <a:gd name="T5" fmla="*/ 0 h 774"/>
                <a:gd name="T6" fmla="*/ 0 w 671"/>
                <a:gd name="T7" fmla="*/ 194 h 774"/>
                <a:gd name="T8" fmla="*/ 0 w 671"/>
                <a:gd name="T9" fmla="*/ 581 h 774"/>
                <a:gd name="T10" fmla="*/ 335 w 671"/>
                <a:gd name="T11" fmla="*/ 774 h 774"/>
                <a:gd name="T12" fmla="*/ 671 w 671"/>
                <a:gd name="T13" fmla="*/ 581 h 774"/>
              </a:gdLst>
              <a:ahLst/>
              <a:cxnLst>
                <a:cxn ang="0">
                  <a:pos x="T0" y="T1"/>
                </a:cxn>
                <a:cxn ang="0">
                  <a:pos x="T2" y="T3"/>
                </a:cxn>
                <a:cxn ang="0">
                  <a:pos x="T4" y="T5"/>
                </a:cxn>
                <a:cxn ang="0">
                  <a:pos x="T6" y="T7"/>
                </a:cxn>
                <a:cxn ang="0">
                  <a:pos x="T8" y="T9"/>
                </a:cxn>
                <a:cxn ang="0">
                  <a:pos x="T10" y="T11"/>
                </a:cxn>
                <a:cxn ang="0">
                  <a:pos x="T12" y="T13"/>
                </a:cxn>
              </a:cxnLst>
              <a:rect l="0" t="0" r="r" b="b"/>
              <a:pathLst>
                <a:path w="671" h="774">
                  <a:moveTo>
                    <a:pt x="671" y="581"/>
                  </a:moveTo>
                  <a:lnTo>
                    <a:pt x="671" y="194"/>
                  </a:lnTo>
                  <a:lnTo>
                    <a:pt x="335" y="0"/>
                  </a:lnTo>
                  <a:lnTo>
                    <a:pt x="0" y="194"/>
                  </a:lnTo>
                  <a:lnTo>
                    <a:pt x="0" y="581"/>
                  </a:lnTo>
                  <a:lnTo>
                    <a:pt x="335" y="774"/>
                  </a:lnTo>
                  <a:lnTo>
                    <a:pt x="671" y="581"/>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5" name="Line 30">
              <a:extLst>
                <a:ext uri="{FF2B5EF4-FFF2-40B4-BE49-F238E27FC236}">
                  <a16:creationId xmlns:a16="http://schemas.microsoft.com/office/drawing/2014/main" id="{08F5F778-A89E-4449-9CEC-8E3D5B5AA2D3}"/>
                </a:ext>
              </a:extLst>
            </p:cNvPr>
            <p:cNvSpPr>
              <a:spLocks noChangeShapeType="1"/>
            </p:cNvSpPr>
            <p:nvPr/>
          </p:nvSpPr>
          <p:spPr bwMode="auto">
            <a:xfrm flipV="1">
              <a:off x="3197226" y="14997115"/>
              <a:ext cx="1065213" cy="614363"/>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6" name="Line 31">
              <a:extLst>
                <a:ext uri="{FF2B5EF4-FFF2-40B4-BE49-F238E27FC236}">
                  <a16:creationId xmlns:a16="http://schemas.microsoft.com/office/drawing/2014/main" id="{A129AB15-328E-458D-8383-EE14C266342B}"/>
                </a:ext>
              </a:extLst>
            </p:cNvPr>
            <p:cNvSpPr>
              <a:spLocks noChangeShapeType="1"/>
            </p:cNvSpPr>
            <p:nvPr/>
          </p:nvSpPr>
          <p:spPr bwMode="auto">
            <a:xfrm flipH="1" flipV="1">
              <a:off x="3197226" y="14997115"/>
              <a:ext cx="1065213" cy="614363"/>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7" name="Line 32">
              <a:extLst>
                <a:ext uri="{FF2B5EF4-FFF2-40B4-BE49-F238E27FC236}">
                  <a16:creationId xmlns:a16="http://schemas.microsoft.com/office/drawing/2014/main" id="{FE96F3CB-1FB3-4C27-AC6E-6355427F23AB}"/>
                </a:ext>
              </a:extLst>
            </p:cNvPr>
            <p:cNvSpPr>
              <a:spLocks noChangeShapeType="1"/>
            </p:cNvSpPr>
            <p:nvPr/>
          </p:nvSpPr>
          <p:spPr bwMode="auto">
            <a:xfrm flipV="1">
              <a:off x="3729039" y="14689140"/>
              <a:ext cx="0" cy="12287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8" name="Freeform 33">
              <a:extLst>
                <a:ext uri="{FF2B5EF4-FFF2-40B4-BE49-F238E27FC236}">
                  <a16:creationId xmlns:a16="http://schemas.microsoft.com/office/drawing/2014/main" id="{A510D1F2-D619-4FDD-8AC6-6D3F4BD936C9}"/>
                </a:ext>
              </a:extLst>
            </p:cNvPr>
            <p:cNvSpPr>
              <a:spLocks/>
            </p:cNvSpPr>
            <p:nvPr/>
          </p:nvSpPr>
          <p:spPr bwMode="auto">
            <a:xfrm>
              <a:off x="3230564" y="13009565"/>
              <a:ext cx="1316038" cy="1519238"/>
            </a:xfrm>
            <a:custGeom>
              <a:avLst/>
              <a:gdLst>
                <a:gd name="T0" fmla="*/ 829 w 829"/>
                <a:gd name="T1" fmla="*/ 718 h 957"/>
                <a:gd name="T2" fmla="*/ 829 w 829"/>
                <a:gd name="T3" fmla="*/ 240 h 957"/>
                <a:gd name="T4" fmla="*/ 414 w 829"/>
                <a:gd name="T5" fmla="*/ 0 h 957"/>
                <a:gd name="T6" fmla="*/ 0 w 829"/>
                <a:gd name="T7" fmla="*/ 240 h 957"/>
                <a:gd name="T8" fmla="*/ 0 w 829"/>
                <a:gd name="T9" fmla="*/ 718 h 957"/>
                <a:gd name="T10" fmla="*/ 414 w 829"/>
                <a:gd name="T11" fmla="*/ 957 h 957"/>
                <a:gd name="T12" fmla="*/ 829 w 829"/>
                <a:gd name="T13" fmla="*/ 718 h 957"/>
              </a:gdLst>
              <a:ahLst/>
              <a:cxnLst>
                <a:cxn ang="0">
                  <a:pos x="T0" y="T1"/>
                </a:cxn>
                <a:cxn ang="0">
                  <a:pos x="T2" y="T3"/>
                </a:cxn>
                <a:cxn ang="0">
                  <a:pos x="T4" y="T5"/>
                </a:cxn>
                <a:cxn ang="0">
                  <a:pos x="T6" y="T7"/>
                </a:cxn>
                <a:cxn ang="0">
                  <a:pos x="T8" y="T9"/>
                </a:cxn>
                <a:cxn ang="0">
                  <a:pos x="T10" y="T11"/>
                </a:cxn>
                <a:cxn ang="0">
                  <a:pos x="T12" y="T13"/>
                </a:cxn>
              </a:cxnLst>
              <a:rect l="0" t="0" r="r" b="b"/>
              <a:pathLst>
                <a:path w="829" h="957">
                  <a:moveTo>
                    <a:pt x="829" y="718"/>
                  </a:moveTo>
                  <a:lnTo>
                    <a:pt x="829" y="240"/>
                  </a:lnTo>
                  <a:lnTo>
                    <a:pt x="414" y="0"/>
                  </a:lnTo>
                  <a:lnTo>
                    <a:pt x="0" y="240"/>
                  </a:lnTo>
                  <a:lnTo>
                    <a:pt x="0" y="718"/>
                  </a:lnTo>
                  <a:lnTo>
                    <a:pt x="414" y="957"/>
                  </a:lnTo>
                  <a:lnTo>
                    <a:pt x="829" y="718"/>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9" name="Line 34">
              <a:extLst>
                <a:ext uri="{FF2B5EF4-FFF2-40B4-BE49-F238E27FC236}">
                  <a16:creationId xmlns:a16="http://schemas.microsoft.com/office/drawing/2014/main" id="{18F4D50A-D321-4097-BF29-08598FA060D6}"/>
                </a:ext>
              </a:extLst>
            </p:cNvPr>
            <p:cNvSpPr>
              <a:spLocks noChangeShapeType="1"/>
            </p:cNvSpPr>
            <p:nvPr/>
          </p:nvSpPr>
          <p:spPr bwMode="auto">
            <a:xfrm flipV="1">
              <a:off x="3230564" y="13390565"/>
              <a:ext cx="1316038" cy="7588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0" name="Line 35">
              <a:extLst>
                <a:ext uri="{FF2B5EF4-FFF2-40B4-BE49-F238E27FC236}">
                  <a16:creationId xmlns:a16="http://schemas.microsoft.com/office/drawing/2014/main" id="{C2DED26F-E548-4395-9BE2-FF546EDF69B6}"/>
                </a:ext>
              </a:extLst>
            </p:cNvPr>
            <p:cNvSpPr>
              <a:spLocks noChangeShapeType="1"/>
            </p:cNvSpPr>
            <p:nvPr/>
          </p:nvSpPr>
          <p:spPr bwMode="auto">
            <a:xfrm flipH="1" flipV="1">
              <a:off x="3230564" y="13390565"/>
              <a:ext cx="1316038" cy="7588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1" name="Line 36">
              <a:extLst>
                <a:ext uri="{FF2B5EF4-FFF2-40B4-BE49-F238E27FC236}">
                  <a16:creationId xmlns:a16="http://schemas.microsoft.com/office/drawing/2014/main" id="{5F0B91EA-AADF-43F5-9451-1C78EDD328BE}"/>
                </a:ext>
              </a:extLst>
            </p:cNvPr>
            <p:cNvSpPr>
              <a:spLocks noChangeShapeType="1"/>
            </p:cNvSpPr>
            <p:nvPr/>
          </p:nvSpPr>
          <p:spPr bwMode="auto">
            <a:xfrm flipV="1">
              <a:off x="3887789" y="13009565"/>
              <a:ext cx="0" cy="151923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102" name="Group 4101">
            <a:extLst>
              <a:ext uri="{FF2B5EF4-FFF2-40B4-BE49-F238E27FC236}">
                <a16:creationId xmlns:a16="http://schemas.microsoft.com/office/drawing/2014/main" id="{00D93911-B7EE-41CF-95B9-0AE2760CFDD2}"/>
              </a:ext>
            </a:extLst>
          </p:cNvPr>
          <p:cNvGrpSpPr/>
          <p:nvPr/>
        </p:nvGrpSpPr>
        <p:grpSpPr>
          <a:xfrm>
            <a:off x="2577222" y="5138530"/>
            <a:ext cx="7645876" cy="927426"/>
            <a:chOff x="2577222" y="5143500"/>
            <a:chExt cx="7645876" cy="927426"/>
          </a:xfrm>
        </p:grpSpPr>
        <p:sp>
          <p:nvSpPr>
            <p:cNvPr id="58" name="Rectangle 57">
              <a:extLst>
                <a:ext uri="{FF2B5EF4-FFF2-40B4-BE49-F238E27FC236}">
                  <a16:creationId xmlns:a16="http://schemas.microsoft.com/office/drawing/2014/main" id="{C0BDA3F9-D9DD-44F3-B90A-34E36444CA0D}"/>
                </a:ext>
              </a:extLst>
            </p:cNvPr>
            <p:cNvSpPr/>
            <p:nvPr/>
          </p:nvSpPr>
          <p:spPr bwMode="auto">
            <a:xfrm>
              <a:off x="2577222" y="5555222"/>
              <a:ext cx="3317856" cy="515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Launch and manage the network</a:t>
              </a:r>
            </a:p>
          </p:txBody>
        </p:sp>
        <p:sp>
          <p:nvSpPr>
            <p:cNvPr id="133" name="Rectangle 132">
              <a:extLst>
                <a:ext uri="{FF2B5EF4-FFF2-40B4-BE49-F238E27FC236}">
                  <a16:creationId xmlns:a16="http://schemas.microsoft.com/office/drawing/2014/main" id="{AB89B8D0-429B-4E5F-80C4-395A6AE29512}"/>
                </a:ext>
              </a:extLst>
            </p:cNvPr>
            <p:cNvSpPr/>
            <p:nvPr/>
          </p:nvSpPr>
          <p:spPr bwMode="auto">
            <a:xfrm>
              <a:off x="8362442" y="5143500"/>
              <a:ext cx="1860656" cy="8948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Build, deploy, and manage blockchain networks</a:t>
              </a:r>
            </a:p>
          </p:txBody>
        </p:sp>
      </p:grpSp>
      <p:grpSp>
        <p:nvGrpSpPr>
          <p:cNvPr id="4103" name="Group 4102">
            <a:extLst>
              <a:ext uri="{FF2B5EF4-FFF2-40B4-BE49-F238E27FC236}">
                <a16:creationId xmlns:a16="http://schemas.microsoft.com/office/drawing/2014/main" id="{49210750-2807-43DC-AED0-AE6076677338}"/>
              </a:ext>
            </a:extLst>
          </p:cNvPr>
          <p:cNvGrpSpPr/>
          <p:nvPr/>
        </p:nvGrpSpPr>
        <p:grpSpPr>
          <a:xfrm>
            <a:off x="2577222" y="3192819"/>
            <a:ext cx="8375681" cy="1259360"/>
            <a:chOff x="2577222" y="3197789"/>
            <a:chExt cx="8375681" cy="1259360"/>
          </a:xfrm>
        </p:grpSpPr>
        <p:sp>
          <p:nvSpPr>
            <p:cNvPr id="142" name="Rectangle 141">
              <a:extLst>
                <a:ext uri="{FF2B5EF4-FFF2-40B4-BE49-F238E27FC236}">
                  <a16:creationId xmlns:a16="http://schemas.microsoft.com/office/drawing/2014/main" id="{2CBEC77A-7919-4BC3-ACB4-FA2EE8F4340F}"/>
                </a:ext>
              </a:extLst>
            </p:cNvPr>
            <p:cNvSpPr/>
            <p:nvPr/>
          </p:nvSpPr>
          <p:spPr bwMode="auto">
            <a:xfrm>
              <a:off x="2577222" y="3941445"/>
              <a:ext cx="3317856" cy="515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Model smart contracts</a:t>
              </a:r>
            </a:p>
          </p:txBody>
        </p:sp>
        <p:sp>
          <p:nvSpPr>
            <p:cNvPr id="134" name="Rectangle 133">
              <a:extLst>
                <a:ext uri="{FF2B5EF4-FFF2-40B4-BE49-F238E27FC236}">
                  <a16:creationId xmlns:a16="http://schemas.microsoft.com/office/drawing/2014/main" id="{716F3A37-3005-4726-A00D-F51C86E1472E}"/>
                </a:ext>
              </a:extLst>
            </p:cNvPr>
            <p:cNvSpPr/>
            <p:nvPr/>
          </p:nvSpPr>
          <p:spPr bwMode="auto">
            <a:xfrm>
              <a:off x="9489122" y="3197789"/>
              <a:ext cx="1463781" cy="698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VS Code</a:t>
              </a:r>
              <a:br>
                <a:rPr kumimoji="0" lang="en-US" sz="2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Author and test smart contracts</a:t>
              </a:r>
            </a:p>
          </p:txBody>
        </p:sp>
      </p:grpSp>
      <p:grpSp>
        <p:nvGrpSpPr>
          <p:cNvPr id="220" name="Group 219">
            <a:extLst>
              <a:ext uri="{FF2B5EF4-FFF2-40B4-BE49-F238E27FC236}">
                <a16:creationId xmlns:a16="http://schemas.microsoft.com/office/drawing/2014/main" id="{58129EF0-C85B-4A9F-9017-3DF89B1F0869}"/>
              </a:ext>
            </a:extLst>
          </p:cNvPr>
          <p:cNvGrpSpPr/>
          <p:nvPr/>
        </p:nvGrpSpPr>
        <p:grpSpPr>
          <a:xfrm rot="10800000" flipH="1">
            <a:off x="10572623" y="985519"/>
            <a:ext cx="2911148" cy="1949926"/>
            <a:chOff x="485776" y="12163427"/>
            <a:chExt cx="5884863" cy="3941763"/>
          </a:xfrm>
        </p:grpSpPr>
        <p:sp>
          <p:nvSpPr>
            <p:cNvPr id="221" name="Freeform 5">
              <a:extLst>
                <a:ext uri="{FF2B5EF4-FFF2-40B4-BE49-F238E27FC236}">
                  <a16:creationId xmlns:a16="http://schemas.microsoft.com/office/drawing/2014/main" id="{552ADA3C-885D-423B-9578-FD6C59957B90}"/>
                </a:ext>
              </a:extLst>
            </p:cNvPr>
            <p:cNvSpPr>
              <a:spLocks/>
            </p:cNvSpPr>
            <p:nvPr/>
          </p:nvSpPr>
          <p:spPr bwMode="auto">
            <a:xfrm>
              <a:off x="485776" y="13768390"/>
              <a:ext cx="1658938" cy="1911350"/>
            </a:xfrm>
            <a:custGeom>
              <a:avLst/>
              <a:gdLst>
                <a:gd name="T0" fmla="*/ 1045 w 1045"/>
                <a:gd name="T1" fmla="*/ 904 h 1204"/>
                <a:gd name="T2" fmla="*/ 1045 w 1045"/>
                <a:gd name="T3" fmla="*/ 302 h 1204"/>
                <a:gd name="T4" fmla="*/ 523 w 1045"/>
                <a:gd name="T5" fmla="*/ 0 h 1204"/>
                <a:gd name="T6" fmla="*/ 0 w 1045"/>
                <a:gd name="T7" fmla="*/ 302 h 1204"/>
                <a:gd name="T8" fmla="*/ 0 w 1045"/>
                <a:gd name="T9" fmla="*/ 904 h 1204"/>
                <a:gd name="T10" fmla="*/ 523 w 1045"/>
                <a:gd name="T11" fmla="*/ 1204 h 1204"/>
                <a:gd name="T12" fmla="*/ 1045 w 1045"/>
                <a:gd name="T13" fmla="*/ 904 h 1204"/>
              </a:gdLst>
              <a:ahLst/>
              <a:cxnLst>
                <a:cxn ang="0">
                  <a:pos x="T0" y="T1"/>
                </a:cxn>
                <a:cxn ang="0">
                  <a:pos x="T2" y="T3"/>
                </a:cxn>
                <a:cxn ang="0">
                  <a:pos x="T4" y="T5"/>
                </a:cxn>
                <a:cxn ang="0">
                  <a:pos x="T6" y="T7"/>
                </a:cxn>
                <a:cxn ang="0">
                  <a:pos x="T8" y="T9"/>
                </a:cxn>
                <a:cxn ang="0">
                  <a:pos x="T10" y="T11"/>
                </a:cxn>
                <a:cxn ang="0">
                  <a:pos x="T12" y="T13"/>
                </a:cxn>
              </a:cxnLst>
              <a:rect l="0" t="0" r="r" b="b"/>
              <a:pathLst>
                <a:path w="1045" h="1204">
                  <a:moveTo>
                    <a:pt x="1045" y="904"/>
                  </a:moveTo>
                  <a:lnTo>
                    <a:pt x="1045" y="302"/>
                  </a:lnTo>
                  <a:lnTo>
                    <a:pt x="523" y="0"/>
                  </a:lnTo>
                  <a:lnTo>
                    <a:pt x="0" y="302"/>
                  </a:lnTo>
                  <a:lnTo>
                    <a:pt x="0" y="904"/>
                  </a:lnTo>
                  <a:lnTo>
                    <a:pt x="523" y="1204"/>
                  </a:lnTo>
                  <a:lnTo>
                    <a:pt x="1045" y="904"/>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2" name="Line 6">
              <a:extLst>
                <a:ext uri="{FF2B5EF4-FFF2-40B4-BE49-F238E27FC236}">
                  <a16:creationId xmlns:a16="http://schemas.microsoft.com/office/drawing/2014/main" id="{283ED7FD-20DD-4A55-9052-DE20B7967FF7}"/>
                </a:ext>
              </a:extLst>
            </p:cNvPr>
            <p:cNvSpPr>
              <a:spLocks noChangeShapeType="1"/>
            </p:cNvSpPr>
            <p:nvPr/>
          </p:nvSpPr>
          <p:spPr bwMode="auto">
            <a:xfrm flipV="1">
              <a:off x="485776" y="14247815"/>
              <a:ext cx="1658938" cy="9556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3" name="Line 7">
              <a:extLst>
                <a:ext uri="{FF2B5EF4-FFF2-40B4-BE49-F238E27FC236}">
                  <a16:creationId xmlns:a16="http://schemas.microsoft.com/office/drawing/2014/main" id="{865156BA-BA24-42D4-B891-4642A5780288}"/>
                </a:ext>
              </a:extLst>
            </p:cNvPr>
            <p:cNvSpPr>
              <a:spLocks noChangeShapeType="1"/>
            </p:cNvSpPr>
            <p:nvPr/>
          </p:nvSpPr>
          <p:spPr bwMode="auto">
            <a:xfrm flipH="1" flipV="1">
              <a:off x="485776" y="14247815"/>
              <a:ext cx="1658938" cy="9556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4" name="Line 8">
              <a:extLst>
                <a:ext uri="{FF2B5EF4-FFF2-40B4-BE49-F238E27FC236}">
                  <a16:creationId xmlns:a16="http://schemas.microsoft.com/office/drawing/2014/main" id="{6835766F-213E-4892-89E8-F642E333EA23}"/>
                </a:ext>
              </a:extLst>
            </p:cNvPr>
            <p:cNvSpPr>
              <a:spLocks noChangeShapeType="1"/>
            </p:cNvSpPr>
            <p:nvPr/>
          </p:nvSpPr>
          <p:spPr bwMode="auto">
            <a:xfrm flipV="1">
              <a:off x="1316039" y="13768390"/>
              <a:ext cx="0" cy="191135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5" name="Freeform 9">
              <a:extLst>
                <a:ext uri="{FF2B5EF4-FFF2-40B4-BE49-F238E27FC236}">
                  <a16:creationId xmlns:a16="http://schemas.microsoft.com/office/drawing/2014/main" id="{0117DF3C-84E7-45FA-ACC6-8927CCDCECB5}"/>
                </a:ext>
              </a:extLst>
            </p:cNvPr>
            <p:cNvSpPr>
              <a:spLocks/>
            </p:cNvSpPr>
            <p:nvPr/>
          </p:nvSpPr>
          <p:spPr bwMode="auto">
            <a:xfrm>
              <a:off x="1512889" y="13403265"/>
              <a:ext cx="1006475" cy="1162050"/>
            </a:xfrm>
            <a:custGeom>
              <a:avLst/>
              <a:gdLst>
                <a:gd name="T0" fmla="*/ 634 w 634"/>
                <a:gd name="T1" fmla="*/ 549 h 732"/>
                <a:gd name="T2" fmla="*/ 634 w 634"/>
                <a:gd name="T3" fmla="*/ 183 h 732"/>
                <a:gd name="T4" fmla="*/ 317 w 634"/>
                <a:gd name="T5" fmla="*/ 0 h 732"/>
                <a:gd name="T6" fmla="*/ 0 w 634"/>
                <a:gd name="T7" fmla="*/ 183 h 732"/>
                <a:gd name="T8" fmla="*/ 0 w 634"/>
                <a:gd name="T9" fmla="*/ 549 h 732"/>
                <a:gd name="T10" fmla="*/ 317 w 634"/>
                <a:gd name="T11" fmla="*/ 732 h 732"/>
                <a:gd name="T12" fmla="*/ 634 w 634"/>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4" h="732">
                  <a:moveTo>
                    <a:pt x="634" y="549"/>
                  </a:moveTo>
                  <a:lnTo>
                    <a:pt x="634" y="183"/>
                  </a:lnTo>
                  <a:lnTo>
                    <a:pt x="317" y="0"/>
                  </a:lnTo>
                  <a:lnTo>
                    <a:pt x="0" y="183"/>
                  </a:lnTo>
                  <a:lnTo>
                    <a:pt x="0" y="549"/>
                  </a:lnTo>
                  <a:lnTo>
                    <a:pt x="317" y="732"/>
                  </a:lnTo>
                  <a:lnTo>
                    <a:pt x="634"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6" name="Line 10">
              <a:extLst>
                <a:ext uri="{FF2B5EF4-FFF2-40B4-BE49-F238E27FC236}">
                  <a16:creationId xmlns:a16="http://schemas.microsoft.com/office/drawing/2014/main" id="{C68FB1C0-E568-46D8-A6FA-DF6A642707FD}"/>
                </a:ext>
              </a:extLst>
            </p:cNvPr>
            <p:cNvSpPr>
              <a:spLocks noChangeShapeType="1"/>
            </p:cNvSpPr>
            <p:nvPr/>
          </p:nvSpPr>
          <p:spPr bwMode="auto">
            <a:xfrm flipV="1">
              <a:off x="1512889" y="13693777"/>
              <a:ext cx="1006475"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7" name="Line 11">
              <a:extLst>
                <a:ext uri="{FF2B5EF4-FFF2-40B4-BE49-F238E27FC236}">
                  <a16:creationId xmlns:a16="http://schemas.microsoft.com/office/drawing/2014/main" id="{68CAE6A4-A765-45B0-8291-C89B2CA260EE}"/>
                </a:ext>
              </a:extLst>
            </p:cNvPr>
            <p:cNvSpPr>
              <a:spLocks noChangeShapeType="1"/>
            </p:cNvSpPr>
            <p:nvPr/>
          </p:nvSpPr>
          <p:spPr bwMode="auto">
            <a:xfrm flipH="1" flipV="1">
              <a:off x="1512889" y="13693777"/>
              <a:ext cx="1006475"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8" name="Line 12">
              <a:extLst>
                <a:ext uri="{FF2B5EF4-FFF2-40B4-BE49-F238E27FC236}">
                  <a16:creationId xmlns:a16="http://schemas.microsoft.com/office/drawing/2014/main" id="{4288ECA5-174E-43AF-A835-BE83B9E2E6F0}"/>
                </a:ext>
              </a:extLst>
            </p:cNvPr>
            <p:cNvSpPr>
              <a:spLocks noChangeShapeType="1"/>
            </p:cNvSpPr>
            <p:nvPr/>
          </p:nvSpPr>
          <p:spPr bwMode="auto">
            <a:xfrm flipV="1">
              <a:off x="2016126" y="13403265"/>
              <a:ext cx="0" cy="116205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9" name="Freeform 13">
              <a:extLst>
                <a:ext uri="{FF2B5EF4-FFF2-40B4-BE49-F238E27FC236}">
                  <a16:creationId xmlns:a16="http://schemas.microsoft.com/office/drawing/2014/main" id="{9FAFD1CA-5F6C-487C-8E12-C6D46C77BDB2}"/>
                </a:ext>
              </a:extLst>
            </p:cNvPr>
            <p:cNvSpPr>
              <a:spLocks/>
            </p:cNvSpPr>
            <p:nvPr/>
          </p:nvSpPr>
          <p:spPr bwMode="auto">
            <a:xfrm>
              <a:off x="1703389" y="14851065"/>
              <a:ext cx="1008063" cy="1162050"/>
            </a:xfrm>
            <a:custGeom>
              <a:avLst/>
              <a:gdLst>
                <a:gd name="T0" fmla="*/ 635 w 635"/>
                <a:gd name="T1" fmla="*/ 549 h 732"/>
                <a:gd name="T2" fmla="*/ 635 w 635"/>
                <a:gd name="T3" fmla="*/ 183 h 732"/>
                <a:gd name="T4" fmla="*/ 318 w 635"/>
                <a:gd name="T5" fmla="*/ 0 h 732"/>
                <a:gd name="T6" fmla="*/ 0 w 635"/>
                <a:gd name="T7" fmla="*/ 183 h 732"/>
                <a:gd name="T8" fmla="*/ 0 w 635"/>
                <a:gd name="T9" fmla="*/ 549 h 732"/>
                <a:gd name="T10" fmla="*/ 318 w 635"/>
                <a:gd name="T11" fmla="*/ 732 h 732"/>
                <a:gd name="T12" fmla="*/ 635 w 635"/>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5" h="732">
                  <a:moveTo>
                    <a:pt x="635" y="549"/>
                  </a:moveTo>
                  <a:lnTo>
                    <a:pt x="635" y="183"/>
                  </a:lnTo>
                  <a:lnTo>
                    <a:pt x="318" y="0"/>
                  </a:lnTo>
                  <a:lnTo>
                    <a:pt x="0" y="183"/>
                  </a:lnTo>
                  <a:lnTo>
                    <a:pt x="0" y="549"/>
                  </a:lnTo>
                  <a:lnTo>
                    <a:pt x="318" y="732"/>
                  </a:lnTo>
                  <a:lnTo>
                    <a:pt x="635"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0" name="Line 14">
              <a:extLst>
                <a:ext uri="{FF2B5EF4-FFF2-40B4-BE49-F238E27FC236}">
                  <a16:creationId xmlns:a16="http://schemas.microsoft.com/office/drawing/2014/main" id="{C37FADCB-9C08-48F9-A80F-8AF067ABBB1D}"/>
                </a:ext>
              </a:extLst>
            </p:cNvPr>
            <p:cNvSpPr>
              <a:spLocks noChangeShapeType="1"/>
            </p:cNvSpPr>
            <p:nvPr/>
          </p:nvSpPr>
          <p:spPr bwMode="auto">
            <a:xfrm flipV="1">
              <a:off x="1703389" y="15141577"/>
              <a:ext cx="1008063"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1" name="Line 15">
              <a:extLst>
                <a:ext uri="{FF2B5EF4-FFF2-40B4-BE49-F238E27FC236}">
                  <a16:creationId xmlns:a16="http://schemas.microsoft.com/office/drawing/2014/main" id="{C63CD3F6-A444-4741-910E-E7C5C034D504}"/>
                </a:ext>
              </a:extLst>
            </p:cNvPr>
            <p:cNvSpPr>
              <a:spLocks noChangeShapeType="1"/>
            </p:cNvSpPr>
            <p:nvPr/>
          </p:nvSpPr>
          <p:spPr bwMode="auto">
            <a:xfrm flipH="1" flipV="1">
              <a:off x="1703389" y="15141577"/>
              <a:ext cx="1008063"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2" name="Line 16">
              <a:extLst>
                <a:ext uri="{FF2B5EF4-FFF2-40B4-BE49-F238E27FC236}">
                  <a16:creationId xmlns:a16="http://schemas.microsoft.com/office/drawing/2014/main" id="{682FF1F7-526E-4CF4-90D1-CB9F80D5CAC5}"/>
                </a:ext>
              </a:extLst>
            </p:cNvPr>
            <p:cNvSpPr>
              <a:spLocks noChangeShapeType="1"/>
            </p:cNvSpPr>
            <p:nvPr/>
          </p:nvSpPr>
          <p:spPr bwMode="auto">
            <a:xfrm flipV="1">
              <a:off x="2208214" y="14851065"/>
              <a:ext cx="0" cy="116205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3" name="Freeform 17">
              <a:extLst>
                <a:ext uri="{FF2B5EF4-FFF2-40B4-BE49-F238E27FC236}">
                  <a16:creationId xmlns:a16="http://schemas.microsoft.com/office/drawing/2014/main" id="{F2699CD9-4FD3-45C1-9F79-3C2B61CFD69A}"/>
                </a:ext>
              </a:extLst>
            </p:cNvPr>
            <p:cNvSpPr>
              <a:spLocks/>
            </p:cNvSpPr>
            <p:nvPr/>
          </p:nvSpPr>
          <p:spPr bwMode="auto">
            <a:xfrm>
              <a:off x="2306639" y="13830302"/>
              <a:ext cx="1366838" cy="1574800"/>
            </a:xfrm>
            <a:custGeom>
              <a:avLst/>
              <a:gdLst>
                <a:gd name="T0" fmla="*/ 861 w 861"/>
                <a:gd name="T1" fmla="*/ 744 h 992"/>
                <a:gd name="T2" fmla="*/ 861 w 861"/>
                <a:gd name="T3" fmla="*/ 248 h 992"/>
                <a:gd name="T4" fmla="*/ 430 w 861"/>
                <a:gd name="T5" fmla="*/ 0 h 992"/>
                <a:gd name="T6" fmla="*/ 0 w 861"/>
                <a:gd name="T7" fmla="*/ 248 h 992"/>
                <a:gd name="T8" fmla="*/ 0 w 861"/>
                <a:gd name="T9" fmla="*/ 744 h 992"/>
                <a:gd name="T10" fmla="*/ 430 w 861"/>
                <a:gd name="T11" fmla="*/ 992 h 992"/>
                <a:gd name="T12" fmla="*/ 861 w 861"/>
                <a:gd name="T13" fmla="*/ 744 h 992"/>
              </a:gdLst>
              <a:ahLst/>
              <a:cxnLst>
                <a:cxn ang="0">
                  <a:pos x="T0" y="T1"/>
                </a:cxn>
                <a:cxn ang="0">
                  <a:pos x="T2" y="T3"/>
                </a:cxn>
                <a:cxn ang="0">
                  <a:pos x="T4" y="T5"/>
                </a:cxn>
                <a:cxn ang="0">
                  <a:pos x="T6" y="T7"/>
                </a:cxn>
                <a:cxn ang="0">
                  <a:pos x="T8" y="T9"/>
                </a:cxn>
                <a:cxn ang="0">
                  <a:pos x="T10" y="T11"/>
                </a:cxn>
                <a:cxn ang="0">
                  <a:pos x="T12" y="T13"/>
                </a:cxn>
              </a:cxnLst>
              <a:rect l="0" t="0" r="r" b="b"/>
              <a:pathLst>
                <a:path w="861" h="992">
                  <a:moveTo>
                    <a:pt x="861" y="744"/>
                  </a:moveTo>
                  <a:lnTo>
                    <a:pt x="861" y="248"/>
                  </a:lnTo>
                  <a:lnTo>
                    <a:pt x="430" y="0"/>
                  </a:lnTo>
                  <a:lnTo>
                    <a:pt x="0" y="248"/>
                  </a:lnTo>
                  <a:lnTo>
                    <a:pt x="0" y="744"/>
                  </a:lnTo>
                  <a:lnTo>
                    <a:pt x="430" y="992"/>
                  </a:lnTo>
                  <a:lnTo>
                    <a:pt x="861" y="744"/>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4" name="Line 18">
              <a:extLst>
                <a:ext uri="{FF2B5EF4-FFF2-40B4-BE49-F238E27FC236}">
                  <a16:creationId xmlns:a16="http://schemas.microsoft.com/office/drawing/2014/main" id="{0245EC9E-A7E2-431B-B954-2ECF999103CA}"/>
                </a:ext>
              </a:extLst>
            </p:cNvPr>
            <p:cNvSpPr>
              <a:spLocks noChangeShapeType="1"/>
            </p:cNvSpPr>
            <p:nvPr/>
          </p:nvSpPr>
          <p:spPr bwMode="auto">
            <a:xfrm flipV="1">
              <a:off x="2306639" y="14224002"/>
              <a:ext cx="1366838" cy="78740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5" name="Line 19">
              <a:extLst>
                <a:ext uri="{FF2B5EF4-FFF2-40B4-BE49-F238E27FC236}">
                  <a16:creationId xmlns:a16="http://schemas.microsoft.com/office/drawing/2014/main" id="{9DDA43D0-4C99-4614-90A2-E2FE14F4C8DC}"/>
                </a:ext>
              </a:extLst>
            </p:cNvPr>
            <p:cNvSpPr>
              <a:spLocks noChangeShapeType="1"/>
            </p:cNvSpPr>
            <p:nvPr/>
          </p:nvSpPr>
          <p:spPr bwMode="auto">
            <a:xfrm flipH="1" flipV="1">
              <a:off x="2306639" y="14224002"/>
              <a:ext cx="1366838" cy="78740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6" name="Line 20">
              <a:extLst>
                <a:ext uri="{FF2B5EF4-FFF2-40B4-BE49-F238E27FC236}">
                  <a16:creationId xmlns:a16="http://schemas.microsoft.com/office/drawing/2014/main" id="{2ACA50EF-1933-4DC1-931F-2BE80D252F28}"/>
                </a:ext>
              </a:extLst>
            </p:cNvPr>
            <p:cNvSpPr>
              <a:spLocks noChangeShapeType="1"/>
            </p:cNvSpPr>
            <p:nvPr/>
          </p:nvSpPr>
          <p:spPr bwMode="auto">
            <a:xfrm flipV="1">
              <a:off x="2989264" y="13830302"/>
              <a:ext cx="0" cy="157480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7" name="Freeform 21">
              <a:extLst>
                <a:ext uri="{FF2B5EF4-FFF2-40B4-BE49-F238E27FC236}">
                  <a16:creationId xmlns:a16="http://schemas.microsoft.com/office/drawing/2014/main" id="{06337D17-3578-4D22-A5D0-6B40C7D81FDE}"/>
                </a:ext>
              </a:extLst>
            </p:cNvPr>
            <p:cNvSpPr>
              <a:spLocks/>
            </p:cNvSpPr>
            <p:nvPr/>
          </p:nvSpPr>
          <p:spPr bwMode="auto">
            <a:xfrm>
              <a:off x="4000501" y="13792202"/>
              <a:ext cx="2006600" cy="2312988"/>
            </a:xfrm>
            <a:custGeom>
              <a:avLst/>
              <a:gdLst>
                <a:gd name="T0" fmla="*/ 1264 w 1264"/>
                <a:gd name="T1" fmla="*/ 1093 h 1457"/>
                <a:gd name="T2" fmla="*/ 1264 w 1264"/>
                <a:gd name="T3" fmla="*/ 364 h 1457"/>
                <a:gd name="T4" fmla="*/ 632 w 1264"/>
                <a:gd name="T5" fmla="*/ 0 h 1457"/>
                <a:gd name="T6" fmla="*/ 0 w 1264"/>
                <a:gd name="T7" fmla="*/ 364 h 1457"/>
                <a:gd name="T8" fmla="*/ 0 w 1264"/>
                <a:gd name="T9" fmla="*/ 1093 h 1457"/>
                <a:gd name="T10" fmla="*/ 632 w 1264"/>
                <a:gd name="T11" fmla="*/ 1457 h 1457"/>
                <a:gd name="T12" fmla="*/ 1264 w 1264"/>
                <a:gd name="T13" fmla="*/ 1093 h 1457"/>
              </a:gdLst>
              <a:ahLst/>
              <a:cxnLst>
                <a:cxn ang="0">
                  <a:pos x="T0" y="T1"/>
                </a:cxn>
                <a:cxn ang="0">
                  <a:pos x="T2" y="T3"/>
                </a:cxn>
                <a:cxn ang="0">
                  <a:pos x="T4" y="T5"/>
                </a:cxn>
                <a:cxn ang="0">
                  <a:pos x="T6" y="T7"/>
                </a:cxn>
                <a:cxn ang="0">
                  <a:pos x="T8" y="T9"/>
                </a:cxn>
                <a:cxn ang="0">
                  <a:pos x="T10" y="T11"/>
                </a:cxn>
                <a:cxn ang="0">
                  <a:pos x="T12" y="T13"/>
                </a:cxn>
              </a:cxnLst>
              <a:rect l="0" t="0" r="r" b="b"/>
              <a:pathLst>
                <a:path w="1264" h="1457">
                  <a:moveTo>
                    <a:pt x="1264" y="1093"/>
                  </a:moveTo>
                  <a:lnTo>
                    <a:pt x="1264" y="364"/>
                  </a:lnTo>
                  <a:lnTo>
                    <a:pt x="632" y="0"/>
                  </a:lnTo>
                  <a:lnTo>
                    <a:pt x="0" y="364"/>
                  </a:lnTo>
                  <a:lnTo>
                    <a:pt x="0" y="1093"/>
                  </a:lnTo>
                  <a:lnTo>
                    <a:pt x="632" y="1457"/>
                  </a:lnTo>
                  <a:lnTo>
                    <a:pt x="1264" y="1093"/>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8" name="Line 22">
              <a:extLst>
                <a:ext uri="{FF2B5EF4-FFF2-40B4-BE49-F238E27FC236}">
                  <a16:creationId xmlns:a16="http://schemas.microsoft.com/office/drawing/2014/main" id="{92F9DD9C-A661-4D80-BC6D-38F9819F974C}"/>
                </a:ext>
              </a:extLst>
            </p:cNvPr>
            <p:cNvSpPr>
              <a:spLocks noChangeShapeType="1"/>
            </p:cNvSpPr>
            <p:nvPr/>
          </p:nvSpPr>
          <p:spPr bwMode="auto">
            <a:xfrm flipV="1">
              <a:off x="4000501" y="14370052"/>
              <a:ext cx="2006600" cy="115728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9" name="Line 23">
              <a:extLst>
                <a:ext uri="{FF2B5EF4-FFF2-40B4-BE49-F238E27FC236}">
                  <a16:creationId xmlns:a16="http://schemas.microsoft.com/office/drawing/2014/main" id="{E96911DF-06AD-4FE4-BFE5-C8ECB8721B15}"/>
                </a:ext>
              </a:extLst>
            </p:cNvPr>
            <p:cNvSpPr>
              <a:spLocks noChangeShapeType="1"/>
            </p:cNvSpPr>
            <p:nvPr/>
          </p:nvSpPr>
          <p:spPr bwMode="auto">
            <a:xfrm flipH="1" flipV="1">
              <a:off x="4000501" y="14370052"/>
              <a:ext cx="2006600" cy="115728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0" name="Line 24">
              <a:extLst>
                <a:ext uri="{FF2B5EF4-FFF2-40B4-BE49-F238E27FC236}">
                  <a16:creationId xmlns:a16="http://schemas.microsoft.com/office/drawing/2014/main" id="{E76B4245-05BF-497E-9FE1-D5EC8F8E0565}"/>
                </a:ext>
              </a:extLst>
            </p:cNvPr>
            <p:cNvSpPr>
              <a:spLocks noChangeShapeType="1"/>
            </p:cNvSpPr>
            <p:nvPr/>
          </p:nvSpPr>
          <p:spPr bwMode="auto">
            <a:xfrm flipV="1">
              <a:off x="5003801" y="13792202"/>
              <a:ext cx="0" cy="231298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1" name="Freeform 25">
              <a:extLst>
                <a:ext uri="{FF2B5EF4-FFF2-40B4-BE49-F238E27FC236}">
                  <a16:creationId xmlns:a16="http://schemas.microsoft.com/office/drawing/2014/main" id="{475AE0C3-4FFC-4214-9041-DAFFC25B4D1C}"/>
                </a:ext>
              </a:extLst>
            </p:cNvPr>
            <p:cNvSpPr>
              <a:spLocks/>
            </p:cNvSpPr>
            <p:nvPr/>
          </p:nvSpPr>
          <p:spPr bwMode="auto">
            <a:xfrm>
              <a:off x="4362451" y="12163427"/>
              <a:ext cx="2008188" cy="2314575"/>
            </a:xfrm>
            <a:custGeom>
              <a:avLst/>
              <a:gdLst>
                <a:gd name="T0" fmla="*/ 1265 w 1265"/>
                <a:gd name="T1" fmla="*/ 1094 h 1458"/>
                <a:gd name="T2" fmla="*/ 1265 w 1265"/>
                <a:gd name="T3" fmla="*/ 364 h 1458"/>
                <a:gd name="T4" fmla="*/ 633 w 1265"/>
                <a:gd name="T5" fmla="*/ 0 h 1458"/>
                <a:gd name="T6" fmla="*/ 0 w 1265"/>
                <a:gd name="T7" fmla="*/ 364 h 1458"/>
                <a:gd name="T8" fmla="*/ 0 w 1265"/>
                <a:gd name="T9" fmla="*/ 1094 h 1458"/>
                <a:gd name="T10" fmla="*/ 633 w 1265"/>
                <a:gd name="T11" fmla="*/ 1458 h 1458"/>
                <a:gd name="T12" fmla="*/ 1265 w 1265"/>
                <a:gd name="T13" fmla="*/ 1094 h 1458"/>
              </a:gdLst>
              <a:ahLst/>
              <a:cxnLst>
                <a:cxn ang="0">
                  <a:pos x="T0" y="T1"/>
                </a:cxn>
                <a:cxn ang="0">
                  <a:pos x="T2" y="T3"/>
                </a:cxn>
                <a:cxn ang="0">
                  <a:pos x="T4" y="T5"/>
                </a:cxn>
                <a:cxn ang="0">
                  <a:pos x="T6" y="T7"/>
                </a:cxn>
                <a:cxn ang="0">
                  <a:pos x="T8" y="T9"/>
                </a:cxn>
                <a:cxn ang="0">
                  <a:pos x="T10" y="T11"/>
                </a:cxn>
                <a:cxn ang="0">
                  <a:pos x="T12" y="T13"/>
                </a:cxn>
              </a:cxnLst>
              <a:rect l="0" t="0" r="r" b="b"/>
              <a:pathLst>
                <a:path w="1265" h="1458">
                  <a:moveTo>
                    <a:pt x="1265" y="1094"/>
                  </a:moveTo>
                  <a:lnTo>
                    <a:pt x="1265" y="364"/>
                  </a:lnTo>
                  <a:lnTo>
                    <a:pt x="633" y="0"/>
                  </a:lnTo>
                  <a:lnTo>
                    <a:pt x="0" y="364"/>
                  </a:lnTo>
                  <a:lnTo>
                    <a:pt x="0" y="1094"/>
                  </a:lnTo>
                  <a:lnTo>
                    <a:pt x="633" y="1458"/>
                  </a:lnTo>
                  <a:lnTo>
                    <a:pt x="1265" y="1094"/>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2" name="Line 26">
              <a:extLst>
                <a:ext uri="{FF2B5EF4-FFF2-40B4-BE49-F238E27FC236}">
                  <a16:creationId xmlns:a16="http://schemas.microsoft.com/office/drawing/2014/main" id="{D544580A-974C-4DC0-94D4-0B511EA088E5}"/>
                </a:ext>
              </a:extLst>
            </p:cNvPr>
            <p:cNvSpPr>
              <a:spLocks noChangeShapeType="1"/>
            </p:cNvSpPr>
            <p:nvPr/>
          </p:nvSpPr>
          <p:spPr bwMode="auto">
            <a:xfrm flipV="1">
              <a:off x="4362451" y="12741277"/>
              <a:ext cx="2008188" cy="11588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3" name="Line 27">
              <a:extLst>
                <a:ext uri="{FF2B5EF4-FFF2-40B4-BE49-F238E27FC236}">
                  <a16:creationId xmlns:a16="http://schemas.microsoft.com/office/drawing/2014/main" id="{17044BA2-030B-4BB2-AE74-41E6089BA377}"/>
                </a:ext>
              </a:extLst>
            </p:cNvPr>
            <p:cNvSpPr>
              <a:spLocks noChangeShapeType="1"/>
            </p:cNvSpPr>
            <p:nvPr/>
          </p:nvSpPr>
          <p:spPr bwMode="auto">
            <a:xfrm flipH="1" flipV="1">
              <a:off x="4362451" y="12741277"/>
              <a:ext cx="2008188" cy="11588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4" name="Line 28">
              <a:extLst>
                <a:ext uri="{FF2B5EF4-FFF2-40B4-BE49-F238E27FC236}">
                  <a16:creationId xmlns:a16="http://schemas.microsoft.com/office/drawing/2014/main" id="{B4CE0B28-B0DC-4017-AB24-7DA3AC3B98FC}"/>
                </a:ext>
              </a:extLst>
            </p:cNvPr>
            <p:cNvSpPr>
              <a:spLocks noChangeShapeType="1"/>
            </p:cNvSpPr>
            <p:nvPr/>
          </p:nvSpPr>
          <p:spPr bwMode="auto">
            <a:xfrm flipV="1">
              <a:off x="5367339" y="12163427"/>
              <a:ext cx="0" cy="23145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5" name="Freeform 29">
              <a:extLst>
                <a:ext uri="{FF2B5EF4-FFF2-40B4-BE49-F238E27FC236}">
                  <a16:creationId xmlns:a16="http://schemas.microsoft.com/office/drawing/2014/main" id="{5E53A514-A981-44FC-A071-CE31371BB641}"/>
                </a:ext>
              </a:extLst>
            </p:cNvPr>
            <p:cNvSpPr>
              <a:spLocks/>
            </p:cNvSpPr>
            <p:nvPr/>
          </p:nvSpPr>
          <p:spPr bwMode="auto">
            <a:xfrm>
              <a:off x="3197226" y="14689140"/>
              <a:ext cx="1065213" cy="1228725"/>
            </a:xfrm>
            <a:custGeom>
              <a:avLst/>
              <a:gdLst>
                <a:gd name="T0" fmla="*/ 671 w 671"/>
                <a:gd name="T1" fmla="*/ 581 h 774"/>
                <a:gd name="T2" fmla="*/ 671 w 671"/>
                <a:gd name="T3" fmla="*/ 194 h 774"/>
                <a:gd name="T4" fmla="*/ 335 w 671"/>
                <a:gd name="T5" fmla="*/ 0 h 774"/>
                <a:gd name="T6" fmla="*/ 0 w 671"/>
                <a:gd name="T7" fmla="*/ 194 h 774"/>
                <a:gd name="T8" fmla="*/ 0 w 671"/>
                <a:gd name="T9" fmla="*/ 581 h 774"/>
                <a:gd name="T10" fmla="*/ 335 w 671"/>
                <a:gd name="T11" fmla="*/ 774 h 774"/>
                <a:gd name="T12" fmla="*/ 671 w 671"/>
                <a:gd name="T13" fmla="*/ 581 h 774"/>
              </a:gdLst>
              <a:ahLst/>
              <a:cxnLst>
                <a:cxn ang="0">
                  <a:pos x="T0" y="T1"/>
                </a:cxn>
                <a:cxn ang="0">
                  <a:pos x="T2" y="T3"/>
                </a:cxn>
                <a:cxn ang="0">
                  <a:pos x="T4" y="T5"/>
                </a:cxn>
                <a:cxn ang="0">
                  <a:pos x="T6" y="T7"/>
                </a:cxn>
                <a:cxn ang="0">
                  <a:pos x="T8" y="T9"/>
                </a:cxn>
                <a:cxn ang="0">
                  <a:pos x="T10" y="T11"/>
                </a:cxn>
                <a:cxn ang="0">
                  <a:pos x="T12" y="T13"/>
                </a:cxn>
              </a:cxnLst>
              <a:rect l="0" t="0" r="r" b="b"/>
              <a:pathLst>
                <a:path w="671" h="774">
                  <a:moveTo>
                    <a:pt x="671" y="581"/>
                  </a:moveTo>
                  <a:lnTo>
                    <a:pt x="671" y="194"/>
                  </a:lnTo>
                  <a:lnTo>
                    <a:pt x="335" y="0"/>
                  </a:lnTo>
                  <a:lnTo>
                    <a:pt x="0" y="194"/>
                  </a:lnTo>
                  <a:lnTo>
                    <a:pt x="0" y="581"/>
                  </a:lnTo>
                  <a:lnTo>
                    <a:pt x="335" y="774"/>
                  </a:lnTo>
                  <a:lnTo>
                    <a:pt x="671" y="581"/>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6" name="Line 30">
              <a:extLst>
                <a:ext uri="{FF2B5EF4-FFF2-40B4-BE49-F238E27FC236}">
                  <a16:creationId xmlns:a16="http://schemas.microsoft.com/office/drawing/2014/main" id="{1C6BAF16-19E3-451D-82D7-B5AFA23B8342}"/>
                </a:ext>
              </a:extLst>
            </p:cNvPr>
            <p:cNvSpPr>
              <a:spLocks noChangeShapeType="1"/>
            </p:cNvSpPr>
            <p:nvPr/>
          </p:nvSpPr>
          <p:spPr bwMode="auto">
            <a:xfrm flipV="1">
              <a:off x="3197226" y="14997115"/>
              <a:ext cx="1065213" cy="614363"/>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7" name="Line 31">
              <a:extLst>
                <a:ext uri="{FF2B5EF4-FFF2-40B4-BE49-F238E27FC236}">
                  <a16:creationId xmlns:a16="http://schemas.microsoft.com/office/drawing/2014/main" id="{59A9C1DA-7A68-4FF2-A01F-63DBB8CB7CC0}"/>
                </a:ext>
              </a:extLst>
            </p:cNvPr>
            <p:cNvSpPr>
              <a:spLocks noChangeShapeType="1"/>
            </p:cNvSpPr>
            <p:nvPr/>
          </p:nvSpPr>
          <p:spPr bwMode="auto">
            <a:xfrm flipH="1" flipV="1">
              <a:off x="3197226" y="14997115"/>
              <a:ext cx="1065213" cy="614363"/>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8" name="Line 32">
              <a:extLst>
                <a:ext uri="{FF2B5EF4-FFF2-40B4-BE49-F238E27FC236}">
                  <a16:creationId xmlns:a16="http://schemas.microsoft.com/office/drawing/2014/main" id="{C30D91BE-73DD-4F50-9649-36A610D78CF4}"/>
                </a:ext>
              </a:extLst>
            </p:cNvPr>
            <p:cNvSpPr>
              <a:spLocks noChangeShapeType="1"/>
            </p:cNvSpPr>
            <p:nvPr/>
          </p:nvSpPr>
          <p:spPr bwMode="auto">
            <a:xfrm flipV="1">
              <a:off x="3729039" y="14689140"/>
              <a:ext cx="0" cy="12287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9" name="Freeform 33">
              <a:extLst>
                <a:ext uri="{FF2B5EF4-FFF2-40B4-BE49-F238E27FC236}">
                  <a16:creationId xmlns:a16="http://schemas.microsoft.com/office/drawing/2014/main" id="{A246022C-61BF-4928-BAEC-F976263CBB43}"/>
                </a:ext>
              </a:extLst>
            </p:cNvPr>
            <p:cNvSpPr>
              <a:spLocks/>
            </p:cNvSpPr>
            <p:nvPr/>
          </p:nvSpPr>
          <p:spPr bwMode="auto">
            <a:xfrm>
              <a:off x="3230564" y="13009565"/>
              <a:ext cx="1316038" cy="1519238"/>
            </a:xfrm>
            <a:custGeom>
              <a:avLst/>
              <a:gdLst>
                <a:gd name="T0" fmla="*/ 829 w 829"/>
                <a:gd name="T1" fmla="*/ 718 h 957"/>
                <a:gd name="T2" fmla="*/ 829 w 829"/>
                <a:gd name="T3" fmla="*/ 240 h 957"/>
                <a:gd name="T4" fmla="*/ 414 w 829"/>
                <a:gd name="T5" fmla="*/ 0 h 957"/>
                <a:gd name="T6" fmla="*/ 0 w 829"/>
                <a:gd name="T7" fmla="*/ 240 h 957"/>
                <a:gd name="T8" fmla="*/ 0 w 829"/>
                <a:gd name="T9" fmla="*/ 718 h 957"/>
                <a:gd name="T10" fmla="*/ 414 w 829"/>
                <a:gd name="T11" fmla="*/ 957 h 957"/>
                <a:gd name="T12" fmla="*/ 829 w 829"/>
                <a:gd name="T13" fmla="*/ 718 h 957"/>
              </a:gdLst>
              <a:ahLst/>
              <a:cxnLst>
                <a:cxn ang="0">
                  <a:pos x="T0" y="T1"/>
                </a:cxn>
                <a:cxn ang="0">
                  <a:pos x="T2" y="T3"/>
                </a:cxn>
                <a:cxn ang="0">
                  <a:pos x="T4" y="T5"/>
                </a:cxn>
                <a:cxn ang="0">
                  <a:pos x="T6" y="T7"/>
                </a:cxn>
                <a:cxn ang="0">
                  <a:pos x="T8" y="T9"/>
                </a:cxn>
                <a:cxn ang="0">
                  <a:pos x="T10" y="T11"/>
                </a:cxn>
                <a:cxn ang="0">
                  <a:pos x="T12" y="T13"/>
                </a:cxn>
              </a:cxnLst>
              <a:rect l="0" t="0" r="r" b="b"/>
              <a:pathLst>
                <a:path w="829" h="957">
                  <a:moveTo>
                    <a:pt x="829" y="718"/>
                  </a:moveTo>
                  <a:lnTo>
                    <a:pt x="829" y="240"/>
                  </a:lnTo>
                  <a:lnTo>
                    <a:pt x="414" y="0"/>
                  </a:lnTo>
                  <a:lnTo>
                    <a:pt x="0" y="240"/>
                  </a:lnTo>
                  <a:lnTo>
                    <a:pt x="0" y="718"/>
                  </a:lnTo>
                  <a:lnTo>
                    <a:pt x="414" y="957"/>
                  </a:lnTo>
                  <a:lnTo>
                    <a:pt x="829" y="718"/>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0" name="Line 34">
              <a:extLst>
                <a:ext uri="{FF2B5EF4-FFF2-40B4-BE49-F238E27FC236}">
                  <a16:creationId xmlns:a16="http://schemas.microsoft.com/office/drawing/2014/main" id="{ADE3652C-0AAE-465E-AE06-CB9D6E0E6A03}"/>
                </a:ext>
              </a:extLst>
            </p:cNvPr>
            <p:cNvSpPr>
              <a:spLocks noChangeShapeType="1"/>
            </p:cNvSpPr>
            <p:nvPr/>
          </p:nvSpPr>
          <p:spPr bwMode="auto">
            <a:xfrm flipV="1">
              <a:off x="3230564" y="13390565"/>
              <a:ext cx="1316038" cy="7588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1" name="Line 35">
              <a:extLst>
                <a:ext uri="{FF2B5EF4-FFF2-40B4-BE49-F238E27FC236}">
                  <a16:creationId xmlns:a16="http://schemas.microsoft.com/office/drawing/2014/main" id="{3B3AA511-2437-485B-9857-8CCCE4A0D613}"/>
                </a:ext>
              </a:extLst>
            </p:cNvPr>
            <p:cNvSpPr>
              <a:spLocks noChangeShapeType="1"/>
            </p:cNvSpPr>
            <p:nvPr/>
          </p:nvSpPr>
          <p:spPr bwMode="auto">
            <a:xfrm flipH="1" flipV="1">
              <a:off x="3230564" y="13390565"/>
              <a:ext cx="1316038" cy="7588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2" name="Line 36">
              <a:extLst>
                <a:ext uri="{FF2B5EF4-FFF2-40B4-BE49-F238E27FC236}">
                  <a16:creationId xmlns:a16="http://schemas.microsoft.com/office/drawing/2014/main" id="{FD19DADC-5BF2-403B-BD36-2B1106815AF1}"/>
                </a:ext>
              </a:extLst>
            </p:cNvPr>
            <p:cNvSpPr>
              <a:spLocks noChangeShapeType="1"/>
            </p:cNvSpPr>
            <p:nvPr/>
          </p:nvSpPr>
          <p:spPr bwMode="auto">
            <a:xfrm flipV="1">
              <a:off x="3887789" y="13009565"/>
              <a:ext cx="0" cy="151923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4106" name="Rectangle 4105">
            <a:extLst>
              <a:ext uri="{FF2B5EF4-FFF2-40B4-BE49-F238E27FC236}">
                <a16:creationId xmlns:a16="http://schemas.microsoft.com/office/drawing/2014/main" id="{8075DCB1-C862-44AC-B54B-657382904519}"/>
              </a:ext>
            </a:extLst>
          </p:cNvPr>
          <p:cNvSpPr/>
          <p:nvPr/>
        </p:nvSpPr>
        <p:spPr>
          <a:xfrm>
            <a:off x="8279784" y="4635335"/>
            <a:ext cx="2019445"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Blockchain Service</a:t>
            </a: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61" name="Rectangle 260">
            <a:extLst>
              <a:ext uri="{FF2B5EF4-FFF2-40B4-BE49-F238E27FC236}">
                <a16:creationId xmlns:a16="http://schemas.microsoft.com/office/drawing/2014/main" id="{1C7BA280-F0B6-4835-B605-93EA0D073FBA}"/>
              </a:ext>
            </a:extLst>
          </p:cNvPr>
          <p:cNvSpPr/>
          <p:nvPr/>
        </p:nvSpPr>
        <p:spPr bwMode="auto">
          <a:xfrm rot="5400000">
            <a:off x="9945122" y="2094976"/>
            <a:ext cx="7642746" cy="3132068"/>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Rectangle 261">
            <a:extLst>
              <a:ext uri="{FF2B5EF4-FFF2-40B4-BE49-F238E27FC236}">
                <a16:creationId xmlns:a16="http://schemas.microsoft.com/office/drawing/2014/main" id="{6EC510EC-E598-4C2A-B536-161169925DE0}"/>
              </a:ext>
            </a:extLst>
          </p:cNvPr>
          <p:cNvSpPr/>
          <p:nvPr/>
        </p:nvSpPr>
        <p:spPr bwMode="auto">
          <a:xfrm rot="5400000" flipH="1" flipV="1">
            <a:off x="5830474" y="2816641"/>
            <a:ext cx="3452579" cy="1153529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096" name="Group 4095">
            <a:extLst>
              <a:ext uri="{FF2B5EF4-FFF2-40B4-BE49-F238E27FC236}">
                <a16:creationId xmlns:a16="http://schemas.microsoft.com/office/drawing/2014/main" id="{1B0CA084-ECE4-441F-BB43-C6A6EA38FEA1}"/>
              </a:ext>
            </a:extLst>
          </p:cNvPr>
          <p:cNvGrpSpPr/>
          <p:nvPr/>
        </p:nvGrpSpPr>
        <p:grpSpPr>
          <a:xfrm>
            <a:off x="2577222" y="1648271"/>
            <a:ext cx="6479684" cy="1707819"/>
            <a:chOff x="2577222" y="1653241"/>
            <a:chExt cx="6479684" cy="1707819"/>
          </a:xfrm>
        </p:grpSpPr>
        <p:grpSp>
          <p:nvGrpSpPr>
            <p:cNvPr id="4104" name="Group 4103">
              <a:extLst>
                <a:ext uri="{FF2B5EF4-FFF2-40B4-BE49-F238E27FC236}">
                  <a16:creationId xmlns:a16="http://schemas.microsoft.com/office/drawing/2014/main" id="{60DFED33-53C4-4F4E-B091-2C58FCBC8D40}"/>
                </a:ext>
              </a:extLst>
            </p:cNvPr>
            <p:cNvGrpSpPr/>
            <p:nvPr/>
          </p:nvGrpSpPr>
          <p:grpSpPr>
            <a:xfrm>
              <a:off x="2577222" y="2274469"/>
              <a:ext cx="6479684" cy="1086591"/>
              <a:chOff x="2577222" y="2274469"/>
              <a:chExt cx="6479684" cy="1086591"/>
            </a:xfrm>
          </p:grpSpPr>
          <p:sp>
            <p:nvSpPr>
              <p:cNvPr id="143" name="Rectangle 142">
                <a:extLst>
                  <a:ext uri="{FF2B5EF4-FFF2-40B4-BE49-F238E27FC236}">
                    <a16:creationId xmlns:a16="http://schemas.microsoft.com/office/drawing/2014/main" id="{C785C262-3E80-4C44-BDD8-4B774E34B8CE}"/>
                  </a:ext>
                </a:extLst>
              </p:cNvPr>
              <p:cNvSpPr/>
              <p:nvPr/>
            </p:nvSpPr>
            <p:spPr bwMode="auto">
              <a:xfrm>
                <a:off x="2577222" y="2274469"/>
                <a:ext cx="3317856" cy="515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Build and extend the application</a:t>
                </a:r>
              </a:p>
            </p:txBody>
          </p:sp>
          <p:sp>
            <p:nvSpPr>
              <p:cNvPr id="135" name="Rectangle 134">
                <a:extLst>
                  <a:ext uri="{FF2B5EF4-FFF2-40B4-BE49-F238E27FC236}">
                    <a16:creationId xmlns:a16="http://schemas.microsoft.com/office/drawing/2014/main" id="{81CCADAF-A03D-4728-B669-0520F8AEF675}"/>
                  </a:ext>
                </a:extLst>
              </p:cNvPr>
              <p:cNvSpPr/>
              <p:nvPr/>
            </p:nvSpPr>
            <p:spPr bwMode="auto">
              <a:xfrm>
                <a:off x="7345580" y="2606769"/>
                <a:ext cx="1711326" cy="7542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Dev Kit</a:t>
                </a:r>
                <a:br>
                  <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br>
                <a:r>
                  <a:rPr kumimoji="0" lang="en-US" sz="16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Extend your app and move to production</a:t>
                </a:r>
                <a:endPar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grpSp>
          <p:nvGrpSpPr>
            <p:cNvPr id="115" name="Group 114">
              <a:extLst>
                <a:ext uri="{FF2B5EF4-FFF2-40B4-BE49-F238E27FC236}">
                  <a16:creationId xmlns:a16="http://schemas.microsoft.com/office/drawing/2014/main" id="{0468D84E-B1C4-4BC9-9D30-C4E9E110CF14}"/>
                </a:ext>
              </a:extLst>
            </p:cNvPr>
            <p:cNvGrpSpPr/>
            <p:nvPr/>
          </p:nvGrpSpPr>
          <p:grpSpPr>
            <a:xfrm>
              <a:off x="7370406" y="1653241"/>
              <a:ext cx="1686133" cy="794471"/>
              <a:chOff x="7370406" y="1653241"/>
              <a:chExt cx="1686133" cy="794471"/>
            </a:xfrm>
          </p:grpSpPr>
          <p:cxnSp>
            <p:nvCxnSpPr>
              <p:cNvPr id="253" name="Straight Connector 252">
                <a:extLst>
                  <a:ext uri="{FF2B5EF4-FFF2-40B4-BE49-F238E27FC236}">
                    <a16:creationId xmlns:a16="http://schemas.microsoft.com/office/drawing/2014/main" id="{38EEA67A-22E1-4E53-8A71-EB5A963BCF76}"/>
                  </a:ext>
                </a:extLst>
              </p:cNvPr>
              <p:cNvCxnSpPr/>
              <p:nvPr/>
            </p:nvCxnSpPr>
            <p:spPr>
              <a:xfrm>
                <a:off x="7568945" y="2447712"/>
                <a:ext cx="1289055" cy="0"/>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54" name="Rectangle 253">
                <a:extLst>
                  <a:ext uri="{FF2B5EF4-FFF2-40B4-BE49-F238E27FC236}">
                    <a16:creationId xmlns:a16="http://schemas.microsoft.com/office/drawing/2014/main" id="{2385B679-6FAD-46B8-B2D0-E55318F9180A}"/>
                  </a:ext>
                </a:extLst>
              </p:cNvPr>
              <p:cNvSpPr/>
              <p:nvPr/>
            </p:nvSpPr>
            <p:spPr bwMode="auto">
              <a:xfrm>
                <a:off x="7370406" y="1653241"/>
                <a:ext cx="1686133" cy="7498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Workbench</a:t>
                </a:r>
                <a:br>
                  <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br>
                <a:r>
                  <a:rPr kumimoji="0" lang="en-US" sz="16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Prototype your application</a:t>
                </a:r>
                <a:endPar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grpSp>
      </p:grpSp>
    </p:spTree>
    <p:extLst>
      <p:ext uri="{BB962C8B-B14F-4D97-AF65-F5344CB8AC3E}">
        <p14:creationId xmlns:p14="http://schemas.microsoft.com/office/powerpoint/2010/main" val="608688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02"/>
                                        </p:tgtEl>
                                        <p:attrNameLst>
                                          <p:attrName>style.visibility</p:attrName>
                                        </p:attrNameLst>
                                      </p:cBhvr>
                                      <p:to>
                                        <p:strVal val="visible"/>
                                      </p:to>
                                    </p:set>
                                    <p:animEffect transition="in" filter="fade">
                                      <p:cBhvr>
                                        <p:cTn id="7" dur="500"/>
                                        <p:tgtEl>
                                          <p:spTgt spid="410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6"/>
                                        </p:tgtEl>
                                        <p:attrNameLst>
                                          <p:attrName>style.visibility</p:attrName>
                                        </p:attrNameLst>
                                      </p:cBhvr>
                                      <p:to>
                                        <p:strVal val="visible"/>
                                      </p:to>
                                    </p:set>
                                    <p:animEffect transition="in" filter="fade">
                                      <p:cBhvr>
                                        <p:cTn id="10" dur="500"/>
                                        <p:tgtEl>
                                          <p:spTgt spid="25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106"/>
                                        </p:tgtEl>
                                        <p:attrNameLst>
                                          <p:attrName>style.visibility</p:attrName>
                                        </p:attrNameLst>
                                      </p:cBhvr>
                                      <p:to>
                                        <p:strVal val="visible"/>
                                      </p:to>
                                    </p:set>
                                    <p:animEffect transition="in" filter="fade">
                                      <p:cBhvr>
                                        <p:cTn id="13" dur="500"/>
                                        <p:tgtEl>
                                          <p:spTgt spid="410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103"/>
                                        </p:tgtEl>
                                        <p:attrNameLst>
                                          <p:attrName>style.visibility</p:attrName>
                                        </p:attrNameLst>
                                      </p:cBhvr>
                                      <p:to>
                                        <p:strVal val="visible"/>
                                      </p:to>
                                    </p:set>
                                    <p:animEffect transition="in" filter="fade">
                                      <p:cBhvr>
                                        <p:cTn id="18" dur="500"/>
                                        <p:tgtEl>
                                          <p:spTgt spid="410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57"/>
                                        </p:tgtEl>
                                        <p:attrNameLst>
                                          <p:attrName>style.visibility</p:attrName>
                                        </p:attrNameLst>
                                      </p:cBhvr>
                                      <p:to>
                                        <p:strVal val="visible"/>
                                      </p:to>
                                    </p:set>
                                    <p:animEffect transition="in" filter="fade">
                                      <p:cBhvr>
                                        <p:cTn id="21" dur="500"/>
                                        <p:tgtEl>
                                          <p:spTgt spid="25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58"/>
                                        </p:tgtEl>
                                        <p:attrNameLst>
                                          <p:attrName>style.visibility</p:attrName>
                                        </p:attrNameLst>
                                      </p:cBhvr>
                                      <p:to>
                                        <p:strVal val="visible"/>
                                      </p:to>
                                    </p:set>
                                    <p:animEffect transition="in" filter="fade">
                                      <p:cBhvr>
                                        <p:cTn id="26" dur="500"/>
                                        <p:tgtEl>
                                          <p:spTgt spid="258"/>
                                        </p:tgtEl>
                                      </p:cBhvr>
                                    </p:animEffect>
                                  </p:childTnLst>
                                </p:cTn>
                              </p:par>
                              <p:par>
                                <p:cTn id="27" presetID="10" presetClass="entr" presetSubtype="0" fill="hold" nodeType="withEffect">
                                  <p:stCondLst>
                                    <p:cond delay="0"/>
                                  </p:stCondLst>
                                  <p:childTnLst>
                                    <p:set>
                                      <p:cBhvr>
                                        <p:cTn id="28" dur="1" fill="hold">
                                          <p:stCondLst>
                                            <p:cond delay="0"/>
                                          </p:stCondLst>
                                        </p:cTn>
                                        <p:tgtEl>
                                          <p:spTgt spid="4096"/>
                                        </p:tgtEl>
                                        <p:attrNameLst>
                                          <p:attrName>style.visibility</p:attrName>
                                        </p:attrNameLst>
                                      </p:cBhvr>
                                      <p:to>
                                        <p:strVal val="visible"/>
                                      </p:to>
                                    </p:set>
                                    <p:animEffect transition="in" filter="fade">
                                      <p:cBhvr>
                                        <p:cTn id="29" dur="500"/>
                                        <p:tgtEl>
                                          <p:spTgt spid="40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8" grpId="0" animBg="1"/>
      <p:bldP spid="257" grpId="0" animBg="1"/>
      <p:bldP spid="256" grpId="0" animBg="1"/>
      <p:bldP spid="410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89982C6-7E33-448A-85B8-46B4D5D84AA9}"/>
              </a:ext>
            </a:extLst>
          </p:cNvPr>
          <p:cNvSpPr/>
          <p:nvPr/>
        </p:nvSpPr>
        <p:spPr>
          <a:xfrm>
            <a:off x="3755657" y="4068605"/>
            <a:ext cx="4264218" cy="1753505"/>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03402F05-C86D-471F-ABC2-F020C317CCBA}"/>
              </a:ext>
            </a:extLst>
          </p:cNvPr>
          <p:cNvSpPr txBox="1"/>
          <p:nvPr/>
        </p:nvSpPr>
        <p:spPr>
          <a:xfrm>
            <a:off x="4655754" y="5315457"/>
            <a:ext cx="250318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Azure Blockchain Service</a:t>
            </a:r>
          </a:p>
        </p:txBody>
      </p:sp>
      <p:sp>
        <p:nvSpPr>
          <p:cNvPr id="6" name="Rectangle 5">
            <a:extLst>
              <a:ext uri="{FF2B5EF4-FFF2-40B4-BE49-F238E27FC236}">
                <a16:creationId xmlns:a16="http://schemas.microsoft.com/office/drawing/2014/main" id="{CC87E1B9-147E-4786-9A84-3D426727F3B7}"/>
              </a:ext>
            </a:extLst>
          </p:cNvPr>
          <p:cNvSpPr/>
          <p:nvPr/>
        </p:nvSpPr>
        <p:spPr>
          <a:xfrm>
            <a:off x="3849206" y="4244806"/>
            <a:ext cx="1997736" cy="369332"/>
          </a:xfrm>
          <a:prstGeom prst="rect">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CCF</a:t>
            </a:r>
          </a:p>
        </p:txBody>
      </p:sp>
      <p:sp>
        <p:nvSpPr>
          <p:cNvPr id="7" name="Rectangle 6">
            <a:extLst>
              <a:ext uri="{FF2B5EF4-FFF2-40B4-BE49-F238E27FC236}">
                <a16:creationId xmlns:a16="http://schemas.microsoft.com/office/drawing/2014/main" id="{E782A480-4C93-491B-A175-5C39B6A9A3B1}"/>
              </a:ext>
            </a:extLst>
          </p:cNvPr>
          <p:cNvSpPr/>
          <p:nvPr/>
        </p:nvSpPr>
        <p:spPr>
          <a:xfrm>
            <a:off x="3672130" y="2447979"/>
            <a:ext cx="4440919" cy="399468"/>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Dev Kit</a:t>
            </a:r>
          </a:p>
        </p:txBody>
      </p:sp>
      <p:sp>
        <p:nvSpPr>
          <p:cNvPr id="9" name="Rectangle 8">
            <a:extLst>
              <a:ext uri="{FF2B5EF4-FFF2-40B4-BE49-F238E27FC236}">
                <a16:creationId xmlns:a16="http://schemas.microsoft.com/office/drawing/2014/main" id="{CF770ECB-1321-4673-BFE3-6FC5EE10EA65}"/>
              </a:ext>
            </a:extLst>
          </p:cNvPr>
          <p:cNvSpPr/>
          <p:nvPr/>
        </p:nvSpPr>
        <p:spPr>
          <a:xfrm>
            <a:off x="3696301" y="3940490"/>
            <a:ext cx="4412565" cy="1973749"/>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0FE78C13-41D3-4AE8-8A17-3A2D1D49FEE2}"/>
              </a:ext>
            </a:extLst>
          </p:cNvPr>
          <p:cNvSpPr/>
          <p:nvPr/>
        </p:nvSpPr>
        <p:spPr>
          <a:xfrm>
            <a:off x="3660452" y="2937398"/>
            <a:ext cx="1332289" cy="399468"/>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Workbench</a:t>
            </a:r>
          </a:p>
        </p:txBody>
      </p:sp>
      <p:cxnSp>
        <p:nvCxnSpPr>
          <p:cNvPr id="13" name="Straight Arrow Connector 12">
            <a:extLst>
              <a:ext uri="{FF2B5EF4-FFF2-40B4-BE49-F238E27FC236}">
                <a16:creationId xmlns:a16="http://schemas.microsoft.com/office/drawing/2014/main" id="{B87C1C73-28CA-46DD-9156-7DA887EB2682}"/>
              </a:ext>
            </a:extLst>
          </p:cNvPr>
          <p:cNvCxnSpPr/>
          <p:nvPr/>
        </p:nvCxnSpPr>
        <p:spPr>
          <a:xfrm>
            <a:off x="5874699" y="3509128"/>
            <a:ext cx="0" cy="339047"/>
          </a:xfrm>
          <a:prstGeom prst="straightConnector1">
            <a:avLst/>
          </a:prstGeom>
          <a:ln>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Rounded Rectangle 17">
            <a:extLst>
              <a:ext uri="{FF2B5EF4-FFF2-40B4-BE49-F238E27FC236}">
                <a16:creationId xmlns:a16="http://schemas.microsoft.com/office/drawing/2014/main" id="{7501F661-EB04-46A4-9590-BE499AFA9C62}"/>
              </a:ext>
            </a:extLst>
          </p:cNvPr>
          <p:cNvSpPr/>
          <p:nvPr/>
        </p:nvSpPr>
        <p:spPr bwMode="auto">
          <a:xfrm>
            <a:off x="680173" y="2333152"/>
            <a:ext cx="2404441" cy="33832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Client apps &amp; devices</a:t>
            </a:r>
          </a:p>
        </p:txBody>
      </p:sp>
      <p:sp>
        <p:nvSpPr>
          <p:cNvPr id="19" name="Rectangle 18">
            <a:extLst>
              <a:ext uri="{FF2B5EF4-FFF2-40B4-BE49-F238E27FC236}">
                <a16:creationId xmlns:a16="http://schemas.microsoft.com/office/drawing/2014/main" id="{97D671DB-B269-4EA0-80F6-A3CB8E7255D5}"/>
              </a:ext>
            </a:extLst>
          </p:cNvPr>
          <p:cNvSpPr/>
          <p:nvPr/>
        </p:nvSpPr>
        <p:spPr bwMode="auto">
          <a:xfrm>
            <a:off x="494787" y="2192084"/>
            <a:ext cx="2589827" cy="165485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ound Same Side Corner Rectangle 11">
            <a:extLst>
              <a:ext uri="{FF2B5EF4-FFF2-40B4-BE49-F238E27FC236}">
                <a16:creationId xmlns:a16="http://schemas.microsoft.com/office/drawing/2014/main" id="{9AB0B1B2-F872-4591-9406-0EB9A2BEAD00}"/>
              </a:ext>
            </a:extLst>
          </p:cNvPr>
          <p:cNvSpPr/>
          <p:nvPr/>
        </p:nvSpPr>
        <p:spPr>
          <a:xfrm>
            <a:off x="729279" y="2877754"/>
            <a:ext cx="613833" cy="443682"/>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rgbClr val="0070C0"/>
          </a:solidFill>
          <a:ln w="25400"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E3008C"/>
              </a:solidFill>
              <a:effectLst/>
              <a:uLnTx/>
              <a:uFillTx/>
              <a:latin typeface="Segoe"/>
              <a:ea typeface="+mn-ea"/>
              <a:cs typeface="+mn-cs"/>
            </a:endParaRPr>
          </a:p>
        </p:txBody>
      </p:sp>
      <p:sp>
        <p:nvSpPr>
          <p:cNvPr id="21" name="Rounded Rectangle 223">
            <a:extLst>
              <a:ext uri="{FF2B5EF4-FFF2-40B4-BE49-F238E27FC236}">
                <a16:creationId xmlns:a16="http://schemas.microsoft.com/office/drawing/2014/main" id="{0544A9B3-2146-4E70-9AA2-4A440F306BB9}"/>
              </a:ext>
            </a:extLst>
          </p:cNvPr>
          <p:cNvSpPr/>
          <p:nvPr/>
        </p:nvSpPr>
        <p:spPr bwMode="auto">
          <a:xfrm>
            <a:off x="1571980" y="2872013"/>
            <a:ext cx="258394" cy="454601"/>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22" name="Frame 5">
            <a:extLst>
              <a:ext uri="{FF2B5EF4-FFF2-40B4-BE49-F238E27FC236}">
                <a16:creationId xmlns:a16="http://schemas.microsoft.com/office/drawing/2014/main" id="{9EB1C7C6-EC58-4C0E-9CEA-2D2371359F5B}"/>
              </a:ext>
            </a:extLst>
          </p:cNvPr>
          <p:cNvSpPr/>
          <p:nvPr/>
        </p:nvSpPr>
        <p:spPr bwMode="auto">
          <a:xfrm>
            <a:off x="2111495" y="2857100"/>
            <a:ext cx="484427" cy="48442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71" tIns="53785" rIns="53785" bIns="107571" numCol="1" spcCol="0" rtlCol="0" fromWordArt="0" anchor="b" anchorCtr="0" forceAA="0" compatLnSpc="1">
            <a:prstTxWarp prst="textNoShape">
              <a:avLst/>
            </a:prstTxWarp>
            <a:noAutofit/>
          </a:bodyPr>
          <a:lstStyle/>
          <a:p>
            <a:pPr marL="0" marR="0" lvl="0" indent="0" algn="ctr" defTabSz="107531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23" name="Rectangle 22">
            <a:extLst>
              <a:ext uri="{FF2B5EF4-FFF2-40B4-BE49-F238E27FC236}">
                <a16:creationId xmlns:a16="http://schemas.microsoft.com/office/drawing/2014/main" id="{2BB40968-899B-4A71-86EB-FB36FA80CA0A}"/>
              </a:ext>
            </a:extLst>
          </p:cNvPr>
          <p:cNvSpPr/>
          <p:nvPr/>
        </p:nvSpPr>
        <p:spPr bwMode="auto">
          <a:xfrm>
            <a:off x="3605015" y="2192084"/>
            <a:ext cx="4549085" cy="383754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2BDEDD6F-A916-4C38-9313-F4FC902FBDF7}"/>
              </a:ext>
            </a:extLst>
          </p:cNvPr>
          <p:cNvSpPr/>
          <p:nvPr/>
        </p:nvSpPr>
        <p:spPr bwMode="auto">
          <a:xfrm>
            <a:off x="8728729" y="2192084"/>
            <a:ext cx="2820932" cy="194305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3" name="Straight Arrow Connector 32">
            <a:extLst>
              <a:ext uri="{FF2B5EF4-FFF2-40B4-BE49-F238E27FC236}">
                <a16:creationId xmlns:a16="http://schemas.microsoft.com/office/drawing/2014/main" id="{D4B645EF-2EFE-48E6-80FF-95A44F0E0653}"/>
              </a:ext>
            </a:extLst>
          </p:cNvPr>
          <p:cNvCxnSpPr>
            <a:cxnSpLocks/>
          </p:cNvCxnSpPr>
          <p:nvPr/>
        </p:nvCxnSpPr>
        <p:spPr>
          <a:xfrm>
            <a:off x="3130198" y="3871599"/>
            <a:ext cx="418345" cy="5066"/>
          </a:xfrm>
          <a:prstGeom prst="straightConnector1">
            <a:avLst/>
          </a:prstGeom>
          <a:ln>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E663A279-6524-4ABF-9795-F49A58F01E4B}"/>
              </a:ext>
            </a:extLst>
          </p:cNvPr>
          <p:cNvCxnSpPr>
            <a:cxnSpLocks/>
          </p:cNvCxnSpPr>
          <p:nvPr/>
        </p:nvCxnSpPr>
        <p:spPr>
          <a:xfrm>
            <a:off x="8229600" y="3818516"/>
            <a:ext cx="335012" cy="0"/>
          </a:xfrm>
          <a:prstGeom prst="straightConnector1">
            <a:avLst/>
          </a:prstGeom>
          <a:ln>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CC852DCE-7A03-42A9-9416-C4DFE470E2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6925" y="2765708"/>
            <a:ext cx="882880" cy="461929"/>
          </a:xfrm>
          <a:prstGeom prst="rect">
            <a:avLst/>
          </a:prstGeom>
        </p:spPr>
      </p:pic>
      <p:pic>
        <p:nvPicPr>
          <p:cNvPr id="12" name="Picture 11">
            <a:extLst>
              <a:ext uri="{FF2B5EF4-FFF2-40B4-BE49-F238E27FC236}">
                <a16:creationId xmlns:a16="http://schemas.microsoft.com/office/drawing/2014/main" id="{E0503CD0-9C05-4A88-B028-12F1C321549F}"/>
              </a:ext>
            </a:extLst>
          </p:cNvPr>
          <p:cNvPicPr>
            <a:picLocks noChangeAspect="1"/>
          </p:cNvPicPr>
          <p:nvPr/>
        </p:nvPicPr>
        <p:blipFill>
          <a:blip r:embed="rId4"/>
          <a:stretch>
            <a:fillRect/>
          </a:stretch>
        </p:blipFill>
        <p:spPr>
          <a:xfrm>
            <a:off x="10484224" y="3419537"/>
            <a:ext cx="538377" cy="520954"/>
          </a:xfrm>
          <a:prstGeom prst="rect">
            <a:avLst/>
          </a:prstGeom>
        </p:spPr>
      </p:pic>
      <p:pic>
        <p:nvPicPr>
          <p:cNvPr id="17" name="Picture 16">
            <a:extLst>
              <a:ext uri="{FF2B5EF4-FFF2-40B4-BE49-F238E27FC236}">
                <a16:creationId xmlns:a16="http://schemas.microsoft.com/office/drawing/2014/main" id="{7F1FCAC1-F9B2-4EF4-9220-4EC4B766CD1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34310" y="2793043"/>
            <a:ext cx="440287" cy="461930"/>
          </a:xfrm>
          <a:prstGeom prst="rect">
            <a:avLst/>
          </a:prstGeom>
        </p:spPr>
      </p:pic>
      <p:pic>
        <p:nvPicPr>
          <p:cNvPr id="36" name="Picture 35">
            <a:extLst>
              <a:ext uri="{FF2B5EF4-FFF2-40B4-BE49-F238E27FC236}">
                <a16:creationId xmlns:a16="http://schemas.microsoft.com/office/drawing/2014/main" id="{FD32CB4C-71B9-4A4D-8726-500DA852D3F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40196" y="3342904"/>
            <a:ext cx="454424" cy="454424"/>
          </a:xfrm>
          <a:prstGeom prst="rect">
            <a:avLst/>
          </a:prstGeom>
        </p:spPr>
      </p:pic>
      <p:pic>
        <p:nvPicPr>
          <p:cNvPr id="39" name="Picture 38">
            <a:extLst>
              <a:ext uri="{FF2B5EF4-FFF2-40B4-BE49-F238E27FC236}">
                <a16:creationId xmlns:a16="http://schemas.microsoft.com/office/drawing/2014/main" id="{48A87A80-1E61-443F-911F-A5234064448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84224" y="2765025"/>
            <a:ext cx="558150" cy="558150"/>
          </a:xfrm>
          <a:prstGeom prst="rect">
            <a:avLst/>
          </a:prstGeom>
        </p:spPr>
      </p:pic>
      <p:pic>
        <p:nvPicPr>
          <p:cNvPr id="1026" name="Picture 2" descr="https://azure.microsoft.com/svghandler/databricks/?width=600&amp;amp;height=315">
            <a:extLst>
              <a:ext uri="{FF2B5EF4-FFF2-40B4-BE49-F238E27FC236}">
                <a16:creationId xmlns:a16="http://schemas.microsoft.com/office/drawing/2014/main" id="{FB0433FB-924F-435F-8B24-EA0C47E9E04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34687" y="3391297"/>
            <a:ext cx="439910" cy="485368"/>
          </a:xfrm>
          <a:prstGeom prst="rect">
            <a:avLst/>
          </a:prstGeom>
          <a:noFill/>
          <a:extLst>
            <a:ext uri="{909E8E84-426E-40DD-AFC4-6F175D3DCCD1}">
              <a14:hiddenFill xmlns:a14="http://schemas.microsoft.com/office/drawing/2010/main">
                <a:solidFill>
                  <a:srgbClr val="FFFFFF"/>
                </a:solidFill>
              </a14:hiddenFill>
            </a:ext>
          </a:extLst>
        </p:spPr>
      </p:pic>
      <p:sp>
        <p:nvSpPr>
          <p:cNvPr id="46" name="Rounded Rectangle 17">
            <a:extLst>
              <a:ext uri="{FF2B5EF4-FFF2-40B4-BE49-F238E27FC236}">
                <a16:creationId xmlns:a16="http://schemas.microsoft.com/office/drawing/2014/main" id="{92DA9DD5-0E12-425C-B6C5-B0E2A24D1835}"/>
              </a:ext>
            </a:extLst>
          </p:cNvPr>
          <p:cNvSpPr/>
          <p:nvPr/>
        </p:nvSpPr>
        <p:spPr bwMode="auto">
          <a:xfrm>
            <a:off x="8725922" y="2337444"/>
            <a:ext cx="2404441" cy="33832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Data</a:t>
            </a:r>
          </a:p>
        </p:txBody>
      </p:sp>
      <p:grpSp>
        <p:nvGrpSpPr>
          <p:cNvPr id="2" name="Group 1">
            <a:extLst>
              <a:ext uri="{FF2B5EF4-FFF2-40B4-BE49-F238E27FC236}">
                <a16:creationId xmlns:a16="http://schemas.microsoft.com/office/drawing/2014/main" id="{8EF54D52-4DB4-4C57-94F8-FA3FDF7786B5}"/>
              </a:ext>
            </a:extLst>
          </p:cNvPr>
          <p:cNvGrpSpPr/>
          <p:nvPr/>
        </p:nvGrpSpPr>
        <p:grpSpPr>
          <a:xfrm>
            <a:off x="8721846" y="4244106"/>
            <a:ext cx="2827815" cy="1785527"/>
            <a:chOff x="485578" y="3981973"/>
            <a:chExt cx="2589827" cy="1952167"/>
          </a:xfrm>
        </p:grpSpPr>
        <p:pic>
          <p:nvPicPr>
            <p:cNvPr id="1028" name="Picture 4" descr="https://azure.microsoft.com/svghandler/logic-apps/?width=600&amp;amp;height=315">
              <a:extLst>
                <a:ext uri="{FF2B5EF4-FFF2-40B4-BE49-F238E27FC236}">
                  <a16:creationId xmlns:a16="http://schemas.microsoft.com/office/drawing/2014/main" id="{2150D352-284C-4601-9613-BFDFB5C3ED1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99407" y="4790632"/>
              <a:ext cx="538843" cy="420297"/>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a:extLst>
                <a:ext uri="{FF2B5EF4-FFF2-40B4-BE49-F238E27FC236}">
                  <a16:creationId xmlns:a16="http://schemas.microsoft.com/office/drawing/2014/main" id="{6EB40103-5F86-4BFA-B70F-7B90C27CB02F}"/>
                </a:ext>
              </a:extLst>
            </p:cNvPr>
            <p:cNvPicPr>
              <a:picLocks noChangeAspect="1"/>
            </p:cNvPicPr>
            <p:nvPr/>
          </p:nvPicPr>
          <p:blipFill>
            <a:blip r:embed="rId10"/>
            <a:stretch>
              <a:fillRect/>
            </a:stretch>
          </p:blipFill>
          <p:spPr>
            <a:xfrm>
              <a:off x="1488828" y="4808831"/>
              <a:ext cx="598246" cy="416557"/>
            </a:xfrm>
            <a:prstGeom prst="rect">
              <a:avLst/>
            </a:prstGeom>
          </p:spPr>
        </p:pic>
        <p:sp>
          <p:nvSpPr>
            <p:cNvPr id="48" name="Rectangle 47">
              <a:extLst>
                <a:ext uri="{FF2B5EF4-FFF2-40B4-BE49-F238E27FC236}">
                  <a16:creationId xmlns:a16="http://schemas.microsoft.com/office/drawing/2014/main" id="{0B2D171F-69CF-4244-BA22-E96E174D3299}"/>
                </a:ext>
              </a:extLst>
            </p:cNvPr>
            <p:cNvSpPr/>
            <p:nvPr/>
          </p:nvSpPr>
          <p:spPr bwMode="auto">
            <a:xfrm>
              <a:off x="485578" y="3981973"/>
              <a:ext cx="2589827" cy="195216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ounded Rectangle 17">
              <a:extLst>
                <a:ext uri="{FF2B5EF4-FFF2-40B4-BE49-F238E27FC236}">
                  <a16:creationId xmlns:a16="http://schemas.microsoft.com/office/drawing/2014/main" id="{531BD3B6-65D2-4A93-B23E-05AFA32CDE34}"/>
                </a:ext>
              </a:extLst>
            </p:cNvPr>
            <p:cNvSpPr/>
            <p:nvPr/>
          </p:nvSpPr>
          <p:spPr bwMode="auto">
            <a:xfrm>
              <a:off x="633818" y="4089498"/>
              <a:ext cx="2404441" cy="33832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Systems &amp; Services</a:t>
              </a:r>
            </a:p>
          </p:txBody>
        </p:sp>
        <p:pic>
          <p:nvPicPr>
            <p:cNvPr id="45" name="Picture 44">
              <a:extLst>
                <a:ext uri="{FF2B5EF4-FFF2-40B4-BE49-F238E27FC236}">
                  <a16:creationId xmlns:a16="http://schemas.microsoft.com/office/drawing/2014/main" id="{889133D6-F22C-469A-A022-E95B1233545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12520" y="4807588"/>
              <a:ext cx="419042" cy="419042"/>
            </a:xfrm>
            <a:prstGeom prst="rect">
              <a:avLst/>
            </a:prstGeom>
          </p:spPr>
        </p:pic>
      </p:grpSp>
      <p:grpSp>
        <p:nvGrpSpPr>
          <p:cNvPr id="14" name="Group 13">
            <a:extLst>
              <a:ext uri="{FF2B5EF4-FFF2-40B4-BE49-F238E27FC236}">
                <a16:creationId xmlns:a16="http://schemas.microsoft.com/office/drawing/2014/main" id="{4F5BB535-2E3D-4C37-A1C6-1AE27E991AFB}"/>
              </a:ext>
            </a:extLst>
          </p:cNvPr>
          <p:cNvGrpSpPr/>
          <p:nvPr/>
        </p:nvGrpSpPr>
        <p:grpSpPr>
          <a:xfrm>
            <a:off x="473917" y="4008697"/>
            <a:ext cx="2610698" cy="2020936"/>
            <a:chOff x="8722450" y="4213265"/>
            <a:chExt cx="2759497" cy="1816380"/>
          </a:xfrm>
        </p:grpSpPr>
        <p:pic>
          <p:nvPicPr>
            <p:cNvPr id="25" name="Picture 60">
              <a:extLst>
                <a:ext uri="{FF2B5EF4-FFF2-40B4-BE49-F238E27FC236}">
                  <a16:creationId xmlns:a16="http://schemas.microsoft.com/office/drawing/2014/main" id="{5FC1572C-406B-4108-85D9-C84D0F3B917E}"/>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520741" y="5336992"/>
              <a:ext cx="666198" cy="383118"/>
            </a:xfrm>
            <a:prstGeom prst="rect">
              <a:avLst/>
            </a:prstGeom>
          </p:spPr>
        </p:pic>
        <p:pic>
          <p:nvPicPr>
            <p:cNvPr id="28" name="Picture 27">
              <a:extLst>
                <a:ext uri="{FF2B5EF4-FFF2-40B4-BE49-F238E27FC236}">
                  <a16:creationId xmlns:a16="http://schemas.microsoft.com/office/drawing/2014/main" id="{4E6B2FFF-D745-4B1D-86BB-5496A7C8DB8E}"/>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l="23762" t="17680" r="20176" b="24448"/>
            <a:stretch/>
          </p:blipFill>
          <p:spPr>
            <a:xfrm>
              <a:off x="8991002" y="4713198"/>
              <a:ext cx="395134" cy="325202"/>
            </a:xfrm>
            <a:prstGeom prst="rect">
              <a:avLst/>
            </a:prstGeom>
          </p:spPr>
        </p:pic>
        <p:pic>
          <p:nvPicPr>
            <p:cNvPr id="29" name="Picture 28">
              <a:extLst>
                <a:ext uri="{FF2B5EF4-FFF2-40B4-BE49-F238E27FC236}">
                  <a16:creationId xmlns:a16="http://schemas.microsoft.com/office/drawing/2014/main" id="{2B8815EE-93CD-47B3-9049-9F76719E087F}"/>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9786792" y="4744044"/>
              <a:ext cx="352403" cy="352405"/>
            </a:xfrm>
            <a:prstGeom prst="rect">
              <a:avLst/>
            </a:prstGeom>
          </p:spPr>
        </p:pic>
        <p:pic>
          <p:nvPicPr>
            <p:cNvPr id="30" name="Picture 29">
              <a:extLst>
                <a:ext uri="{FF2B5EF4-FFF2-40B4-BE49-F238E27FC236}">
                  <a16:creationId xmlns:a16="http://schemas.microsoft.com/office/drawing/2014/main" id="{736F135D-1955-407F-B0C8-BB569AE138C7}"/>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10582843" y="4777241"/>
              <a:ext cx="309542" cy="309542"/>
            </a:xfrm>
            <a:prstGeom prst="rect">
              <a:avLst/>
            </a:prstGeom>
          </p:spPr>
        </p:pic>
        <p:sp>
          <p:nvSpPr>
            <p:cNvPr id="47" name="Rectangle 46">
              <a:extLst>
                <a:ext uri="{FF2B5EF4-FFF2-40B4-BE49-F238E27FC236}">
                  <a16:creationId xmlns:a16="http://schemas.microsoft.com/office/drawing/2014/main" id="{4A0EBA75-82C8-4861-821A-794BF121929C}"/>
                </a:ext>
              </a:extLst>
            </p:cNvPr>
            <p:cNvSpPr/>
            <p:nvPr/>
          </p:nvSpPr>
          <p:spPr bwMode="auto">
            <a:xfrm>
              <a:off x="8722450" y="4213265"/>
              <a:ext cx="2759497" cy="18163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ounded Rectangle 17">
              <a:extLst>
                <a:ext uri="{FF2B5EF4-FFF2-40B4-BE49-F238E27FC236}">
                  <a16:creationId xmlns:a16="http://schemas.microsoft.com/office/drawing/2014/main" id="{E4A6A44A-5B43-46E5-BC5F-07D20FA7B963}"/>
                </a:ext>
              </a:extLst>
            </p:cNvPr>
            <p:cNvSpPr/>
            <p:nvPr/>
          </p:nvSpPr>
          <p:spPr bwMode="auto">
            <a:xfrm>
              <a:off x="8722451" y="4258662"/>
              <a:ext cx="2404441" cy="33832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SaaS</a:t>
              </a:r>
            </a:p>
          </p:txBody>
        </p:sp>
      </p:grpSp>
      <p:sp>
        <p:nvSpPr>
          <p:cNvPr id="44" name="Title 2">
            <a:extLst>
              <a:ext uri="{FF2B5EF4-FFF2-40B4-BE49-F238E27FC236}">
                <a16:creationId xmlns:a16="http://schemas.microsoft.com/office/drawing/2014/main" id="{152468AD-93C8-4828-BD9E-44ACD916687B}"/>
              </a:ext>
            </a:extLst>
          </p:cNvPr>
          <p:cNvSpPr txBox="1">
            <a:spLocks/>
          </p:cNvSpPr>
          <p:nvPr/>
        </p:nvSpPr>
        <p:spPr bwMode="auto">
          <a:xfrm>
            <a:off x="355775" y="317153"/>
            <a:ext cx="11430000" cy="914270"/>
          </a:xfrm>
          <a:prstGeom prst="rect">
            <a:avLst/>
          </a:prstGeom>
          <a:noFill/>
          <a:ln w="9525" algn="ctr">
            <a:noFill/>
            <a:miter lim="800000"/>
            <a:headEnd/>
            <a:tailEnd/>
          </a:ln>
          <a:effectLst/>
        </p:spPr>
        <p:txBody>
          <a:bodyPr vert="horz" wrap="square" lIns="89642" tIns="44821" rIns="89642" bIns="44821" numCol="1" anchor="t" anchorCtr="0" compatLnSpc="1">
            <a:prstTxWarp prst="textNoShape">
              <a:avLst/>
            </a:prstTxWarp>
            <a:normAutofit/>
          </a:bodyPr>
          <a:lstStyle>
            <a:lvl1pPr algn="l" defTabSz="1028791" rtl="0" eaLnBrk="1" fontAlgn="base" hangingPunct="1">
              <a:spcBef>
                <a:spcPct val="0"/>
              </a:spcBef>
              <a:spcAft>
                <a:spcPct val="0"/>
              </a:spcAft>
              <a:defRPr sz="4000" b="0">
                <a:solidFill>
                  <a:schemeClr val="accent1"/>
                </a:solidFill>
                <a:latin typeface="+mj-lt"/>
                <a:ea typeface="+mj-ea"/>
                <a:cs typeface="+mj-cs"/>
              </a:defRPr>
            </a:lvl1pPr>
            <a:lvl2pPr algn="l" defTabSz="1028791" rtl="0" eaLnBrk="1" fontAlgn="base" hangingPunct="1">
              <a:spcBef>
                <a:spcPct val="0"/>
              </a:spcBef>
              <a:spcAft>
                <a:spcPct val="0"/>
              </a:spcAft>
              <a:defRPr sz="2745" b="1">
                <a:solidFill>
                  <a:schemeClr val="tx2"/>
                </a:solidFill>
                <a:latin typeface="Trebuchet MS" pitchFamily="34" charset="0"/>
                <a:cs typeface="Arial" charset="0"/>
              </a:defRPr>
            </a:lvl2pPr>
            <a:lvl3pPr algn="l" defTabSz="1028791" rtl="0" eaLnBrk="1" fontAlgn="base" hangingPunct="1">
              <a:spcBef>
                <a:spcPct val="0"/>
              </a:spcBef>
              <a:spcAft>
                <a:spcPct val="0"/>
              </a:spcAft>
              <a:defRPr sz="2745" b="1">
                <a:solidFill>
                  <a:schemeClr val="tx2"/>
                </a:solidFill>
                <a:latin typeface="Trebuchet MS" pitchFamily="34" charset="0"/>
                <a:cs typeface="Arial" charset="0"/>
              </a:defRPr>
            </a:lvl3pPr>
            <a:lvl4pPr algn="l" defTabSz="1028791" rtl="0" eaLnBrk="1" fontAlgn="base" hangingPunct="1">
              <a:spcBef>
                <a:spcPct val="0"/>
              </a:spcBef>
              <a:spcAft>
                <a:spcPct val="0"/>
              </a:spcAft>
              <a:defRPr sz="2745" b="1">
                <a:solidFill>
                  <a:schemeClr val="tx2"/>
                </a:solidFill>
                <a:latin typeface="Trebuchet MS" pitchFamily="34" charset="0"/>
                <a:cs typeface="Arial" charset="0"/>
              </a:defRPr>
            </a:lvl4pPr>
            <a:lvl5pPr algn="l" defTabSz="1028791" rtl="0" eaLnBrk="1" fontAlgn="base" hangingPunct="1">
              <a:spcBef>
                <a:spcPct val="0"/>
              </a:spcBef>
              <a:spcAft>
                <a:spcPct val="0"/>
              </a:spcAft>
              <a:defRPr sz="2745" b="1">
                <a:solidFill>
                  <a:schemeClr val="tx2"/>
                </a:solidFill>
                <a:latin typeface="Trebuchet MS" pitchFamily="34" charset="0"/>
                <a:cs typeface="Arial" charset="0"/>
              </a:defRPr>
            </a:lvl5pPr>
            <a:lvl6pPr marL="529092" algn="l" defTabSz="1028791" rtl="0" eaLnBrk="1" fontAlgn="base" hangingPunct="1">
              <a:spcBef>
                <a:spcPct val="0"/>
              </a:spcBef>
              <a:spcAft>
                <a:spcPct val="0"/>
              </a:spcAft>
              <a:defRPr sz="2745" b="1">
                <a:solidFill>
                  <a:schemeClr val="tx2"/>
                </a:solidFill>
                <a:latin typeface="Trebuchet MS" pitchFamily="34" charset="0"/>
                <a:cs typeface="Arial" charset="0"/>
              </a:defRPr>
            </a:lvl6pPr>
            <a:lvl7pPr marL="1058184" algn="l" defTabSz="1028791" rtl="0" eaLnBrk="1" fontAlgn="base" hangingPunct="1">
              <a:spcBef>
                <a:spcPct val="0"/>
              </a:spcBef>
              <a:spcAft>
                <a:spcPct val="0"/>
              </a:spcAft>
              <a:defRPr sz="2745" b="1">
                <a:solidFill>
                  <a:schemeClr val="tx2"/>
                </a:solidFill>
                <a:latin typeface="Trebuchet MS" pitchFamily="34" charset="0"/>
                <a:cs typeface="Arial" charset="0"/>
              </a:defRPr>
            </a:lvl7pPr>
            <a:lvl8pPr marL="1587276" algn="l" defTabSz="1028791" rtl="0" eaLnBrk="1" fontAlgn="base" hangingPunct="1">
              <a:spcBef>
                <a:spcPct val="0"/>
              </a:spcBef>
              <a:spcAft>
                <a:spcPct val="0"/>
              </a:spcAft>
              <a:defRPr sz="2745" b="1">
                <a:solidFill>
                  <a:schemeClr val="tx2"/>
                </a:solidFill>
                <a:latin typeface="Trebuchet MS" pitchFamily="34" charset="0"/>
                <a:cs typeface="Arial" charset="0"/>
              </a:defRPr>
            </a:lvl8pPr>
            <a:lvl9pPr marL="2116368" algn="l" defTabSz="1028791" rtl="0" eaLnBrk="1" fontAlgn="base" hangingPunct="1">
              <a:spcBef>
                <a:spcPct val="0"/>
              </a:spcBef>
              <a:spcAft>
                <a:spcPct val="0"/>
              </a:spcAft>
              <a:defRPr sz="2745" b="1">
                <a:solidFill>
                  <a:schemeClr val="tx2"/>
                </a:solidFill>
                <a:latin typeface="Trebuchet MS" pitchFamily="34" charset="0"/>
                <a:cs typeface="Arial" charset="0"/>
              </a:defRPr>
            </a:lvl9pPr>
          </a:lstStyle>
          <a:p>
            <a:pPr marL="0" marR="0" lvl="0" indent="0" algn="l" defTabSz="1028791" rtl="0" eaLnBrk="1" fontAlgn="base" latinLnBrk="0" hangingPunct="1">
              <a:lnSpc>
                <a:spcPct val="100000"/>
              </a:lnSpc>
              <a:spcBef>
                <a:spcPct val="0"/>
              </a:spcBef>
              <a:spcAft>
                <a:spcPct val="0"/>
              </a:spcAft>
              <a:buClrTx/>
              <a:buSzTx/>
              <a:buFontTx/>
              <a:buNone/>
              <a:tabLst/>
              <a:defRPr/>
            </a:pPr>
            <a:r>
              <a:rPr lang="en-US" sz="3600" spc="-50">
                <a:ln w="3175">
                  <a:noFill/>
                </a:ln>
                <a:solidFill>
                  <a:srgbClr val="000000"/>
                </a:solidFill>
                <a:latin typeface="Segoe UI Semibold"/>
                <a:ea typeface="+mn-ea"/>
                <a:cs typeface="Segoe UI" pitchFamily="34" charset="0"/>
              </a:rPr>
              <a:t>Azure Blockchain Product Portfolio Overview</a:t>
            </a:r>
          </a:p>
        </p:txBody>
      </p:sp>
      <p:sp>
        <p:nvSpPr>
          <p:cNvPr id="50" name="Rectangle 49">
            <a:extLst>
              <a:ext uri="{FF2B5EF4-FFF2-40B4-BE49-F238E27FC236}">
                <a16:creationId xmlns:a16="http://schemas.microsoft.com/office/drawing/2014/main" id="{C5426665-444E-4A69-859E-90A5C85DF782}"/>
              </a:ext>
            </a:extLst>
          </p:cNvPr>
          <p:cNvSpPr/>
          <p:nvPr/>
        </p:nvSpPr>
        <p:spPr bwMode="auto">
          <a:xfrm>
            <a:off x="438893" y="1023928"/>
            <a:ext cx="1134688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914192" rtl="0" eaLnBrk="1" fontAlgn="auto" latinLnBrk="0" hangingPunct="1">
              <a:lnSpc>
                <a:spcPct val="100000"/>
              </a:lnSpc>
              <a:spcBef>
                <a:spcPts val="0"/>
              </a:spcBef>
              <a:spcAft>
                <a:spcPts val="600"/>
              </a:spcAft>
              <a:buClrTx/>
              <a:buSzPct val="90000"/>
              <a:buFontTx/>
              <a:buNone/>
              <a:tabLst/>
              <a:defRPr/>
            </a:pPr>
            <a:r>
              <a:rPr kumimoji="0" lang="en-US" sz="1800" b="1"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Fast to deploy, easy to use managed blockchain services integrated with the Enterprise and connected to the broad set of data services of the Azure Platform.</a:t>
            </a:r>
          </a:p>
        </p:txBody>
      </p:sp>
      <p:sp>
        <p:nvSpPr>
          <p:cNvPr id="58" name="Rectangle 57">
            <a:extLst>
              <a:ext uri="{FF2B5EF4-FFF2-40B4-BE49-F238E27FC236}">
                <a16:creationId xmlns:a16="http://schemas.microsoft.com/office/drawing/2014/main" id="{CF782819-2566-411B-B09E-E5CEFB064854}"/>
              </a:ext>
            </a:extLst>
          </p:cNvPr>
          <p:cNvSpPr/>
          <p:nvPr/>
        </p:nvSpPr>
        <p:spPr>
          <a:xfrm>
            <a:off x="5922442" y="4243652"/>
            <a:ext cx="1979987" cy="369332"/>
          </a:xfrm>
          <a:prstGeom prst="rect">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Osaka</a:t>
            </a:r>
          </a:p>
        </p:txBody>
      </p:sp>
      <p:sp>
        <p:nvSpPr>
          <p:cNvPr id="8" name="Rectangle 7">
            <a:extLst>
              <a:ext uri="{FF2B5EF4-FFF2-40B4-BE49-F238E27FC236}">
                <a16:creationId xmlns:a16="http://schemas.microsoft.com/office/drawing/2014/main" id="{FD022435-64FC-45D2-A88F-FC46CACB565F}"/>
              </a:ext>
            </a:extLst>
          </p:cNvPr>
          <p:cNvSpPr/>
          <p:nvPr/>
        </p:nvSpPr>
        <p:spPr>
          <a:xfrm>
            <a:off x="3840980" y="4724012"/>
            <a:ext cx="4061449" cy="59144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1" name="Picture 2" descr="File:Ethereum logo 2014.svg">
            <a:extLst>
              <a:ext uri="{FF2B5EF4-FFF2-40B4-BE49-F238E27FC236}">
                <a16:creationId xmlns:a16="http://schemas.microsoft.com/office/drawing/2014/main" id="{B5393F5B-E0E1-4AD0-B0F3-727202060F6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485769" y="4817864"/>
            <a:ext cx="283478" cy="412288"/>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descr="A close up of a logo&#10;&#10;Description automatically generated">
            <a:extLst>
              <a:ext uri="{FF2B5EF4-FFF2-40B4-BE49-F238E27FC236}">
                <a16:creationId xmlns:a16="http://schemas.microsoft.com/office/drawing/2014/main" id="{C967BFDB-FCD8-4B69-B204-1B05DC5BDA9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392682" y="4785694"/>
            <a:ext cx="529760" cy="473003"/>
          </a:xfrm>
          <a:prstGeom prst="rect">
            <a:avLst/>
          </a:prstGeom>
        </p:spPr>
      </p:pic>
      <p:pic>
        <p:nvPicPr>
          <p:cNvPr id="54" name="Picture 53" descr="A close up of a sign&#10;&#10;Description automatically generated">
            <a:extLst>
              <a:ext uri="{FF2B5EF4-FFF2-40B4-BE49-F238E27FC236}">
                <a16:creationId xmlns:a16="http://schemas.microsoft.com/office/drawing/2014/main" id="{2A9687A9-7416-4685-971E-60FA9AE3E75E}"/>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116293" y="4894223"/>
            <a:ext cx="1006939" cy="251023"/>
          </a:xfrm>
          <a:prstGeom prst="rect">
            <a:avLst/>
          </a:prstGeom>
        </p:spPr>
      </p:pic>
      <p:sp>
        <p:nvSpPr>
          <p:cNvPr id="55" name="Rectangle 54">
            <a:extLst>
              <a:ext uri="{FF2B5EF4-FFF2-40B4-BE49-F238E27FC236}">
                <a16:creationId xmlns:a16="http://schemas.microsoft.com/office/drawing/2014/main" id="{F6FB80EB-676D-4DD5-AA1D-B95AAD5AE606}"/>
              </a:ext>
            </a:extLst>
          </p:cNvPr>
          <p:cNvSpPr/>
          <p:nvPr/>
        </p:nvSpPr>
        <p:spPr>
          <a:xfrm>
            <a:off x="5049214" y="2936961"/>
            <a:ext cx="1197960" cy="399468"/>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Logic Apps</a:t>
            </a:r>
          </a:p>
        </p:txBody>
      </p:sp>
      <p:sp>
        <p:nvSpPr>
          <p:cNvPr id="56" name="Rectangle 55">
            <a:extLst>
              <a:ext uri="{FF2B5EF4-FFF2-40B4-BE49-F238E27FC236}">
                <a16:creationId xmlns:a16="http://schemas.microsoft.com/office/drawing/2014/main" id="{16E915B0-B4B3-461F-AFDE-C66E59E606F0}"/>
              </a:ext>
            </a:extLst>
          </p:cNvPr>
          <p:cNvSpPr/>
          <p:nvPr/>
        </p:nvSpPr>
        <p:spPr>
          <a:xfrm>
            <a:off x="6297410" y="2935118"/>
            <a:ext cx="800288" cy="399468"/>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Flow</a:t>
            </a:r>
          </a:p>
        </p:txBody>
      </p:sp>
      <p:sp>
        <p:nvSpPr>
          <p:cNvPr id="59" name="Rectangle 58">
            <a:extLst>
              <a:ext uri="{FF2B5EF4-FFF2-40B4-BE49-F238E27FC236}">
                <a16:creationId xmlns:a16="http://schemas.microsoft.com/office/drawing/2014/main" id="{E7C48149-C1B4-4E44-9FAA-753F3B3DE0D5}"/>
              </a:ext>
            </a:extLst>
          </p:cNvPr>
          <p:cNvSpPr/>
          <p:nvPr/>
        </p:nvSpPr>
        <p:spPr>
          <a:xfrm>
            <a:off x="7158940" y="2933249"/>
            <a:ext cx="954109" cy="399468"/>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rPr>
              <a:t>VSCode</a:t>
            </a: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Picture 4" descr="See the source image">
            <a:extLst>
              <a:ext uri="{FF2B5EF4-FFF2-40B4-BE49-F238E27FC236}">
                <a16:creationId xmlns:a16="http://schemas.microsoft.com/office/drawing/2014/main" id="{C24149E4-BED1-4557-AC06-6759C1DDDDA1}"/>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53164" y="5358860"/>
            <a:ext cx="862193" cy="22649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See the source image">
            <a:extLst>
              <a:ext uri="{FF2B5EF4-FFF2-40B4-BE49-F238E27FC236}">
                <a16:creationId xmlns:a16="http://schemas.microsoft.com/office/drawing/2014/main" id="{E087D108-2A33-414D-BD95-571390B9A2D2}"/>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78535" y="5315457"/>
            <a:ext cx="556690" cy="2839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31823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Freeform: Shape 9">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FB8B366-D98C-4DB5-BCFA-77D60ACCD1B0}"/>
              </a:ext>
            </a:extLst>
          </p:cNvPr>
          <p:cNvSpPr>
            <a:spLocks noGrp="1"/>
          </p:cNvSpPr>
          <p:nvPr>
            <p:ph type="title"/>
          </p:nvPr>
        </p:nvSpPr>
        <p:spPr>
          <a:xfrm>
            <a:off x="863029" y="1012004"/>
            <a:ext cx="3416158" cy="4795408"/>
          </a:xfrm>
        </p:spPr>
        <p:txBody>
          <a:bodyPr>
            <a:normAutofit/>
          </a:bodyPr>
          <a:lstStyle/>
          <a:p>
            <a:r>
              <a:rPr lang="en-US">
                <a:solidFill>
                  <a:srgbClr val="FFFFFF"/>
                </a:solidFill>
              </a:rPr>
              <a:t>Agenda</a:t>
            </a:r>
            <a:endParaRPr lang="fr-CH">
              <a:solidFill>
                <a:srgbClr val="FFFFFF"/>
              </a:solidFill>
            </a:endParaRPr>
          </a:p>
        </p:txBody>
      </p:sp>
      <p:graphicFrame>
        <p:nvGraphicFramePr>
          <p:cNvPr id="18" name="Content Placeholder 2">
            <a:extLst>
              <a:ext uri="{FF2B5EF4-FFF2-40B4-BE49-F238E27FC236}">
                <a16:creationId xmlns:a16="http://schemas.microsoft.com/office/drawing/2014/main" id="{E221EE20-3300-4EE9-836E-A4063D5D42D7}"/>
              </a:ext>
            </a:extLst>
          </p:cNvPr>
          <p:cNvGraphicFramePr>
            <a:graphicFrameLocks noGrp="1"/>
          </p:cNvGraphicFramePr>
          <p:nvPr>
            <p:ph idx="1"/>
            <p:extLst>
              <p:ext uri="{D42A27DB-BD31-4B8C-83A1-F6EECF244321}">
                <p14:modId xmlns:p14="http://schemas.microsoft.com/office/powerpoint/2010/main" val="1669528319"/>
              </p:ext>
            </p:extLst>
          </p:nvPr>
        </p:nvGraphicFramePr>
        <p:xfrm>
          <a:off x="5194300" y="470924"/>
          <a:ext cx="6513604" cy="58854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417511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Blockchain Service</a:t>
            </a:r>
          </a:p>
        </p:txBody>
      </p:sp>
    </p:spTree>
    <p:extLst>
      <p:ext uri="{BB962C8B-B14F-4D97-AF65-F5344CB8AC3E}">
        <p14:creationId xmlns:p14="http://schemas.microsoft.com/office/powerpoint/2010/main" val="1758848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FCBFC-221C-4CD9-8F3C-114F84E92FA1}"/>
              </a:ext>
            </a:extLst>
          </p:cNvPr>
          <p:cNvSpPr>
            <a:spLocks noGrp="1"/>
          </p:cNvSpPr>
          <p:nvPr>
            <p:ph type="title"/>
          </p:nvPr>
        </p:nvSpPr>
        <p:spPr>
          <a:xfrm>
            <a:off x="588262" y="457200"/>
            <a:ext cx="10371838" cy="923330"/>
          </a:xfrm>
        </p:spPr>
        <p:txBody>
          <a:bodyPr>
            <a:normAutofit fontScale="90000"/>
          </a:bodyPr>
          <a:lstStyle/>
          <a:p>
            <a:r>
              <a:rPr lang="en-US"/>
              <a:t>Azure Blockchain Service (Preview)</a:t>
            </a:r>
            <a:br>
              <a:rPr lang="en-US"/>
            </a:br>
            <a:r>
              <a:rPr lang="en-US" sz="2400"/>
              <a:t>makes it easy to build and manage your blockchain network</a:t>
            </a:r>
            <a:endParaRPr lang="en-IN" sz="2400"/>
          </a:p>
        </p:txBody>
      </p:sp>
      <p:sp>
        <p:nvSpPr>
          <p:cNvPr id="13" name="Rectangle 12">
            <a:extLst>
              <a:ext uri="{FF2B5EF4-FFF2-40B4-BE49-F238E27FC236}">
                <a16:creationId xmlns:a16="http://schemas.microsoft.com/office/drawing/2014/main" id="{D2476EA9-899B-4754-817E-3E84D8C4BFB4}"/>
              </a:ext>
            </a:extLst>
          </p:cNvPr>
          <p:cNvSpPr/>
          <p:nvPr/>
        </p:nvSpPr>
        <p:spPr>
          <a:xfrm>
            <a:off x="7651071" y="2420771"/>
            <a:ext cx="3958630" cy="298543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et up a flexible network </a:t>
            </a:r>
            <a:br>
              <a:rPr kumimoji="0" lang="en-US" sz="18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What used to take days now takes minutes – simple network deployment with flexible pric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Offload network opera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Take the ops out of DevOps and benefit from full node management, health and performance monitoring, and more on a Paa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Manage network status and heal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Configure rich logging and monitoring to get detailed insights into network and node health and activity</a:t>
            </a:r>
          </a:p>
        </p:txBody>
      </p:sp>
      <p:pic>
        <p:nvPicPr>
          <p:cNvPr id="3" name="Picture 2">
            <a:extLst>
              <a:ext uri="{FF2B5EF4-FFF2-40B4-BE49-F238E27FC236}">
                <a16:creationId xmlns:a16="http://schemas.microsoft.com/office/drawing/2014/main" id="{C5E4E0AA-68CA-4E7C-A365-EDDD3088D652}"/>
              </a:ext>
            </a:extLst>
          </p:cNvPr>
          <p:cNvPicPr>
            <a:picLocks noChangeAspect="1"/>
          </p:cNvPicPr>
          <p:nvPr/>
        </p:nvPicPr>
        <p:blipFill>
          <a:blip r:embed="rId3"/>
          <a:stretch>
            <a:fillRect/>
          </a:stretch>
        </p:blipFill>
        <p:spPr>
          <a:xfrm>
            <a:off x="582299" y="1614074"/>
            <a:ext cx="6812156" cy="4939126"/>
          </a:xfrm>
          <a:prstGeom prst="rect">
            <a:avLst/>
          </a:prstGeom>
        </p:spPr>
      </p:pic>
    </p:spTree>
    <p:extLst>
      <p:ext uri="{BB962C8B-B14F-4D97-AF65-F5344CB8AC3E}">
        <p14:creationId xmlns:p14="http://schemas.microsoft.com/office/powerpoint/2010/main" val="177903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29167E-6 2.22222E-6 L 2.29167E-6 0.02569 " pathEditMode="relative" rAng="0" ptsTypes="AA">
                                      <p:cBhvr>
                                        <p:cTn id="9" dur="500" spd="-100000" fill="hold"/>
                                        <p:tgtEl>
                                          <p:spTgt spid="2"/>
                                        </p:tgtEl>
                                        <p:attrNameLst>
                                          <p:attrName>ppt_x</p:attrName>
                                          <p:attrName>ppt_y</p:attrName>
                                        </p:attrNameLst>
                                      </p:cBhvr>
                                      <p:rCtr x="0" y="1273"/>
                                    </p:animMotion>
                                  </p:childTnLst>
                                </p:cTn>
                              </p:par>
                              <p:par>
                                <p:cTn id="10" presetID="10" presetClass="entr" presetSubtype="0" fill="hold" grpId="0" nodeType="withEffect">
                                  <p:stCondLst>
                                    <p:cond delay="2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42" presetClass="path" presetSubtype="0" decel="100000" fill="hold" grpId="1" nodeType="withEffect">
                                  <p:stCondLst>
                                    <p:cond delay="200"/>
                                  </p:stCondLst>
                                  <p:childTnLst>
                                    <p:animMotion origin="layout" path="M -2.91667E-6 2.22222E-6 L -2.91667E-6 0.02569 " pathEditMode="relative" rAng="0" ptsTypes="AA">
                                      <p:cBhvr>
                                        <p:cTn id="14" dur="500" spd="-100000" fill="hold"/>
                                        <p:tgtEl>
                                          <p:spTgt spid="13"/>
                                        </p:tgtEl>
                                        <p:attrNameLst>
                                          <p:attrName>ppt_x</p:attrName>
                                          <p:attrName>ppt_y</p:attrName>
                                        </p:attrNameLst>
                                      </p:cBhvr>
                                      <p:rCtr x="0" y="12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3" grpId="0"/>
      <p:bldP spid="13"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FCBFC-221C-4CD9-8F3C-114F84E92FA1}"/>
              </a:ext>
            </a:extLst>
          </p:cNvPr>
          <p:cNvSpPr>
            <a:spLocks noGrp="1"/>
          </p:cNvSpPr>
          <p:nvPr>
            <p:ph type="title"/>
          </p:nvPr>
        </p:nvSpPr>
        <p:spPr>
          <a:xfrm>
            <a:off x="588262" y="457200"/>
            <a:ext cx="7249226" cy="923330"/>
          </a:xfrm>
        </p:spPr>
        <p:txBody>
          <a:bodyPr>
            <a:normAutofit fontScale="90000"/>
          </a:bodyPr>
          <a:lstStyle/>
          <a:p>
            <a:r>
              <a:rPr lang="en-US"/>
              <a:t>Azure Blockchain Service (Preview)</a:t>
            </a:r>
            <a:br>
              <a:rPr lang="en-US"/>
            </a:br>
            <a:r>
              <a:rPr lang="en-US" sz="2400"/>
              <a:t>with built-in consortium management</a:t>
            </a:r>
            <a:endParaRPr lang="en-IN" sz="2400"/>
          </a:p>
        </p:txBody>
      </p:sp>
      <p:sp>
        <p:nvSpPr>
          <p:cNvPr id="13" name="Rectangle 12">
            <a:extLst>
              <a:ext uri="{FF2B5EF4-FFF2-40B4-BE49-F238E27FC236}">
                <a16:creationId xmlns:a16="http://schemas.microsoft.com/office/drawing/2014/main" id="{D2476EA9-899B-4754-817E-3E84D8C4BFB4}"/>
              </a:ext>
            </a:extLst>
          </p:cNvPr>
          <p:cNvSpPr/>
          <p:nvPr/>
        </p:nvSpPr>
        <p:spPr>
          <a:xfrm>
            <a:off x="7651071" y="2411246"/>
            <a:ext cx="3958317" cy="320087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Holistic view of your consortium</a:t>
            </a:r>
            <a:br>
              <a:rPr kumimoji="0" lang="en-US" sz="18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See all members participating in your consortium, their role in the network and participation in network consensu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Easily add and remove memb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Invite other participants to join your consortium through simply inviting their Azure subscription I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ustomizable network polic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Easily change the roles of members of the consortium as Admins or Members without complex smart contract development</a:t>
            </a:r>
          </a:p>
        </p:txBody>
      </p:sp>
      <p:pic>
        <p:nvPicPr>
          <p:cNvPr id="142" name="Picture 141">
            <a:extLst>
              <a:ext uri="{FF2B5EF4-FFF2-40B4-BE49-F238E27FC236}">
                <a16:creationId xmlns:a16="http://schemas.microsoft.com/office/drawing/2014/main" id="{7746E949-96B7-4DF1-9B39-F6FC7A77E3F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84200" y="1647146"/>
            <a:ext cx="6623632" cy="4083576"/>
          </a:xfrm>
          <a:prstGeom prst="rect">
            <a:avLst/>
          </a:prstGeom>
          <a:effectLst>
            <a:outerShdw blurRad="152400" sx="102000" sy="102000" algn="ctr" rotWithShape="0">
              <a:prstClr val="black">
                <a:alpha val="25000"/>
              </a:prstClr>
            </a:outerShdw>
          </a:effectLst>
        </p:spPr>
      </p:pic>
    </p:spTree>
    <p:extLst>
      <p:ext uri="{BB962C8B-B14F-4D97-AF65-F5344CB8AC3E}">
        <p14:creationId xmlns:p14="http://schemas.microsoft.com/office/powerpoint/2010/main" val="2966569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91667E-6 2.22222E-6 L -2.91667E-6 0.02569 " pathEditMode="relative" rAng="0" ptsTypes="AA">
                                      <p:cBhvr>
                                        <p:cTn id="9" dur="500" spd="-100000" fill="hold"/>
                                        <p:tgtEl>
                                          <p:spTgt spid="2"/>
                                        </p:tgtEl>
                                        <p:attrNameLst>
                                          <p:attrName>ppt_x</p:attrName>
                                          <p:attrName>ppt_y</p:attrName>
                                        </p:attrNameLst>
                                      </p:cBhvr>
                                      <p:rCtr x="0" y="1273"/>
                                    </p:animMotion>
                                  </p:childTnLst>
                                </p:cTn>
                              </p:par>
                              <p:par>
                                <p:cTn id="10" presetID="10" presetClass="entr" presetSubtype="0" fill="hold" nodeType="withEffect">
                                  <p:stCondLst>
                                    <p:cond delay="100"/>
                                  </p:stCondLst>
                                  <p:childTnLst>
                                    <p:set>
                                      <p:cBhvr>
                                        <p:cTn id="11" dur="1" fill="hold">
                                          <p:stCondLst>
                                            <p:cond delay="0"/>
                                          </p:stCondLst>
                                        </p:cTn>
                                        <p:tgtEl>
                                          <p:spTgt spid="142"/>
                                        </p:tgtEl>
                                        <p:attrNameLst>
                                          <p:attrName>style.visibility</p:attrName>
                                        </p:attrNameLst>
                                      </p:cBhvr>
                                      <p:to>
                                        <p:strVal val="visible"/>
                                      </p:to>
                                    </p:set>
                                    <p:animEffect transition="in" filter="fade">
                                      <p:cBhvr>
                                        <p:cTn id="12" dur="500"/>
                                        <p:tgtEl>
                                          <p:spTgt spid="142"/>
                                        </p:tgtEl>
                                      </p:cBhvr>
                                    </p:animEffect>
                                  </p:childTnLst>
                                </p:cTn>
                              </p:par>
                              <p:par>
                                <p:cTn id="13" presetID="42" presetClass="path" presetSubtype="0" decel="100000" fill="hold" nodeType="withEffect">
                                  <p:stCondLst>
                                    <p:cond delay="100"/>
                                  </p:stCondLst>
                                  <p:childTnLst>
                                    <p:animMotion origin="layout" path="M -1.25E-6 -2.96296E-6 L -1.25E-6 0.0257 " pathEditMode="relative" rAng="0" ptsTypes="AA">
                                      <p:cBhvr>
                                        <p:cTn id="14" dur="500" spd="-100000" fill="hold"/>
                                        <p:tgtEl>
                                          <p:spTgt spid="142"/>
                                        </p:tgtEl>
                                        <p:attrNameLst>
                                          <p:attrName>ppt_x</p:attrName>
                                          <p:attrName>ppt_y</p:attrName>
                                        </p:attrNameLst>
                                      </p:cBhvr>
                                      <p:rCtr x="0" y="1273"/>
                                    </p:animMotion>
                                  </p:childTnLst>
                                </p:cTn>
                              </p:par>
                              <p:par>
                                <p:cTn id="15" presetID="10" presetClass="entr" presetSubtype="0" fill="hold" grpId="0" nodeType="withEffect">
                                  <p:stCondLst>
                                    <p:cond delay="20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42" presetClass="path" presetSubtype="0" decel="100000" fill="hold" grpId="1" nodeType="withEffect">
                                  <p:stCondLst>
                                    <p:cond delay="200"/>
                                  </p:stCondLst>
                                  <p:childTnLst>
                                    <p:animMotion origin="layout" path="M -2.91667E-6 2.22222E-6 L -2.91667E-6 0.02569 " pathEditMode="relative" rAng="0" ptsTypes="AA">
                                      <p:cBhvr>
                                        <p:cTn id="19" dur="500" spd="-100000" fill="hold"/>
                                        <p:tgtEl>
                                          <p:spTgt spid="13"/>
                                        </p:tgtEl>
                                        <p:attrNameLst>
                                          <p:attrName>ppt_x</p:attrName>
                                          <p:attrName>ppt_y</p:attrName>
                                        </p:attrNameLst>
                                      </p:cBhvr>
                                      <p:rCtr x="0" y="12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3" grpId="0"/>
      <p:bldP spid="13"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Blockchain Development Kit</a:t>
            </a:r>
          </a:p>
        </p:txBody>
      </p:sp>
    </p:spTree>
    <p:extLst>
      <p:ext uri="{BB962C8B-B14F-4D97-AF65-F5344CB8AC3E}">
        <p14:creationId xmlns:p14="http://schemas.microsoft.com/office/powerpoint/2010/main" val="671162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FCBFC-221C-4CD9-8F3C-114F84E92FA1}"/>
              </a:ext>
            </a:extLst>
          </p:cNvPr>
          <p:cNvSpPr>
            <a:spLocks noGrp="1"/>
          </p:cNvSpPr>
          <p:nvPr>
            <p:ph type="title"/>
          </p:nvPr>
        </p:nvSpPr>
        <p:spPr>
          <a:xfrm>
            <a:off x="269240" y="289511"/>
            <a:ext cx="9636760" cy="899665"/>
          </a:xfrm>
        </p:spPr>
        <p:txBody>
          <a:bodyPr/>
          <a:lstStyle/>
          <a:p>
            <a:r>
              <a:rPr lang="en-US"/>
              <a:t>Development tools and ecosystem</a:t>
            </a:r>
            <a:endParaRPr lang="en-IN"/>
          </a:p>
        </p:txBody>
      </p:sp>
      <p:sp>
        <p:nvSpPr>
          <p:cNvPr id="20" name="Rectangle 19">
            <a:extLst>
              <a:ext uri="{FF2B5EF4-FFF2-40B4-BE49-F238E27FC236}">
                <a16:creationId xmlns:a16="http://schemas.microsoft.com/office/drawing/2014/main" id="{B1F12F16-FEFE-4064-A7D9-1F4E8FE904AF}"/>
              </a:ext>
            </a:extLst>
          </p:cNvPr>
          <p:cNvSpPr/>
          <p:nvPr/>
        </p:nvSpPr>
        <p:spPr>
          <a:xfrm>
            <a:off x="385826" y="2188751"/>
            <a:ext cx="4363734" cy="820225"/>
          </a:xfrm>
          <a:prstGeom prst="rect">
            <a:avLst/>
          </a:prstGeom>
        </p:spPr>
        <p:txBody>
          <a:bodyPr wrap="square" lIns="0" tIns="0" rIns="0" bIns="0">
            <a:spAutoFit/>
          </a:bodyPr>
          <a:lstStyle/>
          <a:p>
            <a:pPr lvl="0">
              <a:defRPr/>
            </a:pPr>
            <a:r>
              <a:rPr lang="en-US" sz="1800">
                <a:solidFill>
                  <a:srgbClr val="0078D4"/>
                </a:solidFill>
                <a:latin typeface="Segoe UI Semibold"/>
                <a:cs typeface="Segoe UI Semibold" panose="020B0702040204020203" pitchFamily="34" charset="0"/>
              </a:rPr>
              <a:t>Azure Blockchain Dev Kit </a:t>
            </a:r>
            <a:r>
              <a:rPr lang="en-US" sz="1800" err="1">
                <a:solidFill>
                  <a:srgbClr val="0078D4"/>
                </a:solidFill>
                <a:latin typeface="Segoe UI Semibold"/>
                <a:cs typeface="Segoe UI Semibold" panose="020B0702040204020203" pitchFamily="34" charset="0"/>
              </a:rPr>
              <a:t>VSCode</a:t>
            </a:r>
            <a:br>
              <a:rPr lang="en-US" sz="2000">
                <a:solidFill>
                  <a:srgbClr val="00BCF2"/>
                </a:solidFill>
                <a:latin typeface="Segoe UI Semibold" panose="020B0702040204020203" pitchFamily="34" charset="0"/>
                <a:cs typeface="Segoe UI Semibold" panose="020B0702040204020203" pitchFamily="34" charset="0"/>
              </a:rPr>
            </a:br>
            <a:r>
              <a:rPr lang="en-US">
                <a:cs typeface="Segoe UI Semibold" panose="020B0702040204020203" pitchFamily="34" charset="0"/>
              </a:rPr>
              <a:t>Write, build and deploy your Solidity contracts without having to leave </a:t>
            </a:r>
            <a:r>
              <a:rPr lang="en-US" err="1">
                <a:cs typeface="Segoe UI Semibold" panose="020B0702040204020203" pitchFamily="34" charset="0"/>
              </a:rPr>
              <a:t>VSCode</a:t>
            </a:r>
            <a:endParaRPr lang="en-US">
              <a:cs typeface="Segoe UI Semibold" panose="020B0702040204020203" pitchFamily="34" charset="0"/>
            </a:endParaRPr>
          </a:p>
        </p:txBody>
      </p:sp>
      <p:pic>
        <p:nvPicPr>
          <p:cNvPr id="3" name="Picture 2">
            <a:extLst>
              <a:ext uri="{FF2B5EF4-FFF2-40B4-BE49-F238E27FC236}">
                <a16:creationId xmlns:a16="http://schemas.microsoft.com/office/drawing/2014/main" id="{251596F2-4417-4211-86BE-0129369910B3}"/>
              </a:ext>
            </a:extLst>
          </p:cNvPr>
          <p:cNvPicPr>
            <a:picLocks noChangeAspect="1"/>
          </p:cNvPicPr>
          <p:nvPr/>
        </p:nvPicPr>
        <p:blipFill>
          <a:blip r:embed="rId3"/>
          <a:stretch>
            <a:fillRect/>
          </a:stretch>
        </p:blipFill>
        <p:spPr>
          <a:xfrm>
            <a:off x="4631983" y="1402094"/>
            <a:ext cx="7382384" cy="4703032"/>
          </a:xfrm>
          <a:prstGeom prst="rect">
            <a:avLst/>
          </a:prstGeom>
        </p:spPr>
      </p:pic>
    </p:spTree>
    <p:extLst>
      <p:ext uri="{BB962C8B-B14F-4D97-AF65-F5344CB8AC3E}">
        <p14:creationId xmlns:p14="http://schemas.microsoft.com/office/powerpoint/2010/main" val="190740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FCBFC-221C-4CD9-8F3C-114F84E92FA1}"/>
              </a:ext>
            </a:extLst>
          </p:cNvPr>
          <p:cNvSpPr>
            <a:spLocks noGrp="1"/>
          </p:cNvSpPr>
          <p:nvPr>
            <p:ph type="title"/>
          </p:nvPr>
        </p:nvSpPr>
        <p:spPr>
          <a:xfrm>
            <a:off x="269240" y="289511"/>
            <a:ext cx="9636760" cy="899665"/>
          </a:xfrm>
        </p:spPr>
        <p:txBody>
          <a:bodyPr/>
          <a:lstStyle/>
          <a:p>
            <a:r>
              <a:rPr lang="en-US"/>
              <a:t>Development tools and ecosystem</a:t>
            </a:r>
            <a:endParaRPr lang="en-IN"/>
          </a:p>
        </p:txBody>
      </p:sp>
      <p:sp>
        <p:nvSpPr>
          <p:cNvPr id="409" name="Rectangle 408">
            <a:extLst>
              <a:ext uri="{FF2B5EF4-FFF2-40B4-BE49-F238E27FC236}">
                <a16:creationId xmlns:a16="http://schemas.microsoft.com/office/drawing/2014/main" id="{49A87477-6754-48ED-BBA8-2AEA6113BF36}"/>
              </a:ext>
            </a:extLst>
          </p:cNvPr>
          <p:cNvSpPr/>
          <p:nvPr/>
        </p:nvSpPr>
        <p:spPr>
          <a:xfrm>
            <a:off x="385826" y="4042377"/>
            <a:ext cx="4363734" cy="1091837"/>
          </a:xfrm>
          <a:prstGeom prst="rect">
            <a:avLst/>
          </a:prstGeom>
        </p:spPr>
        <p:txBody>
          <a:bodyPr wrap="square" lIns="0" tIns="0" rIns="0" bIns="0">
            <a:spAutoFit/>
          </a:bodyPr>
          <a:lstStyle/>
          <a:p>
            <a:pPr lvl="0">
              <a:defRPr/>
            </a:pPr>
            <a:r>
              <a:rPr lang="en-US" sz="1800">
                <a:solidFill>
                  <a:srgbClr val="0078D4"/>
                </a:solidFill>
                <a:latin typeface="Segoe UI Semibold"/>
                <a:cs typeface="Segoe UI Semibold" panose="020B0702040204020203" pitchFamily="34" charset="0"/>
              </a:rPr>
              <a:t>Logic App and Flow connectors</a:t>
            </a:r>
            <a:br>
              <a:rPr lang="en-US" sz="2000">
                <a:solidFill>
                  <a:srgbClr val="00BCF2"/>
                </a:solidFill>
                <a:latin typeface="Segoe UI Semibold" panose="020B0702040204020203" pitchFamily="34" charset="0"/>
                <a:cs typeface="Segoe UI Semibold" panose="020B0702040204020203" pitchFamily="34" charset="0"/>
              </a:rPr>
            </a:br>
            <a:r>
              <a:rPr lang="en-US">
                <a:cs typeface="Segoe UI Semibold" panose="020B0702040204020203" pitchFamily="34" charset="0"/>
              </a:rPr>
              <a:t>Ethereum &amp; Corda Logic App and Flow connectors designed to quickly enable low/no-code workflows</a:t>
            </a:r>
          </a:p>
        </p:txBody>
      </p:sp>
      <p:pic>
        <p:nvPicPr>
          <p:cNvPr id="4" name="Picture 3">
            <a:extLst>
              <a:ext uri="{FF2B5EF4-FFF2-40B4-BE49-F238E27FC236}">
                <a16:creationId xmlns:a16="http://schemas.microsoft.com/office/drawing/2014/main" id="{096EDB4C-979C-4431-85CD-940548B244ED}"/>
              </a:ext>
            </a:extLst>
          </p:cNvPr>
          <p:cNvPicPr>
            <a:picLocks noChangeAspect="1"/>
          </p:cNvPicPr>
          <p:nvPr/>
        </p:nvPicPr>
        <p:blipFill>
          <a:blip r:embed="rId3"/>
          <a:stretch>
            <a:fillRect/>
          </a:stretch>
        </p:blipFill>
        <p:spPr>
          <a:xfrm>
            <a:off x="5093976" y="1662119"/>
            <a:ext cx="6855335" cy="4541214"/>
          </a:xfrm>
          <a:prstGeom prst="rect">
            <a:avLst/>
          </a:prstGeom>
        </p:spPr>
      </p:pic>
      <p:pic>
        <p:nvPicPr>
          <p:cNvPr id="26" name="Picture 25">
            <a:extLst>
              <a:ext uri="{FF2B5EF4-FFF2-40B4-BE49-F238E27FC236}">
                <a16:creationId xmlns:a16="http://schemas.microsoft.com/office/drawing/2014/main" id="{4C8D794E-F88A-49C9-B680-F3AB8CDDD1EE}"/>
              </a:ext>
            </a:extLst>
          </p:cNvPr>
          <p:cNvPicPr>
            <a:picLocks noChangeAspect="1"/>
          </p:cNvPicPr>
          <p:nvPr/>
        </p:nvPicPr>
        <p:blipFill>
          <a:blip r:embed="rId4"/>
          <a:stretch>
            <a:fillRect/>
          </a:stretch>
        </p:blipFill>
        <p:spPr>
          <a:xfrm>
            <a:off x="6029397" y="2945044"/>
            <a:ext cx="6855335" cy="3731232"/>
          </a:xfrm>
          <a:prstGeom prst="rect">
            <a:avLst/>
          </a:prstGeom>
          <a:ln>
            <a:noFill/>
          </a:ln>
          <a:effectLst>
            <a:outerShdw blurRad="292100" dist="139700" dir="2700000" algn="tl" rotWithShape="0">
              <a:srgbClr val="333333">
                <a:alpha val="65000"/>
              </a:srgbClr>
            </a:outerShdw>
          </a:effectLst>
        </p:spPr>
      </p:pic>
      <p:sp>
        <p:nvSpPr>
          <p:cNvPr id="6" name="Rectangle 5">
            <a:extLst>
              <a:ext uri="{FF2B5EF4-FFF2-40B4-BE49-F238E27FC236}">
                <a16:creationId xmlns:a16="http://schemas.microsoft.com/office/drawing/2014/main" id="{F178C50F-DF51-4A2D-8977-7FDAF57D33D7}"/>
              </a:ext>
            </a:extLst>
          </p:cNvPr>
          <p:cNvSpPr/>
          <p:nvPr/>
        </p:nvSpPr>
        <p:spPr>
          <a:xfrm>
            <a:off x="385826" y="2188751"/>
            <a:ext cx="4363734" cy="820225"/>
          </a:xfrm>
          <a:prstGeom prst="rect">
            <a:avLst/>
          </a:prstGeom>
        </p:spPr>
        <p:txBody>
          <a:bodyPr wrap="square" lIns="0" tIns="0" rIns="0" bIns="0">
            <a:spAutoFit/>
          </a:bodyPr>
          <a:lstStyle/>
          <a:p>
            <a:pPr lvl="0">
              <a:defRPr/>
            </a:pPr>
            <a:r>
              <a:rPr lang="en-US" sz="1800">
                <a:solidFill>
                  <a:srgbClr val="0078D4"/>
                </a:solidFill>
                <a:latin typeface="Segoe UI Semibold"/>
                <a:cs typeface="Segoe UI Semibold" panose="020B0702040204020203" pitchFamily="34" charset="0"/>
              </a:rPr>
              <a:t>Azure Blockchain Dev Kit </a:t>
            </a:r>
            <a:r>
              <a:rPr lang="en-US" sz="1800" err="1">
                <a:solidFill>
                  <a:srgbClr val="0078D4"/>
                </a:solidFill>
                <a:latin typeface="Segoe UI Semibold"/>
                <a:cs typeface="Segoe UI Semibold" panose="020B0702040204020203" pitchFamily="34" charset="0"/>
              </a:rPr>
              <a:t>VSCode</a:t>
            </a:r>
            <a:br>
              <a:rPr lang="en-US" sz="2000">
                <a:solidFill>
                  <a:srgbClr val="00BCF2"/>
                </a:solidFill>
                <a:latin typeface="Segoe UI Semibold" panose="020B0702040204020203" pitchFamily="34" charset="0"/>
                <a:cs typeface="Segoe UI Semibold" panose="020B0702040204020203" pitchFamily="34" charset="0"/>
              </a:rPr>
            </a:br>
            <a:r>
              <a:rPr lang="en-US">
                <a:cs typeface="Segoe UI Semibold" panose="020B0702040204020203" pitchFamily="34" charset="0"/>
              </a:rPr>
              <a:t>Write, build and deploy your Solidity contracts without having to leave </a:t>
            </a:r>
            <a:r>
              <a:rPr lang="en-US" err="1">
                <a:cs typeface="Segoe UI Semibold" panose="020B0702040204020203" pitchFamily="34" charset="0"/>
              </a:rPr>
              <a:t>VSCode</a:t>
            </a:r>
            <a:endParaRPr lang="en-US">
              <a:cs typeface="Segoe UI Semibold" panose="020B0702040204020203" pitchFamily="34" charset="0"/>
            </a:endParaRPr>
          </a:p>
        </p:txBody>
      </p:sp>
    </p:spTree>
    <p:extLst>
      <p:ext uri="{BB962C8B-B14F-4D97-AF65-F5344CB8AC3E}">
        <p14:creationId xmlns:p14="http://schemas.microsoft.com/office/powerpoint/2010/main" val="326176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50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1000"/>
                                        <p:tgtEl>
                                          <p:spTgt spid="26"/>
                                        </p:tgtEl>
                                      </p:cBhvr>
                                    </p:animEffect>
                                    <p:anim calcmode="lin" valueType="num">
                                      <p:cBhvr>
                                        <p:cTn id="8" dur="1000" fill="hold"/>
                                        <p:tgtEl>
                                          <p:spTgt spid="26"/>
                                        </p:tgtEl>
                                        <p:attrNameLst>
                                          <p:attrName>ppt_x</p:attrName>
                                        </p:attrNameLst>
                                      </p:cBhvr>
                                      <p:tavLst>
                                        <p:tav tm="0">
                                          <p:val>
                                            <p:strVal val="#ppt_x"/>
                                          </p:val>
                                        </p:tav>
                                        <p:tav tm="100000">
                                          <p:val>
                                            <p:strVal val="#ppt_x"/>
                                          </p:val>
                                        </p:tav>
                                      </p:tavLst>
                                    </p:anim>
                                    <p:anim calcmode="lin" valueType="num">
                                      <p:cBhvr>
                                        <p:cTn id="9" dur="1000" fill="hold"/>
                                        <p:tgtEl>
                                          <p:spTgt spid="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5FC32C-7EFE-4BF4-9AAA-84B3ABD61A06}"/>
              </a:ext>
            </a:extLst>
          </p:cNvPr>
          <p:cNvSpPr>
            <a:spLocks noGrp="1"/>
          </p:cNvSpPr>
          <p:nvPr>
            <p:ph type="title"/>
          </p:nvPr>
        </p:nvSpPr>
        <p:spPr/>
        <p:txBody>
          <a:bodyPr/>
          <a:lstStyle/>
          <a:p>
            <a:r>
              <a:rPr lang="en-US" dirty="0"/>
              <a:t>Hands-on | Part 1</a:t>
            </a:r>
            <a:endParaRPr lang="fr-CH" dirty="0"/>
          </a:p>
        </p:txBody>
      </p:sp>
      <p:sp>
        <p:nvSpPr>
          <p:cNvPr id="3" name="Content Placeholder 2">
            <a:extLst>
              <a:ext uri="{FF2B5EF4-FFF2-40B4-BE49-F238E27FC236}">
                <a16:creationId xmlns:a16="http://schemas.microsoft.com/office/drawing/2014/main" id="{88F9A95C-C74C-4868-8A0F-7C6B9077B93A}"/>
              </a:ext>
            </a:extLst>
          </p:cNvPr>
          <p:cNvSpPr>
            <a:spLocks noGrp="1"/>
          </p:cNvSpPr>
          <p:nvPr>
            <p:ph idx="1"/>
          </p:nvPr>
        </p:nvSpPr>
        <p:spPr/>
        <p:txBody>
          <a:bodyPr/>
          <a:lstStyle/>
          <a:p>
            <a:r>
              <a:rPr lang="en-US" dirty="0"/>
              <a:t>If not done: activate an </a:t>
            </a:r>
            <a:r>
              <a:rPr lang="en-US" dirty="0">
                <a:hlinkClick r:id="rId2"/>
              </a:rPr>
              <a:t>Azure for Student </a:t>
            </a:r>
            <a:r>
              <a:rPr lang="en-US" dirty="0"/>
              <a:t>account</a:t>
            </a:r>
          </a:p>
          <a:p>
            <a:r>
              <a:rPr lang="en-US" dirty="0"/>
              <a:t>Go on GitHub</a:t>
            </a:r>
            <a:r>
              <a:rPr lang="en-US"/>
              <a:t>: </a:t>
            </a:r>
            <a:r>
              <a:rPr lang="en-US">
                <a:hlinkClick r:id="rId3"/>
              </a:rPr>
              <a:t>https://github.com/anaig</a:t>
            </a:r>
            <a:endParaRPr lang="en-US"/>
          </a:p>
          <a:p>
            <a:endParaRPr lang="fr-CH" dirty="0"/>
          </a:p>
        </p:txBody>
      </p:sp>
    </p:spTree>
    <p:extLst>
      <p:ext uri="{BB962C8B-B14F-4D97-AF65-F5344CB8AC3E}">
        <p14:creationId xmlns:p14="http://schemas.microsoft.com/office/powerpoint/2010/main" val="35876669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descr="http://e.fastcompany.net/multisite_files/fastcompany/imagecache/1280/poster/2013/09/3016687-poster-1280-containership.png">
            <a:extLst>
              <a:ext uri="{FF2B5EF4-FFF2-40B4-BE49-F238E27FC236}">
                <a16:creationId xmlns:a16="http://schemas.microsoft.com/office/drawing/2014/main" id="{8CD5C6A2-B4D7-4442-B166-C54C332E32A9}"/>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 contrast="10000"/>
                    </a14:imgEffect>
                  </a14:imgLayer>
                </a14:imgProps>
              </a:ext>
              <a:ext uri="{28A0092B-C50C-407E-A947-70E740481C1C}">
                <a14:useLocalDpi xmlns:a14="http://schemas.microsoft.com/office/drawing/2010/main" val="0"/>
              </a:ext>
            </a:extLst>
          </a:blip>
          <a:srcRect/>
          <a:stretch>
            <a:fillRect/>
          </a:stretch>
        </p:blipFill>
        <p:spPr bwMode="auto">
          <a:xfrm>
            <a:off x="3313" y="1"/>
            <a:ext cx="12188687" cy="6858001"/>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7C2E1F38-C6C8-4442-BBC4-8731B71973BD}"/>
              </a:ext>
            </a:extLst>
          </p:cNvPr>
          <p:cNvSpPr/>
          <p:nvPr/>
        </p:nvSpPr>
        <p:spPr>
          <a:xfrm rot="10800000">
            <a:off x="-5139" y="-1"/>
            <a:ext cx="12214603" cy="6858000"/>
          </a:xfrm>
          <a:prstGeom prst="rect">
            <a:avLst/>
          </a:prstGeom>
          <a:solidFill>
            <a:srgbClr val="353535">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071" tIns="182828" rIns="457071" bIns="182828" rtlCol="0" anchor="b"/>
          <a:lstStyle/>
          <a:p>
            <a:pPr marL="0" marR="0" lvl="0" indent="0" algn="r" defTabSz="913850" rtl="0" eaLnBrk="1" fontAlgn="auto" latinLnBrk="0" hangingPunct="1">
              <a:lnSpc>
                <a:spcPts val="1200"/>
              </a:lnSpc>
              <a:spcBef>
                <a:spcPts val="0"/>
              </a:spcBef>
              <a:spcAft>
                <a:spcPts val="0"/>
              </a:spcAft>
              <a:buClrTx/>
              <a:buSzTx/>
              <a:buFontTx/>
              <a:buNone/>
              <a:tabLst/>
              <a:defRPr/>
            </a:pPr>
            <a:br>
              <a:rPr kumimoji="0" lang="en-US" sz="2000" b="0" i="1" u="none" strike="noStrike" kern="1200" cap="none" spc="0" normalizeH="0" baseline="0" noProof="0">
                <a:ln>
                  <a:noFill/>
                </a:ln>
                <a:solidFill>
                  <a:prstClr val="white"/>
                </a:solidFill>
                <a:effectLst/>
                <a:uLnTx/>
                <a:uFillTx/>
                <a:latin typeface="Segoe UI"/>
                <a:ea typeface="Segoe UI" pitchFamily="34" charset="0"/>
                <a:cs typeface="Segoe UI" pitchFamily="34" charset="0"/>
              </a:rPr>
            </a:br>
            <a:endParaRPr kumimoji="0" lang="da-DK" sz="16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0" name="Title 1">
            <a:extLst>
              <a:ext uri="{FF2B5EF4-FFF2-40B4-BE49-F238E27FC236}">
                <a16:creationId xmlns:a16="http://schemas.microsoft.com/office/drawing/2014/main" id="{78050FA4-0D8C-4F3E-AEF7-40303B827872}"/>
              </a:ext>
            </a:extLst>
          </p:cNvPr>
          <p:cNvSpPr txBox="1">
            <a:spLocks/>
          </p:cNvSpPr>
          <p:nvPr/>
        </p:nvSpPr>
        <p:spPr>
          <a:xfrm>
            <a:off x="179662" y="231923"/>
            <a:ext cx="11655425" cy="900113"/>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400" b="0" strike="noStrike"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a:ln w="3175">
                  <a:noFill/>
                </a:ln>
                <a:solidFill>
                  <a:prstClr val="white"/>
                </a:solidFill>
                <a:effectLst/>
                <a:uLnTx/>
                <a:uFillTx/>
                <a:latin typeface="Segoe UI Light" panose="020B0502040204020203" pitchFamily="34" charset="0"/>
                <a:ea typeface="+mn-ea"/>
                <a:cs typeface="Segoe UI Light" panose="020B0502040204020203" pitchFamily="34" charset="0"/>
              </a:rPr>
              <a:t>Maersk | Secure marine insurance</a:t>
            </a:r>
          </a:p>
        </p:txBody>
      </p:sp>
      <p:sp>
        <p:nvSpPr>
          <p:cNvPr id="4" name="Pentagon 12">
            <a:extLst>
              <a:ext uri="{FF2B5EF4-FFF2-40B4-BE49-F238E27FC236}">
                <a16:creationId xmlns:a16="http://schemas.microsoft.com/office/drawing/2014/main" id="{78334B88-B76F-4BCD-A799-0DEB420861E5}"/>
              </a:ext>
            </a:extLst>
          </p:cNvPr>
          <p:cNvSpPr/>
          <p:nvPr/>
        </p:nvSpPr>
        <p:spPr>
          <a:xfrm>
            <a:off x="766212" y="1132035"/>
            <a:ext cx="5075785" cy="3963531"/>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37121" tIns="137121" rIns="137121" bIns="137121" rtlCol="0" anchor="t"/>
          <a:lstStyle/>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r>
              <a:rPr kumimoji="0" lang="en-US" sz="2400" b="0"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hallenge </a:t>
            </a:r>
          </a:p>
          <a:p>
            <a:pPr marL="0" marR="0" lvl="0" indent="0" algn="l" defTabSz="914169" rtl="0" eaLnBrk="1" fontAlgn="base" latinLnBrk="0" hangingPunct="1">
              <a:lnSpc>
                <a:spcPct val="100000"/>
              </a:lnSpc>
              <a:spcBef>
                <a:spcPct val="0"/>
              </a:spcBef>
              <a:spcAft>
                <a:spcPts val="196"/>
              </a:spcAft>
              <a:buClr>
                <a:prstClr val="white"/>
              </a:buClr>
              <a:buSzPct val="100000"/>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Maersk wanted to improve efficiency, transparency, and data accuracy with the plethora of parties involved in marine insurance—all while maintaining security and compliance</a:t>
            </a:r>
          </a:p>
          <a:p>
            <a:pPr marL="0" marR="0" lvl="0" indent="0" algn="l" defTabSz="914169" rtl="0" eaLnBrk="1" fontAlgn="base" latinLnBrk="0" hangingPunct="1">
              <a:lnSpc>
                <a:spcPct val="100000"/>
              </a:lnSpc>
              <a:spcBef>
                <a:spcPct val="0"/>
              </a:spcBef>
              <a:spcAft>
                <a:spcPts val="196"/>
              </a:spcAft>
              <a:buClr>
                <a:prstClr val="white"/>
              </a:buClr>
              <a:buSzPct val="100000"/>
              <a:buFontTx/>
              <a:buNone/>
              <a:tabLst/>
              <a:defRPr/>
            </a:pPr>
            <a:endParaRPr kumimoji="0" lang="en-US" sz="2400" b="0" i="0" u="none" strike="noStrike" kern="120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pitchFamily="34" charset="0"/>
            </a:endParaRPr>
          </a:p>
          <a:p>
            <a:pPr marL="0" marR="0" lvl="0" indent="0" algn="l" defTabSz="914169" rtl="0" eaLnBrk="1" fontAlgn="base" latinLnBrk="0" hangingPunct="1">
              <a:lnSpc>
                <a:spcPct val="100000"/>
              </a:lnSpc>
              <a:spcBef>
                <a:spcPct val="0"/>
              </a:spcBef>
              <a:spcAft>
                <a:spcPts val="196"/>
              </a:spcAft>
              <a:buClr>
                <a:prstClr val="white"/>
              </a:buClr>
              <a:buSzPct val="100000"/>
              <a:buFontTx/>
              <a:buNone/>
              <a:tabLst/>
              <a:defRPr/>
            </a:pPr>
            <a:r>
              <a:rPr kumimoji="0" lang="en-US" sz="2400" b="0"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trategy</a:t>
            </a:r>
          </a:p>
          <a:p>
            <a:pPr marL="0" marR="0" lvl="0" indent="0" algn="l" defTabSz="914169" rtl="0" eaLnBrk="1" fontAlgn="base" latinLnBrk="0" hangingPunct="1">
              <a:lnSpc>
                <a:spcPct val="100000"/>
              </a:lnSpc>
              <a:spcBef>
                <a:spcPct val="0"/>
              </a:spcBef>
              <a:spcAft>
                <a:spcPts val="196"/>
              </a:spcAft>
              <a:buClr>
                <a:prstClr val="white"/>
              </a:buClr>
              <a:buSzPct val="100000"/>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Maersk partnered with EY, </a:t>
            </a:r>
            <a:r>
              <a:rPr kumimoji="0" lang="en-US" sz="18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rPr>
              <a:t>Guardtime</a:t>
            </a:r>
            <a:r>
              <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 and Microsoft to develop a blockchain-based platform that could manage the various exchanges required for marine insurance</a:t>
            </a:r>
          </a:p>
        </p:txBody>
      </p:sp>
      <p:sp>
        <p:nvSpPr>
          <p:cNvPr id="5" name="Chevron 13">
            <a:extLst>
              <a:ext uri="{FF2B5EF4-FFF2-40B4-BE49-F238E27FC236}">
                <a16:creationId xmlns:a16="http://schemas.microsoft.com/office/drawing/2014/main" id="{13752A2D-1156-48AD-9B59-9FACA076B9D9}"/>
              </a:ext>
            </a:extLst>
          </p:cNvPr>
          <p:cNvSpPr/>
          <p:nvPr/>
        </p:nvSpPr>
        <p:spPr>
          <a:xfrm>
            <a:off x="743368" y="2627387"/>
            <a:ext cx="3209544" cy="2468180"/>
          </a:xfrm>
          <a:prstGeom prst="chevron">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37121" tIns="137121" rIns="45707" bIns="137121" rtlCol="0" anchor="t"/>
          <a:lstStyle/>
          <a:p>
            <a:pPr marL="0" marR="0" lvl="0" indent="0" algn="l" defTabSz="914169" rtl="0" eaLnBrk="1" fontAlgn="base" latinLnBrk="0" hangingPunct="1">
              <a:lnSpc>
                <a:spcPct val="100000"/>
              </a:lnSpc>
              <a:spcBef>
                <a:spcPct val="0"/>
              </a:spcBef>
              <a:spcAft>
                <a:spcPts val="1200"/>
              </a:spcAft>
              <a:buClr>
                <a:prstClr val="white"/>
              </a:buClr>
              <a:buSzPct val="100000"/>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 name="Chevron 25">
            <a:extLst>
              <a:ext uri="{FF2B5EF4-FFF2-40B4-BE49-F238E27FC236}">
                <a16:creationId xmlns:a16="http://schemas.microsoft.com/office/drawing/2014/main" id="{E6CBA653-4D0A-48D7-9D30-60C7D50C037F}"/>
              </a:ext>
            </a:extLst>
          </p:cNvPr>
          <p:cNvSpPr/>
          <p:nvPr/>
        </p:nvSpPr>
        <p:spPr>
          <a:xfrm>
            <a:off x="6467683" y="1132036"/>
            <a:ext cx="5281629" cy="39635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5656" tIns="137121" rIns="137121" bIns="137121" rtlCol="0" anchor="t"/>
          <a:lstStyle/>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r>
              <a:rPr kumimoji="0" lang="en-US" sz="2400" b="0"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Results</a:t>
            </a:r>
          </a:p>
          <a:p>
            <a:pPr marL="173665" marR="0" lvl="0" indent="-173665" algn="l" defTabSz="914169" rtl="0" eaLnBrk="1" fontAlgn="base" latinLnBrk="0" hangingPunct="1">
              <a:lnSpc>
                <a:spcPct val="100000"/>
              </a:lnSpc>
              <a:spcBef>
                <a:spcPct val="0"/>
              </a:spcBef>
              <a:spcAft>
                <a:spcPts val="196"/>
              </a:spcAft>
              <a:buClr>
                <a:prstClr val="white"/>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Provided </a:t>
            </a:r>
            <a:r>
              <a:rPr kumimoji="0" lang="en-US" sz="1800" b="1" i="0" u="none" strike="noStrike" kern="1200" cap="none" spc="0" normalizeH="0" baseline="0" noProof="0">
                <a:ln>
                  <a:noFill/>
                </a:ln>
                <a:solidFill>
                  <a:srgbClr val="50E7FF"/>
                </a:solidFill>
                <a:effectLst/>
                <a:uLnTx/>
                <a:uFillTx/>
                <a:latin typeface="Segoe UI Semibold" panose="020B0702040204020203" pitchFamily="34" charset="0"/>
                <a:ea typeface="+mn-ea"/>
                <a:cs typeface="Segoe UI Semibold" panose="020B0702040204020203" pitchFamily="34" charset="0"/>
              </a:rPr>
              <a:t>real-time visibility</a:t>
            </a:r>
            <a:r>
              <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 into in-transit assets to establish</a:t>
            </a:r>
            <a:r>
              <a:rPr kumimoji="0" lang="en-US" sz="1800" b="1" i="0" u="none" strike="noStrike" kern="1200" cap="none" spc="0" normalizeH="0" baseline="0" noProof="0">
                <a:ln>
                  <a:noFill/>
                </a:ln>
                <a:solidFill>
                  <a:srgbClr val="50E7FF"/>
                </a:solidFill>
                <a:effectLst/>
                <a:uLnTx/>
                <a:uFillTx/>
                <a:latin typeface="Segoe UI Semibold" panose="020B0702040204020203" pitchFamily="34" charset="0"/>
                <a:ea typeface="+mn-ea"/>
                <a:cs typeface="Segoe UI Semibold" panose="020B0702040204020203" pitchFamily="34" charset="0"/>
              </a:rPr>
              <a:t> accurate, dynamic, and fair </a:t>
            </a:r>
            <a:r>
              <a:rPr kumimoji="0" lang="en-US" sz="1800" b="0" i="0" u="none" strike="noStrike" kern="1200" cap="none" spc="0" normalizeH="0" baseline="0" noProof="0">
                <a:ln>
                  <a:noFill/>
                </a:ln>
                <a:solidFill>
                  <a:srgbClr val="FFFFFF"/>
                </a:solidFill>
                <a:effectLst/>
                <a:uLnTx/>
                <a:uFillTx/>
                <a:latin typeface="Segoe UI Semilight"/>
                <a:ea typeface="+mn-ea"/>
                <a:cs typeface="Segoe UI" pitchFamily="34" charset="0"/>
              </a:rPr>
              <a:t>underwriting and pricing</a:t>
            </a:r>
          </a:p>
          <a:p>
            <a:pPr marL="173665" marR="0" lvl="0" indent="-173665" algn="l" defTabSz="914169" rtl="0" eaLnBrk="1" fontAlgn="base" latinLnBrk="0" hangingPunct="1">
              <a:lnSpc>
                <a:spcPct val="100000"/>
              </a:lnSpc>
              <a:spcBef>
                <a:spcPct val="0"/>
              </a:spcBef>
              <a:spcAft>
                <a:spcPts val="196"/>
              </a:spcAft>
              <a:buClr>
                <a:prstClr val="white"/>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Helped ensure regulatory </a:t>
            </a:r>
            <a:r>
              <a:rPr kumimoji="0" lang="en-US" sz="1800" b="0" i="0" u="none" strike="noStrike" kern="1200" cap="none" spc="0" normalizeH="0" baseline="0" noProof="0">
                <a:ln>
                  <a:noFill/>
                </a:ln>
                <a:solidFill>
                  <a:srgbClr val="FFFFFF"/>
                </a:solidFill>
                <a:effectLst/>
                <a:uLnTx/>
                <a:uFillTx/>
                <a:latin typeface="Segoe UI Semilight"/>
                <a:ea typeface="+mn-ea"/>
                <a:cs typeface="Segoe UI" pitchFamily="34" charset="0"/>
              </a:rPr>
              <a:t>reporting and compliance</a:t>
            </a:r>
            <a:r>
              <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 through an audit trail provided by </a:t>
            </a:r>
            <a:r>
              <a:rPr kumimoji="0" lang="en-US" sz="1800" b="1" i="0" u="none" strike="noStrike" kern="1200" cap="none" spc="0" normalizeH="0" baseline="0" noProof="0">
                <a:ln>
                  <a:noFill/>
                </a:ln>
                <a:solidFill>
                  <a:srgbClr val="50E7FF"/>
                </a:solidFill>
                <a:effectLst/>
                <a:uLnTx/>
                <a:uFillTx/>
                <a:latin typeface="Segoe UI Semibold" panose="020B0702040204020203" pitchFamily="34" charset="0"/>
                <a:ea typeface="+mn-ea"/>
                <a:cs typeface="Segoe UI Semibold" panose="020B0702040204020203" pitchFamily="34" charset="0"/>
              </a:rPr>
              <a:t>accurate and transparent data sharing </a:t>
            </a:r>
            <a:r>
              <a:rPr kumimoji="0" lang="en-US" sz="1800" b="0" i="0" u="none" strike="noStrike" kern="1200" cap="none" spc="0" normalizeH="0" baseline="0" noProof="0">
                <a:ln>
                  <a:noFill/>
                </a:ln>
                <a:solidFill>
                  <a:srgbClr val="FFFFFF"/>
                </a:solidFill>
                <a:effectLst/>
                <a:uLnTx/>
                <a:uFillTx/>
                <a:latin typeface="Segoe UI Semilight"/>
                <a:ea typeface="+mn-ea"/>
                <a:cs typeface="Segoe UI" pitchFamily="34" charset="0"/>
              </a:rPr>
              <a:t>across the blockchain network</a:t>
            </a:r>
          </a:p>
          <a:p>
            <a:pPr marL="173665" marR="0" lvl="0" indent="-173665" algn="l" defTabSz="914169" rtl="0" eaLnBrk="1" fontAlgn="base" latinLnBrk="0" hangingPunct="1">
              <a:lnSpc>
                <a:spcPct val="100000"/>
              </a:lnSpc>
              <a:spcBef>
                <a:spcPct val="0"/>
              </a:spcBef>
              <a:spcAft>
                <a:spcPts val="196"/>
              </a:spcAft>
              <a:buClr>
                <a:prstClr val="white"/>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Streamlined claims and settlement processes while </a:t>
            </a:r>
            <a:r>
              <a:rPr kumimoji="0" lang="en-US" sz="1800" b="1" i="0" u="none" strike="noStrike" kern="1200" cap="none" spc="0" normalizeH="0" baseline="0" noProof="0">
                <a:ln>
                  <a:noFill/>
                </a:ln>
                <a:solidFill>
                  <a:srgbClr val="50E7FF"/>
                </a:solidFill>
                <a:effectLst/>
                <a:uLnTx/>
                <a:uFillTx/>
                <a:latin typeface="Segoe UI Semibold" panose="020B0702040204020203" pitchFamily="34" charset="0"/>
                <a:ea typeface="+mn-ea"/>
                <a:cs typeface="Segoe UI Semibold" panose="020B0702040204020203" pitchFamily="34" charset="0"/>
              </a:rPr>
              <a:t>reducing errors</a:t>
            </a:r>
          </a:p>
          <a:p>
            <a:pPr marL="173665" marR="0" lvl="0" indent="-173665" algn="l" defTabSz="914169" rtl="0" eaLnBrk="1" fontAlgn="base" latinLnBrk="0" hangingPunct="1">
              <a:lnSpc>
                <a:spcPct val="100000"/>
              </a:lnSpc>
              <a:spcBef>
                <a:spcPct val="0"/>
              </a:spcBef>
              <a:spcAft>
                <a:spcPts val="196"/>
              </a:spcAft>
              <a:buClr>
                <a:prstClr val="white"/>
              </a:buClr>
              <a:buSzPct val="100000"/>
              <a:buFont typeface="Arial" panose="020B0604020202020204" pitchFamily="34" charset="0"/>
              <a:buChar char="•"/>
              <a:tabLst/>
              <a:defRPr/>
            </a:pPr>
            <a:endPar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B07BF8A3-21DE-4092-9EF1-EE3660338025}"/>
              </a:ext>
            </a:extLst>
          </p:cNvPr>
          <p:cNvGrpSpPr/>
          <p:nvPr/>
        </p:nvGrpSpPr>
        <p:grpSpPr>
          <a:xfrm>
            <a:off x="-5140" y="5518894"/>
            <a:ext cx="12214595" cy="1360595"/>
            <a:chOff x="-5140" y="5518894"/>
            <a:chExt cx="12214595" cy="1360595"/>
          </a:xfrm>
        </p:grpSpPr>
        <p:sp>
          <p:nvSpPr>
            <p:cNvPr id="3" name="Rectangle 2">
              <a:extLst>
                <a:ext uri="{FF2B5EF4-FFF2-40B4-BE49-F238E27FC236}">
                  <a16:creationId xmlns:a16="http://schemas.microsoft.com/office/drawing/2014/main" id="{1FDFF06C-F651-40DC-9602-92B76F8FC2A3}"/>
                </a:ext>
              </a:extLst>
            </p:cNvPr>
            <p:cNvSpPr/>
            <p:nvPr/>
          </p:nvSpPr>
          <p:spPr>
            <a:xfrm>
              <a:off x="-5140" y="5518894"/>
              <a:ext cx="12214595" cy="1360595"/>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5" tIns="91415" rIns="91415" bIns="91415" numCol="1" spcCol="0" rtlCol="0" fromWordArt="0" anchor="b" anchorCtr="0" forceAA="0" compatLnSpc="1">
              <a:prstTxWarp prst="textNoShape">
                <a:avLst/>
              </a:prstTxWarp>
              <a:noAutofit/>
            </a:bodyPr>
            <a:lstStyle/>
            <a:p>
              <a:pPr marL="0" marR="0" lvl="0" indent="0" algn="r" defTabSz="108763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7" name="TextBox 6">
              <a:extLst>
                <a:ext uri="{FF2B5EF4-FFF2-40B4-BE49-F238E27FC236}">
                  <a16:creationId xmlns:a16="http://schemas.microsoft.com/office/drawing/2014/main" id="{023B9BFA-58B6-4446-BD3D-608C1D1A9002}"/>
                </a:ext>
              </a:extLst>
            </p:cNvPr>
            <p:cNvSpPr txBox="1"/>
            <p:nvPr/>
          </p:nvSpPr>
          <p:spPr>
            <a:xfrm>
              <a:off x="1803116" y="5599027"/>
              <a:ext cx="10284430"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It is a priority for us to leverage technology to streamline and automate our interaction with the insurance market. Insurance transactions are currently far too tedious and frictional. The distance between risk and capital is simply too fa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 Lars </a:t>
              </a:r>
              <a:r>
                <a:rPr kumimoji="0" lang="en-US" sz="1800" b="0" i="1" u="none" strike="noStrike" kern="1200" cap="none" spc="0" normalizeH="0" baseline="0" noProof="0" err="1">
                  <a:ln>
                    <a:noFill/>
                  </a:ln>
                  <a:solidFill>
                    <a:prstClr val="black"/>
                  </a:solidFill>
                  <a:effectLst/>
                  <a:uLnTx/>
                  <a:uFillTx/>
                  <a:latin typeface="Segoe UI Semilight" panose="020B0402040204020203" pitchFamily="34" charset="0"/>
                  <a:ea typeface="+mn-ea"/>
                  <a:cs typeface="Segoe UI Semilight" panose="020B0402040204020203" pitchFamily="34" charset="0"/>
                </a:rPr>
                <a:t>Henneberg</a:t>
              </a:r>
              <a:r>
                <a:rPr kumimoji="0" lang="en-US" sz="1800" b="0" i="1"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 VP, Head of Risk and Insurance of A.P. Moller-Maersk</a:t>
              </a:r>
            </a:p>
          </p:txBody>
        </p:sp>
      </p:grpSp>
      <p:grpSp>
        <p:nvGrpSpPr>
          <p:cNvPr id="24" name="Group 23">
            <a:extLst>
              <a:ext uri="{FF2B5EF4-FFF2-40B4-BE49-F238E27FC236}">
                <a16:creationId xmlns:a16="http://schemas.microsoft.com/office/drawing/2014/main" id="{39E7E0C3-3E02-425E-8651-2381FC80D043}"/>
              </a:ext>
            </a:extLst>
          </p:cNvPr>
          <p:cNvGrpSpPr/>
          <p:nvPr/>
        </p:nvGrpSpPr>
        <p:grpSpPr>
          <a:xfrm>
            <a:off x="5762244" y="1312966"/>
            <a:ext cx="667512" cy="3582795"/>
            <a:chOff x="5762244" y="1424709"/>
            <a:chExt cx="667512" cy="3582795"/>
          </a:xfrm>
        </p:grpSpPr>
        <p:cxnSp>
          <p:nvCxnSpPr>
            <p:cNvPr id="25" name="Straight Connector 24">
              <a:extLst>
                <a:ext uri="{FF2B5EF4-FFF2-40B4-BE49-F238E27FC236}">
                  <a16:creationId xmlns:a16="http://schemas.microsoft.com/office/drawing/2014/main" id="{6CA6E488-3849-4939-B120-96A5E04E83FC}"/>
                </a:ext>
              </a:extLst>
            </p:cNvPr>
            <p:cNvCxnSpPr>
              <a:cxnSpLocks/>
            </p:cNvCxnSpPr>
            <p:nvPr/>
          </p:nvCxnSpPr>
          <p:spPr>
            <a:xfrm>
              <a:off x="6096000" y="1424709"/>
              <a:ext cx="0" cy="3582795"/>
            </a:xfrm>
            <a:prstGeom prst="line">
              <a:avLst/>
            </a:prstGeom>
            <a:noFill/>
            <a:ln w="34925" cap="rnd" cmpd="sng" algn="ctr">
              <a:solidFill>
                <a:srgbClr val="00BCF2"/>
              </a:solidFill>
              <a:prstDash val="solid"/>
              <a:headEnd type="none"/>
              <a:tailEnd type="none"/>
            </a:ln>
            <a:effectLst/>
          </p:spPr>
        </p:cxnSp>
        <p:grpSp>
          <p:nvGrpSpPr>
            <p:cNvPr id="26" name="Group 25">
              <a:extLst>
                <a:ext uri="{FF2B5EF4-FFF2-40B4-BE49-F238E27FC236}">
                  <a16:creationId xmlns:a16="http://schemas.microsoft.com/office/drawing/2014/main" id="{61B83086-4C3B-4968-9568-20D09B563398}"/>
                </a:ext>
              </a:extLst>
            </p:cNvPr>
            <p:cNvGrpSpPr/>
            <p:nvPr/>
          </p:nvGrpSpPr>
          <p:grpSpPr>
            <a:xfrm>
              <a:off x="5762244" y="2882350"/>
              <a:ext cx="667512" cy="667512"/>
              <a:chOff x="4970016" y="3801095"/>
              <a:chExt cx="584318" cy="584318"/>
            </a:xfrm>
          </p:grpSpPr>
          <p:sp>
            <p:nvSpPr>
              <p:cNvPr id="27" name="Oval 26">
                <a:extLst>
                  <a:ext uri="{FF2B5EF4-FFF2-40B4-BE49-F238E27FC236}">
                    <a16:creationId xmlns:a16="http://schemas.microsoft.com/office/drawing/2014/main" id="{3A0B67F6-D7CB-4986-977D-1190F86BCAF0}"/>
                  </a:ext>
                </a:extLst>
              </p:cNvPr>
              <p:cNvSpPr/>
              <p:nvPr/>
            </p:nvSpPr>
            <p:spPr bwMode="auto">
              <a:xfrm>
                <a:off x="4970016" y="3801095"/>
                <a:ext cx="584318" cy="584318"/>
              </a:xfrm>
              <a:prstGeom prst="ellipse">
                <a:avLst/>
              </a:prstGeom>
              <a:solidFill>
                <a:srgbClr val="FFFFFF"/>
              </a:solidFill>
              <a:ln w="9525"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Arrow: Chevron 27">
                <a:extLst>
                  <a:ext uri="{FF2B5EF4-FFF2-40B4-BE49-F238E27FC236}">
                    <a16:creationId xmlns:a16="http://schemas.microsoft.com/office/drawing/2014/main" id="{DE014A94-1191-4728-A25A-7C1F203584FA}"/>
                  </a:ext>
                </a:extLst>
              </p:cNvPr>
              <p:cNvSpPr/>
              <p:nvPr/>
            </p:nvSpPr>
            <p:spPr bwMode="auto">
              <a:xfrm flipV="1">
                <a:off x="5154501" y="3924787"/>
                <a:ext cx="262254" cy="336935"/>
              </a:xfrm>
              <a:prstGeom prst="chevron">
                <a:avLst/>
              </a:prstGeom>
              <a:solidFill>
                <a:srgbClr val="0067B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pic>
        <p:nvPicPr>
          <p:cNvPr id="20" name="Picture 4" descr="Image result for maersk logo">
            <a:extLst>
              <a:ext uri="{FF2B5EF4-FFF2-40B4-BE49-F238E27FC236}">
                <a16:creationId xmlns:a16="http://schemas.microsoft.com/office/drawing/2014/main" id="{112061F2-3F67-4A09-855A-B05BD205C34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2798" y="6011162"/>
            <a:ext cx="1642854" cy="3760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53538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125" name="Oval 124">
            <a:extLst>
              <a:ext uri="{FF2B5EF4-FFF2-40B4-BE49-F238E27FC236}">
                <a16:creationId xmlns:a16="http://schemas.microsoft.com/office/drawing/2014/main" id="{6259F411-82ED-4683-AF19-98F00CF8BCBC}"/>
              </a:ext>
            </a:extLst>
          </p:cNvPr>
          <p:cNvSpPr/>
          <p:nvPr/>
        </p:nvSpPr>
        <p:spPr bwMode="auto">
          <a:xfrm>
            <a:off x="3319718" y="1156922"/>
            <a:ext cx="5453680" cy="1828800"/>
          </a:xfrm>
          <a:prstGeom prst="ellipse">
            <a:avLst/>
          </a:prstGeom>
          <a:solidFill>
            <a:srgbClr val="C00000">
              <a:alpha val="5000"/>
            </a:srgbClr>
          </a:solid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186" name="Group 185">
            <a:extLst>
              <a:ext uri="{FF2B5EF4-FFF2-40B4-BE49-F238E27FC236}">
                <a16:creationId xmlns:a16="http://schemas.microsoft.com/office/drawing/2014/main" id="{968904EF-E34E-40F0-80BB-F58668837B42}"/>
              </a:ext>
            </a:extLst>
          </p:cNvPr>
          <p:cNvGrpSpPr/>
          <p:nvPr/>
        </p:nvGrpSpPr>
        <p:grpSpPr>
          <a:xfrm>
            <a:off x="932434" y="3283224"/>
            <a:ext cx="430912" cy="458285"/>
            <a:chOff x="1415453" y="3449690"/>
            <a:chExt cx="546570" cy="581289"/>
          </a:xfrm>
        </p:grpSpPr>
        <p:sp>
          <p:nvSpPr>
            <p:cNvPr id="187" name="Rectangle 186">
              <a:extLst>
                <a:ext uri="{FF2B5EF4-FFF2-40B4-BE49-F238E27FC236}">
                  <a16:creationId xmlns:a16="http://schemas.microsoft.com/office/drawing/2014/main" id="{F7E5BAE3-DA4E-416C-BFC1-CF133DB7E233}"/>
                </a:ext>
              </a:extLst>
            </p:cNvPr>
            <p:cNvSpPr/>
            <p:nvPr/>
          </p:nvSpPr>
          <p:spPr bwMode="auto">
            <a:xfrm>
              <a:off x="1476248" y="3449690"/>
              <a:ext cx="485775" cy="5619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189" name="Group 188">
              <a:extLst>
                <a:ext uri="{FF2B5EF4-FFF2-40B4-BE49-F238E27FC236}">
                  <a16:creationId xmlns:a16="http://schemas.microsoft.com/office/drawing/2014/main" id="{14BB81FB-B129-4F95-859A-AF4E9B2152C3}"/>
                </a:ext>
              </a:extLst>
            </p:cNvPr>
            <p:cNvGrpSpPr/>
            <p:nvPr/>
          </p:nvGrpSpPr>
          <p:grpSpPr>
            <a:xfrm>
              <a:off x="1415453" y="3490142"/>
              <a:ext cx="500931" cy="540837"/>
              <a:chOff x="18099798" y="7144694"/>
              <a:chExt cx="1945239" cy="2100205"/>
            </a:xfrm>
          </p:grpSpPr>
          <p:sp>
            <p:nvSpPr>
              <p:cNvPr id="190" name="Freeform: Shape 189">
                <a:extLst>
                  <a:ext uri="{FF2B5EF4-FFF2-40B4-BE49-F238E27FC236}">
                    <a16:creationId xmlns:a16="http://schemas.microsoft.com/office/drawing/2014/main" id="{D0C8740D-E65A-4377-BE00-7E31F39EF434}"/>
                  </a:ext>
                </a:extLst>
              </p:cNvPr>
              <p:cNvSpPr/>
              <p:nvPr/>
            </p:nvSpPr>
            <p:spPr>
              <a:xfrm>
                <a:off x="18820243" y="74103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chemeClr val="accent4"/>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1" name="Freeform: Shape 190">
                <a:extLst>
                  <a:ext uri="{FF2B5EF4-FFF2-40B4-BE49-F238E27FC236}">
                    <a16:creationId xmlns:a16="http://schemas.microsoft.com/office/drawing/2014/main" id="{2A181CAA-D05C-4366-8989-356B5CF28A34}"/>
                  </a:ext>
                </a:extLst>
              </p:cNvPr>
              <p:cNvSpPr/>
              <p:nvPr/>
            </p:nvSpPr>
            <p:spPr>
              <a:xfrm>
                <a:off x="18820243" y="8105334"/>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chemeClr val="accent4"/>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3" name="Freeform: Shape 192">
                <a:extLst>
                  <a:ext uri="{FF2B5EF4-FFF2-40B4-BE49-F238E27FC236}">
                    <a16:creationId xmlns:a16="http://schemas.microsoft.com/office/drawing/2014/main" id="{199B61A2-5D8B-499A-8700-D9CFAB173E13}"/>
                  </a:ext>
                </a:extLst>
              </p:cNvPr>
              <p:cNvSpPr/>
              <p:nvPr/>
            </p:nvSpPr>
            <p:spPr>
              <a:xfrm>
                <a:off x="18820243" y="7641986"/>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chemeClr val="accent4"/>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6" name="Freeform: Shape 195">
                <a:extLst>
                  <a:ext uri="{FF2B5EF4-FFF2-40B4-BE49-F238E27FC236}">
                    <a16:creationId xmlns:a16="http://schemas.microsoft.com/office/drawing/2014/main" id="{6EEE58B4-EC24-4E97-AFAB-414458D5309B}"/>
                  </a:ext>
                </a:extLst>
              </p:cNvPr>
              <p:cNvSpPr/>
              <p:nvPr/>
            </p:nvSpPr>
            <p:spPr>
              <a:xfrm>
                <a:off x="18820243" y="8337007"/>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chemeClr val="accent4"/>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7" name="Freeform: Shape 196">
                <a:extLst>
                  <a:ext uri="{FF2B5EF4-FFF2-40B4-BE49-F238E27FC236}">
                    <a16:creationId xmlns:a16="http://schemas.microsoft.com/office/drawing/2014/main" id="{613E11AB-1ACE-4725-BB1F-93A764B496DD}"/>
                  </a:ext>
                </a:extLst>
              </p:cNvPr>
              <p:cNvSpPr/>
              <p:nvPr/>
            </p:nvSpPr>
            <p:spPr>
              <a:xfrm>
                <a:off x="18820243" y="7873660"/>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chemeClr val="accent4"/>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8" name="Freeform: Shape 197">
                <a:extLst>
                  <a:ext uri="{FF2B5EF4-FFF2-40B4-BE49-F238E27FC236}">
                    <a16:creationId xmlns:a16="http://schemas.microsoft.com/office/drawing/2014/main" id="{FE17526E-D993-46AE-958E-01A04EDF5AAE}"/>
                  </a:ext>
                </a:extLst>
              </p:cNvPr>
              <p:cNvSpPr/>
              <p:nvPr/>
            </p:nvSpPr>
            <p:spPr>
              <a:xfrm>
                <a:off x="18495594" y="7144694"/>
                <a:ext cx="1549443" cy="1903599"/>
              </a:xfrm>
              <a:custGeom>
                <a:avLst/>
                <a:gdLst/>
                <a:ahLst/>
                <a:cxnLst/>
                <a:rect l="0" t="0" r="0" b="0"/>
                <a:pathLst>
                  <a:path w="1000125" h="1228725">
                    <a:moveTo>
                      <a:pt x="921544" y="45244"/>
                    </a:moveTo>
                    <a:cubicBezTo>
                      <a:pt x="942556" y="45244"/>
                      <a:pt x="959644" y="62332"/>
                      <a:pt x="959644" y="83344"/>
                    </a:cubicBezTo>
                    <a:lnTo>
                      <a:pt x="959644" y="1150144"/>
                    </a:lnTo>
                    <a:cubicBezTo>
                      <a:pt x="959644" y="1171156"/>
                      <a:pt x="942556" y="1188244"/>
                      <a:pt x="921544" y="1188244"/>
                    </a:cubicBezTo>
                    <a:lnTo>
                      <a:pt x="83344" y="1188244"/>
                    </a:lnTo>
                    <a:cubicBezTo>
                      <a:pt x="62332" y="1188244"/>
                      <a:pt x="45244" y="1171156"/>
                      <a:pt x="45244" y="1150144"/>
                    </a:cubicBezTo>
                    <a:lnTo>
                      <a:pt x="45244" y="83344"/>
                    </a:lnTo>
                    <a:cubicBezTo>
                      <a:pt x="45244" y="62332"/>
                      <a:pt x="62332" y="45244"/>
                      <a:pt x="83344" y="45244"/>
                    </a:cubicBezTo>
                    <a:lnTo>
                      <a:pt x="921544" y="45244"/>
                    </a:lnTo>
                    <a:moveTo>
                      <a:pt x="921544" y="7144"/>
                    </a:moveTo>
                    <a:lnTo>
                      <a:pt x="83344" y="7144"/>
                    </a:lnTo>
                    <a:cubicBezTo>
                      <a:pt x="41262" y="7144"/>
                      <a:pt x="7144" y="41262"/>
                      <a:pt x="7144" y="83344"/>
                    </a:cubicBezTo>
                    <a:lnTo>
                      <a:pt x="7144" y="1150144"/>
                    </a:lnTo>
                    <a:cubicBezTo>
                      <a:pt x="7144" y="1192225"/>
                      <a:pt x="41262" y="1226344"/>
                      <a:pt x="83344" y="1226344"/>
                    </a:cubicBezTo>
                    <a:lnTo>
                      <a:pt x="921544" y="1226344"/>
                    </a:lnTo>
                    <a:cubicBezTo>
                      <a:pt x="963625" y="1226344"/>
                      <a:pt x="997744" y="1192225"/>
                      <a:pt x="997744" y="1150144"/>
                    </a:cubicBezTo>
                    <a:lnTo>
                      <a:pt x="997744" y="83344"/>
                    </a:lnTo>
                    <a:cubicBezTo>
                      <a:pt x="997744" y="41262"/>
                      <a:pt x="963625" y="7144"/>
                      <a:pt x="921544" y="7144"/>
                    </a:cubicBezTo>
                    <a:lnTo>
                      <a:pt x="921544" y="7144"/>
                    </a:lnTo>
                    <a:close/>
                  </a:path>
                </a:pathLst>
              </a:custGeom>
              <a:solidFill>
                <a:schemeClr val="accent4"/>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9" name="Freeform: Shape 198">
                <a:extLst>
                  <a:ext uri="{FF2B5EF4-FFF2-40B4-BE49-F238E27FC236}">
                    <a16:creationId xmlns:a16="http://schemas.microsoft.com/office/drawing/2014/main" id="{CF4EC5B6-E6D7-41E6-9C4D-E955A1209EFF}"/>
                  </a:ext>
                </a:extLst>
              </p:cNvPr>
              <p:cNvSpPr/>
              <p:nvPr/>
            </p:nvSpPr>
            <p:spPr>
              <a:xfrm>
                <a:off x="18820243" y="85752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chemeClr val="accent4"/>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0" name="Freeform: Shape 199">
                <a:extLst>
                  <a:ext uri="{FF2B5EF4-FFF2-40B4-BE49-F238E27FC236}">
                    <a16:creationId xmlns:a16="http://schemas.microsoft.com/office/drawing/2014/main" id="{972D06BC-A222-4CEB-948C-84DB5316127A}"/>
                  </a:ext>
                </a:extLst>
              </p:cNvPr>
              <p:cNvSpPr/>
              <p:nvPr/>
            </p:nvSpPr>
            <p:spPr>
              <a:xfrm>
                <a:off x="18820243" y="8806885"/>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chemeClr val="accent4"/>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1" name="Oval 200">
                <a:extLst>
                  <a:ext uri="{FF2B5EF4-FFF2-40B4-BE49-F238E27FC236}">
                    <a16:creationId xmlns:a16="http://schemas.microsoft.com/office/drawing/2014/main" id="{368E7900-721A-4521-8B4C-FEB9FCD55AD5}"/>
                  </a:ext>
                </a:extLst>
              </p:cNvPr>
              <p:cNvSpPr/>
              <p:nvPr/>
            </p:nvSpPr>
            <p:spPr bwMode="auto">
              <a:xfrm>
                <a:off x="18099798" y="8142226"/>
                <a:ext cx="1102673" cy="11026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202" name="Freeform: Shape 201">
                <a:extLst>
                  <a:ext uri="{FF2B5EF4-FFF2-40B4-BE49-F238E27FC236}">
                    <a16:creationId xmlns:a16="http://schemas.microsoft.com/office/drawing/2014/main" id="{469DDB05-F30C-4270-B996-802EC701C6C4}"/>
                  </a:ext>
                </a:extLst>
              </p:cNvPr>
              <p:cNvSpPr/>
              <p:nvPr/>
            </p:nvSpPr>
            <p:spPr>
              <a:xfrm>
                <a:off x="18263490" y="8337007"/>
                <a:ext cx="800023" cy="642643"/>
              </a:xfrm>
              <a:custGeom>
                <a:avLst/>
                <a:gdLst/>
                <a:ahLst/>
                <a:cxnLst/>
                <a:rect l="0" t="0" r="0" b="0"/>
                <a:pathLst>
                  <a:path w="581025" h="466725">
                    <a:moveTo>
                      <a:pt x="559594" y="426244"/>
                    </a:moveTo>
                    <a:lnTo>
                      <a:pt x="225209" y="426244"/>
                    </a:lnTo>
                    <a:lnTo>
                      <a:pt x="512988" y="191777"/>
                    </a:lnTo>
                    <a:cubicBezTo>
                      <a:pt x="545373" y="165383"/>
                      <a:pt x="549869" y="117996"/>
                      <a:pt x="522980" y="86173"/>
                    </a:cubicBezTo>
                    <a:lnTo>
                      <a:pt x="479041" y="34205"/>
                    </a:lnTo>
                    <a:cubicBezTo>
                      <a:pt x="452142" y="2391"/>
                      <a:pt x="403898" y="-2009"/>
                      <a:pt x="371494" y="24394"/>
                    </a:cubicBezTo>
                    <a:lnTo>
                      <a:pt x="77172" y="264215"/>
                    </a:lnTo>
                    <a:cubicBezTo>
                      <a:pt x="77162" y="264224"/>
                      <a:pt x="77143" y="264262"/>
                      <a:pt x="77124" y="264281"/>
                    </a:cubicBezTo>
                    <a:cubicBezTo>
                      <a:pt x="75343" y="265720"/>
                      <a:pt x="73962" y="267567"/>
                      <a:pt x="72790" y="269539"/>
                    </a:cubicBezTo>
                    <a:cubicBezTo>
                      <a:pt x="72485" y="270053"/>
                      <a:pt x="72200" y="270539"/>
                      <a:pt x="71961" y="271092"/>
                    </a:cubicBezTo>
                    <a:cubicBezTo>
                      <a:pt x="71733" y="271539"/>
                      <a:pt x="71399" y="271930"/>
                      <a:pt x="71228" y="272425"/>
                    </a:cubicBezTo>
                    <a:lnTo>
                      <a:pt x="8382" y="437970"/>
                    </a:lnTo>
                    <a:cubicBezTo>
                      <a:pt x="8030" y="438903"/>
                      <a:pt x="7925" y="439856"/>
                      <a:pt x="7725" y="440818"/>
                    </a:cubicBezTo>
                    <a:cubicBezTo>
                      <a:pt x="7639" y="441170"/>
                      <a:pt x="7553" y="441513"/>
                      <a:pt x="7487" y="441865"/>
                    </a:cubicBezTo>
                    <a:cubicBezTo>
                      <a:pt x="7372" y="442589"/>
                      <a:pt x="7306" y="443304"/>
                      <a:pt x="7277" y="444037"/>
                    </a:cubicBezTo>
                    <a:cubicBezTo>
                      <a:pt x="7249" y="444447"/>
                      <a:pt x="7144" y="444856"/>
                      <a:pt x="7144" y="445294"/>
                    </a:cubicBezTo>
                    <a:cubicBezTo>
                      <a:pt x="7144" y="455458"/>
                      <a:pt x="15135" y="463697"/>
                      <a:pt x="25165" y="464240"/>
                    </a:cubicBezTo>
                    <a:cubicBezTo>
                      <a:pt x="25203" y="464240"/>
                      <a:pt x="25232" y="464249"/>
                      <a:pt x="25270" y="464249"/>
                    </a:cubicBezTo>
                    <a:cubicBezTo>
                      <a:pt x="25575" y="464268"/>
                      <a:pt x="25879" y="464344"/>
                      <a:pt x="26194" y="464344"/>
                    </a:cubicBezTo>
                    <a:lnTo>
                      <a:pt x="559594" y="464344"/>
                    </a:lnTo>
                    <a:cubicBezTo>
                      <a:pt x="570109" y="464344"/>
                      <a:pt x="578644" y="455810"/>
                      <a:pt x="578644" y="445294"/>
                    </a:cubicBezTo>
                    <a:cubicBezTo>
                      <a:pt x="578644" y="434779"/>
                      <a:pt x="570109" y="426244"/>
                      <a:pt x="559594" y="426244"/>
                    </a:cubicBezTo>
                    <a:close/>
                    <a:moveTo>
                      <a:pt x="396935" y="54484"/>
                    </a:moveTo>
                    <a:cubicBezTo>
                      <a:pt x="412442" y="41863"/>
                      <a:pt x="435531" y="43949"/>
                      <a:pt x="448389" y="59189"/>
                    </a:cubicBezTo>
                    <a:lnTo>
                      <a:pt x="492319" y="111148"/>
                    </a:lnTo>
                    <a:cubicBezTo>
                      <a:pt x="505197" y="126378"/>
                      <a:pt x="503034" y="149038"/>
                      <a:pt x="487528" y="161668"/>
                    </a:cubicBezTo>
                    <a:lnTo>
                      <a:pt x="471573" y="174651"/>
                    </a:lnTo>
                    <a:lnTo>
                      <a:pt x="380981" y="67485"/>
                    </a:lnTo>
                    <a:lnTo>
                      <a:pt x="396935" y="54484"/>
                    </a:lnTo>
                    <a:close/>
                    <a:moveTo>
                      <a:pt x="350349" y="92450"/>
                    </a:moveTo>
                    <a:lnTo>
                      <a:pt x="440950" y="199626"/>
                    </a:lnTo>
                    <a:lnTo>
                      <a:pt x="208540" y="388992"/>
                    </a:lnTo>
                    <a:lnTo>
                      <a:pt x="117939" y="281817"/>
                    </a:lnTo>
                    <a:lnTo>
                      <a:pt x="350349" y="92450"/>
                    </a:lnTo>
                    <a:close/>
                    <a:moveTo>
                      <a:pt x="96536" y="317736"/>
                    </a:moveTo>
                    <a:lnTo>
                      <a:pt x="167040" y="401146"/>
                    </a:lnTo>
                    <a:lnTo>
                      <a:pt x="57817" y="419691"/>
                    </a:lnTo>
                    <a:lnTo>
                      <a:pt x="96536" y="317736"/>
                    </a:lnTo>
                    <a:close/>
                  </a:path>
                </a:pathLst>
              </a:custGeom>
              <a:solidFill>
                <a:srgbClr val="0078D7"/>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graphicFrame>
        <p:nvGraphicFramePr>
          <p:cNvPr id="25" name="Object 24" hidden="1">
            <a:extLst>
              <a:ext uri="{FF2B5EF4-FFF2-40B4-BE49-F238E27FC236}">
                <a16:creationId xmlns:a16="http://schemas.microsoft.com/office/drawing/2014/main" id="{5DE1CF48-C873-41E5-8AFA-13F3711CF95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5" imgW="425" imgH="426" progId="TCLayout.ActiveDocument.1">
                  <p:embed/>
                </p:oleObj>
              </mc:Choice>
              <mc:Fallback>
                <p:oleObj name="think-cell Slide" r:id="rId5" imgW="425" imgH="426" progId="TCLayout.ActiveDocument.1">
                  <p:embed/>
                  <p:pic>
                    <p:nvPicPr>
                      <p:cNvPr id="25" name="Object 24" hidden="1">
                        <a:extLst>
                          <a:ext uri="{FF2B5EF4-FFF2-40B4-BE49-F238E27FC236}">
                            <a16:creationId xmlns:a16="http://schemas.microsoft.com/office/drawing/2014/main" id="{5DE1CF48-C873-41E5-8AFA-13F3711CF95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7" name="Freeform: Shape 146">
            <a:extLst>
              <a:ext uri="{FF2B5EF4-FFF2-40B4-BE49-F238E27FC236}">
                <a16:creationId xmlns:a16="http://schemas.microsoft.com/office/drawing/2014/main" id="{1F2E67F5-9B20-44D8-AF56-B277A0F1F5A5}"/>
              </a:ext>
            </a:extLst>
          </p:cNvPr>
          <p:cNvSpPr/>
          <p:nvPr/>
        </p:nvSpPr>
        <p:spPr>
          <a:xfrm>
            <a:off x="653258" y="3806732"/>
            <a:ext cx="972930" cy="457236"/>
          </a:xfrm>
          <a:custGeom>
            <a:avLst/>
            <a:gdLst>
              <a:gd name="connsiteX0" fmla="*/ 1267622 w 1658581"/>
              <a:gd name="connsiteY0" fmla="*/ 536521 h 779463"/>
              <a:gd name="connsiteX1" fmla="*/ 1267622 w 1658581"/>
              <a:gd name="connsiteY1" fmla="*/ 631714 h 779463"/>
              <a:gd name="connsiteX2" fmla="*/ 1282201 w 1658581"/>
              <a:gd name="connsiteY2" fmla="*/ 634309 h 779463"/>
              <a:gd name="connsiteX3" fmla="*/ 1342154 w 1658581"/>
              <a:gd name="connsiteY3" fmla="*/ 659982 h 779463"/>
              <a:gd name="connsiteX4" fmla="*/ 1393004 w 1658581"/>
              <a:gd name="connsiteY4" fmla="*/ 682811 h 779463"/>
              <a:gd name="connsiteX5" fmla="*/ 1394497 w 1658581"/>
              <a:gd name="connsiteY5" fmla="*/ 683123 h 779463"/>
              <a:gd name="connsiteX6" fmla="*/ 1394497 w 1658581"/>
              <a:gd name="connsiteY6" fmla="*/ 663396 h 779463"/>
              <a:gd name="connsiteX7" fmla="*/ 480764 w 1658581"/>
              <a:gd name="connsiteY7" fmla="*/ 536521 h 779463"/>
              <a:gd name="connsiteX8" fmla="*/ 480764 w 1658581"/>
              <a:gd name="connsiteY8" fmla="*/ 630882 h 779463"/>
              <a:gd name="connsiteX9" fmla="*/ 481901 w 1658581"/>
              <a:gd name="connsiteY9" fmla="*/ 631180 h 779463"/>
              <a:gd name="connsiteX10" fmla="*/ 524003 w 1658581"/>
              <a:gd name="connsiteY10" fmla="*/ 650879 h 779463"/>
              <a:gd name="connsiteX11" fmla="*/ 564826 w 1658581"/>
              <a:gd name="connsiteY11" fmla="*/ 670010 h 779463"/>
              <a:gd name="connsiteX12" fmla="*/ 607639 w 1658581"/>
              <a:gd name="connsiteY12" fmla="*/ 679101 h 779463"/>
              <a:gd name="connsiteX13" fmla="*/ 607639 w 1658581"/>
              <a:gd name="connsiteY13" fmla="*/ 663396 h 779463"/>
              <a:gd name="connsiteX14" fmla="*/ 1267622 w 1658581"/>
              <a:gd name="connsiteY14" fmla="*/ 395422 h 779463"/>
              <a:gd name="connsiteX15" fmla="*/ 1267622 w 1658581"/>
              <a:gd name="connsiteY15" fmla="*/ 480763 h 779463"/>
              <a:gd name="connsiteX16" fmla="*/ 1394497 w 1658581"/>
              <a:gd name="connsiteY16" fmla="*/ 607639 h 779463"/>
              <a:gd name="connsiteX17" fmla="*/ 1394497 w 1658581"/>
              <a:gd name="connsiteY17" fmla="*/ 522297 h 779463"/>
              <a:gd name="connsiteX18" fmla="*/ 480764 w 1658581"/>
              <a:gd name="connsiteY18" fmla="*/ 395422 h 779463"/>
              <a:gd name="connsiteX19" fmla="*/ 480764 w 1658581"/>
              <a:gd name="connsiteY19" fmla="*/ 480763 h 779463"/>
              <a:gd name="connsiteX20" fmla="*/ 607639 w 1658581"/>
              <a:gd name="connsiteY20" fmla="*/ 607639 h 779463"/>
              <a:gd name="connsiteX21" fmla="*/ 607639 w 1658581"/>
              <a:gd name="connsiteY21" fmla="*/ 522297 h 779463"/>
              <a:gd name="connsiteX22" fmla="*/ 1267622 w 1658581"/>
              <a:gd name="connsiteY22" fmla="*/ 254322 h 779463"/>
              <a:gd name="connsiteX23" fmla="*/ 1267622 w 1658581"/>
              <a:gd name="connsiteY23" fmla="*/ 339664 h 779463"/>
              <a:gd name="connsiteX24" fmla="*/ 1394497 w 1658581"/>
              <a:gd name="connsiteY24" fmla="*/ 466540 h 779463"/>
              <a:gd name="connsiteX25" fmla="*/ 1394497 w 1658581"/>
              <a:gd name="connsiteY25" fmla="*/ 381197 h 779463"/>
              <a:gd name="connsiteX26" fmla="*/ 480764 w 1658581"/>
              <a:gd name="connsiteY26" fmla="*/ 254322 h 779463"/>
              <a:gd name="connsiteX27" fmla="*/ 480764 w 1658581"/>
              <a:gd name="connsiteY27" fmla="*/ 339664 h 779463"/>
              <a:gd name="connsiteX28" fmla="*/ 607639 w 1658581"/>
              <a:gd name="connsiteY28" fmla="*/ 466540 h 779463"/>
              <a:gd name="connsiteX29" fmla="*/ 607639 w 1658581"/>
              <a:gd name="connsiteY29" fmla="*/ 381197 h 779463"/>
              <a:gd name="connsiteX30" fmla="*/ 1267622 w 1658581"/>
              <a:gd name="connsiteY30" fmla="*/ 113222 h 779463"/>
              <a:gd name="connsiteX31" fmla="*/ 1267622 w 1658581"/>
              <a:gd name="connsiteY31" fmla="*/ 198564 h 779463"/>
              <a:gd name="connsiteX32" fmla="*/ 1394497 w 1658581"/>
              <a:gd name="connsiteY32" fmla="*/ 325440 h 779463"/>
              <a:gd name="connsiteX33" fmla="*/ 1394497 w 1658581"/>
              <a:gd name="connsiteY33" fmla="*/ 240097 h 779463"/>
              <a:gd name="connsiteX34" fmla="*/ 480764 w 1658581"/>
              <a:gd name="connsiteY34" fmla="*/ 112771 h 779463"/>
              <a:gd name="connsiteX35" fmla="*/ 480764 w 1658581"/>
              <a:gd name="connsiteY35" fmla="*/ 198564 h 779463"/>
              <a:gd name="connsiteX36" fmla="*/ 607639 w 1658581"/>
              <a:gd name="connsiteY36" fmla="*/ 325440 h 779463"/>
              <a:gd name="connsiteX37" fmla="*/ 607639 w 1658581"/>
              <a:gd name="connsiteY37" fmla="*/ 240087 h 779463"/>
              <a:gd name="connsiteX38" fmla="*/ 1267622 w 1658581"/>
              <a:gd name="connsiteY38" fmla="*/ 39827 h 779463"/>
              <a:gd name="connsiteX39" fmla="*/ 1267622 w 1658581"/>
              <a:gd name="connsiteY39" fmla="*/ 57464 h 779463"/>
              <a:gd name="connsiteX40" fmla="*/ 1394497 w 1658581"/>
              <a:gd name="connsiteY40" fmla="*/ 184340 h 779463"/>
              <a:gd name="connsiteX41" fmla="*/ 1394497 w 1658581"/>
              <a:gd name="connsiteY41" fmla="*/ 39827 h 779463"/>
              <a:gd name="connsiteX42" fmla="*/ 647466 w 1658581"/>
              <a:gd name="connsiteY42" fmla="*/ 39827 h 779463"/>
              <a:gd name="connsiteX43" fmla="*/ 647466 w 1658581"/>
              <a:gd name="connsiteY43" fmla="*/ 679078 h 779463"/>
              <a:gd name="connsiteX44" fmla="*/ 678189 w 1658581"/>
              <a:gd name="connsiteY44" fmla="*/ 677122 h 779463"/>
              <a:gd name="connsiteX45" fmla="*/ 724274 w 1658581"/>
              <a:gd name="connsiteY45" fmla="*/ 659982 h 779463"/>
              <a:gd name="connsiteX46" fmla="*/ 846599 w 1658581"/>
              <a:gd name="connsiteY46" fmla="*/ 635518 h 779463"/>
              <a:gd name="connsiteX47" fmla="*/ 968354 w 1658581"/>
              <a:gd name="connsiteY47" fmla="*/ 675913 h 779463"/>
              <a:gd name="connsiteX48" fmla="*/ 1065644 w 1658581"/>
              <a:gd name="connsiteY48" fmla="*/ 703792 h 779463"/>
              <a:gd name="connsiteX49" fmla="*/ 1128229 w 1658581"/>
              <a:gd name="connsiteY49" fmla="*/ 673068 h 779463"/>
              <a:gd name="connsiteX50" fmla="*/ 1209020 w 1658581"/>
              <a:gd name="connsiteY50" fmla="*/ 630397 h 779463"/>
              <a:gd name="connsiteX51" fmla="*/ 1227795 w 1658581"/>
              <a:gd name="connsiteY51" fmla="*/ 629347 h 779463"/>
              <a:gd name="connsiteX52" fmla="*/ 1227795 w 1658581"/>
              <a:gd name="connsiteY52" fmla="*/ 488906 h 779463"/>
              <a:gd name="connsiteX53" fmla="*/ 1227510 w 1658581"/>
              <a:gd name="connsiteY53" fmla="*/ 488230 h 779463"/>
              <a:gd name="connsiteX54" fmla="*/ 1227795 w 1658581"/>
              <a:gd name="connsiteY54" fmla="*/ 487575 h 779463"/>
              <a:gd name="connsiteX55" fmla="*/ 1227795 w 1658581"/>
              <a:gd name="connsiteY55" fmla="*/ 347807 h 779463"/>
              <a:gd name="connsiteX56" fmla="*/ 1227510 w 1658581"/>
              <a:gd name="connsiteY56" fmla="*/ 347131 h 779463"/>
              <a:gd name="connsiteX57" fmla="*/ 1227795 w 1658581"/>
              <a:gd name="connsiteY57" fmla="*/ 346476 h 779463"/>
              <a:gd name="connsiteX58" fmla="*/ 1227795 w 1658581"/>
              <a:gd name="connsiteY58" fmla="*/ 206707 h 779463"/>
              <a:gd name="connsiteX59" fmla="*/ 1227510 w 1658581"/>
              <a:gd name="connsiteY59" fmla="*/ 206031 h 779463"/>
              <a:gd name="connsiteX60" fmla="*/ 1227795 w 1658581"/>
              <a:gd name="connsiteY60" fmla="*/ 205376 h 779463"/>
              <a:gd name="connsiteX61" fmla="*/ 1227795 w 1658581"/>
              <a:gd name="connsiteY61" fmla="*/ 65607 h 779463"/>
              <a:gd name="connsiteX62" fmla="*/ 1227510 w 1658581"/>
              <a:gd name="connsiteY62" fmla="*/ 64932 h 779463"/>
              <a:gd name="connsiteX63" fmla="*/ 1227795 w 1658581"/>
              <a:gd name="connsiteY63" fmla="*/ 64276 h 779463"/>
              <a:gd name="connsiteX64" fmla="*/ 1227795 w 1658581"/>
              <a:gd name="connsiteY64" fmla="*/ 39827 h 779463"/>
              <a:gd name="connsiteX65" fmla="*/ 480764 w 1658581"/>
              <a:gd name="connsiteY65" fmla="*/ 39827 h 779463"/>
              <a:gd name="connsiteX66" fmla="*/ 480764 w 1658581"/>
              <a:gd name="connsiteY66" fmla="*/ 56895 h 779463"/>
              <a:gd name="connsiteX67" fmla="*/ 607639 w 1658581"/>
              <a:gd name="connsiteY67" fmla="*/ 183771 h 779463"/>
              <a:gd name="connsiteX68" fmla="*/ 607639 w 1658581"/>
              <a:gd name="connsiteY68" fmla="*/ 39827 h 779463"/>
              <a:gd name="connsiteX69" fmla="*/ 218478 w 1658581"/>
              <a:gd name="connsiteY69" fmla="*/ 39827 h 779463"/>
              <a:gd name="connsiteX70" fmla="*/ 218478 w 1658581"/>
              <a:gd name="connsiteY70" fmla="*/ 654671 h 779463"/>
              <a:gd name="connsiteX71" fmla="*/ 252258 w 1658581"/>
              <a:gd name="connsiteY71" fmla="*/ 638656 h 779463"/>
              <a:gd name="connsiteX72" fmla="*/ 424437 w 1658581"/>
              <a:gd name="connsiteY72" fmla="*/ 616173 h 779463"/>
              <a:gd name="connsiteX73" fmla="*/ 440937 w 1658581"/>
              <a:gd name="connsiteY73" fmla="*/ 620482 h 779463"/>
              <a:gd name="connsiteX74" fmla="*/ 440937 w 1658581"/>
              <a:gd name="connsiteY74" fmla="*/ 488906 h 779463"/>
              <a:gd name="connsiteX75" fmla="*/ 440652 w 1658581"/>
              <a:gd name="connsiteY75" fmla="*/ 488230 h 779463"/>
              <a:gd name="connsiteX76" fmla="*/ 440937 w 1658581"/>
              <a:gd name="connsiteY76" fmla="*/ 487575 h 779463"/>
              <a:gd name="connsiteX77" fmla="*/ 440937 w 1658581"/>
              <a:gd name="connsiteY77" fmla="*/ 347807 h 779463"/>
              <a:gd name="connsiteX78" fmla="*/ 440652 w 1658581"/>
              <a:gd name="connsiteY78" fmla="*/ 347131 h 779463"/>
              <a:gd name="connsiteX79" fmla="*/ 440937 w 1658581"/>
              <a:gd name="connsiteY79" fmla="*/ 346476 h 779463"/>
              <a:gd name="connsiteX80" fmla="*/ 440937 w 1658581"/>
              <a:gd name="connsiteY80" fmla="*/ 206707 h 779463"/>
              <a:gd name="connsiteX81" fmla="*/ 440652 w 1658581"/>
              <a:gd name="connsiteY81" fmla="*/ 206031 h 779463"/>
              <a:gd name="connsiteX82" fmla="*/ 440937 w 1658581"/>
              <a:gd name="connsiteY82" fmla="*/ 205376 h 779463"/>
              <a:gd name="connsiteX83" fmla="*/ 440937 w 1658581"/>
              <a:gd name="connsiteY83" fmla="*/ 65038 h 779463"/>
              <a:gd name="connsiteX84" fmla="*/ 440652 w 1658581"/>
              <a:gd name="connsiteY84" fmla="*/ 64362 h 779463"/>
              <a:gd name="connsiteX85" fmla="*/ 440937 w 1658581"/>
              <a:gd name="connsiteY85" fmla="*/ 63707 h 779463"/>
              <a:gd name="connsiteX86" fmla="*/ 440937 w 1658581"/>
              <a:gd name="connsiteY86" fmla="*/ 39827 h 779463"/>
              <a:gd name="connsiteX87" fmla="*/ 39827 w 1658581"/>
              <a:gd name="connsiteY87" fmla="*/ 39827 h 779463"/>
              <a:gd name="connsiteX88" fmla="*/ 39827 w 1658581"/>
              <a:gd name="connsiteY88" fmla="*/ 739636 h 779463"/>
              <a:gd name="connsiteX89" fmla="*/ 178651 w 1658581"/>
              <a:gd name="connsiteY89" fmla="*/ 739636 h 779463"/>
              <a:gd name="connsiteX90" fmla="*/ 178651 w 1658581"/>
              <a:gd name="connsiteY90" fmla="*/ 39827 h 779463"/>
              <a:gd name="connsiteX91" fmla="*/ 19913 w 1658581"/>
              <a:gd name="connsiteY91" fmla="*/ 0 h 779463"/>
              <a:gd name="connsiteX92" fmla="*/ 198564 w 1658581"/>
              <a:gd name="connsiteY92" fmla="*/ 0 h 779463"/>
              <a:gd name="connsiteX93" fmla="*/ 198564 w 1658581"/>
              <a:gd name="connsiteY93" fmla="*/ 0 h 779463"/>
              <a:gd name="connsiteX94" fmla="*/ 1632319 w 1658581"/>
              <a:gd name="connsiteY94" fmla="*/ 0 h 779463"/>
              <a:gd name="connsiteX95" fmla="*/ 1652232 w 1658581"/>
              <a:gd name="connsiteY95" fmla="*/ 19913 h 779463"/>
              <a:gd name="connsiteX96" fmla="*/ 1632887 w 1658581"/>
              <a:gd name="connsiteY96" fmla="*/ 39827 h 779463"/>
              <a:gd name="connsiteX97" fmla="*/ 1434324 w 1658581"/>
              <a:gd name="connsiteY97" fmla="*/ 39827 h 779463"/>
              <a:gd name="connsiteX98" fmla="*/ 1434324 w 1658581"/>
              <a:gd name="connsiteY98" fmla="*/ 691433 h 779463"/>
              <a:gd name="connsiteX99" fmla="*/ 1455376 w 1658581"/>
              <a:gd name="connsiteY99" fmla="*/ 695826 h 779463"/>
              <a:gd name="connsiteX100" fmla="*/ 1628337 w 1658581"/>
              <a:gd name="connsiteY100" fmla="*/ 644621 h 779463"/>
              <a:gd name="connsiteX101" fmla="*/ 1655646 w 1658581"/>
              <a:gd name="connsiteY101" fmla="*/ 650879 h 779463"/>
              <a:gd name="connsiteX102" fmla="*/ 1649387 w 1658581"/>
              <a:gd name="connsiteY102" fmla="*/ 678189 h 779463"/>
              <a:gd name="connsiteX103" fmla="*/ 1452531 w 1658581"/>
              <a:gd name="connsiteY103" fmla="*/ 735084 h 779463"/>
              <a:gd name="connsiteX104" fmla="*/ 1323948 w 1658581"/>
              <a:gd name="connsiteY104" fmla="*/ 695257 h 779463"/>
              <a:gd name="connsiteX105" fmla="*/ 1215279 w 1658581"/>
              <a:gd name="connsiteY105" fmla="*/ 669655 h 779463"/>
              <a:gd name="connsiteX106" fmla="*/ 1154970 w 1658581"/>
              <a:gd name="connsiteY106" fmla="*/ 702654 h 779463"/>
              <a:gd name="connsiteX107" fmla="*/ 1068489 w 1658581"/>
              <a:gd name="connsiteY107" fmla="*/ 743618 h 779463"/>
              <a:gd name="connsiteX108" fmla="*/ 1054835 w 1658581"/>
              <a:gd name="connsiteY108" fmla="*/ 744756 h 779463"/>
              <a:gd name="connsiteX109" fmla="*/ 949578 w 1658581"/>
              <a:gd name="connsiteY109" fmla="*/ 711757 h 779463"/>
              <a:gd name="connsiteX110" fmla="*/ 843754 w 1658581"/>
              <a:gd name="connsiteY110" fmla="*/ 675913 h 779463"/>
              <a:gd name="connsiteX111" fmla="*/ 740774 w 1658581"/>
              <a:gd name="connsiteY111" fmla="*/ 696964 h 779463"/>
              <a:gd name="connsiteX112" fmla="*/ 613329 w 1658581"/>
              <a:gd name="connsiteY112" fmla="*/ 721429 h 779463"/>
              <a:gd name="connsiteX113" fmla="*/ 505797 w 1658581"/>
              <a:gd name="connsiteY113" fmla="*/ 686723 h 779463"/>
              <a:gd name="connsiteX114" fmla="*/ 418748 w 1658581"/>
              <a:gd name="connsiteY114" fmla="*/ 656000 h 779463"/>
              <a:gd name="connsiteX115" fmla="*/ 265531 w 1658581"/>
              <a:gd name="connsiteY115" fmla="*/ 676722 h 779463"/>
              <a:gd name="connsiteX116" fmla="*/ 218478 w 1658581"/>
              <a:gd name="connsiteY116" fmla="*/ 699107 h 779463"/>
              <a:gd name="connsiteX117" fmla="*/ 218478 w 1658581"/>
              <a:gd name="connsiteY117" fmla="*/ 759549 h 779463"/>
              <a:gd name="connsiteX118" fmla="*/ 198564 w 1658581"/>
              <a:gd name="connsiteY118" fmla="*/ 779463 h 779463"/>
              <a:gd name="connsiteX119" fmla="*/ 19913 w 1658581"/>
              <a:gd name="connsiteY119" fmla="*/ 779463 h 779463"/>
              <a:gd name="connsiteX120" fmla="*/ 0 w 1658581"/>
              <a:gd name="connsiteY120" fmla="*/ 759549 h 779463"/>
              <a:gd name="connsiteX121" fmla="*/ 0 w 1658581"/>
              <a:gd name="connsiteY121" fmla="*/ 19914 h 779463"/>
              <a:gd name="connsiteX122" fmla="*/ 19913 w 1658581"/>
              <a:gd name="connsiteY122" fmla="*/ 0 h 779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658581" h="779463">
                <a:moveTo>
                  <a:pt x="1267622" y="536521"/>
                </a:moveTo>
                <a:lnTo>
                  <a:pt x="1267622" y="631714"/>
                </a:lnTo>
                <a:lnTo>
                  <a:pt x="1282201" y="634309"/>
                </a:lnTo>
                <a:cubicBezTo>
                  <a:pt x="1303750" y="640496"/>
                  <a:pt x="1323094" y="650310"/>
                  <a:pt x="1342154" y="659982"/>
                </a:cubicBezTo>
                <a:cubicBezTo>
                  <a:pt x="1358369" y="667947"/>
                  <a:pt x="1374727" y="676197"/>
                  <a:pt x="1393004" y="682811"/>
                </a:cubicBezTo>
                <a:lnTo>
                  <a:pt x="1394497" y="683123"/>
                </a:lnTo>
                <a:lnTo>
                  <a:pt x="1394497" y="663396"/>
                </a:lnTo>
                <a:close/>
                <a:moveTo>
                  <a:pt x="480764" y="536521"/>
                </a:moveTo>
                <a:lnTo>
                  <a:pt x="480764" y="630882"/>
                </a:lnTo>
                <a:lnTo>
                  <a:pt x="481901" y="631180"/>
                </a:lnTo>
                <a:cubicBezTo>
                  <a:pt x="497974" y="637367"/>
                  <a:pt x="511487" y="644337"/>
                  <a:pt x="524003" y="650879"/>
                </a:cubicBezTo>
                <a:cubicBezTo>
                  <a:pt x="537658" y="657991"/>
                  <a:pt x="550317" y="664676"/>
                  <a:pt x="564826" y="670010"/>
                </a:cubicBezTo>
                <a:lnTo>
                  <a:pt x="607639" y="679101"/>
                </a:lnTo>
                <a:lnTo>
                  <a:pt x="607639" y="663396"/>
                </a:lnTo>
                <a:close/>
                <a:moveTo>
                  <a:pt x="1267622" y="395422"/>
                </a:moveTo>
                <a:lnTo>
                  <a:pt x="1267622" y="480763"/>
                </a:lnTo>
                <a:lnTo>
                  <a:pt x="1394497" y="607639"/>
                </a:lnTo>
                <a:lnTo>
                  <a:pt x="1394497" y="522297"/>
                </a:lnTo>
                <a:close/>
                <a:moveTo>
                  <a:pt x="480764" y="395422"/>
                </a:moveTo>
                <a:lnTo>
                  <a:pt x="480764" y="480763"/>
                </a:lnTo>
                <a:lnTo>
                  <a:pt x="607639" y="607639"/>
                </a:lnTo>
                <a:lnTo>
                  <a:pt x="607639" y="522297"/>
                </a:lnTo>
                <a:close/>
                <a:moveTo>
                  <a:pt x="1267622" y="254322"/>
                </a:moveTo>
                <a:lnTo>
                  <a:pt x="1267622" y="339664"/>
                </a:lnTo>
                <a:lnTo>
                  <a:pt x="1394497" y="466540"/>
                </a:lnTo>
                <a:lnTo>
                  <a:pt x="1394497" y="381197"/>
                </a:lnTo>
                <a:close/>
                <a:moveTo>
                  <a:pt x="480764" y="254322"/>
                </a:moveTo>
                <a:lnTo>
                  <a:pt x="480764" y="339664"/>
                </a:lnTo>
                <a:lnTo>
                  <a:pt x="607639" y="466540"/>
                </a:lnTo>
                <a:lnTo>
                  <a:pt x="607639" y="381197"/>
                </a:lnTo>
                <a:close/>
                <a:moveTo>
                  <a:pt x="1267622" y="113222"/>
                </a:moveTo>
                <a:lnTo>
                  <a:pt x="1267622" y="198564"/>
                </a:lnTo>
                <a:lnTo>
                  <a:pt x="1394497" y="325440"/>
                </a:lnTo>
                <a:lnTo>
                  <a:pt x="1394497" y="240097"/>
                </a:lnTo>
                <a:close/>
                <a:moveTo>
                  <a:pt x="480764" y="112771"/>
                </a:moveTo>
                <a:lnTo>
                  <a:pt x="480764" y="198564"/>
                </a:lnTo>
                <a:lnTo>
                  <a:pt x="607639" y="325440"/>
                </a:lnTo>
                <a:lnTo>
                  <a:pt x="607639" y="240087"/>
                </a:lnTo>
                <a:close/>
                <a:moveTo>
                  <a:pt x="1267622" y="39827"/>
                </a:moveTo>
                <a:lnTo>
                  <a:pt x="1267622" y="57464"/>
                </a:lnTo>
                <a:lnTo>
                  <a:pt x="1394497" y="184340"/>
                </a:lnTo>
                <a:lnTo>
                  <a:pt x="1394497" y="39827"/>
                </a:lnTo>
                <a:close/>
                <a:moveTo>
                  <a:pt x="647466" y="39827"/>
                </a:moveTo>
                <a:lnTo>
                  <a:pt x="647466" y="679078"/>
                </a:lnTo>
                <a:lnTo>
                  <a:pt x="678189" y="677122"/>
                </a:lnTo>
                <a:cubicBezTo>
                  <a:pt x="695115" y="672926"/>
                  <a:pt x="709481" y="666525"/>
                  <a:pt x="724274" y="659982"/>
                </a:cubicBezTo>
                <a:cubicBezTo>
                  <a:pt x="754997" y="646327"/>
                  <a:pt x="789134" y="630966"/>
                  <a:pt x="846599" y="635518"/>
                </a:cubicBezTo>
                <a:cubicBezTo>
                  <a:pt x="901787" y="640069"/>
                  <a:pt x="937061" y="659414"/>
                  <a:pt x="968354" y="675913"/>
                </a:cubicBezTo>
                <a:cubicBezTo>
                  <a:pt x="999646" y="692981"/>
                  <a:pt x="1024680" y="706636"/>
                  <a:pt x="1065644" y="703792"/>
                </a:cubicBezTo>
                <a:cubicBezTo>
                  <a:pt x="1096937" y="701516"/>
                  <a:pt x="1110592" y="688999"/>
                  <a:pt x="1128229" y="673068"/>
                </a:cubicBezTo>
                <a:cubicBezTo>
                  <a:pt x="1146435" y="656000"/>
                  <a:pt x="1167487" y="637224"/>
                  <a:pt x="1209020" y="630397"/>
                </a:cubicBezTo>
                <a:lnTo>
                  <a:pt x="1227795" y="629347"/>
                </a:lnTo>
                <a:lnTo>
                  <a:pt x="1227795" y="488906"/>
                </a:lnTo>
                <a:lnTo>
                  <a:pt x="1227510" y="488230"/>
                </a:lnTo>
                <a:lnTo>
                  <a:pt x="1227795" y="487575"/>
                </a:lnTo>
                <a:lnTo>
                  <a:pt x="1227795" y="347807"/>
                </a:lnTo>
                <a:lnTo>
                  <a:pt x="1227510" y="347131"/>
                </a:lnTo>
                <a:lnTo>
                  <a:pt x="1227795" y="346476"/>
                </a:lnTo>
                <a:lnTo>
                  <a:pt x="1227795" y="206707"/>
                </a:lnTo>
                <a:lnTo>
                  <a:pt x="1227510" y="206031"/>
                </a:lnTo>
                <a:lnTo>
                  <a:pt x="1227795" y="205376"/>
                </a:lnTo>
                <a:lnTo>
                  <a:pt x="1227795" y="65607"/>
                </a:lnTo>
                <a:lnTo>
                  <a:pt x="1227510" y="64932"/>
                </a:lnTo>
                <a:lnTo>
                  <a:pt x="1227795" y="64276"/>
                </a:lnTo>
                <a:lnTo>
                  <a:pt x="1227795" y="39827"/>
                </a:lnTo>
                <a:close/>
                <a:moveTo>
                  <a:pt x="480764" y="39827"/>
                </a:moveTo>
                <a:lnTo>
                  <a:pt x="480764" y="56895"/>
                </a:lnTo>
                <a:lnTo>
                  <a:pt x="607639" y="183771"/>
                </a:lnTo>
                <a:lnTo>
                  <a:pt x="607639" y="39827"/>
                </a:lnTo>
                <a:close/>
                <a:moveTo>
                  <a:pt x="218478" y="39827"/>
                </a:moveTo>
                <a:lnTo>
                  <a:pt x="218478" y="654671"/>
                </a:lnTo>
                <a:lnTo>
                  <a:pt x="252258" y="638656"/>
                </a:lnTo>
                <a:cubicBezTo>
                  <a:pt x="311252" y="615640"/>
                  <a:pt x="368965" y="608066"/>
                  <a:pt x="424437" y="616173"/>
                </a:cubicBezTo>
                <a:lnTo>
                  <a:pt x="440937" y="620482"/>
                </a:lnTo>
                <a:lnTo>
                  <a:pt x="440937" y="488906"/>
                </a:lnTo>
                <a:lnTo>
                  <a:pt x="440652" y="488230"/>
                </a:lnTo>
                <a:lnTo>
                  <a:pt x="440937" y="487575"/>
                </a:lnTo>
                <a:lnTo>
                  <a:pt x="440937" y="347807"/>
                </a:lnTo>
                <a:lnTo>
                  <a:pt x="440652" y="347131"/>
                </a:lnTo>
                <a:lnTo>
                  <a:pt x="440937" y="346476"/>
                </a:lnTo>
                <a:lnTo>
                  <a:pt x="440937" y="206707"/>
                </a:lnTo>
                <a:lnTo>
                  <a:pt x="440652" y="206031"/>
                </a:lnTo>
                <a:lnTo>
                  <a:pt x="440937" y="205376"/>
                </a:lnTo>
                <a:lnTo>
                  <a:pt x="440937" y="65038"/>
                </a:lnTo>
                <a:lnTo>
                  <a:pt x="440652" y="64362"/>
                </a:lnTo>
                <a:lnTo>
                  <a:pt x="440937" y="63707"/>
                </a:lnTo>
                <a:lnTo>
                  <a:pt x="440937" y="39827"/>
                </a:lnTo>
                <a:close/>
                <a:moveTo>
                  <a:pt x="39827" y="39827"/>
                </a:moveTo>
                <a:lnTo>
                  <a:pt x="39827" y="739636"/>
                </a:lnTo>
                <a:lnTo>
                  <a:pt x="178651" y="739636"/>
                </a:lnTo>
                <a:lnTo>
                  <a:pt x="178651" y="39827"/>
                </a:lnTo>
                <a:close/>
                <a:moveTo>
                  <a:pt x="19913" y="0"/>
                </a:moveTo>
                <a:lnTo>
                  <a:pt x="198564" y="0"/>
                </a:lnTo>
                <a:lnTo>
                  <a:pt x="198564" y="0"/>
                </a:lnTo>
                <a:lnTo>
                  <a:pt x="1632319" y="0"/>
                </a:lnTo>
                <a:cubicBezTo>
                  <a:pt x="1643129" y="0"/>
                  <a:pt x="1652232" y="9104"/>
                  <a:pt x="1652232" y="19913"/>
                </a:cubicBezTo>
                <a:cubicBezTo>
                  <a:pt x="1652232" y="30724"/>
                  <a:pt x="1643698" y="39827"/>
                  <a:pt x="1632887" y="39827"/>
                </a:cubicBezTo>
                <a:lnTo>
                  <a:pt x="1434324" y="39827"/>
                </a:lnTo>
                <a:lnTo>
                  <a:pt x="1434324" y="691433"/>
                </a:lnTo>
                <a:lnTo>
                  <a:pt x="1455376" y="695826"/>
                </a:lnTo>
                <a:cubicBezTo>
                  <a:pt x="1510564" y="699240"/>
                  <a:pt x="1569166" y="682172"/>
                  <a:pt x="1628337" y="644621"/>
                </a:cubicBezTo>
                <a:cubicBezTo>
                  <a:pt x="1637440" y="638931"/>
                  <a:pt x="1649957" y="641776"/>
                  <a:pt x="1655646" y="650879"/>
                </a:cubicBezTo>
                <a:cubicBezTo>
                  <a:pt x="1661336" y="659982"/>
                  <a:pt x="1658491" y="672499"/>
                  <a:pt x="1649387" y="678189"/>
                </a:cubicBezTo>
                <a:cubicBezTo>
                  <a:pt x="1582821" y="719722"/>
                  <a:pt x="1516822" y="739067"/>
                  <a:pt x="1452531" y="735084"/>
                </a:cubicBezTo>
                <a:cubicBezTo>
                  <a:pt x="1396773" y="731670"/>
                  <a:pt x="1358085" y="712326"/>
                  <a:pt x="1323948" y="695257"/>
                </a:cubicBezTo>
                <a:cubicBezTo>
                  <a:pt x="1286966" y="677051"/>
                  <a:pt x="1257950" y="662258"/>
                  <a:pt x="1215279" y="669655"/>
                </a:cubicBezTo>
                <a:cubicBezTo>
                  <a:pt x="1185693" y="674775"/>
                  <a:pt x="1171469" y="687861"/>
                  <a:pt x="1154970" y="702654"/>
                </a:cubicBezTo>
                <a:cubicBezTo>
                  <a:pt x="1135625" y="720291"/>
                  <a:pt x="1113436" y="740205"/>
                  <a:pt x="1068489" y="743618"/>
                </a:cubicBezTo>
                <a:cubicBezTo>
                  <a:pt x="1063938" y="744756"/>
                  <a:pt x="1059386" y="744756"/>
                  <a:pt x="1054835" y="744756"/>
                </a:cubicBezTo>
                <a:cubicBezTo>
                  <a:pt x="1009887" y="744756"/>
                  <a:pt x="979733" y="728256"/>
                  <a:pt x="949578" y="711757"/>
                </a:cubicBezTo>
                <a:cubicBezTo>
                  <a:pt x="920562" y="695826"/>
                  <a:pt x="890977" y="679896"/>
                  <a:pt x="843754" y="675913"/>
                </a:cubicBezTo>
                <a:cubicBezTo>
                  <a:pt x="796531" y="671931"/>
                  <a:pt x="770359" y="683878"/>
                  <a:pt x="740774" y="696964"/>
                </a:cubicBezTo>
                <a:cubicBezTo>
                  <a:pt x="709481" y="711188"/>
                  <a:pt x="673638" y="726550"/>
                  <a:pt x="613329" y="721429"/>
                </a:cubicBezTo>
                <a:cubicBezTo>
                  <a:pt x="563261" y="716877"/>
                  <a:pt x="533676" y="701516"/>
                  <a:pt x="505797" y="686723"/>
                </a:cubicBezTo>
                <a:cubicBezTo>
                  <a:pt x="481332" y="673637"/>
                  <a:pt x="458005" y="661689"/>
                  <a:pt x="418748" y="656000"/>
                </a:cubicBezTo>
                <a:cubicBezTo>
                  <a:pt x="369676" y="648745"/>
                  <a:pt x="318363" y="655893"/>
                  <a:pt x="265531" y="676722"/>
                </a:cubicBezTo>
                <a:lnTo>
                  <a:pt x="218478" y="699107"/>
                </a:lnTo>
                <a:lnTo>
                  <a:pt x="218478" y="759549"/>
                </a:lnTo>
                <a:cubicBezTo>
                  <a:pt x="218478" y="770360"/>
                  <a:pt x="209943" y="779463"/>
                  <a:pt x="198564" y="779463"/>
                </a:cubicBezTo>
                <a:lnTo>
                  <a:pt x="19913" y="779463"/>
                </a:lnTo>
                <a:cubicBezTo>
                  <a:pt x="9103" y="779463"/>
                  <a:pt x="0" y="770360"/>
                  <a:pt x="0" y="759549"/>
                </a:cubicBezTo>
                <a:lnTo>
                  <a:pt x="0" y="19914"/>
                </a:lnTo>
                <a:cubicBezTo>
                  <a:pt x="0" y="9104"/>
                  <a:pt x="9103" y="0"/>
                  <a:pt x="19913" y="0"/>
                </a:cubicBezTo>
                <a:close/>
              </a:path>
            </a:pathLst>
          </a:custGeom>
          <a:solidFill>
            <a:schemeClr val="accent4"/>
          </a:solidFill>
          <a:ln w="9525" cap="flat">
            <a:noFill/>
            <a:prstDash val="solid"/>
            <a:miter/>
          </a:ln>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59" name="Freeform: Shape 158">
            <a:extLst>
              <a:ext uri="{FF2B5EF4-FFF2-40B4-BE49-F238E27FC236}">
                <a16:creationId xmlns:a16="http://schemas.microsoft.com/office/drawing/2014/main" id="{21CA96AA-4DE3-49AD-8D07-BC32752F9994}"/>
              </a:ext>
            </a:extLst>
          </p:cNvPr>
          <p:cNvSpPr/>
          <p:nvPr/>
        </p:nvSpPr>
        <p:spPr>
          <a:xfrm flipH="1">
            <a:off x="10550573" y="3821972"/>
            <a:ext cx="972930" cy="457236"/>
          </a:xfrm>
          <a:custGeom>
            <a:avLst/>
            <a:gdLst>
              <a:gd name="connsiteX0" fmla="*/ 1267622 w 1658581"/>
              <a:gd name="connsiteY0" fmla="*/ 536521 h 779463"/>
              <a:gd name="connsiteX1" fmla="*/ 1267622 w 1658581"/>
              <a:gd name="connsiteY1" fmla="*/ 631714 h 779463"/>
              <a:gd name="connsiteX2" fmla="*/ 1282201 w 1658581"/>
              <a:gd name="connsiteY2" fmla="*/ 634309 h 779463"/>
              <a:gd name="connsiteX3" fmla="*/ 1342154 w 1658581"/>
              <a:gd name="connsiteY3" fmla="*/ 659982 h 779463"/>
              <a:gd name="connsiteX4" fmla="*/ 1393004 w 1658581"/>
              <a:gd name="connsiteY4" fmla="*/ 682811 h 779463"/>
              <a:gd name="connsiteX5" fmla="*/ 1394497 w 1658581"/>
              <a:gd name="connsiteY5" fmla="*/ 683123 h 779463"/>
              <a:gd name="connsiteX6" fmla="*/ 1394497 w 1658581"/>
              <a:gd name="connsiteY6" fmla="*/ 663396 h 779463"/>
              <a:gd name="connsiteX7" fmla="*/ 480764 w 1658581"/>
              <a:gd name="connsiteY7" fmla="*/ 536521 h 779463"/>
              <a:gd name="connsiteX8" fmla="*/ 480764 w 1658581"/>
              <a:gd name="connsiteY8" fmla="*/ 630882 h 779463"/>
              <a:gd name="connsiteX9" fmla="*/ 481901 w 1658581"/>
              <a:gd name="connsiteY9" fmla="*/ 631180 h 779463"/>
              <a:gd name="connsiteX10" fmla="*/ 524003 w 1658581"/>
              <a:gd name="connsiteY10" fmla="*/ 650879 h 779463"/>
              <a:gd name="connsiteX11" fmla="*/ 564826 w 1658581"/>
              <a:gd name="connsiteY11" fmla="*/ 670010 h 779463"/>
              <a:gd name="connsiteX12" fmla="*/ 607639 w 1658581"/>
              <a:gd name="connsiteY12" fmla="*/ 679101 h 779463"/>
              <a:gd name="connsiteX13" fmla="*/ 607639 w 1658581"/>
              <a:gd name="connsiteY13" fmla="*/ 663396 h 779463"/>
              <a:gd name="connsiteX14" fmla="*/ 1267622 w 1658581"/>
              <a:gd name="connsiteY14" fmla="*/ 395422 h 779463"/>
              <a:gd name="connsiteX15" fmla="*/ 1267622 w 1658581"/>
              <a:gd name="connsiteY15" fmla="*/ 480763 h 779463"/>
              <a:gd name="connsiteX16" fmla="*/ 1394497 w 1658581"/>
              <a:gd name="connsiteY16" fmla="*/ 607639 h 779463"/>
              <a:gd name="connsiteX17" fmla="*/ 1394497 w 1658581"/>
              <a:gd name="connsiteY17" fmla="*/ 522297 h 779463"/>
              <a:gd name="connsiteX18" fmla="*/ 480764 w 1658581"/>
              <a:gd name="connsiteY18" fmla="*/ 395422 h 779463"/>
              <a:gd name="connsiteX19" fmla="*/ 480764 w 1658581"/>
              <a:gd name="connsiteY19" fmla="*/ 480763 h 779463"/>
              <a:gd name="connsiteX20" fmla="*/ 607639 w 1658581"/>
              <a:gd name="connsiteY20" fmla="*/ 607639 h 779463"/>
              <a:gd name="connsiteX21" fmla="*/ 607639 w 1658581"/>
              <a:gd name="connsiteY21" fmla="*/ 522297 h 779463"/>
              <a:gd name="connsiteX22" fmla="*/ 1267622 w 1658581"/>
              <a:gd name="connsiteY22" fmla="*/ 254322 h 779463"/>
              <a:gd name="connsiteX23" fmla="*/ 1267622 w 1658581"/>
              <a:gd name="connsiteY23" fmla="*/ 339664 h 779463"/>
              <a:gd name="connsiteX24" fmla="*/ 1394497 w 1658581"/>
              <a:gd name="connsiteY24" fmla="*/ 466540 h 779463"/>
              <a:gd name="connsiteX25" fmla="*/ 1394497 w 1658581"/>
              <a:gd name="connsiteY25" fmla="*/ 381197 h 779463"/>
              <a:gd name="connsiteX26" fmla="*/ 480764 w 1658581"/>
              <a:gd name="connsiteY26" fmla="*/ 254322 h 779463"/>
              <a:gd name="connsiteX27" fmla="*/ 480764 w 1658581"/>
              <a:gd name="connsiteY27" fmla="*/ 339664 h 779463"/>
              <a:gd name="connsiteX28" fmla="*/ 607639 w 1658581"/>
              <a:gd name="connsiteY28" fmla="*/ 466540 h 779463"/>
              <a:gd name="connsiteX29" fmla="*/ 607639 w 1658581"/>
              <a:gd name="connsiteY29" fmla="*/ 381197 h 779463"/>
              <a:gd name="connsiteX30" fmla="*/ 1267622 w 1658581"/>
              <a:gd name="connsiteY30" fmla="*/ 113222 h 779463"/>
              <a:gd name="connsiteX31" fmla="*/ 1267622 w 1658581"/>
              <a:gd name="connsiteY31" fmla="*/ 198564 h 779463"/>
              <a:gd name="connsiteX32" fmla="*/ 1394497 w 1658581"/>
              <a:gd name="connsiteY32" fmla="*/ 325440 h 779463"/>
              <a:gd name="connsiteX33" fmla="*/ 1394497 w 1658581"/>
              <a:gd name="connsiteY33" fmla="*/ 240097 h 779463"/>
              <a:gd name="connsiteX34" fmla="*/ 480764 w 1658581"/>
              <a:gd name="connsiteY34" fmla="*/ 112771 h 779463"/>
              <a:gd name="connsiteX35" fmla="*/ 480764 w 1658581"/>
              <a:gd name="connsiteY35" fmla="*/ 198564 h 779463"/>
              <a:gd name="connsiteX36" fmla="*/ 607639 w 1658581"/>
              <a:gd name="connsiteY36" fmla="*/ 325440 h 779463"/>
              <a:gd name="connsiteX37" fmla="*/ 607639 w 1658581"/>
              <a:gd name="connsiteY37" fmla="*/ 240087 h 779463"/>
              <a:gd name="connsiteX38" fmla="*/ 1267622 w 1658581"/>
              <a:gd name="connsiteY38" fmla="*/ 39827 h 779463"/>
              <a:gd name="connsiteX39" fmla="*/ 1267622 w 1658581"/>
              <a:gd name="connsiteY39" fmla="*/ 57464 h 779463"/>
              <a:gd name="connsiteX40" fmla="*/ 1394497 w 1658581"/>
              <a:gd name="connsiteY40" fmla="*/ 184340 h 779463"/>
              <a:gd name="connsiteX41" fmla="*/ 1394497 w 1658581"/>
              <a:gd name="connsiteY41" fmla="*/ 39827 h 779463"/>
              <a:gd name="connsiteX42" fmla="*/ 647466 w 1658581"/>
              <a:gd name="connsiteY42" fmla="*/ 39827 h 779463"/>
              <a:gd name="connsiteX43" fmla="*/ 647466 w 1658581"/>
              <a:gd name="connsiteY43" fmla="*/ 679078 h 779463"/>
              <a:gd name="connsiteX44" fmla="*/ 678189 w 1658581"/>
              <a:gd name="connsiteY44" fmla="*/ 677122 h 779463"/>
              <a:gd name="connsiteX45" fmla="*/ 724274 w 1658581"/>
              <a:gd name="connsiteY45" fmla="*/ 659982 h 779463"/>
              <a:gd name="connsiteX46" fmla="*/ 846599 w 1658581"/>
              <a:gd name="connsiteY46" fmla="*/ 635518 h 779463"/>
              <a:gd name="connsiteX47" fmla="*/ 968354 w 1658581"/>
              <a:gd name="connsiteY47" fmla="*/ 675913 h 779463"/>
              <a:gd name="connsiteX48" fmla="*/ 1065644 w 1658581"/>
              <a:gd name="connsiteY48" fmla="*/ 703792 h 779463"/>
              <a:gd name="connsiteX49" fmla="*/ 1128229 w 1658581"/>
              <a:gd name="connsiteY49" fmla="*/ 673068 h 779463"/>
              <a:gd name="connsiteX50" fmla="*/ 1209020 w 1658581"/>
              <a:gd name="connsiteY50" fmla="*/ 630397 h 779463"/>
              <a:gd name="connsiteX51" fmla="*/ 1227795 w 1658581"/>
              <a:gd name="connsiteY51" fmla="*/ 629347 h 779463"/>
              <a:gd name="connsiteX52" fmla="*/ 1227795 w 1658581"/>
              <a:gd name="connsiteY52" fmla="*/ 488906 h 779463"/>
              <a:gd name="connsiteX53" fmla="*/ 1227510 w 1658581"/>
              <a:gd name="connsiteY53" fmla="*/ 488230 h 779463"/>
              <a:gd name="connsiteX54" fmla="*/ 1227795 w 1658581"/>
              <a:gd name="connsiteY54" fmla="*/ 487575 h 779463"/>
              <a:gd name="connsiteX55" fmla="*/ 1227795 w 1658581"/>
              <a:gd name="connsiteY55" fmla="*/ 347807 h 779463"/>
              <a:gd name="connsiteX56" fmla="*/ 1227510 w 1658581"/>
              <a:gd name="connsiteY56" fmla="*/ 347131 h 779463"/>
              <a:gd name="connsiteX57" fmla="*/ 1227795 w 1658581"/>
              <a:gd name="connsiteY57" fmla="*/ 346476 h 779463"/>
              <a:gd name="connsiteX58" fmla="*/ 1227795 w 1658581"/>
              <a:gd name="connsiteY58" fmla="*/ 206707 h 779463"/>
              <a:gd name="connsiteX59" fmla="*/ 1227510 w 1658581"/>
              <a:gd name="connsiteY59" fmla="*/ 206031 h 779463"/>
              <a:gd name="connsiteX60" fmla="*/ 1227795 w 1658581"/>
              <a:gd name="connsiteY60" fmla="*/ 205376 h 779463"/>
              <a:gd name="connsiteX61" fmla="*/ 1227795 w 1658581"/>
              <a:gd name="connsiteY61" fmla="*/ 65607 h 779463"/>
              <a:gd name="connsiteX62" fmla="*/ 1227510 w 1658581"/>
              <a:gd name="connsiteY62" fmla="*/ 64932 h 779463"/>
              <a:gd name="connsiteX63" fmla="*/ 1227795 w 1658581"/>
              <a:gd name="connsiteY63" fmla="*/ 64276 h 779463"/>
              <a:gd name="connsiteX64" fmla="*/ 1227795 w 1658581"/>
              <a:gd name="connsiteY64" fmla="*/ 39827 h 779463"/>
              <a:gd name="connsiteX65" fmla="*/ 480764 w 1658581"/>
              <a:gd name="connsiteY65" fmla="*/ 39827 h 779463"/>
              <a:gd name="connsiteX66" fmla="*/ 480764 w 1658581"/>
              <a:gd name="connsiteY66" fmla="*/ 56895 h 779463"/>
              <a:gd name="connsiteX67" fmla="*/ 607639 w 1658581"/>
              <a:gd name="connsiteY67" fmla="*/ 183771 h 779463"/>
              <a:gd name="connsiteX68" fmla="*/ 607639 w 1658581"/>
              <a:gd name="connsiteY68" fmla="*/ 39827 h 779463"/>
              <a:gd name="connsiteX69" fmla="*/ 218478 w 1658581"/>
              <a:gd name="connsiteY69" fmla="*/ 39827 h 779463"/>
              <a:gd name="connsiteX70" fmla="*/ 218478 w 1658581"/>
              <a:gd name="connsiteY70" fmla="*/ 654671 h 779463"/>
              <a:gd name="connsiteX71" fmla="*/ 252258 w 1658581"/>
              <a:gd name="connsiteY71" fmla="*/ 638656 h 779463"/>
              <a:gd name="connsiteX72" fmla="*/ 424437 w 1658581"/>
              <a:gd name="connsiteY72" fmla="*/ 616173 h 779463"/>
              <a:gd name="connsiteX73" fmla="*/ 440937 w 1658581"/>
              <a:gd name="connsiteY73" fmla="*/ 620482 h 779463"/>
              <a:gd name="connsiteX74" fmla="*/ 440937 w 1658581"/>
              <a:gd name="connsiteY74" fmla="*/ 488906 h 779463"/>
              <a:gd name="connsiteX75" fmla="*/ 440652 w 1658581"/>
              <a:gd name="connsiteY75" fmla="*/ 488230 h 779463"/>
              <a:gd name="connsiteX76" fmla="*/ 440937 w 1658581"/>
              <a:gd name="connsiteY76" fmla="*/ 487575 h 779463"/>
              <a:gd name="connsiteX77" fmla="*/ 440937 w 1658581"/>
              <a:gd name="connsiteY77" fmla="*/ 347807 h 779463"/>
              <a:gd name="connsiteX78" fmla="*/ 440652 w 1658581"/>
              <a:gd name="connsiteY78" fmla="*/ 347131 h 779463"/>
              <a:gd name="connsiteX79" fmla="*/ 440937 w 1658581"/>
              <a:gd name="connsiteY79" fmla="*/ 346476 h 779463"/>
              <a:gd name="connsiteX80" fmla="*/ 440937 w 1658581"/>
              <a:gd name="connsiteY80" fmla="*/ 206707 h 779463"/>
              <a:gd name="connsiteX81" fmla="*/ 440652 w 1658581"/>
              <a:gd name="connsiteY81" fmla="*/ 206031 h 779463"/>
              <a:gd name="connsiteX82" fmla="*/ 440937 w 1658581"/>
              <a:gd name="connsiteY82" fmla="*/ 205376 h 779463"/>
              <a:gd name="connsiteX83" fmla="*/ 440937 w 1658581"/>
              <a:gd name="connsiteY83" fmla="*/ 65038 h 779463"/>
              <a:gd name="connsiteX84" fmla="*/ 440652 w 1658581"/>
              <a:gd name="connsiteY84" fmla="*/ 64362 h 779463"/>
              <a:gd name="connsiteX85" fmla="*/ 440937 w 1658581"/>
              <a:gd name="connsiteY85" fmla="*/ 63707 h 779463"/>
              <a:gd name="connsiteX86" fmla="*/ 440937 w 1658581"/>
              <a:gd name="connsiteY86" fmla="*/ 39827 h 779463"/>
              <a:gd name="connsiteX87" fmla="*/ 39827 w 1658581"/>
              <a:gd name="connsiteY87" fmla="*/ 39827 h 779463"/>
              <a:gd name="connsiteX88" fmla="*/ 39827 w 1658581"/>
              <a:gd name="connsiteY88" fmla="*/ 739636 h 779463"/>
              <a:gd name="connsiteX89" fmla="*/ 178651 w 1658581"/>
              <a:gd name="connsiteY89" fmla="*/ 739636 h 779463"/>
              <a:gd name="connsiteX90" fmla="*/ 178651 w 1658581"/>
              <a:gd name="connsiteY90" fmla="*/ 39827 h 779463"/>
              <a:gd name="connsiteX91" fmla="*/ 19913 w 1658581"/>
              <a:gd name="connsiteY91" fmla="*/ 0 h 779463"/>
              <a:gd name="connsiteX92" fmla="*/ 198564 w 1658581"/>
              <a:gd name="connsiteY92" fmla="*/ 0 h 779463"/>
              <a:gd name="connsiteX93" fmla="*/ 198564 w 1658581"/>
              <a:gd name="connsiteY93" fmla="*/ 0 h 779463"/>
              <a:gd name="connsiteX94" fmla="*/ 1632319 w 1658581"/>
              <a:gd name="connsiteY94" fmla="*/ 0 h 779463"/>
              <a:gd name="connsiteX95" fmla="*/ 1652232 w 1658581"/>
              <a:gd name="connsiteY95" fmla="*/ 19913 h 779463"/>
              <a:gd name="connsiteX96" fmla="*/ 1632887 w 1658581"/>
              <a:gd name="connsiteY96" fmla="*/ 39827 h 779463"/>
              <a:gd name="connsiteX97" fmla="*/ 1434324 w 1658581"/>
              <a:gd name="connsiteY97" fmla="*/ 39827 h 779463"/>
              <a:gd name="connsiteX98" fmla="*/ 1434324 w 1658581"/>
              <a:gd name="connsiteY98" fmla="*/ 691433 h 779463"/>
              <a:gd name="connsiteX99" fmla="*/ 1455376 w 1658581"/>
              <a:gd name="connsiteY99" fmla="*/ 695826 h 779463"/>
              <a:gd name="connsiteX100" fmla="*/ 1628337 w 1658581"/>
              <a:gd name="connsiteY100" fmla="*/ 644621 h 779463"/>
              <a:gd name="connsiteX101" fmla="*/ 1655646 w 1658581"/>
              <a:gd name="connsiteY101" fmla="*/ 650879 h 779463"/>
              <a:gd name="connsiteX102" fmla="*/ 1649387 w 1658581"/>
              <a:gd name="connsiteY102" fmla="*/ 678189 h 779463"/>
              <a:gd name="connsiteX103" fmla="*/ 1452531 w 1658581"/>
              <a:gd name="connsiteY103" fmla="*/ 735084 h 779463"/>
              <a:gd name="connsiteX104" fmla="*/ 1323948 w 1658581"/>
              <a:gd name="connsiteY104" fmla="*/ 695257 h 779463"/>
              <a:gd name="connsiteX105" fmla="*/ 1215279 w 1658581"/>
              <a:gd name="connsiteY105" fmla="*/ 669655 h 779463"/>
              <a:gd name="connsiteX106" fmla="*/ 1154970 w 1658581"/>
              <a:gd name="connsiteY106" fmla="*/ 702654 h 779463"/>
              <a:gd name="connsiteX107" fmla="*/ 1068489 w 1658581"/>
              <a:gd name="connsiteY107" fmla="*/ 743618 h 779463"/>
              <a:gd name="connsiteX108" fmla="*/ 1054835 w 1658581"/>
              <a:gd name="connsiteY108" fmla="*/ 744756 h 779463"/>
              <a:gd name="connsiteX109" fmla="*/ 949578 w 1658581"/>
              <a:gd name="connsiteY109" fmla="*/ 711757 h 779463"/>
              <a:gd name="connsiteX110" fmla="*/ 843754 w 1658581"/>
              <a:gd name="connsiteY110" fmla="*/ 675913 h 779463"/>
              <a:gd name="connsiteX111" fmla="*/ 740774 w 1658581"/>
              <a:gd name="connsiteY111" fmla="*/ 696964 h 779463"/>
              <a:gd name="connsiteX112" fmla="*/ 613329 w 1658581"/>
              <a:gd name="connsiteY112" fmla="*/ 721429 h 779463"/>
              <a:gd name="connsiteX113" fmla="*/ 505797 w 1658581"/>
              <a:gd name="connsiteY113" fmla="*/ 686723 h 779463"/>
              <a:gd name="connsiteX114" fmla="*/ 418748 w 1658581"/>
              <a:gd name="connsiteY114" fmla="*/ 656000 h 779463"/>
              <a:gd name="connsiteX115" fmla="*/ 265531 w 1658581"/>
              <a:gd name="connsiteY115" fmla="*/ 676722 h 779463"/>
              <a:gd name="connsiteX116" fmla="*/ 218478 w 1658581"/>
              <a:gd name="connsiteY116" fmla="*/ 699107 h 779463"/>
              <a:gd name="connsiteX117" fmla="*/ 218478 w 1658581"/>
              <a:gd name="connsiteY117" fmla="*/ 759549 h 779463"/>
              <a:gd name="connsiteX118" fmla="*/ 198564 w 1658581"/>
              <a:gd name="connsiteY118" fmla="*/ 779463 h 779463"/>
              <a:gd name="connsiteX119" fmla="*/ 19913 w 1658581"/>
              <a:gd name="connsiteY119" fmla="*/ 779463 h 779463"/>
              <a:gd name="connsiteX120" fmla="*/ 0 w 1658581"/>
              <a:gd name="connsiteY120" fmla="*/ 759549 h 779463"/>
              <a:gd name="connsiteX121" fmla="*/ 0 w 1658581"/>
              <a:gd name="connsiteY121" fmla="*/ 19914 h 779463"/>
              <a:gd name="connsiteX122" fmla="*/ 19913 w 1658581"/>
              <a:gd name="connsiteY122" fmla="*/ 0 h 779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658581" h="779463">
                <a:moveTo>
                  <a:pt x="1267622" y="536521"/>
                </a:moveTo>
                <a:lnTo>
                  <a:pt x="1267622" y="631714"/>
                </a:lnTo>
                <a:lnTo>
                  <a:pt x="1282201" y="634309"/>
                </a:lnTo>
                <a:cubicBezTo>
                  <a:pt x="1303750" y="640496"/>
                  <a:pt x="1323094" y="650310"/>
                  <a:pt x="1342154" y="659982"/>
                </a:cubicBezTo>
                <a:cubicBezTo>
                  <a:pt x="1358369" y="667947"/>
                  <a:pt x="1374727" y="676197"/>
                  <a:pt x="1393004" y="682811"/>
                </a:cubicBezTo>
                <a:lnTo>
                  <a:pt x="1394497" y="683123"/>
                </a:lnTo>
                <a:lnTo>
                  <a:pt x="1394497" y="663396"/>
                </a:lnTo>
                <a:close/>
                <a:moveTo>
                  <a:pt x="480764" y="536521"/>
                </a:moveTo>
                <a:lnTo>
                  <a:pt x="480764" y="630882"/>
                </a:lnTo>
                <a:lnTo>
                  <a:pt x="481901" y="631180"/>
                </a:lnTo>
                <a:cubicBezTo>
                  <a:pt x="497974" y="637367"/>
                  <a:pt x="511487" y="644337"/>
                  <a:pt x="524003" y="650879"/>
                </a:cubicBezTo>
                <a:cubicBezTo>
                  <a:pt x="537658" y="657991"/>
                  <a:pt x="550317" y="664676"/>
                  <a:pt x="564826" y="670010"/>
                </a:cubicBezTo>
                <a:lnTo>
                  <a:pt x="607639" y="679101"/>
                </a:lnTo>
                <a:lnTo>
                  <a:pt x="607639" y="663396"/>
                </a:lnTo>
                <a:close/>
                <a:moveTo>
                  <a:pt x="1267622" y="395422"/>
                </a:moveTo>
                <a:lnTo>
                  <a:pt x="1267622" y="480763"/>
                </a:lnTo>
                <a:lnTo>
                  <a:pt x="1394497" y="607639"/>
                </a:lnTo>
                <a:lnTo>
                  <a:pt x="1394497" y="522297"/>
                </a:lnTo>
                <a:close/>
                <a:moveTo>
                  <a:pt x="480764" y="395422"/>
                </a:moveTo>
                <a:lnTo>
                  <a:pt x="480764" y="480763"/>
                </a:lnTo>
                <a:lnTo>
                  <a:pt x="607639" y="607639"/>
                </a:lnTo>
                <a:lnTo>
                  <a:pt x="607639" y="522297"/>
                </a:lnTo>
                <a:close/>
                <a:moveTo>
                  <a:pt x="1267622" y="254322"/>
                </a:moveTo>
                <a:lnTo>
                  <a:pt x="1267622" y="339664"/>
                </a:lnTo>
                <a:lnTo>
                  <a:pt x="1394497" y="466540"/>
                </a:lnTo>
                <a:lnTo>
                  <a:pt x="1394497" y="381197"/>
                </a:lnTo>
                <a:close/>
                <a:moveTo>
                  <a:pt x="480764" y="254322"/>
                </a:moveTo>
                <a:lnTo>
                  <a:pt x="480764" y="339664"/>
                </a:lnTo>
                <a:lnTo>
                  <a:pt x="607639" y="466540"/>
                </a:lnTo>
                <a:lnTo>
                  <a:pt x="607639" y="381197"/>
                </a:lnTo>
                <a:close/>
                <a:moveTo>
                  <a:pt x="1267622" y="113222"/>
                </a:moveTo>
                <a:lnTo>
                  <a:pt x="1267622" y="198564"/>
                </a:lnTo>
                <a:lnTo>
                  <a:pt x="1394497" y="325440"/>
                </a:lnTo>
                <a:lnTo>
                  <a:pt x="1394497" y="240097"/>
                </a:lnTo>
                <a:close/>
                <a:moveTo>
                  <a:pt x="480764" y="112771"/>
                </a:moveTo>
                <a:lnTo>
                  <a:pt x="480764" y="198564"/>
                </a:lnTo>
                <a:lnTo>
                  <a:pt x="607639" y="325440"/>
                </a:lnTo>
                <a:lnTo>
                  <a:pt x="607639" y="240087"/>
                </a:lnTo>
                <a:close/>
                <a:moveTo>
                  <a:pt x="1267622" y="39827"/>
                </a:moveTo>
                <a:lnTo>
                  <a:pt x="1267622" y="57464"/>
                </a:lnTo>
                <a:lnTo>
                  <a:pt x="1394497" y="184340"/>
                </a:lnTo>
                <a:lnTo>
                  <a:pt x="1394497" y="39827"/>
                </a:lnTo>
                <a:close/>
                <a:moveTo>
                  <a:pt x="647466" y="39827"/>
                </a:moveTo>
                <a:lnTo>
                  <a:pt x="647466" y="679078"/>
                </a:lnTo>
                <a:lnTo>
                  <a:pt x="678189" y="677122"/>
                </a:lnTo>
                <a:cubicBezTo>
                  <a:pt x="695115" y="672926"/>
                  <a:pt x="709481" y="666525"/>
                  <a:pt x="724274" y="659982"/>
                </a:cubicBezTo>
                <a:cubicBezTo>
                  <a:pt x="754997" y="646327"/>
                  <a:pt x="789134" y="630966"/>
                  <a:pt x="846599" y="635518"/>
                </a:cubicBezTo>
                <a:cubicBezTo>
                  <a:pt x="901787" y="640069"/>
                  <a:pt x="937061" y="659414"/>
                  <a:pt x="968354" y="675913"/>
                </a:cubicBezTo>
                <a:cubicBezTo>
                  <a:pt x="999646" y="692981"/>
                  <a:pt x="1024680" y="706636"/>
                  <a:pt x="1065644" y="703792"/>
                </a:cubicBezTo>
                <a:cubicBezTo>
                  <a:pt x="1096937" y="701516"/>
                  <a:pt x="1110592" y="688999"/>
                  <a:pt x="1128229" y="673068"/>
                </a:cubicBezTo>
                <a:cubicBezTo>
                  <a:pt x="1146435" y="656000"/>
                  <a:pt x="1167487" y="637224"/>
                  <a:pt x="1209020" y="630397"/>
                </a:cubicBezTo>
                <a:lnTo>
                  <a:pt x="1227795" y="629347"/>
                </a:lnTo>
                <a:lnTo>
                  <a:pt x="1227795" y="488906"/>
                </a:lnTo>
                <a:lnTo>
                  <a:pt x="1227510" y="488230"/>
                </a:lnTo>
                <a:lnTo>
                  <a:pt x="1227795" y="487575"/>
                </a:lnTo>
                <a:lnTo>
                  <a:pt x="1227795" y="347807"/>
                </a:lnTo>
                <a:lnTo>
                  <a:pt x="1227510" y="347131"/>
                </a:lnTo>
                <a:lnTo>
                  <a:pt x="1227795" y="346476"/>
                </a:lnTo>
                <a:lnTo>
                  <a:pt x="1227795" y="206707"/>
                </a:lnTo>
                <a:lnTo>
                  <a:pt x="1227510" y="206031"/>
                </a:lnTo>
                <a:lnTo>
                  <a:pt x="1227795" y="205376"/>
                </a:lnTo>
                <a:lnTo>
                  <a:pt x="1227795" y="65607"/>
                </a:lnTo>
                <a:lnTo>
                  <a:pt x="1227510" y="64932"/>
                </a:lnTo>
                <a:lnTo>
                  <a:pt x="1227795" y="64276"/>
                </a:lnTo>
                <a:lnTo>
                  <a:pt x="1227795" y="39827"/>
                </a:lnTo>
                <a:close/>
                <a:moveTo>
                  <a:pt x="480764" y="39827"/>
                </a:moveTo>
                <a:lnTo>
                  <a:pt x="480764" y="56895"/>
                </a:lnTo>
                <a:lnTo>
                  <a:pt x="607639" y="183771"/>
                </a:lnTo>
                <a:lnTo>
                  <a:pt x="607639" y="39827"/>
                </a:lnTo>
                <a:close/>
                <a:moveTo>
                  <a:pt x="218478" y="39827"/>
                </a:moveTo>
                <a:lnTo>
                  <a:pt x="218478" y="654671"/>
                </a:lnTo>
                <a:lnTo>
                  <a:pt x="252258" y="638656"/>
                </a:lnTo>
                <a:cubicBezTo>
                  <a:pt x="311252" y="615640"/>
                  <a:pt x="368965" y="608066"/>
                  <a:pt x="424437" y="616173"/>
                </a:cubicBezTo>
                <a:lnTo>
                  <a:pt x="440937" y="620482"/>
                </a:lnTo>
                <a:lnTo>
                  <a:pt x="440937" y="488906"/>
                </a:lnTo>
                <a:lnTo>
                  <a:pt x="440652" y="488230"/>
                </a:lnTo>
                <a:lnTo>
                  <a:pt x="440937" y="487575"/>
                </a:lnTo>
                <a:lnTo>
                  <a:pt x="440937" y="347807"/>
                </a:lnTo>
                <a:lnTo>
                  <a:pt x="440652" y="347131"/>
                </a:lnTo>
                <a:lnTo>
                  <a:pt x="440937" y="346476"/>
                </a:lnTo>
                <a:lnTo>
                  <a:pt x="440937" y="206707"/>
                </a:lnTo>
                <a:lnTo>
                  <a:pt x="440652" y="206031"/>
                </a:lnTo>
                <a:lnTo>
                  <a:pt x="440937" y="205376"/>
                </a:lnTo>
                <a:lnTo>
                  <a:pt x="440937" y="65038"/>
                </a:lnTo>
                <a:lnTo>
                  <a:pt x="440652" y="64362"/>
                </a:lnTo>
                <a:lnTo>
                  <a:pt x="440937" y="63707"/>
                </a:lnTo>
                <a:lnTo>
                  <a:pt x="440937" y="39827"/>
                </a:lnTo>
                <a:close/>
                <a:moveTo>
                  <a:pt x="39827" y="39827"/>
                </a:moveTo>
                <a:lnTo>
                  <a:pt x="39827" y="739636"/>
                </a:lnTo>
                <a:lnTo>
                  <a:pt x="178651" y="739636"/>
                </a:lnTo>
                <a:lnTo>
                  <a:pt x="178651" y="39827"/>
                </a:lnTo>
                <a:close/>
                <a:moveTo>
                  <a:pt x="19913" y="0"/>
                </a:moveTo>
                <a:lnTo>
                  <a:pt x="198564" y="0"/>
                </a:lnTo>
                <a:lnTo>
                  <a:pt x="198564" y="0"/>
                </a:lnTo>
                <a:lnTo>
                  <a:pt x="1632319" y="0"/>
                </a:lnTo>
                <a:cubicBezTo>
                  <a:pt x="1643129" y="0"/>
                  <a:pt x="1652232" y="9104"/>
                  <a:pt x="1652232" y="19913"/>
                </a:cubicBezTo>
                <a:cubicBezTo>
                  <a:pt x="1652232" y="30724"/>
                  <a:pt x="1643698" y="39827"/>
                  <a:pt x="1632887" y="39827"/>
                </a:cubicBezTo>
                <a:lnTo>
                  <a:pt x="1434324" y="39827"/>
                </a:lnTo>
                <a:lnTo>
                  <a:pt x="1434324" y="691433"/>
                </a:lnTo>
                <a:lnTo>
                  <a:pt x="1455376" y="695826"/>
                </a:lnTo>
                <a:cubicBezTo>
                  <a:pt x="1510564" y="699240"/>
                  <a:pt x="1569166" y="682172"/>
                  <a:pt x="1628337" y="644621"/>
                </a:cubicBezTo>
                <a:cubicBezTo>
                  <a:pt x="1637440" y="638931"/>
                  <a:pt x="1649957" y="641776"/>
                  <a:pt x="1655646" y="650879"/>
                </a:cubicBezTo>
                <a:cubicBezTo>
                  <a:pt x="1661336" y="659982"/>
                  <a:pt x="1658491" y="672499"/>
                  <a:pt x="1649387" y="678189"/>
                </a:cubicBezTo>
                <a:cubicBezTo>
                  <a:pt x="1582821" y="719722"/>
                  <a:pt x="1516822" y="739067"/>
                  <a:pt x="1452531" y="735084"/>
                </a:cubicBezTo>
                <a:cubicBezTo>
                  <a:pt x="1396773" y="731670"/>
                  <a:pt x="1358085" y="712326"/>
                  <a:pt x="1323948" y="695257"/>
                </a:cubicBezTo>
                <a:cubicBezTo>
                  <a:pt x="1286966" y="677051"/>
                  <a:pt x="1257950" y="662258"/>
                  <a:pt x="1215279" y="669655"/>
                </a:cubicBezTo>
                <a:cubicBezTo>
                  <a:pt x="1185693" y="674775"/>
                  <a:pt x="1171469" y="687861"/>
                  <a:pt x="1154970" y="702654"/>
                </a:cubicBezTo>
                <a:cubicBezTo>
                  <a:pt x="1135625" y="720291"/>
                  <a:pt x="1113436" y="740205"/>
                  <a:pt x="1068489" y="743618"/>
                </a:cubicBezTo>
                <a:cubicBezTo>
                  <a:pt x="1063938" y="744756"/>
                  <a:pt x="1059386" y="744756"/>
                  <a:pt x="1054835" y="744756"/>
                </a:cubicBezTo>
                <a:cubicBezTo>
                  <a:pt x="1009887" y="744756"/>
                  <a:pt x="979733" y="728256"/>
                  <a:pt x="949578" y="711757"/>
                </a:cubicBezTo>
                <a:cubicBezTo>
                  <a:pt x="920562" y="695826"/>
                  <a:pt x="890977" y="679896"/>
                  <a:pt x="843754" y="675913"/>
                </a:cubicBezTo>
                <a:cubicBezTo>
                  <a:pt x="796531" y="671931"/>
                  <a:pt x="770359" y="683878"/>
                  <a:pt x="740774" y="696964"/>
                </a:cubicBezTo>
                <a:cubicBezTo>
                  <a:pt x="709481" y="711188"/>
                  <a:pt x="673638" y="726550"/>
                  <a:pt x="613329" y="721429"/>
                </a:cubicBezTo>
                <a:cubicBezTo>
                  <a:pt x="563261" y="716877"/>
                  <a:pt x="533676" y="701516"/>
                  <a:pt x="505797" y="686723"/>
                </a:cubicBezTo>
                <a:cubicBezTo>
                  <a:pt x="481332" y="673637"/>
                  <a:pt x="458005" y="661689"/>
                  <a:pt x="418748" y="656000"/>
                </a:cubicBezTo>
                <a:cubicBezTo>
                  <a:pt x="369676" y="648745"/>
                  <a:pt x="318363" y="655893"/>
                  <a:pt x="265531" y="676722"/>
                </a:cubicBezTo>
                <a:lnTo>
                  <a:pt x="218478" y="699107"/>
                </a:lnTo>
                <a:lnTo>
                  <a:pt x="218478" y="759549"/>
                </a:lnTo>
                <a:cubicBezTo>
                  <a:pt x="218478" y="770360"/>
                  <a:pt x="209943" y="779463"/>
                  <a:pt x="198564" y="779463"/>
                </a:cubicBezTo>
                <a:lnTo>
                  <a:pt x="19913" y="779463"/>
                </a:lnTo>
                <a:cubicBezTo>
                  <a:pt x="9103" y="779463"/>
                  <a:pt x="0" y="770360"/>
                  <a:pt x="0" y="759549"/>
                </a:cubicBezTo>
                <a:lnTo>
                  <a:pt x="0" y="19914"/>
                </a:lnTo>
                <a:cubicBezTo>
                  <a:pt x="0" y="9104"/>
                  <a:pt x="9103" y="0"/>
                  <a:pt x="19913" y="0"/>
                </a:cubicBezTo>
                <a:close/>
              </a:path>
            </a:pathLst>
          </a:custGeom>
          <a:solidFill>
            <a:schemeClr val="accent4"/>
          </a:solidFill>
          <a:ln w="9525" cap="flat">
            <a:noFill/>
            <a:prstDash val="solid"/>
            <a:miter/>
          </a:ln>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2" name="TextBox 171">
            <a:extLst>
              <a:ext uri="{FF2B5EF4-FFF2-40B4-BE49-F238E27FC236}">
                <a16:creationId xmlns:a16="http://schemas.microsoft.com/office/drawing/2014/main" id="{5F238FEF-F746-471D-A3A0-EAE6C4BFDF4E}"/>
              </a:ext>
            </a:extLst>
          </p:cNvPr>
          <p:cNvSpPr txBox="1"/>
          <p:nvPr/>
        </p:nvSpPr>
        <p:spPr>
          <a:xfrm>
            <a:off x="5609080" y="4347310"/>
            <a:ext cx="923331"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AFE ZONE</a:t>
            </a:r>
          </a:p>
        </p:txBody>
      </p:sp>
      <p:cxnSp>
        <p:nvCxnSpPr>
          <p:cNvPr id="146" name="Straight Connector 145">
            <a:extLst>
              <a:ext uri="{FF2B5EF4-FFF2-40B4-BE49-F238E27FC236}">
                <a16:creationId xmlns:a16="http://schemas.microsoft.com/office/drawing/2014/main" id="{7B9E6267-2726-4805-B161-0C70C9EA0BD5}"/>
              </a:ext>
            </a:extLst>
          </p:cNvPr>
          <p:cNvCxnSpPr>
            <a:cxnSpLocks/>
          </p:cNvCxnSpPr>
          <p:nvPr/>
        </p:nvCxnSpPr>
        <p:spPr>
          <a:xfrm flipH="1">
            <a:off x="1711424" y="4213016"/>
            <a:ext cx="8718643" cy="0"/>
          </a:xfrm>
          <a:prstGeom prst="line">
            <a:avLst/>
          </a:prstGeom>
          <a:solidFill>
            <a:schemeClr val="accent1"/>
          </a:solidFill>
          <a:ln w="28575">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81" name="TextBox 180">
            <a:extLst>
              <a:ext uri="{FF2B5EF4-FFF2-40B4-BE49-F238E27FC236}">
                <a16:creationId xmlns:a16="http://schemas.microsoft.com/office/drawing/2014/main" id="{F54E4527-D99F-4855-9F43-72457A01FE9A}"/>
              </a:ext>
            </a:extLst>
          </p:cNvPr>
          <p:cNvSpPr txBox="1"/>
          <p:nvPr/>
        </p:nvSpPr>
        <p:spPr>
          <a:xfrm>
            <a:off x="10162111" y="3206140"/>
            <a:ext cx="1591108" cy="523220"/>
          </a:xfrm>
          <a:prstGeom prst="rect">
            <a:avLst/>
          </a:prstGeom>
          <a:noFill/>
        </p:spPr>
        <p:txBody>
          <a:bodyPr wrap="square" lIns="0" tIns="0" rIns="0" bIns="0" rtlCol="0" anchor="t">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BCF2"/>
                </a:solidFill>
                <a:effectLst/>
                <a:uLnTx/>
                <a:uFillTx/>
                <a:latin typeface="Segoe UI Semibold" panose="020B0702040204020203" pitchFamily="34" charset="0"/>
                <a:ea typeface="+mn-ea"/>
                <a:cs typeface="Segoe UI Semibold" panose="020B0702040204020203" pitchFamily="34" charset="0"/>
              </a:rPr>
              <a:t>Realignment </a:t>
            </a:r>
          </a:p>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Ship returns to the recommended course</a:t>
            </a:r>
          </a:p>
        </p:txBody>
      </p:sp>
      <p:sp>
        <p:nvSpPr>
          <p:cNvPr id="194" name="TextBox 193">
            <a:extLst>
              <a:ext uri="{FF2B5EF4-FFF2-40B4-BE49-F238E27FC236}">
                <a16:creationId xmlns:a16="http://schemas.microsoft.com/office/drawing/2014/main" id="{51886F1D-1252-4830-BB73-D00F83A6ED1B}"/>
              </a:ext>
            </a:extLst>
          </p:cNvPr>
          <p:cNvSpPr txBox="1"/>
          <p:nvPr/>
        </p:nvSpPr>
        <p:spPr>
          <a:xfrm>
            <a:off x="5458508" y="1357589"/>
            <a:ext cx="1060355" cy="1661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ANGER ZONE</a:t>
            </a:r>
          </a:p>
        </p:txBody>
      </p:sp>
      <p:sp>
        <p:nvSpPr>
          <p:cNvPr id="195" name="TextBox 194">
            <a:extLst>
              <a:ext uri="{FF2B5EF4-FFF2-40B4-BE49-F238E27FC236}">
                <a16:creationId xmlns:a16="http://schemas.microsoft.com/office/drawing/2014/main" id="{60296B29-3A58-4775-816F-6AA921942FC2}"/>
              </a:ext>
            </a:extLst>
          </p:cNvPr>
          <p:cNvSpPr txBox="1"/>
          <p:nvPr/>
        </p:nvSpPr>
        <p:spPr>
          <a:xfrm>
            <a:off x="3370086" y="1698176"/>
            <a:ext cx="2781009" cy="692497"/>
          </a:xfrm>
          <a:prstGeom prst="rect">
            <a:avLst/>
          </a:prstGeom>
          <a:noFill/>
        </p:spPr>
        <p:txBody>
          <a:bodyPr wrap="square" lIns="0" tIns="0" rIns="0" bIns="0" rtlCol="0" anchor="t">
            <a:spAutoFit/>
          </a:bodyPr>
          <a:lstStyle/>
          <a:p>
            <a:pPr marL="0" marR="0" lvl="0" indent="0" algn="r"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BCF2"/>
                </a:solidFill>
                <a:effectLst/>
                <a:uLnTx/>
                <a:uFillTx/>
                <a:latin typeface="Segoe UI Semibold" panose="020B0702040204020203" pitchFamily="34" charset="0"/>
                <a:ea typeface="+mn-ea"/>
                <a:cs typeface="Segoe UI Semibold" panose="020B0702040204020203" pitchFamily="34" charset="0"/>
              </a:rPr>
              <a:t>Unexpected detour</a:t>
            </a:r>
          </a:p>
          <a:p>
            <a:pPr marL="0" marR="0" lvl="0" indent="0" algn="r" defTabSz="93257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Ship deviates from predicted path into contested waters. GPS sensors send location data to insurance company</a:t>
            </a:r>
          </a:p>
        </p:txBody>
      </p:sp>
      <p:sp>
        <p:nvSpPr>
          <p:cNvPr id="3" name="Isosceles Triangle 2">
            <a:extLst>
              <a:ext uri="{FF2B5EF4-FFF2-40B4-BE49-F238E27FC236}">
                <a16:creationId xmlns:a16="http://schemas.microsoft.com/office/drawing/2014/main" id="{105C1006-6236-4DF9-9139-2859D203C886}"/>
              </a:ext>
            </a:extLst>
          </p:cNvPr>
          <p:cNvSpPr/>
          <p:nvPr/>
        </p:nvSpPr>
        <p:spPr bwMode="auto">
          <a:xfrm>
            <a:off x="1637566" y="2407526"/>
            <a:ext cx="8779436" cy="1803486"/>
          </a:xfrm>
          <a:custGeom>
            <a:avLst/>
            <a:gdLst>
              <a:gd name="connsiteX0" fmla="*/ 0 w 8762248"/>
              <a:gd name="connsiteY0" fmla="*/ 1859055 h 1859055"/>
              <a:gd name="connsiteX1" fmla="*/ 4381124 w 8762248"/>
              <a:gd name="connsiteY1" fmla="*/ 0 h 1859055"/>
              <a:gd name="connsiteX2" fmla="*/ 8762248 w 8762248"/>
              <a:gd name="connsiteY2" fmla="*/ 1859055 h 1859055"/>
              <a:gd name="connsiteX3" fmla="*/ 0 w 8762248"/>
              <a:gd name="connsiteY3" fmla="*/ 1859055 h 1859055"/>
              <a:gd name="connsiteX0" fmla="*/ 0 w 8762248"/>
              <a:gd name="connsiteY0" fmla="*/ 1859055 h 1950495"/>
              <a:gd name="connsiteX1" fmla="*/ 4381124 w 8762248"/>
              <a:gd name="connsiteY1" fmla="*/ 0 h 1950495"/>
              <a:gd name="connsiteX2" fmla="*/ 8762248 w 8762248"/>
              <a:gd name="connsiteY2" fmla="*/ 1859055 h 1950495"/>
              <a:gd name="connsiteX3" fmla="*/ 91440 w 8762248"/>
              <a:gd name="connsiteY3" fmla="*/ 1950495 h 1950495"/>
              <a:gd name="connsiteX0" fmla="*/ 0 w 8762248"/>
              <a:gd name="connsiteY0" fmla="*/ 1859055 h 1859055"/>
              <a:gd name="connsiteX1" fmla="*/ 4381124 w 8762248"/>
              <a:gd name="connsiteY1" fmla="*/ 0 h 1859055"/>
              <a:gd name="connsiteX2" fmla="*/ 8762248 w 8762248"/>
              <a:gd name="connsiteY2" fmla="*/ 1859055 h 1859055"/>
              <a:gd name="connsiteX0" fmla="*/ 0 w 8762248"/>
              <a:gd name="connsiteY0" fmla="*/ 1859055 h 1859055"/>
              <a:gd name="connsiteX1" fmla="*/ 4381124 w 8762248"/>
              <a:gd name="connsiteY1" fmla="*/ 0 h 1859055"/>
              <a:gd name="connsiteX2" fmla="*/ 8762248 w 8762248"/>
              <a:gd name="connsiteY2" fmla="*/ 1859055 h 1859055"/>
              <a:gd name="connsiteX0" fmla="*/ 256423 w 9018671"/>
              <a:gd name="connsiteY0" fmla="*/ 1859062 h 1978669"/>
              <a:gd name="connsiteX1" fmla="*/ 345687 w 9018671"/>
              <a:gd name="connsiteY1" fmla="*/ 1835518 h 1978669"/>
              <a:gd name="connsiteX2" fmla="*/ 4637547 w 9018671"/>
              <a:gd name="connsiteY2" fmla="*/ 7 h 1978669"/>
              <a:gd name="connsiteX3" fmla="*/ 9018671 w 9018671"/>
              <a:gd name="connsiteY3" fmla="*/ 1859062 h 1978669"/>
              <a:gd name="connsiteX0" fmla="*/ 0 w 9547388"/>
              <a:gd name="connsiteY0" fmla="*/ 1896189 h 1989867"/>
              <a:gd name="connsiteX1" fmla="*/ 874404 w 9547388"/>
              <a:gd name="connsiteY1" fmla="*/ 1835518 h 1989867"/>
              <a:gd name="connsiteX2" fmla="*/ 5166264 w 9547388"/>
              <a:gd name="connsiteY2" fmla="*/ 7 h 1989867"/>
              <a:gd name="connsiteX3" fmla="*/ 9547388 w 9547388"/>
              <a:gd name="connsiteY3" fmla="*/ 1859062 h 1989867"/>
              <a:gd name="connsiteX0" fmla="*/ 0 w 9555682"/>
              <a:gd name="connsiteY0" fmla="*/ 1882930 h 1985677"/>
              <a:gd name="connsiteX1" fmla="*/ 882698 w 9555682"/>
              <a:gd name="connsiteY1" fmla="*/ 1835518 h 1985677"/>
              <a:gd name="connsiteX2" fmla="*/ 5174558 w 9555682"/>
              <a:gd name="connsiteY2" fmla="*/ 7 h 1985677"/>
              <a:gd name="connsiteX3" fmla="*/ 9555682 w 9555682"/>
              <a:gd name="connsiteY3" fmla="*/ 1859062 h 1985677"/>
              <a:gd name="connsiteX0" fmla="*/ 0 w 9555682"/>
              <a:gd name="connsiteY0" fmla="*/ 1882930 h 1981657"/>
              <a:gd name="connsiteX1" fmla="*/ 882698 w 9555682"/>
              <a:gd name="connsiteY1" fmla="*/ 1835518 h 1981657"/>
              <a:gd name="connsiteX2" fmla="*/ 5174558 w 9555682"/>
              <a:gd name="connsiteY2" fmla="*/ 7 h 1981657"/>
              <a:gd name="connsiteX3" fmla="*/ 9555682 w 9555682"/>
              <a:gd name="connsiteY3" fmla="*/ 1859062 h 1981657"/>
              <a:gd name="connsiteX0" fmla="*/ 0 w 9555682"/>
              <a:gd name="connsiteY0" fmla="*/ 1882930 h 1882929"/>
              <a:gd name="connsiteX1" fmla="*/ 882698 w 9555682"/>
              <a:gd name="connsiteY1" fmla="*/ 1835518 h 1882929"/>
              <a:gd name="connsiteX2" fmla="*/ 5174558 w 9555682"/>
              <a:gd name="connsiteY2" fmla="*/ 7 h 1882929"/>
              <a:gd name="connsiteX3" fmla="*/ 9555682 w 9555682"/>
              <a:gd name="connsiteY3" fmla="*/ 1859062 h 1882929"/>
              <a:gd name="connsiteX0" fmla="*/ 0 w 9555682"/>
              <a:gd name="connsiteY0" fmla="*/ 1882930 h 1886544"/>
              <a:gd name="connsiteX1" fmla="*/ 882698 w 9555682"/>
              <a:gd name="connsiteY1" fmla="*/ 1835518 h 1886544"/>
              <a:gd name="connsiteX2" fmla="*/ 5174558 w 9555682"/>
              <a:gd name="connsiteY2" fmla="*/ 7 h 1886544"/>
              <a:gd name="connsiteX3" fmla="*/ 9555682 w 9555682"/>
              <a:gd name="connsiteY3" fmla="*/ 1859062 h 1886544"/>
              <a:gd name="connsiteX0" fmla="*/ 0 w 9555682"/>
              <a:gd name="connsiteY0" fmla="*/ 1882930 h 1886544"/>
              <a:gd name="connsiteX1" fmla="*/ 882698 w 9555682"/>
              <a:gd name="connsiteY1" fmla="*/ 1835518 h 1886544"/>
              <a:gd name="connsiteX2" fmla="*/ 5174558 w 9555682"/>
              <a:gd name="connsiteY2" fmla="*/ 7 h 1886544"/>
              <a:gd name="connsiteX3" fmla="*/ 9555682 w 9555682"/>
              <a:gd name="connsiteY3" fmla="*/ 1859062 h 1886544"/>
              <a:gd name="connsiteX0" fmla="*/ 0 w 9555682"/>
              <a:gd name="connsiteY0" fmla="*/ 1882930 h 1882929"/>
              <a:gd name="connsiteX1" fmla="*/ 882698 w 9555682"/>
              <a:gd name="connsiteY1" fmla="*/ 1835518 h 1882929"/>
              <a:gd name="connsiteX2" fmla="*/ 5174558 w 9555682"/>
              <a:gd name="connsiteY2" fmla="*/ 7 h 1882929"/>
              <a:gd name="connsiteX3" fmla="*/ 9555682 w 9555682"/>
              <a:gd name="connsiteY3" fmla="*/ 1859062 h 1882929"/>
              <a:gd name="connsiteX0" fmla="*/ 0 w 9555682"/>
              <a:gd name="connsiteY0" fmla="*/ 1882930 h 1883134"/>
              <a:gd name="connsiteX1" fmla="*/ 882698 w 9555682"/>
              <a:gd name="connsiteY1" fmla="*/ 1835518 h 1883134"/>
              <a:gd name="connsiteX2" fmla="*/ 5174558 w 9555682"/>
              <a:gd name="connsiteY2" fmla="*/ 7 h 1883134"/>
              <a:gd name="connsiteX3" fmla="*/ 9555682 w 9555682"/>
              <a:gd name="connsiteY3" fmla="*/ 1859062 h 1883134"/>
              <a:gd name="connsiteX0" fmla="*/ 0 w 9555682"/>
              <a:gd name="connsiteY0" fmla="*/ 1882930 h 1882930"/>
              <a:gd name="connsiteX1" fmla="*/ 882698 w 9555682"/>
              <a:gd name="connsiteY1" fmla="*/ 1835518 h 1882930"/>
              <a:gd name="connsiteX2" fmla="*/ 5174558 w 9555682"/>
              <a:gd name="connsiteY2" fmla="*/ 7 h 1882930"/>
              <a:gd name="connsiteX3" fmla="*/ 9555682 w 9555682"/>
              <a:gd name="connsiteY3" fmla="*/ 1859062 h 1882930"/>
            </a:gdLst>
            <a:ahLst/>
            <a:cxnLst>
              <a:cxn ang="0">
                <a:pos x="connsiteX0" y="connsiteY0"/>
              </a:cxn>
              <a:cxn ang="0">
                <a:pos x="connsiteX1" y="connsiteY1"/>
              </a:cxn>
              <a:cxn ang="0">
                <a:pos x="connsiteX2" y="connsiteY2"/>
              </a:cxn>
              <a:cxn ang="0">
                <a:pos x="connsiteX3" y="connsiteY3"/>
              </a:cxn>
            </a:cxnLst>
            <a:rect l="l" t="t" r="r" b="b"/>
            <a:pathLst>
              <a:path w="9555682" h="1882930">
                <a:moveTo>
                  <a:pt x="0" y="1882930"/>
                </a:moveTo>
                <a:cubicBezTo>
                  <a:pt x="368742" y="1876355"/>
                  <a:pt x="744131" y="1896084"/>
                  <a:pt x="882698" y="1835518"/>
                </a:cubicBezTo>
                <a:cubicBezTo>
                  <a:pt x="1054440" y="1798821"/>
                  <a:pt x="3729061" y="-3917"/>
                  <a:pt x="5174558" y="7"/>
                </a:cubicBezTo>
                <a:cubicBezTo>
                  <a:pt x="6634933" y="7"/>
                  <a:pt x="8095307" y="1239377"/>
                  <a:pt x="9555682" y="1859062"/>
                </a:cubicBezTo>
              </a:path>
            </a:pathLst>
          </a:custGeom>
          <a:noFill/>
          <a:ln w="285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0" name="Oval 169">
            <a:extLst>
              <a:ext uri="{FF2B5EF4-FFF2-40B4-BE49-F238E27FC236}">
                <a16:creationId xmlns:a16="http://schemas.microsoft.com/office/drawing/2014/main" id="{581F421D-09F5-49BE-8408-85737BB8A64F}"/>
              </a:ext>
            </a:extLst>
          </p:cNvPr>
          <p:cNvSpPr/>
          <p:nvPr/>
        </p:nvSpPr>
        <p:spPr bwMode="auto">
          <a:xfrm>
            <a:off x="1540953" y="4127780"/>
            <a:ext cx="170471" cy="170471"/>
          </a:xfrm>
          <a:prstGeom prst="ellipse">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71" name="Oval 170">
            <a:extLst>
              <a:ext uri="{FF2B5EF4-FFF2-40B4-BE49-F238E27FC236}">
                <a16:creationId xmlns:a16="http://schemas.microsoft.com/office/drawing/2014/main" id="{CF745725-91A7-4023-A07D-C7ED9F09BC26}"/>
              </a:ext>
            </a:extLst>
          </p:cNvPr>
          <p:cNvSpPr/>
          <p:nvPr/>
        </p:nvSpPr>
        <p:spPr bwMode="auto">
          <a:xfrm>
            <a:off x="10395342" y="4127780"/>
            <a:ext cx="170471" cy="170471"/>
          </a:xfrm>
          <a:prstGeom prst="ellipse">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94" name="Rectangle 93">
            <a:extLst>
              <a:ext uri="{FF2B5EF4-FFF2-40B4-BE49-F238E27FC236}">
                <a16:creationId xmlns:a16="http://schemas.microsoft.com/office/drawing/2014/main" id="{42B5CE03-6825-49DB-9BF6-54B35F611C64}"/>
              </a:ext>
            </a:extLst>
          </p:cNvPr>
          <p:cNvSpPr/>
          <p:nvPr/>
        </p:nvSpPr>
        <p:spPr bwMode="auto">
          <a:xfrm>
            <a:off x="2311400" y="5264106"/>
            <a:ext cx="7569200" cy="113056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95" name="TextBox 94">
            <a:extLst>
              <a:ext uri="{FF2B5EF4-FFF2-40B4-BE49-F238E27FC236}">
                <a16:creationId xmlns:a16="http://schemas.microsoft.com/office/drawing/2014/main" id="{B5947F9C-8745-4624-800C-A76B418413E5}"/>
              </a:ext>
            </a:extLst>
          </p:cNvPr>
          <p:cNvSpPr txBox="1"/>
          <p:nvPr/>
        </p:nvSpPr>
        <p:spPr>
          <a:xfrm>
            <a:off x="5279482" y="5097314"/>
            <a:ext cx="1556836" cy="307777"/>
          </a:xfrm>
          <a:prstGeom prst="rect">
            <a:avLst/>
          </a:prstGeom>
          <a:solidFill>
            <a:srgbClr val="353535"/>
          </a:solidFill>
        </p:spPr>
        <p:txBody>
          <a:bodyPr wrap="none" rtlCol="0" anchor="ctr">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BCF2"/>
                </a:solidFill>
                <a:effectLst/>
                <a:uLnTx/>
                <a:uFillTx/>
                <a:latin typeface="Segoe UI Semibold" panose="020B0702040204020203" pitchFamily="34" charset="0"/>
                <a:ea typeface="+mn-ea"/>
                <a:cs typeface="Segoe UI Semibold" panose="020B0702040204020203" pitchFamily="34" charset="0"/>
              </a:rPr>
              <a:t>SHARED LEDGER</a:t>
            </a:r>
          </a:p>
        </p:txBody>
      </p:sp>
      <p:cxnSp>
        <p:nvCxnSpPr>
          <p:cNvPr id="97" name="Straight Connector 96">
            <a:extLst>
              <a:ext uri="{FF2B5EF4-FFF2-40B4-BE49-F238E27FC236}">
                <a16:creationId xmlns:a16="http://schemas.microsoft.com/office/drawing/2014/main" id="{00E3BDF1-4CED-4944-8D89-C03E34A483A2}"/>
              </a:ext>
            </a:extLst>
          </p:cNvPr>
          <p:cNvCxnSpPr>
            <a:cxnSpLocks/>
          </p:cNvCxnSpPr>
          <p:nvPr/>
        </p:nvCxnSpPr>
        <p:spPr>
          <a:xfrm>
            <a:off x="4757229" y="5534415"/>
            <a:ext cx="0" cy="531619"/>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34F94624-B368-4806-B573-C518D4BFECBF}"/>
              </a:ext>
            </a:extLst>
          </p:cNvPr>
          <p:cNvCxnSpPr>
            <a:cxnSpLocks/>
          </p:cNvCxnSpPr>
          <p:nvPr/>
        </p:nvCxnSpPr>
        <p:spPr>
          <a:xfrm>
            <a:off x="7362040" y="5534415"/>
            <a:ext cx="0" cy="531619"/>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21" name="TextBox 120">
            <a:extLst>
              <a:ext uri="{FF2B5EF4-FFF2-40B4-BE49-F238E27FC236}">
                <a16:creationId xmlns:a16="http://schemas.microsoft.com/office/drawing/2014/main" id="{C28D3951-06D6-4AB2-AEBE-C558C6B4DC8F}"/>
              </a:ext>
            </a:extLst>
          </p:cNvPr>
          <p:cNvSpPr txBox="1"/>
          <p:nvPr/>
        </p:nvSpPr>
        <p:spPr>
          <a:xfrm>
            <a:off x="2947194" y="5474726"/>
            <a:ext cx="1614708" cy="692497"/>
          </a:xfrm>
          <a:prstGeom prst="rect">
            <a:avLst/>
          </a:prstGeom>
          <a:noFill/>
        </p:spPr>
        <p:txBody>
          <a:bodyPr wrap="square" lIns="0" tIns="0" rIns="0" bIns="0" rtlCol="0">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ontract created</a:t>
            </a:r>
          </a:p>
          <a:p>
            <a:pPr marL="171450" marR="0" lvl="0" indent="-171450" algn="l" defTabSz="9325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Path: A </a:t>
            </a:r>
            <a:r>
              <a:rPr kumimoji="0" lang="en-IN" sz="11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sym typeface="Wingdings" panose="05000000000000000000" pitchFamily="2" charset="2"/>
              </a:rPr>
              <a:t> </a:t>
            </a:r>
            <a:r>
              <a:rPr kumimoji="0" lang="en-US" sz="1100" b="0" i="0" u="none" strike="noStrike" kern="1200" cap="none" spc="0" normalizeH="0" baseline="0" noProof="0">
                <a:ln>
                  <a:noFill/>
                </a:ln>
                <a:solidFill>
                  <a:srgbClr val="FFFFFF"/>
                </a:solidFill>
                <a:effectLst/>
                <a:uLnTx/>
                <a:uFillTx/>
                <a:latin typeface="Segoe UI Semilight"/>
                <a:ea typeface="+mn-ea"/>
                <a:cs typeface="+mn-cs"/>
              </a:rPr>
              <a:t>B</a:t>
            </a:r>
          </a:p>
          <a:p>
            <a:pPr marL="171450" marR="0" lvl="0" indent="-171450" algn="l" defTabSz="9325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Risk: Low</a:t>
            </a:r>
          </a:p>
          <a:p>
            <a:pPr marL="171450" marR="0" lvl="0" indent="-171450" algn="l" defTabSz="9325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Insurance premium: $$$</a:t>
            </a:r>
          </a:p>
        </p:txBody>
      </p:sp>
      <p:sp>
        <p:nvSpPr>
          <p:cNvPr id="113" name="TextBox 112">
            <a:extLst>
              <a:ext uri="{FF2B5EF4-FFF2-40B4-BE49-F238E27FC236}">
                <a16:creationId xmlns:a16="http://schemas.microsoft.com/office/drawing/2014/main" id="{471712C6-12D4-4E76-8874-0DC43B651AB9}"/>
              </a:ext>
            </a:extLst>
          </p:cNvPr>
          <p:cNvSpPr txBox="1"/>
          <p:nvPr/>
        </p:nvSpPr>
        <p:spPr>
          <a:xfrm>
            <a:off x="5517924" y="5474726"/>
            <a:ext cx="1648789" cy="692497"/>
          </a:xfrm>
          <a:prstGeom prst="rect">
            <a:avLst/>
          </a:prstGeom>
          <a:noFill/>
        </p:spPr>
        <p:txBody>
          <a:bodyPr wrap="square" lIns="0" tIns="0" rIns="0" bIns="0" rtlCol="0">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ontract updated</a:t>
            </a:r>
          </a:p>
          <a:p>
            <a:pPr marL="171450" marR="0" lvl="0" indent="-171450" algn="l" defTabSz="9325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Path A </a:t>
            </a:r>
            <a:r>
              <a:rPr kumimoji="0" lang="en-IN" sz="11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sym typeface="Wingdings" panose="05000000000000000000" pitchFamily="2" charset="2"/>
              </a:rPr>
              <a:t> </a:t>
            </a:r>
            <a:r>
              <a:rPr kumimoji="0" lang="en-US" sz="1100" b="0" i="0" u="none" strike="noStrike" kern="1200" cap="none" spc="0" normalizeH="0" baseline="0" noProof="0">
                <a:ln>
                  <a:noFill/>
                </a:ln>
                <a:solidFill>
                  <a:srgbClr val="FFFFFF"/>
                </a:solidFill>
                <a:effectLst/>
                <a:uLnTx/>
                <a:uFillTx/>
                <a:latin typeface="Segoe UI Semilight"/>
                <a:ea typeface="+mn-ea"/>
                <a:cs typeface="+mn-cs"/>
              </a:rPr>
              <a:t>C </a:t>
            </a:r>
            <a:r>
              <a:rPr kumimoji="0" lang="en-IN" sz="11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sym typeface="Wingdings" panose="05000000000000000000" pitchFamily="2" charset="2"/>
              </a:rPr>
              <a:t> </a:t>
            </a:r>
            <a:r>
              <a:rPr kumimoji="0" lang="en-US" sz="1100" b="0" i="0" u="none" strike="noStrike" kern="1200" cap="none" spc="0" normalizeH="0" baseline="0" noProof="0">
                <a:ln>
                  <a:noFill/>
                </a:ln>
                <a:solidFill>
                  <a:srgbClr val="FFFFFF"/>
                </a:solidFill>
                <a:effectLst/>
                <a:uLnTx/>
                <a:uFillTx/>
                <a:latin typeface="Segoe UI Semilight"/>
                <a:ea typeface="+mn-ea"/>
                <a:cs typeface="+mn-cs"/>
              </a:rPr>
              <a:t>B</a:t>
            </a:r>
          </a:p>
          <a:p>
            <a:pPr marL="171450" marR="0" lvl="0" indent="-171450" algn="l" defTabSz="9325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Risk: High</a:t>
            </a:r>
          </a:p>
          <a:p>
            <a:pPr marL="171450" marR="0" lvl="0" indent="-171450" algn="l" defTabSz="9325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Insurance premium: $$$</a:t>
            </a:r>
          </a:p>
        </p:txBody>
      </p:sp>
      <p:sp>
        <p:nvSpPr>
          <p:cNvPr id="105" name="TextBox 104">
            <a:extLst>
              <a:ext uri="{FF2B5EF4-FFF2-40B4-BE49-F238E27FC236}">
                <a16:creationId xmlns:a16="http://schemas.microsoft.com/office/drawing/2014/main" id="{8A400EA7-DC6F-4DCD-9FBF-4FCAB9F8D056}"/>
              </a:ext>
            </a:extLst>
          </p:cNvPr>
          <p:cNvSpPr txBox="1"/>
          <p:nvPr/>
        </p:nvSpPr>
        <p:spPr>
          <a:xfrm>
            <a:off x="8110661" y="5474726"/>
            <a:ext cx="1638593" cy="692497"/>
          </a:xfrm>
          <a:prstGeom prst="rect">
            <a:avLst/>
          </a:prstGeom>
          <a:noFill/>
        </p:spPr>
        <p:txBody>
          <a:bodyPr wrap="square" lIns="0" tIns="0" rIns="0" bIns="0" rtlCol="0">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ontract updated</a:t>
            </a:r>
          </a:p>
          <a:p>
            <a:pPr marL="171450" marR="0" lvl="0" indent="-171450" algn="l" defTabSz="9325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Path: A </a:t>
            </a:r>
            <a:r>
              <a:rPr kumimoji="0" lang="en-IN" sz="11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sym typeface="Wingdings" panose="05000000000000000000" pitchFamily="2" charset="2"/>
              </a:rPr>
              <a:t> </a:t>
            </a:r>
            <a:r>
              <a:rPr kumimoji="0" lang="en-US" sz="1100" b="0" i="0" u="none" strike="noStrike" kern="1200" cap="none" spc="0" normalizeH="0" baseline="0" noProof="0">
                <a:ln>
                  <a:noFill/>
                </a:ln>
                <a:solidFill>
                  <a:srgbClr val="FFFFFF"/>
                </a:solidFill>
                <a:effectLst/>
                <a:uLnTx/>
                <a:uFillTx/>
                <a:latin typeface="Segoe UI Semilight"/>
                <a:ea typeface="+mn-ea"/>
                <a:cs typeface="+mn-cs"/>
              </a:rPr>
              <a:t>B</a:t>
            </a:r>
          </a:p>
          <a:p>
            <a:pPr marL="171450" marR="0" lvl="0" indent="-171450" algn="l" defTabSz="9325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Risk: Low</a:t>
            </a:r>
          </a:p>
          <a:p>
            <a:pPr marL="171450" marR="0" lvl="0" indent="-171450" algn="l" defTabSz="9325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Insurance premium: $$$</a:t>
            </a:r>
          </a:p>
        </p:txBody>
      </p:sp>
      <p:sp>
        <p:nvSpPr>
          <p:cNvPr id="83" name="Title 1">
            <a:extLst>
              <a:ext uri="{FF2B5EF4-FFF2-40B4-BE49-F238E27FC236}">
                <a16:creationId xmlns:a16="http://schemas.microsoft.com/office/drawing/2014/main" id="{9B2D7DFE-950A-41CC-9EA6-91C51CF667E7}"/>
              </a:ext>
            </a:extLst>
          </p:cNvPr>
          <p:cNvSpPr txBox="1">
            <a:spLocks/>
          </p:cNvSpPr>
          <p:nvPr/>
        </p:nvSpPr>
        <p:spPr>
          <a:xfrm>
            <a:off x="382748" y="257812"/>
            <a:ext cx="10574917" cy="567690"/>
          </a:xfrm>
          <a:prstGeom prst="rect">
            <a:avLst/>
          </a:prstGeom>
        </p:spPr>
        <p:txBody>
          <a:bodyPr vert="horz" wrap="square" lIns="0" tIns="0" rIns="0" bIns="0" rtlCol="0" anchor="b">
            <a:noAutofit/>
          </a:bodyPr>
          <a:lstStyle>
            <a:lvl1pPr algn="ctr" defTabSz="914367" rtl="0" eaLnBrk="1" latinLnBrk="0" hangingPunct="1">
              <a:lnSpc>
                <a:spcPct val="90000"/>
              </a:lnSpc>
              <a:spcBef>
                <a:spcPct val="0"/>
              </a:spcBef>
              <a:buNone/>
              <a:defRPr lang="en-US" sz="6000" b="0" strike="noStrike" kern="1200" cap="none" spc="-100" baseline="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srgbClr val="FFFFFF"/>
                </a:solidFill>
                <a:effectLst/>
                <a:uLnTx/>
                <a:uFillTx/>
                <a:latin typeface="Segoe UI Light"/>
                <a:ea typeface="+mn-ea"/>
                <a:cs typeface="Segoe UI" pitchFamily="34" charset="0"/>
              </a:rPr>
              <a:t>Blockchain in Action | Real-time maritime risk assessment</a:t>
            </a:r>
          </a:p>
        </p:txBody>
      </p:sp>
      <p:grpSp>
        <p:nvGrpSpPr>
          <p:cNvPr id="76" name="Group 75">
            <a:extLst>
              <a:ext uri="{FF2B5EF4-FFF2-40B4-BE49-F238E27FC236}">
                <a16:creationId xmlns:a16="http://schemas.microsoft.com/office/drawing/2014/main" id="{A2FB2C5C-0301-44A7-B892-A390649CBCBF}"/>
              </a:ext>
            </a:extLst>
          </p:cNvPr>
          <p:cNvGrpSpPr/>
          <p:nvPr/>
        </p:nvGrpSpPr>
        <p:grpSpPr>
          <a:xfrm>
            <a:off x="2350388" y="5597164"/>
            <a:ext cx="560111" cy="595691"/>
            <a:chOff x="1415453" y="3449690"/>
            <a:chExt cx="546570" cy="581289"/>
          </a:xfrm>
        </p:grpSpPr>
        <p:sp>
          <p:nvSpPr>
            <p:cNvPr id="77" name="Rectangle 76">
              <a:extLst>
                <a:ext uri="{FF2B5EF4-FFF2-40B4-BE49-F238E27FC236}">
                  <a16:creationId xmlns:a16="http://schemas.microsoft.com/office/drawing/2014/main" id="{8E1B09CC-CD47-4029-B639-CE71A3FBC63F}"/>
                </a:ext>
              </a:extLst>
            </p:cNvPr>
            <p:cNvSpPr/>
            <p:nvPr/>
          </p:nvSpPr>
          <p:spPr bwMode="auto">
            <a:xfrm>
              <a:off x="1476248" y="3449690"/>
              <a:ext cx="485775" cy="5619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78" name="Group 77">
              <a:extLst>
                <a:ext uri="{FF2B5EF4-FFF2-40B4-BE49-F238E27FC236}">
                  <a16:creationId xmlns:a16="http://schemas.microsoft.com/office/drawing/2014/main" id="{D8EBFF03-2CBF-4924-B97F-A8EBFABEA186}"/>
                </a:ext>
              </a:extLst>
            </p:cNvPr>
            <p:cNvGrpSpPr/>
            <p:nvPr/>
          </p:nvGrpSpPr>
          <p:grpSpPr>
            <a:xfrm>
              <a:off x="1415453" y="3490142"/>
              <a:ext cx="500931" cy="540837"/>
              <a:chOff x="18099798" y="7144694"/>
              <a:chExt cx="1945239" cy="2100205"/>
            </a:xfrm>
          </p:grpSpPr>
          <p:sp>
            <p:nvSpPr>
              <p:cNvPr id="79" name="Freeform: Shape 78">
                <a:extLst>
                  <a:ext uri="{FF2B5EF4-FFF2-40B4-BE49-F238E27FC236}">
                    <a16:creationId xmlns:a16="http://schemas.microsoft.com/office/drawing/2014/main" id="{E08CF7E8-E6E2-404F-8FAE-0F5E56CAFC3E}"/>
                  </a:ext>
                </a:extLst>
              </p:cNvPr>
              <p:cNvSpPr/>
              <p:nvPr/>
            </p:nvSpPr>
            <p:spPr>
              <a:xfrm>
                <a:off x="18820243" y="74103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0" name="Freeform: Shape 79">
                <a:extLst>
                  <a:ext uri="{FF2B5EF4-FFF2-40B4-BE49-F238E27FC236}">
                    <a16:creationId xmlns:a16="http://schemas.microsoft.com/office/drawing/2014/main" id="{C159A30B-A55B-4455-9162-9A87330F6FE3}"/>
                  </a:ext>
                </a:extLst>
              </p:cNvPr>
              <p:cNvSpPr/>
              <p:nvPr/>
            </p:nvSpPr>
            <p:spPr>
              <a:xfrm>
                <a:off x="18820243" y="8105334"/>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1" name="Freeform: Shape 80">
                <a:extLst>
                  <a:ext uri="{FF2B5EF4-FFF2-40B4-BE49-F238E27FC236}">
                    <a16:creationId xmlns:a16="http://schemas.microsoft.com/office/drawing/2014/main" id="{D955F249-23A8-4373-A87A-FBC37946BE75}"/>
                  </a:ext>
                </a:extLst>
              </p:cNvPr>
              <p:cNvSpPr/>
              <p:nvPr/>
            </p:nvSpPr>
            <p:spPr>
              <a:xfrm>
                <a:off x="18820243" y="7641986"/>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4" name="Freeform: Shape 83">
                <a:extLst>
                  <a:ext uri="{FF2B5EF4-FFF2-40B4-BE49-F238E27FC236}">
                    <a16:creationId xmlns:a16="http://schemas.microsoft.com/office/drawing/2014/main" id="{BF494658-71F7-4282-8B61-BCD4ABDECE48}"/>
                  </a:ext>
                </a:extLst>
              </p:cNvPr>
              <p:cNvSpPr/>
              <p:nvPr/>
            </p:nvSpPr>
            <p:spPr>
              <a:xfrm>
                <a:off x="18820243" y="8337007"/>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5" name="Freeform: Shape 84">
                <a:extLst>
                  <a:ext uri="{FF2B5EF4-FFF2-40B4-BE49-F238E27FC236}">
                    <a16:creationId xmlns:a16="http://schemas.microsoft.com/office/drawing/2014/main" id="{030CBC2E-36D7-419B-93AD-2F1E2DD40E05}"/>
                  </a:ext>
                </a:extLst>
              </p:cNvPr>
              <p:cNvSpPr/>
              <p:nvPr/>
            </p:nvSpPr>
            <p:spPr>
              <a:xfrm>
                <a:off x="18820243" y="7873660"/>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6" name="Freeform: Shape 85">
                <a:extLst>
                  <a:ext uri="{FF2B5EF4-FFF2-40B4-BE49-F238E27FC236}">
                    <a16:creationId xmlns:a16="http://schemas.microsoft.com/office/drawing/2014/main" id="{280B21A9-AF07-45A9-A6FE-5C35A3CD3A7E}"/>
                  </a:ext>
                </a:extLst>
              </p:cNvPr>
              <p:cNvSpPr/>
              <p:nvPr/>
            </p:nvSpPr>
            <p:spPr>
              <a:xfrm>
                <a:off x="18495594" y="7144694"/>
                <a:ext cx="1549443" cy="1903599"/>
              </a:xfrm>
              <a:custGeom>
                <a:avLst/>
                <a:gdLst/>
                <a:ahLst/>
                <a:cxnLst/>
                <a:rect l="0" t="0" r="0" b="0"/>
                <a:pathLst>
                  <a:path w="1000125" h="1228725">
                    <a:moveTo>
                      <a:pt x="921544" y="45244"/>
                    </a:moveTo>
                    <a:cubicBezTo>
                      <a:pt x="942556" y="45244"/>
                      <a:pt x="959644" y="62332"/>
                      <a:pt x="959644" y="83344"/>
                    </a:cubicBezTo>
                    <a:lnTo>
                      <a:pt x="959644" y="1150144"/>
                    </a:lnTo>
                    <a:cubicBezTo>
                      <a:pt x="959644" y="1171156"/>
                      <a:pt x="942556" y="1188244"/>
                      <a:pt x="921544" y="1188244"/>
                    </a:cubicBezTo>
                    <a:lnTo>
                      <a:pt x="83344" y="1188244"/>
                    </a:lnTo>
                    <a:cubicBezTo>
                      <a:pt x="62332" y="1188244"/>
                      <a:pt x="45244" y="1171156"/>
                      <a:pt x="45244" y="1150144"/>
                    </a:cubicBezTo>
                    <a:lnTo>
                      <a:pt x="45244" y="83344"/>
                    </a:lnTo>
                    <a:cubicBezTo>
                      <a:pt x="45244" y="62332"/>
                      <a:pt x="62332" y="45244"/>
                      <a:pt x="83344" y="45244"/>
                    </a:cubicBezTo>
                    <a:lnTo>
                      <a:pt x="921544" y="45244"/>
                    </a:lnTo>
                    <a:moveTo>
                      <a:pt x="921544" y="7144"/>
                    </a:moveTo>
                    <a:lnTo>
                      <a:pt x="83344" y="7144"/>
                    </a:lnTo>
                    <a:cubicBezTo>
                      <a:pt x="41262" y="7144"/>
                      <a:pt x="7144" y="41262"/>
                      <a:pt x="7144" y="83344"/>
                    </a:cubicBezTo>
                    <a:lnTo>
                      <a:pt x="7144" y="1150144"/>
                    </a:lnTo>
                    <a:cubicBezTo>
                      <a:pt x="7144" y="1192225"/>
                      <a:pt x="41262" y="1226344"/>
                      <a:pt x="83344" y="1226344"/>
                    </a:cubicBezTo>
                    <a:lnTo>
                      <a:pt x="921544" y="1226344"/>
                    </a:lnTo>
                    <a:cubicBezTo>
                      <a:pt x="963625" y="1226344"/>
                      <a:pt x="997744" y="1192225"/>
                      <a:pt x="997744" y="1150144"/>
                    </a:cubicBezTo>
                    <a:lnTo>
                      <a:pt x="997744" y="83344"/>
                    </a:lnTo>
                    <a:cubicBezTo>
                      <a:pt x="997744" y="41262"/>
                      <a:pt x="963625" y="7144"/>
                      <a:pt x="921544" y="7144"/>
                    </a:cubicBezTo>
                    <a:lnTo>
                      <a:pt x="921544" y="7144"/>
                    </a:ln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7" name="Freeform: Shape 86">
                <a:extLst>
                  <a:ext uri="{FF2B5EF4-FFF2-40B4-BE49-F238E27FC236}">
                    <a16:creationId xmlns:a16="http://schemas.microsoft.com/office/drawing/2014/main" id="{922A5969-2DB7-47F3-A91B-C5F14C9DCF74}"/>
                  </a:ext>
                </a:extLst>
              </p:cNvPr>
              <p:cNvSpPr/>
              <p:nvPr/>
            </p:nvSpPr>
            <p:spPr>
              <a:xfrm>
                <a:off x="18820243" y="85752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8" name="Freeform: Shape 87">
                <a:extLst>
                  <a:ext uri="{FF2B5EF4-FFF2-40B4-BE49-F238E27FC236}">
                    <a16:creationId xmlns:a16="http://schemas.microsoft.com/office/drawing/2014/main" id="{825EB11C-9356-4670-A987-1F70E220FF52}"/>
                  </a:ext>
                </a:extLst>
              </p:cNvPr>
              <p:cNvSpPr/>
              <p:nvPr/>
            </p:nvSpPr>
            <p:spPr>
              <a:xfrm>
                <a:off x="18820243" y="8806885"/>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9" name="Oval 88">
                <a:extLst>
                  <a:ext uri="{FF2B5EF4-FFF2-40B4-BE49-F238E27FC236}">
                    <a16:creationId xmlns:a16="http://schemas.microsoft.com/office/drawing/2014/main" id="{69CF147A-3CE7-46AC-9AA4-A558F332E37E}"/>
                  </a:ext>
                </a:extLst>
              </p:cNvPr>
              <p:cNvSpPr/>
              <p:nvPr/>
            </p:nvSpPr>
            <p:spPr bwMode="auto">
              <a:xfrm>
                <a:off x="18099798" y="8142226"/>
                <a:ext cx="1102673" cy="11026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96" name="Freeform: Shape 95">
                <a:extLst>
                  <a:ext uri="{FF2B5EF4-FFF2-40B4-BE49-F238E27FC236}">
                    <a16:creationId xmlns:a16="http://schemas.microsoft.com/office/drawing/2014/main" id="{286E5459-F4F2-4462-BEF2-4E8824E03161}"/>
                  </a:ext>
                </a:extLst>
              </p:cNvPr>
              <p:cNvSpPr/>
              <p:nvPr/>
            </p:nvSpPr>
            <p:spPr>
              <a:xfrm>
                <a:off x="18263490" y="8337007"/>
                <a:ext cx="800023" cy="642643"/>
              </a:xfrm>
              <a:custGeom>
                <a:avLst/>
                <a:gdLst/>
                <a:ahLst/>
                <a:cxnLst/>
                <a:rect l="0" t="0" r="0" b="0"/>
                <a:pathLst>
                  <a:path w="581025" h="466725">
                    <a:moveTo>
                      <a:pt x="559594" y="426244"/>
                    </a:moveTo>
                    <a:lnTo>
                      <a:pt x="225209" y="426244"/>
                    </a:lnTo>
                    <a:lnTo>
                      <a:pt x="512988" y="191777"/>
                    </a:lnTo>
                    <a:cubicBezTo>
                      <a:pt x="545373" y="165383"/>
                      <a:pt x="549869" y="117996"/>
                      <a:pt x="522980" y="86173"/>
                    </a:cubicBezTo>
                    <a:lnTo>
                      <a:pt x="479041" y="34205"/>
                    </a:lnTo>
                    <a:cubicBezTo>
                      <a:pt x="452142" y="2391"/>
                      <a:pt x="403898" y="-2009"/>
                      <a:pt x="371494" y="24394"/>
                    </a:cubicBezTo>
                    <a:lnTo>
                      <a:pt x="77172" y="264215"/>
                    </a:lnTo>
                    <a:cubicBezTo>
                      <a:pt x="77162" y="264224"/>
                      <a:pt x="77143" y="264262"/>
                      <a:pt x="77124" y="264281"/>
                    </a:cubicBezTo>
                    <a:cubicBezTo>
                      <a:pt x="75343" y="265720"/>
                      <a:pt x="73962" y="267567"/>
                      <a:pt x="72790" y="269539"/>
                    </a:cubicBezTo>
                    <a:cubicBezTo>
                      <a:pt x="72485" y="270053"/>
                      <a:pt x="72200" y="270539"/>
                      <a:pt x="71961" y="271092"/>
                    </a:cubicBezTo>
                    <a:cubicBezTo>
                      <a:pt x="71733" y="271539"/>
                      <a:pt x="71399" y="271930"/>
                      <a:pt x="71228" y="272425"/>
                    </a:cubicBezTo>
                    <a:lnTo>
                      <a:pt x="8382" y="437970"/>
                    </a:lnTo>
                    <a:cubicBezTo>
                      <a:pt x="8030" y="438903"/>
                      <a:pt x="7925" y="439856"/>
                      <a:pt x="7725" y="440818"/>
                    </a:cubicBezTo>
                    <a:cubicBezTo>
                      <a:pt x="7639" y="441170"/>
                      <a:pt x="7553" y="441513"/>
                      <a:pt x="7487" y="441865"/>
                    </a:cubicBezTo>
                    <a:cubicBezTo>
                      <a:pt x="7372" y="442589"/>
                      <a:pt x="7306" y="443304"/>
                      <a:pt x="7277" y="444037"/>
                    </a:cubicBezTo>
                    <a:cubicBezTo>
                      <a:pt x="7249" y="444447"/>
                      <a:pt x="7144" y="444856"/>
                      <a:pt x="7144" y="445294"/>
                    </a:cubicBezTo>
                    <a:cubicBezTo>
                      <a:pt x="7144" y="455458"/>
                      <a:pt x="15135" y="463697"/>
                      <a:pt x="25165" y="464240"/>
                    </a:cubicBezTo>
                    <a:cubicBezTo>
                      <a:pt x="25203" y="464240"/>
                      <a:pt x="25232" y="464249"/>
                      <a:pt x="25270" y="464249"/>
                    </a:cubicBezTo>
                    <a:cubicBezTo>
                      <a:pt x="25575" y="464268"/>
                      <a:pt x="25879" y="464344"/>
                      <a:pt x="26194" y="464344"/>
                    </a:cubicBezTo>
                    <a:lnTo>
                      <a:pt x="559594" y="464344"/>
                    </a:lnTo>
                    <a:cubicBezTo>
                      <a:pt x="570109" y="464344"/>
                      <a:pt x="578644" y="455810"/>
                      <a:pt x="578644" y="445294"/>
                    </a:cubicBezTo>
                    <a:cubicBezTo>
                      <a:pt x="578644" y="434779"/>
                      <a:pt x="570109" y="426244"/>
                      <a:pt x="559594" y="426244"/>
                    </a:cubicBezTo>
                    <a:close/>
                    <a:moveTo>
                      <a:pt x="396935" y="54484"/>
                    </a:moveTo>
                    <a:cubicBezTo>
                      <a:pt x="412442" y="41863"/>
                      <a:pt x="435531" y="43949"/>
                      <a:pt x="448389" y="59189"/>
                    </a:cubicBezTo>
                    <a:lnTo>
                      <a:pt x="492319" y="111148"/>
                    </a:lnTo>
                    <a:cubicBezTo>
                      <a:pt x="505197" y="126378"/>
                      <a:pt x="503034" y="149038"/>
                      <a:pt x="487528" y="161668"/>
                    </a:cubicBezTo>
                    <a:lnTo>
                      <a:pt x="471573" y="174651"/>
                    </a:lnTo>
                    <a:lnTo>
                      <a:pt x="380981" y="67485"/>
                    </a:lnTo>
                    <a:lnTo>
                      <a:pt x="396935" y="54484"/>
                    </a:lnTo>
                    <a:close/>
                    <a:moveTo>
                      <a:pt x="350349" y="92450"/>
                    </a:moveTo>
                    <a:lnTo>
                      <a:pt x="440950" y="199626"/>
                    </a:lnTo>
                    <a:lnTo>
                      <a:pt x="208540" y="388992"/>
                    </a:lnTo>
                    <a:lnTo>
                      <a:pt x="117939" y="281817"/>
                    </a:lnTo>
                    <a:lnTo>
                      <a:pt x="350349" y="92450"/>
                    </a:lnTo>
                    <a:close/>
                    <a:moveTo>
                      <a:pt x="96536" y="317736"/>
                    </a:moveTo>
                    <a:lnTo>
                      <a:pt x="167040" y="401146"/>
                    </a:lnTo>
                    <a:lnTo>
                      <a:pt x="57817" y="419691"/>
                    </a:lnTo>
                    <a:lnTo>
                      <a:pt x="96536" y="317736"/>
                    </a:lnTo>
                    <a:close/>
                  </a:path>
                </a:pathLst>
              </a:custGeom>
              <a:solidFill>
                <a:srgbClr val="0078D7"/>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grpSp>
        <p:nvGrpSpPr>
          <p:cNvPr id="99" name="Group 98">
            <a:extLst>
              <a:ext uri="{FF2B5EF4-FFF2-40B4-BE49-F238E27FC236}">
                <a16:creationId xmlns:a16="http://schemas.microsoft.com/office/drawing/2014/main" id="{B6489284-8C5F-4960-9805-2B5251C4F516}"/>
              </a:ext>
            </a:extLst>
          </p:cNvPr>
          <p:cNvGrpSpPr/>
          <p:nvPr/>
        </p:nvGrpSpPr>
        <p:grpSpPr>
          <a:xfrm>
            <a:off x="4871741" y="5610550"/>
            <a:ext cx="554708" cy="580485"/>
            <a:chOff x="3282901" y="3694355"/>
            <a:chExt cx="551942" cy="577590"/>
          </a:xfrm>
        </p:grpSpPr>
        <p:sp>
          <p:nvSpPr>
            <p:cNvPr id="100" name="Rectangle 99">
              <a:extLst>
                <a:ext uri="{FF2B5EF4-FFF2-40B4-BE49-F238E27FC236}">
                  <a16:creationId xmlns:a16="http://schemas.microsoft.com/office/drawing/2014/main" id="{9E386907-92C3-4D55-BBF1-FDC7C0E1C642}"/>
                </a:ext>
              </a:extLst>
            </p:cNvPr>
            <p:cNvSpPr/>
            <p:nvPr/>
          </p:nvSpPr>
          <p:spPr bwMode="auto">
            <a:xfrm>
              <a:off x="3349067" y="3694355"/>
              <a:ext cx="485776" cy="56197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101" name="Group 100">
              <a:extLst>
                <a:ext uri="{FF2B5EF4-FFF2-40B4-BE49-F238E27FC236}">
                  <a16:creationId xmlns:a16="http://schemas.microsoft.com/office/drawing/2014/main" id="{F8B39AE5-D680-4238-B1B3-4F8AC7DF30C3}"/>
                </a:ext>
              </a:extLst>
            </p:cNvPr>
            <p:cNvGrpSpPr>
              <a:grpSpLocks noChangeAspect="1"/>
            </p:cNvGrpSpPr>
            <p:nvPr/>
          </p:nvGrpSpPr>
          <p:grpSpPr>
            <a:xfrm>
              <a:off x="3282901" y="3716567"/>
              <a:ext cx="514399" cy="555378"/>
              <a:chOff x="557299" y="7144694"/>
              <a:chExt cx="1945239" cy="2100205"/>
            </a:xfrm>
          </p:grpSpPr>
          <p:sp>
            <p:nvSpPr>
              <p:cNvPr id="103" name="Freeform: Shape 102">
                <a:extLst>
                  <a:ext uri="{FF2B5EF4-FFF2-40B4-BE49-F238E27FC236}">
                    <a16:creationId xmlns:a16="http://schemas.microsoft.com/office/drawing/2014/main" id="{7B5EC393-BA43-4EC6-B8CB-C8293A654A9D}"/>
                  </a:ext>
                </a:extLst>
              </p:cNvPr>
              <p:cNvSpPr/>
              <p:nvPr/>
            </p:nvSpPr>
            <p:spPr>
              <a:xfrm>
                <a:off x="1277744" y="74103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0" name="Freeform: Shape 109">
                <a:extLst>
                  <a:ext uri="{FF2B5EF4-FFF2-40B4-BE49-F238E27FC236}">
                    <a16:creationId xmlns:a16="http://schemas.microsoft.com/office/drawing/2014/main" id="{DA02B892-4A4F-4935-BC55-BAF2505EDE39}"/>
                  </a:ext>
                </a:extLst>
              </p:cNvPr>
              <p:cNvSpPr/>
              <p:nvPr/>
            </p:nvSpPr>
            <p:spPr>
              <a:xfrm>
                <a:off x="1277744" y="8105334"/>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1" name="Freeform: Shape 110">
                <a:extLst>
                  <a:ext uri="{FF2B5EF4-FFF2-40B4-BE49-F238E27FC236}">
                    <a16:creationId xmlns:a16="http://schemas.microsoft.com/office/drawing/2014/main" id="{F64B0CDE-C37F-4E95-9B8A-3BBA3581C58D}"/>
                  </a:ext>
                </a:extLst>
              </p:cNvPr>
              <p:cNvSpPr/>
              <p:nvPr/>
            </p:nvSpPr>
            <p:spPr>
              <a:xfrm>
                <a:off x="1277744" y="7641986"/>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2" name="Freeform: Shape 111">
                <a:extLst>
                  <a:ext uri="{FF2B5EF4-FFF2-40B4-BE49-F238E27FC236}">
                    <a16:creationId xmlns:a16="http://schemas.microsoft.com/office/drawing/2014/main" id="{3987270A-96F2-4291-85F6-A5AADD09FCFA}"/>
                  </a:ext>
                </a:extLst>
              </p:cNvPr>
              <p:cNvSpPr/>
              <p:nvPr/>
            </p:nvSpPr>
            <p:spPr>
              <a:xfrm>
                <a:off x="1277744" y="8337007"/>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9" name="Freeform: Shape 118">
                <a:extLst>
                  <a:ext uri="{FF2B5EF4-FFF2-40B4-BE49-F238E27FC236}">
                    <a16:creationId xmlns:a16="http://schemas.microsoft.com/office/drawing/2014/main" id="{15E441B0-2CFB-457D-AEF6-54C114E54149}"/>
                  </a:ext>
                </a:extLst>
              </p:cNvPr>
              <p:cNvSpPr/>
              <p:nvPr/>
            </p:nvSpPr>
            <p:spPr>
              <a:xfrm>
                <a:off x="1277744" y="7873660"/>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20" name="Freeform: Shape 119">
                <a:extLst>
                  <a:ext uri="{FF2B5EF4-FFF2-40B4-BE49-F238E27FC236}">
                    <a16:creationId xmlns:a16="http://schemas.microsoft.com/office/drawing/2014/main" id="{B35099E0-112F-422B-B9B1-33C8B3E7E4A9}"/>
                  </a:ext>
                </a:extLst>
              </p:cNvPr>
              <p:cNvSpPr/>
              <p:nvPr/>
            </p:nvSpPr>
            <p:spPr>
              <a:xfrm>
                <a:off x="953095" y="7144694"/>
                <a:ext cx="1549443" cy="1903599"/>
              </a:xfrm>
              <a:custGeom>
                <a:avLst/>
                <a:gdLst/>
                <a:ahLst/>
                <a:cxnLst/>
                <a:rect l="0" t="0" r="0" b="0"/>
                <a:pathLst>
                  <a:path w="1000125" h="1228725">
                    <a:moveTo>
                      <a:pt x="921544" y="45244"/>
                    </a:moveTo>
                    <a:cubicBezTo>
                      <a:pt x="942556" y="45244"/>
                      <a:pt x="959644" y="62332"/>
                      <a:pt x="959644" y="83344"/>
                    </a:cubicBezTo>
                    <a:lnTo>
                      <a:pt x="959644" y="1150144"/>
                    </a:lnTo>
                    <a:cubicBezTo>
                      <a:pt x="959644" y="1171156"/>
                      <a:pt x="942556" y="1188244"/>
                      <a:pt x="921544" y="1188244"/>
                    </a:cubicBezTo>
                    <a:lnTo>
                      <a:pt x="83344" y="1188244"/>
                    </a:lnTo>
                    <a:cubicBezTo>
                      <a:pt x="62332" y="1188244"/>
                      <a:pt x="45244" y="1171156"/>
                      <a:pt x="45244" y="1150144"/>
                    </a:cubicBezTo>
                    <a:lnTo>
                      <a:pt x="45244" y="83344"/>
                    </a:lnTo>
                    <a:cubicBezTo>
                      <a:pt x="45244" y="62332"/>
                      <a:pt x="62332" y="45244"/>
                      <a:pt x="83344" y="45244"/>
                    </a:cubicBezTo>
                    <a:lnTo>
                      <a:pt x="921544" y="45244"/>
                    </a:lnTo>
                    <a:moveTo>
                      <a:pt x="921544" y="7144"/>
                    </a:moveTo>
                    <a:lnTo>
                      <a:pt x="83344" y="7144"/>
                    </a:lnTo>
                    <a:cubicBezTo>
                      <a:pt x="41262" y="7144"/>
                      <a:pt x="7144" y="41262"/>
                      <a:pt x="7144" y="83344"/>
                    </a:cubicBezTo>
                    <a:lnTo>
                      <a:pt x="7144" y="1150144"/>
                    </a:lnTo>
                    <a:cubicBezTo>
                      <a:pt x="7144" y="1192225"/>
                      <a:pt x="41262" y="1226344"/>
                      <a:pt x="83344" y="1226344"/>
                    </a:cubicBezTo>
                    <a:lnTo>
                      <a:pt x="921544" y="1226344"/>
                    </a:lnTo>
                    <a:cubicBezTo>
                      <a:pt x="963625" y="1226344"/>
                      <a:pt x="997744" y="1192225"/>
                      <a:pt x="997744" y="1150144"/>
                    </a:cubicBezTo>
                    <a:lnTo>
                      <a:pt x="997744" y="83344"/>
                    </a:lnTo>
                    <a:cubicBezTo>
                      <a:pt x="997744" y="41262"/>
                      <a:pt x="963625" y="7144"/>
                      <a:pt x="921544" y="7144"/>
                    </a:cubicBezTo>
                    <a:lnTo>
                      <a:pt x="921544" y="7144"/>
                    </a:ln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3" name="Freeform: Shape 132">
                <a:extLst>
                  <a:ext uri="{FF2B5EF4-FFF2-40B4-BE49-F238E27FC236}">
                    <a16:creationId xmlns:a16="http://schemas.microsoft.com/office/drawing/2014/main" id="{7625A9EA-D3CF-48A9-85BC-60976E8E060C}"/>
                  </a:ext>
                </a:extLst>
              </p:cNvPr>
              <p:cNvSpPr/>
              <p:nvPr/>
            </p:nvSpPr>
            <p:spPr>
              <a:xfrm>
                <a:off x="1277744" y="85752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4" name="Freeform: Shape 133">
                <a:extLst>
                  <a:ext uri="{FF2B5EF4-FFF2-40B4-BE49-F238E27FC236}">
                    <a16:creationId xmlns:a16="http://schemas.microsoft.com/office/drawing/2014/main" id="{8BD5838C-CBE8-4D8F-BE50-87C797DC47EA}"/>
                  </a:ext>
                </a:extLst>
              </p:cNvPr>
              <p:cNvSpPr/>
              <p:nvPr/>
            </p:nvSpPr>
            <p:spPr>
              <a:xfrm>
                <a:off x="1277744" y="8806885"/>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35" name="Group 134">
                <a:extLst>
                  <a:ext uri="{FF2B5EF4-FFF2-40B4-BE49-F238E27FC236}">
                    <a16:creationId xmlns:a16="http://schemas.microsoft.com/office/drawing/2014/main" id="{1273E212-255F-4924-A689-37141ACB2F97}"/>
                  </a:ext>
                </a:extLst>
              </p:cNvPr>
              <p:cNvGrpSpPr/>
              <p:nvPr/>
            </p:nvGrpSpPr>
            <p:grpSpPr>
              <a:xfrm>
                <a:off x="557299" y="8142226"/>
                <a:ext cx="1102673" cy="1102673"/>
                <a:chOff x="434465" y="8199646"/>
                <a:chExt cx="1102673" cy="1102673"/>
              </a:xfrm>
            </p:grpSpPr>
            <p:sp>
              <p:nvSpPr>
                <p:cNvPr id="136" name="Oval 135">
                  <a:extLst>
                    <a:ext uri="{FF2B5EF4-FFF2-40B4-BE49-F238E27FC236}">
                      <a16:creationId xmlns:a16="http://schemas.microsoft.com/office/drawing/2014/main" id="{57796AF3-3B7B-4B94-A1F2-ACD6537EEFA5}"/>
                    </a:ext>
                  </a:extLst>
                </p:cNvPr>
                <p:cNvSpPr/>
                <p:nvPr/>
              </p:nvSpPr>
              <p:spPr bwMode="auto">
                <a:xfrm>
                  <a:off x="434465" y="8199646"/>
                  <a:ext cx="1102673" cy="11026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pic>
              <p:nvPicPr>
                <p:cNvPr id="137" name="Graphic 136" descr="Repeat">
                  <a:extLst>
                    <a:ext uri="{FF2B5EF4-FFF2-40B4-BE49-F238E27FC236}">
                      <a16:creationId xmlns:a16="http://schemas.microsoft.com/office/drawing/2014/main" id="{FECE355C-3576-454D-A270-4EEE7DBD2A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6878" y="8222062"/>
                  <a:ext cx="1057845" cy="1057839"/>
                </a:xfrm>
                <a:prstGeom prst="rect">
                  <a:avLst/>
                </a:prstGeom>
              </p:spPr>
            </p:pic>
          </p:grpSp>
        </p:grpSp>
      </p:grpSp>
      <p:grpSp>
        <p:nvGrpSpPr>
          <p:cNvPr id="138" name="Group 137">
            <a:extLst>
              <a:ext uri="{FF2B5EF4-FFF2-40B4-BE49-F238E27FC236}">
                <a16:creationId xmlns:a16="http://schemas.microsoft.com/office/drawing/2014/main" id="{12FC6A52-9154-42FD-A49F-C75815634021}"/>
              </a:ext>
            </a:extLst>
          </p:cNvPr>
          <p:cNvGrpSpPr/>
          <p:nvPr/>
        </p:nvGrpSpPr>
        <p:grpSpPr>
          <a:xfrm>
            <a:off x="7437141" y="5610550"/>
            <a:ext cx="554708" cy="580485"/>
            <a:chOff x="3282901" y="3694355"/>
            <a:chExt cx="551942" cy="577590"/>
          </a:xfrm>
        </p:grpSpPr>
        <p:sp>
          <p:nvSpPr>
            <p:cNvPr id="139" name="Rectangle 138">
              <a:extLst>
                <a:ext uri="{FF2B5EF4-FFF2-40B4-BE49-F238E27FC236}">
                  <a16:creationId xmlns:a16="http://schemas.microsoft.com/office/drawing/2014/main" id="{19DCADFD-5894-4EC0-A8EB-600DBF52290D}"/>
                </a:ext>
              </a:extLst>
            </p:cNvPr>
            <p:cNvSpPr/>
            <p:nvPr/>
          </p:nvSpPr>
          <p:spPr bwMode="auto">
            <a:xfrm>
              <a:off x="3349067" y="3694355"/>
              <a:ext cx="485776" cy="56197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140" name="Group 139">
              <a:extLst>
                <a:ext uri="{FF2B5EF4-FFF2-40B4-BE49-F238E27FC236}">
                  <a16:creationId xmlns:a16="http://schemas.microsoft.com/office/drawing/2014/main" id="{EDB59948-C757-42C9-9BBE-10B18564C802}"/>
                </a:ext>
              </a:extLst>
            </p:cNvPr>
            <p:cNvGrpSpPr>
              <a:grpSpLocks noChangeAspect="1"/>
            </p:cNvGrpSpPr>
            <p:nvPr/>
          </p:nvGrpSpPr>
          <p:grpSpPr>
            <a:xfrm>
              <a:off x="3282901" y="3716567"/>
              <a:ext cx="514399" cy="555378"/>
              <a:chOff x="557299" y="7144694"/>
              <a:chExt cx="1945239" cy="2100205"/>
            </a:xfrm>
          </p:grpSpPr>
          <p:sp>
            <p:nvSpPr>
              <p:cNvPr id="141" name="Freeform: Shape 140">
                <a:extLst>
                  <a:ext uri="{FF2B5EF4-FFF2-40B4-BE49-F238E27FC236}">
                    <a16:creationId xmlns:a16="http://schemas.microsoft.com/office/drawing/2014/main" id="{90319E9B-5277-446F-B334-0E20176C3D01}"/>
                  </a:ext>
                </a:extLst>
              </p:cNvPr>
              <p:cNvSpPr/>
              <p:nvPr/>
            </p:nvSpPr>
            <p:spPr>
              <a:xfrm>
                <a:off x="1277744" y="74103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2" name="Freeform: Shape 141">
                <a:extLst>
                  <a:ext uri="{FF2B5EF4-FFF2-40B4-BE49-F238E27FC236}">
                    <a16:creationId xmlns:a16="http://schemas.microsoft.com/office/drawing/2014/main" id="{8D70A392-B02E-4553-8914-A3902F760839}"/>
                  </a:ext>
                </a:extLst>
              </p:cNvPr>
              <p:cNvSpPr/>
              <p:nvPr/>
            </p:nvSpPr>
            <p:spPr>
              <a:xfrm>
                <a:off x="1277744" y="8105334"/>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3" name="Freeform: Shape 142">
                <a:extLst>
                  <a:ext uri="{FF2B5EF4-FFF2-40B4-BE49-F238E27FC236}">
                    <a16:creationId xmlns:a16="http://schemas.microsoft.com/office/drawing/2014/main" id="{B5F2580C-B3C7-40B1-A96F-145CB210F97D}"/>
                  </a:ext>
                </a:extLst>
              </p:cNvPr>
              <p:cNvSpPr/>
              <p:nvPr/>
            </p:nvSpPr>
            <p:spPr>
              <a:xfrm>
                <a:off x="1277744" y="7641986"/>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4" name="Freeform: Shape 143">
                <a:extLst>
                  <a:ext uri="{FF2B5EF4-FFF2-40B4-BE49-F238E27FC236}">
                    <a16:creationId xmlns:a16="http://schemas.microsoft.com/office/drawing/2014/main" id="{FB77D8C7-52E4-42AF-A222-C7548729EE9A}"/>
                  </a:ext>
                </a:extLst>
              </p:cNvPr>
              <p:cNvSpPr/>
              <p:nvPr/>
            </p:nvSpPr>
            <p:spPr>
              <a:xfrm>
                <a:off x="1277744" y="8337007"/>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5" name="Freeform: Shape 144">
                <a:extLst>
                  <a:ext uri="{FF2B5EF4-FFF2-40B4-BE49-F238E27FC236}">
                    <a16:creationId xmlns:a16="http://schemas.microsoft.com/office/drawing/2014/main" id="{F3882251-4712-46C4-AFA1-1AE55D3987B8}"/>
                  </a:ext>
                </a:extLst>
              </p:cNvPr>
              <p:cNvSpPr/>
              <p:nvPr/>
            </p:nvSpPr>
            <p:spPr>
              <a:xfrm>
                <a:off x="1277744" y="7873660"/>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58" name="Freeform: Shape 157">
                <a:extLst>
                  <a:ext uri="{FF2B5EF4-FFF2-40B4-BE49-F238E27FC236}">
                    <a16:creationId xmlns:a16="http://schemas.microsoft.com/office/drawing/2014/main" id="{3394757F-160B-4C9B-A7E2-3632BC165A87}"/>
                  </a:ext>
                </a:extLst>
              </p:cNvPr>
              <p:cNvSpPr/>
              <p:nvPr/>
            </p:nvSpPr>
            <p:spPr>
              <a:xfrm>
                <a:off x="953095" y="7144694"/>
                <a:ext cx="1549443" cy="1903599"/>
              </a:xfrm>
              <a:custGeom>
                <a:avLst/>
                <a:gdLst/>
                <a:ahLst/>
                <a:cxnLst/>
                <a:rect l="0" t="0" r="0" b="0"/>
                <a:pathLst>
                  <a:path w="1000125" h="1228725">
                    <a:moveTo>
                      <a:pt x="921544" y="45244"/>
                    </a:moveTo>
                    <a:cubicBezTo>
                      <a:pt x="942556" y="45244"/>
                      <a:pt x="959644" y="62332"/>
                      <a:pt x="959644" y="83344"/>
                    </a:cubicBezTo>
                    <a:lnTo>
                      <a:pt x="959644" y="1150144"/>
                    </a:lnTo>
                    <a:cubicBezTo>
                      <a:pt x="959644" y="1171156"/>
                      <a:pt x="942556" y="1188244"/>
                      <a:pt x="921544" y="1188244"/>
                    </a:cubicBezTo>
                    <a:lnTo>
                      <a:pt x="83344" y="1188244"/>
                    </a:lnTo>
                    <a:cubicBezTo>
                      <a:pt x="62332" y="1188244"/>
                      <a:pt x="45244" y="1171156"/>
                      <a:pt x="45244" y="1150144"/>
                    </a:cubicBezTo>
                    <a:lnTo>
                      <a:pt x="45244" y="83344"/>
                    </a:lnTo>
                    <a:cubicBezTo>
                      <a:pt x="45244" y="62332"/>
                      <a:pt x="62332" y="45244"/>
                      <a:pt x="83344" y="45244"/>
                    </a:cubicBezTo>
                    <a:lnTo>
                      <a:pt x="921544" y="45244"/>
                    </a:lnTo>
                    <a:moveTo>
                      <a:pt x="921544" y="7144"/>
                    </a:moveTo>
                    <a:lnTo>
                      <a:pt x="83344" y="7144"/>
                    </a:lnTo>
                    <a:cubicBezTo>
                      <a:pt x="41262" y="7144"/>
                      <a:pt x="7144" y="41262"/>
                      <a:pt x="7144" y="83344"/>
                    </a:cubicBezTo>
                    <a:lnTo>
                      <a:pt x="7144" y="1150144"/>
                    </a:lnTo>
                    <a:cubicBezTo>
                      <a:pt x="7144" y="1192225"/>
                      <a:pt x="41262" y="1226344"/>
                      <a:pt x="83344" y="1226344"/>
                    </a:cubicBezTo>
                    <a:lnTo>
                      <a:pt x="921544" y="1226344"/>
                    </a:lnTo>
                    <a:cubicBezTo>
                      <a:pt x="963625" y="1226344"/>
                      <a:pt x="997744" y="1192225"/>
                      <a:pt x="997744" y="1150144"/>
                    </a:cubicBezTo>
                    <a:lnTo>
                      <a:pt x="997744" y="83344"/>
                    </a:lnTo>
                    <a:cubicBezTo>
                      <a:pt x="997744" y="41262"/>
                      <a:pt x="963625" y="7144"/>
                      <a:pt x="921544" y="7144"/>
                    </a:cubicBezTo>
                    <a:lnTo>
                      <a:pt x="921544" y="7144"/>
                    </a:ln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93849159-B66C-4D12-9B82-08D425E82E0F}"/>
                  </a:ext>
                </a:extLst>
              </p:cNvPr>
              <p:cNvSpPr/>
              <p:nvPr/>
            </p:nvSpPr>
            <p:spPr>
              <a:xfrm>
                <a:off x="1277744" y="85752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B5D9AF6D-AD3B-48AA-9E0E-9B3BA15AC3DB}"/>
                  </a:ext>
                </a:extLst>
              </p:cNvPr>
              <p:cNvSpPr/>
              <p:nvPr/>
            </p:nvSpPr>
            <p:spPr>
              <a:xfrm>
                <a:off x="1277744" y="8806885"/>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62" name="Group 161">
                <a:extLst>
                  <a:ext uri="{FF2B5EF4-FFF2-40B4-BE49-F238E27FC236}">
                    <a16:creationId xmlns:a16="http://schemas.microsoft.com/office/drawing/2014/main" id="{137EF6C1-370A-47B1-AF74-522EDB5C43C2}"/>
                  </a:ext>
                </a:extLst>
              </p:cNvPr>
              <p:cNvGrpSpPr/>
              <p:nvPr/>
            </p:nvGrpSpPr>
            <p:grpSpPr>
              <a:xfrm>
                <a:off x="557299" y="8142226"/>
                <a:ext cx="1102673" cy="1102673"/>
                <a:chOff x="434465" y="8199646"/>
                <a:chExt cx="1102673" cy="1102673"/>
              </a:xfrm>
            </p:grpSpPr>
            <p:sp>
              <p:nvSpPr>
                <p:cNvPr id="163" name="Oval 162">
                  <a:extLst>
                    <a:ext uri="{FF2B5EF4-FFF2-40B4-BE49-F238E27FC236}">
                      <a16:creationId xmlns:a16="http://schemas.microsoft.com/office/drawing/2014/main" id="{0B2328F0-D433-45EE-A7A0-DDAAB8333E22}"/>
                    </a:ext>
                  </a:extLst>
                </p:cNvPr>
                <p:cNvSpPr/>
                <p:nvPr/>
              </p:nvSpPr>
              <p:spPr bwMode="auto">
                <a:xfrm>
                  <a:off x="434465" y="8199646"/>
                  <a:ext cx="1102673" cy="11026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pic>
              <p:nvPicPr>
                <p:cNvPr id="164" name="Graphic 163" descr="Repeat">
                  <a:extLst>
                    <a:ext uri="{FF2B5EF4-FFF2-40B4-BE49-F238E27FC236}">
                      <a16:creationId xmlns:a16="http://schemas.microsoft.com/office/drawing/2014/main" id="{BE4718CA-BD3E-43DF-BB65-45AC983C8A7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6878" y="8222062"/>
                  <a:ext cx="1057845" cy="1057839"/>
                </a:xfrm>
                <a:prstGeom prst="rect">
                  <a:avLst/>
                </a:prstGeom>
              </p:spPr>
            </p:pic>
          </p:grpSp>
        </p:grpSp>
      </p:grpSp>
      <p:grpSp>
        <p:nvGrpSpPr>
          <p:cNvPr id="165" name="Group 164">
            <a:extLst>
              <a:ext uri="{FF2B5EF4-FFF2-40B4-BE49-F238E27FC236}">
                <a16:creationId xmlns:a16="http://schemas.microsoft.com/office/drawing/2014/main" id="{C0CEFF47-DEF6-4874-B4C0-4AAE4428A422}"/>
              </a:ext>
            </a:extLst>
          </p:cNvPr>
          <p:cNvGrpSpPr/>
          <p:nvPr/>
        </p:nvGrpSpPr>
        <p:grpSpPr>
          <a:xfrm>
            <a:off x="4576783" y="2639578"/>
            <a:ext cx="388878" cy="419858"/>
            <a:chOff x="3282901" y="3716567"/>
            <a:chExt cx="514399" cy="555378"/>
          </a:xfrm>
        </p:grpSpPr>
        <p:sp>
          <p:nvSpPr>
            <p:cNvPr id="166" name="Rectangle: Rounded Corners 165">
              <a:extLst>
                <a:ext uri="{FF2B5EF4-FFF2-40B4-BE49-F238E27FC236}">
                  <a16:creationId xmlns:a16="http://schemas.microsoft.com/office/drawing/2014/main" id="{2F922822-82AB-47E9-99BA-532EEFE0D9D3}"/>
                </a:ext>
              </a:extLst>
            </p:cNvPr>
            <p:cNvSpPr/>
            <p:nvPr/>
          </p:nvSpPr>
          <p:spPr bwMode="auto">
            <a:xfrm>
              <a:off x="3395963" y="3727649"/>
              <a:ext cx="391987" cy="495387"/>
            </a:xfrm>
            <a:prstGeom prst="roundRect">
              <a:avLst>
                <a:gd name="adj" fmla="val 638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167" name="Group 166">
              <a:extLst>
                <a:ext uri="{FF2B5EF4-FFF2-40B4-BE49-F238E27FC236}">
                  <a16:creationId xmlns:a16="http://schemas.microsoft.com/office/drawing/2014/main" id="{B1BCA29D-A481-4585-87E8-2D93266A1E73}"/>
                </a:ext>
              </a:extLst>
            </p:cNvPr>
            <p:cNvGrpSpPr>
              <a:grpSpLocks noChangeAspect="1"/>
            </p:cNvGrpSpPr>
            <p:nvPr/>
          </p:nvGrpSpPr>
          <p:grpSpPr>
            <a:xfrm>
              <a:off x="3282901" y="3716567"/>
              <a:ext cx="514399" cy="555378"/>
              <a:chOff x="557299" y="7144694"/>
              <a:chExt cx="1945239" cy="2100205"/>
            </a:xfrm>
          </p:grpSpPr>
          <p:sp>
            <p:nvSpPr>
              <p:cNvPr id="168" name="Freeform: Shape 167">
                <a:extLst>
                  <a:ext uri="{FF2B5EF4-FFF2-40B4-BE49-F238E27FC236}">
                    <a16:creationId xmlns:a16="http://schemas.microsoft.com/office/drawing/2014/main" id="{32CE501B-0DAC-4F88-B8FE-B24C9F9C7CD8}"/>
                  </a:ext>
                </a:extLst>
              </p:cNvPr>
              <p:cNvSpPr/>
              <p:nvPr/>
            </p:nvSpPr>
            <p:spPr>
              <a:xfrm>
                <a:off x="1277744" y="74103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9" name="Freeform: Shape 168">
                <a:extLst>
                  <a:ext uri="{FF2B5EF4-FFF2-40B4-BE49-F238E27FC236}">
                    <a16:creationId xmlns:a16="http://schemas.microsoft.com/office/drawing/2014/main" id="{738EBA98-47B3-46F8-B61F-BB032F4265EE}"/>
                  </a:ext>
                </a:extLst>
              </p:cNvPr>
              <p:cNvSpPr/>
              <p:nvPr/>
            </p:nvSpPr>
            <p:spPr>
              <a:xfrm>
                <a:off x="1277744" y="8105334"/>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3" name="Freeform: Shape 172">
                <a:extLst>
                  <a:ext uri="{FF2B5EF4-FFF2-40B4-BE49-F238E27FC236}">
                    <a16:creationId xmlns:a16="http://schemas.microsoft.com/office/drawing/2014/main" id="{63D2B5A4-74FA-42B1-AB63-1A4B15981569}"/>
                  </a:ext>
                </a:extLst>
              </p:cNvPr>
              <p:cNvSpPr/>
              <p:nvPr/>
            </p:nvSpPr>
            <p:spPr>
              <a:xfrm>
                <a:off x="1277744" y="7641986"/>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4" name="Freeform: Shape 173">
                <a:extLst>
                  <a:ext uri="{FF2B5EF4-FFF2-40B4-BE49-F238E27FC236}">
                    <a16:creationId xmlns:a16="http://schemas.microsoft.com/office/drawing/2014/main" id="{D83ADFB7-9297-49F1-B981-E73523B38243}"/>
                  </a:ext>
                </a:extLst>
              </p:cNvPr>
              <p:cNvSpPr/>
              <p:nvPr/>
            </p:nvSpPr>
            <p:spPr>
              <a:xfrm>
                <a:off x="1277744" y="8337007"/>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6" name="Freeform: Shape 175">
                <a:extLst>
                  <a:ext uri="{FF2B5EF4-FFF2-40B4-BE49-F238E27FC236}">
                    <a16:creationId xmlns:a16="http://schemas.microsoft.com/office/drawing/2014/main" id="{DC5B41EC-6E7B-4C42-A7CC-E383DE70DAC8}"/>
                  </a:ext>
                </a:extLst>
              </p:cNvPr>
              <p:cNvSpPr/>
              <p:nvPr/>
            </p:nvSpPr>
            <p:spPr>
              <a:xfrm>
                <a:off x="1277744" y="7873660"/>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9" name="Freeform: Shape 178">
                <a:extLst>
                  <a:ext uri="{FF2B5EF4-FFF2-40B4-BE49-F238E27FC236}">
                    <a16:creationId xmlns:a16="http://schemas.microsoft.com/office/drawing/2014/main" id="{6BC90E6F-B36A-42E5-8B61-A148FCC49BA7}"/>
                  </a:ext>
                </a:extLst>
              </p:cNvPr>
              <p:cNvSpPr/>
              <p:nvPr/>
            </p:nvSpPr>
            <p:spPr>
              <a:xfrm>
                <a:off x="953095" y="7144694"/>
                <a:ext cx="1549443" cy="1903599"/>
              </a:xfrm>
              <a:custGeom>
                <a:avLst/>
                <a:gdLst/>
                <a:ahLst/>
                <a:cxnLst/>
                <a:rect l="0" t="0" r="0" b="0"/>
                <a:pathLst>
                  <a:path w="1000125" h="1228725">
                    <a:moveTo>
                      <a:pt x="921544" y="45244"/>
                    </a:moveTo>
                    <a:cubicBezTo>
                      <a:pt x="942556" y="45244"/>
                      <a:pt x="959644" y="62332"/>
                      <a:pt x="959644" y="83344"/>
                    </a:cubicBezTo>
                    <a:lnTo>
                      <a:pt x="959644" y="1150144"/>
                    </a:lnTo>
                    <a:cubicBezTo>
                      <a:pt x="959644" y="1171156"/>
                      <a:pt x="942556" y="1188244"/>
                      <a:pt x="921544" y="1188244"/>
                    </a:cubicBezTo>
                    <a:lnTo>
                      <a:pt x="83344" y="1188244"/>
                    </a:lnTo>
                    <a:cubicBezTo>
                      <a:pt x="62332" y="1188244"/>
                      <a:pt x="45244" y="1171156"/>
                      <a:pt x="45244" y="1150144"/>
                    </a:cubicBezTo>
                    <a:lnTo>
                      <a:pt x="45244" y="83344"/>
                    </a:lnTo>
                    <a:cubicBezTo>
                      <a:pt x="45244" y="62332"/>
                      <a:pt x="62332" y="45244"/>
                      <a:pt x="83344" y="45244"/>
                    </a:cubicBezTo>
                    <a:lnTo>
                      <a:pt x="921544" y="45244"/>
                    </a:lnTo>
                    <a:moveTo>
                      <a:pt x="921544" y="7144"/>
                    </a:moveTo>
                    <a:lnTo>
                      <a:pt x="83344" y="7144"/>
                    </a:lnTo>
                    <a:cubicBezTo>
                      <a:pt x="41262" y="7144"/>
                      <a:pt x="7144" y="41262"/>
                      <a:pt x="7144" y="83344"/>
                    </a:cubicBezTo>
                    <a:lnTo>
                      <a:pt x="7144" y="1150144"/>
                    </a:lnTo>
                    <a:cubicBezTo>
                      <a:pt x="7144" y="1192225"/>
                      <a:pt x="41262" y="1226344"/>
                      <a:pt x="83344" y="1226344"/>
                    </a:cubicBezTo>
                    <a:lnTo>
                      <a:pt x="921544" y="1226344"/>
                    </a:lnTo>
                    <a:cubicBezTo>
                      <a:pt x="963625" y="1226344"/>
                      <a:pt x="997744" y="1192225"/>
                      <a:pt x="997744" y="1150144"/>
                    </a:cubicBezTo>
                    <a:lnTo>
                      <a:pt x="997744" y="83344"/>
                    </a:lnTo>
                    <a:cubicBezTo>
                      <a:pt x="997744" y="41262"/>
                      <a:pt x="963625" y="7144"/>
                      <a:pt x="921544" y="7144"/>
                    </a:cubicBezTo>
                    <a:lnTo>
                      <a:pt x="921544" y="7144"/>
                    </a:ln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0" name="Freeform: Shape 179">
                <a:extLst>
                  <a:ext uri="{FF2B5EF4-FFF2-40B4-BE49-F238E27FC236}">
                    <a16:creationId xmlns:a16="http://schemas.microsoft.com/office/drawing/2014/main" id="{EE0AE135-745D-4143-A7BF-6F7BE1D910FB}"/>
                  </a:ext>
                </a:extLst>
              </p:cNvPr>
              <p:cNvSpPr/>
              <p:nvPr/>
            </p:nvSpPr>
            <p:spPr>
              <a:xfrm>
                <a:off x="1277744" y="85752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2" name="Freeform: Shape 181">
                <a:extLst>
                  <a:ext uri="{FF2B5EF4-FFF2-40B4-BE49-F238E27FC236}">
                    <a16:creationId xmlns:a16="http://schemas.microsoft.com/office/drawing/2014/main" id="{1A4C1E0D-93FF-40C1-815B-9FCCA526F397}"/>
                  </a:ext>
                </a:extLst>
              </p:cNvPr>
              <p:cNvSpPr/>
              <p:nvPr/>
            </p:nvSpPr>
            <p:spPr>
              <a:xfrm>
                <a:off x="1277744" y="8806885"/>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83" name="Group 182">
                <a:extLst>
                  <a:ext uri="{FF2B5EF4-FFF2-40B4-BE49-F238E27FC236}">
                    <a16:creationId xmlns:a16="http://schemas.microsoft.com/office/drawing/2014/main" id="{D1906632-620E-48D1-9C33-D6034841AE59}"/>
                  </a:ext>
                </a:extLst>
              </p:cNvPr>
              <p:cNvGrpSpPr/>
              <p:nvPr/>
            </p:nvGrpSpPr>
            <p:grpSpPr>
              <a:xfrm>
                <a:off x="557299" y="8142226"/>
                <a:ext cx="1102673" cy="1102673"/>
                <a:chOff x="434465" y="8199646"/>
                <a:chExt cx="1102673" cy="1102673"/>
              </a:xfrm>
            </p:grpSpPr>
            <p:sp>
              <p:nvSpPr>
                <p:cNvPr id="184" name="Oval 183">
                  <a:extLst>
                    <a:ext uri="{FF2B5EF4-FFF2-40B4-BE49-F238E27FC236}">
                      <a16:creationId xmlns:a16="http://schemas.microsoft.com/office/drawing/2014/main" id="{C28531F4-4DF0-415A-8C0D-A07F1A5A68D2}"/>
                    </a:ext>
                  </a:extLst>
                </p:cNvPr>
                <p:cNvSpPr/>
                <p:nvPr/>
              </p:nvSpPr>
              <p:spPr bwMode="auto">
                <a:xfrm>
                  <a:off x="434465" y="8199646"/>
                  <a:ext cx="1102673" cy="11026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pic>
              <p:nvPicPr>
                <p:cNvPr id="185" name="Graphic 184" descr="Repeat">
                  <a:extLst>
                    <a:ext uri="{FF2B5EF4-FFF2-40B4-BE49-F238E27FC236}">
                      <a16:creationId xmlns:a16="http://schemas.microsoft.com/office/drawing/2014/main" id="{7CEC0F66-F6DB-4CE2-803C-4D4EC7A5A61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6878" y="8222062"/>
                  <a:ext cx="1057845" cy="1057839"/>
                </a:xfrm>
                <a:prstGeom prst="rect">
                  <a:avLst/>
                </a:prstGeom>
              </p:spPr>
            </p:pic>
          </p:grpSp>
        </p:grpSp>
      </p:grpSp>
      <p:grpSp>
        <p:nvGrpSpPr>
          <p:cNvPr id="203" name="Group 202">
            <a:extLst>
              <a:ext uri="{FF2B5EF4-FFF2-40B4-BE49-F238E27FC236}">
                <a16:creationId xmlns:a16="http://schemas.microsoft.com/office/drawing/2014/main" id="{339E7ABD-F1D4-4F4B-AD50-0FFE4F9AEA28}"/>
              </a:ext>
            </a:extLst>
          </p:cNvPr>
          <p:cNvGrpSpPr/>
          <p:nvPr/>
        </p:nvGrpSpPr>
        <p:grpSpPr>
          <a:xfrm>
            <a:off x="7592895" y="2601478"/>
            <a:ext cx="388878" cy="419858"/>
            <a:chOff x="3282901" y="3716567"/>
            <a:chExt cx="514399" cy="555378"/>
          </a:xfrm>
        </p:grpSpPr>
        <p:sp>
          <p:nvSpPr>
            <p:cNvPr id="204" name="Rectangle: Rounded Corners 203">
              <a:extLst>
                <a:ext uri="{FF2B5EF4-FFF2-40B4-BE49-F238E27FC236}">
                  <a16:creationId xmlns:a16="http://schemas.microsoft.com/office/drawing/2014/main" id="{21746C35-31C5-4866-887D-7C092AABA042}"/>
                </a:ext>
              </a:extLst>
            </p:cNvPr>
            <p:cNvSpPr/>
            <p:nvPr/>
          </p:nvSpPr>
          <p:spPr bwMode="auto">
            <a:xfrm>
              <a:off x="3392468" y="3725129"/>
              <a:ext cx="398976" cy="486337"/>
            </a:xfrm>
            <a:prstGeom prst="roundRect">
              <a:avLst>
                <a:gd name="adj" fmla="val 629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205" name="Group 204">
              <a:extLst>
                <a:ext uri="{FF2B5EF4-FFF2-40B4-BE49-F238E27FC236}">
                  <a16:creationId xmlns:a16="http://schemas.microsoft.com/office/drawing/2014/main" id="{29B04EF4-11DC-4857-9BE4-89AB26D1E76D}"/>
                </a:ext>
              </a:extLst>
            </p:cNvPr>
            <p:cNvGrpSpPr>
              <a:grpSpLocks noChangeAspect="1"/>
            </p:cNvGrpSpPr>
            <p:nvPr/>
          </p:nvGrpSpPr>
          <p:grpSpPr>
            <a:xfrm>
              <a:off x="3282901" y="3716567"/>
              <a:ext cx="514399" cy="555378"/>
              <a:chOff x="557299" y="7144694"/>
              <a:chExt cx="1945239" cy="2100205"/>
            </a:xfrm>
          </p:grpSpPr>
          <p:sp>
            <p:nvSpPr>
              <p:cNvPr id="206" name="Freeform: Shape 205">
                <a:extLst>
                  <a:ext uri="{FF2B5EF4-FFF2-40B4-BE49-F238E27FC236}">
                    <a16:creationId xmlns:a16="http://schemas.microsoft.com/office/drawing/2014/main" id="{D03C18C3-2839-417D-9708-692ECA6AD977}"/>
                  </a:ext>
                </a:extLst>
              </p:cNvPr>
              <p:cNvSpPr/>
              <p:nvPr/>
            </p:nvSpPr>
            <p:spPr>
              <a:xfrm>
                <a:off x="1277744" y="74103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7" name="Freeform: Shape 206">
                <a:extLst>
                  <a:ext uri="{FF2B5EF4-FFF2-40B4-BE49-F238E27FC236}">
                    <a16:creationId xmlns:a16="http://schemas.microsoft.com/office/drawing/2014/main" id="{C364C1C9-EFD6-41DC-84FA-F23268B83119}"/>
                  </a:ext>
                </a:extLst>
              </p:cNvPr>
              <p:cNvSpPr/>
              <p:nvPr/>
            </p:nvSpPr>
            <p:spPr>
              <a:xfrm>
                <a:off x="1277744" y="8105334"/>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8" name="Freeform: Shape 207">
                <a:extLst>
                  <a:ext uri="{FF2B5EF4-FFF2-40B4-BE49-F238E27FC236}">
                    <a16:creationId xmlns:a16="http://schemas.microsoft.com/office/drawing/2014/main" id="{937ADCC0-E30E-4888-82DC-EE4EA28B672F}"/>
                  </a:ext>
                </a:extLst>
              </p:cNvPr>
              <p:cNvSpPr/>
              <p:nvPr/>
            </p:nvSpPr>
            <p:spPr>
              <a:xfrm>
                <a:off x="1277744" y="7641986"/>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9" name="Freeform: Shape 208">
                <a:extLst>
                  <a:ext uri="{FF2B5EF4-FFF2-40B4-BE49-F238E27FC236}">
                    <a16:creationId xmlns:a16="http://schemas.microsoft.com/office/drawing/2014/main" id="{FBE0CBAA-77E5-46B2-B3DF-6CDF6238D125}"/>
                  </a:ext>
                </a:extLst>
              </p:cNvPr>
              <p:cNvSpPr/>
              <p:nvPr/>
            </p:nvSpPr>
            <p:spPr>
              <a:xfrm>
                <a:off x="1277744" y="8337007"/>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0" name="Freeform: Shape 209">
                <a:extLst>
                  <a:ext uri="{FF2B5EF4-FFF2-40B4-BE49-F238E27FC236}">
                    <a16:creationId xmlns:a16="http://schemas.microsoft.com/office/drawing/2014/main" id="{C4FB1FF9-7058-4795-B048-1573D0119C63}"/>
                  </a:ext>
                </a:extLst>
              </p:cNvPr>
              <p:cNvSpPr/>
              <p:nvPr/>
            </p:nvSpPr>
            <p:spPr>
              <a:xfrm>
                <a:off x="1277744" y="7873660"/>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1" name="Freeform: Shape 210">
                <a:extLst>
                  <a:ext uri="{FF2B5EF4-FFF2-40B4-BE49-F238E27FC236}">
                    <a16:creationId xmlns:a16="http://schemas.microsoft.com/office/drawing/2014/main" id="{1F96EE7E-F99C-453C-B6B5-8039E942BC0B}"/>
                  </a:ext>
                </a:extLst>
              </p:cNvPr>
              <p:cNvSpPr/>
              <p:nvPr/>
            </p:nvSpPr>
            <p:spPr>
              <a:xfrm>
                <a:off x="953095" y="7144694"/>
                <a:ext cx="1549443" cy="1903599"/>
              </a:xfrm>
              <a:custGeom>
                <a:avLst/>
                <a:gdLst/>
                <a:ahLst/>
                <a:cxnLst/>
                <a:rect l="0" t="0" r="0" b="0"/>
                <a:pathLst>
                  <a:path w="1000125" h="1228725">
                    <a:moveTo>
                      <a:pt x="921544" y="45244"/>
                    </a:moveTo>
                    <a:cubicBezTo>
                      <a:pt x="942556" y="45244"/>
                      <a:pt x="959644" y="62332"/>
                      <a:pt x="959644" y="83344"/>
                    </a:cubicBezTo>
                    <a:lnTo>
                      <a:pt x="959644" y="1150144"/>
                    </a:lnTo>
                    <a:cubicBezTo>
                      <a:pt x="959644" y="1171156"/>
                      <a:pt x="942556" y="1188244"/>
                      <a:pt x="921544" y="1188244"/>
                    </a:cubicBezTo>
                    <a:lnTo>
                      <a:pt x="83344" y="1188244"/>
                    </a:lnTo>
                    <a:cubicBezTo>
                      <a:pt x="62332" y="1188244"/>
                      <a:pt x="45244" y="1171156"/>
                      <a:pt x="45244" y="1150144"/>
                    </a:cubicBezTo>
                    <a:lnTo>
                      <a:pt x="45244" y="83344"/>
                    </a:lnTo>
                    <a:cubicBezTo>
                      <a:pt x="45244" y="62332"/>
                      <a:pt x="62332" y="45244"/>
                      <a:pt x="83344" y="45244"/>
                    </a:cubicBezTo>
                    <a:lnTo>
                      <a:pt x="921544" y="45244"/>
                    </a:lnTo>
                    <a:moveTo>
                      <a:pt x="921544" y="7144"/>
                    </a:moveTo>
                    <a:lnTo>
                      <a:pt x="83344" y="7144"/>
                    </a:lnTo>
                    <a:cubicBezTo>
                      <a:pt x="41262" y="7144"/>
                      <a:pt x="7144" y="41262"/>
                      <a:pt x="7144" y="83344"/>
                    </a:cubicBezTo>
                    <a:lnTo>
                      <a:pt x="7144" y="1150144"/>
                    </a:lnTo>
                    <a:cubicBezTo>
                      <a:pt x="7144" y="1192225"/>
                      <a:pt x="41262" y="1226344"/>
                      <a:pt x="83344" y="1226344"/>
                    </a:cubicBezTo>
                    <a:lnTo>
                      <a:pt x="921544" y="1226344"/>
                    </a:lnTo>
                    <a:cubicBezTo>
                      <a:pt x="963625" y="1226344"/>
                      <a:pt x="997744" y="1192225"/>
                      <a:pt x="997744" y="1150144"/>
                    </a:cubicBezTo>
                    <a:lnTo>
                      <a:pt x="997744" y="83344"/>
                    </a:lnTo>
                    <a:cubicBezTo>
                      <a:pt x="997744" y="41262"/>
                      <a:pt x="963625" y="7144"/>
                      <a:pt x="921544" y="7144"/>
                    </a:cubicBezTo>
                    <a:lnTo>
                      <a:pt x="921544" y="7144"/>
                    </a:ln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2" name="Freeform: Shape 211">
                <a:extLst>
                  <a:ext uri="{FF2B5EF4-FFF2-40B4-BE49-F238E27FC236}">
                    <a16:creationId xmlns:a16="http://schemas.microsoft.com/office/drawing/2014/main" id="{9CCFD8D0-AA5D-4C1C-9893-D4816A0B2DED}"/>
                  </a:ext>
                </a:extLst>
              </p:cNvPr>
              <p:cNvSpPr/>
              <p:nvPr/>
            </p:nvSpPr>
            <p:spPr>
              <a:xfrm>
                <a:off x="1277744" y="85752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3" name="Freeform: Shape 212">
                <a:extLst>
                  <a:ext uri="{FF2B5EF4-FFF2-40B4-BE49-F238E27FC236}">
                    <a16:creationId xmlns:a16="http://schemas.microsoft.com/office/drawing/2014/main" id="{940D8481-992C-4029-8CC6-9E0ED15EEC46}"/>
                  </a:ext>
                </a:extLst>
              </p:cNvPr>
              <p:cNvSpPr/>
              <p:nvPr/>
            </p:nvSpPr>
            <p:spPr>
              <a:xfrm>
                <a:off x="1277744" y="8806885"/>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214" name="Group 213">
                <a:extLst>
                  <a:ext uri="{FF2B5EF4-FFF2-40B4-BE49-F238E27FC236}">
                    <a16:creationId xmlns:a16="http://schemas.microsoft.com/office/drawing/2014/main" id="{72050560-B48D-4D31-92AB-45EBC87C0C32}"/>
                  </a:ext>
                </a:extLst>
              </p:cNvPr>
              <p:cNvGrpSpPr/>
              <p:nvPr/>
            </p:nvGrpSpPr>
            <p:grpSpPr>
              <a:xfrm>
                <a:off x="557299" y="8142226"/>
                <a:ext cx="1102673" cy="1102673"/>
                <a:chOff x="434465" y="8199646"/>
                <a:chExt cx="1102673" cy="1102673"/>
              </a:xfrm>
            </p:grpSpPr>
            <p:sp>
              <p:nvSpPr>
                <p:cNvPr id="215" name="Oval 214">
                  <a:extLst>
                    <a:ext uri="{FF2B5EF4-FFF2-40B4-BE49-F238E27FC236}">
                      <a16:creationId xmlns:a16="http://schemas.microsoft.com/office/drawing/2014/main" id="{3AF12C91-ECE3-4398-A3F2-CD84038C3674}"/>
                    </a:ext>
                  </a:extLst>
                </p:cNvPr>
                <p:cNvSpPr/>
                <p:nvPr/>
              </p:nvSpPr>
              <p:spPr bwMode="auto">
                <a:xfrm>
                  <a:off x="434465" y="8199646"/>
                  <a:ext cx="1102673" cy="11026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pic>
              <p:nvPicPr>
                <p:cNvPr id="216" name="Graphic 215" descr="Repeat">
                  <a:extLst>
                    <a:ext uri="{FF2B5EF4-FFF2-40B4-BE49-F238E27FC236}">
                      <a16:creationId xmlns:a16="http://schemas.microsoft.com/office/drawing/2014/main" id="{9C69F870-B456-4C3A-BF0D-0E45CC90C1F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6878" y="8222062"/>
                  <a:ext cx="1057845" cy="1057839"/>
                </a:xfrm>
                <a:prstGeom prst="rect">
                  <a:avLst/>
                </a:prstGeom>
              </p:spPr>
            </p:pic>
          </p:grpSp>
        </p:grpSp>
      </p:grpSp>
      <p:grpSp>
        <p:nvGrpSpPr>
          <p:cNvPr id="16" name="Group 15">
            <a:extLst>
              <a:ext uri="{FF2B5EF4-FFF2-40B4-BE49-F238E27FC236}">
                <a16:creationId xmlns:a16="http://schemas.microsoft.com/office/drawing/2014/main" id="{E97216BA-A017-492F-874D-84F38A401A28}"/>
              </a:ext>
            </a:extLst>
          </p:cNvPr>
          <p:cNvGrpSpPr/>
          <p:nvPr/>
        </p:nvGrpSpPr>
        <p:grpSpPr>
          <a:xfrm>
            <a:off x="2326863" y="3691672"/>
            <a:ext cx="715138" cy="485741"/>
            <a:chOff x="2470640" y="3663278"/>
            <a:chExt cx="715138" cy="485741"/>
          </a:xfrm>
        </p:grpSpPr>
        <p:sp>
          <p:nvSpPr>
            <p:cNvPr id="12" name="Oval 11">
              <a:extLst>
                <a:ext uri="{FF2B5EF4-FFF2-40B4-BE49-F238E27FC236}">
                  <a16:creationId xmlns:a16="http://schemas.microsoft.com/office/drawing/2014/main" id="{6FFB17FA-DCB9-41EE-9104-D9664DB5647B}"/>
                </a:ext>
              </a:extLst>
            </p:cNvPr>
            <p:cNvSpPr/>
            <p:nvPr/>
          </p:nvSpPr>
          <p:spPr bwMode="auto">
            <a:xfrm>
              <a:off x="2470640" y="3663278"/>
              <a:ext cx="715138" cy="485741"/>
            </a:xfrm>
            <a:prstGeom prst="ellipse">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75" name="Freeform: Shape 174">
              <a:extLst>
                <a:ext uri="{FF2B5EF4-FFF2-40B4-BE49-F238E27FC236}">
                  <a16:creationId xmlns:a16="http://schemas.microsoft.com/office/drawing/2014/main" id="{C72176B1-3472-4BD6-8454-7D0353822109}"/>
                </a:ext>
              </a:extLst>
            </p:cNvPr>
            <p:cNvSpPr/>
            <p:nvPr/>
          </p:nvSpPr>
          <p:spPr>
            <a:xfrm>
              <a:off x="2547099" y="3684657"/>
              <a:ext cx="585519" cy="411480"/>
            </a:xfrm>
            <a:custGeom>
              <a:avLst/>
              <a:gdLst>
                <a:gd name="connsiteX0" fmla="*/ 1037441 w 1934107"/>
                <a:gd name="connsiteY0" fmla="*/ 957263 h 1359217"/>
                <a:gd name="connsiteX1" fmla="*/ 1132691 w 1934107"/>
                <a:gd name="connsiteY1" fmla="*/ 1052513 h 1359217"/>
                <a:gd name="connsiteX2" fmla="*/ 1037441 w 1934107"/>
                <a:gd name="connsiteY2" fmla="*/ 1147763 h 1359217"/>
                <a:gd name="connsiteX3" fmla="*/ 942191 w 1934107"/>
                <a:gd name="connsiteY3" fmla="*/ 1052513 h 1359217"/>
                <a:gd name="connsiteX4" fmla="*/ 1037441 w 1934107"/>
                <a:gd name="connsiteY4" fmla="*/ 957263 h 1359217"/>
                <a:gd name="connsiteX5" fmla="*/ 690731 w 1934107"/>
                <a:gd name="connsiteY5" fmla="*/ 957263 h 1359217"/>
                <a:gd name="connsiteX6" fmla="*/ 785981 w 1934107"/>
                <a:gd name="connsiteY6" fmla="*/ 1052513 h 1359217"/>
                <a:gd name="connsiteX7" fmla="*/ 690731 w 1934107"/>
                <a:gd name="connsiteY7" fmla="*/ 1147763 h 1359217"/>
                <a:gd name="connsiteX8" fmla="*/ 595481 w 1934107"/>
                <a:gd name="connsiteY8" fmla="*/ 1052513 h 1359217"/>
                <a:gd name="connsiteX9" fmla="*/ 690731 w 1934107"/>
                <a:gd name="connsiteY9" fmla="*/ 957263 h 1359217"/>
                <a:gd name="connsiteX10" fmla="*/ 344021 w 1934107"/>
                <a:gd name="connsiteY10" fmla="*/ 957263 h 1359217"/>
                <a:gd name="connsiteX11" fmla="*/ 439271 w 1934107"/>
                <a:gd name="connsiteY11" fmla="*/ 1052513 h 1359217"/>
                <a:gd name="connsiteX12" fmla="*/ 344021 w 1934107"/>
                <a:gd name="connsiteY12" fmla="*/ 1147763 h 1359217"/>
                <a:gd name="connsiteX13" fmla="*/ 248771 w 1934107"/>
                <a:gd name="connsiteY13" fmla="*/ 1052513 h 1359217"/>
                <a:gd name="connsiteX14" fmla="*/ 344021 w 1934107"/>
                <a:gd name="connsiteY14" fmla="*/ 957263 h 1359217"/>
                <a:gd name="connsiteX15" fmla="*/ 76368 w 1934107"/>
                <a:gd name="connsiteY15" fmla="*/ 835342 h 1359217"/>
                <a:gd name="connsiteX16" fmla="*/ 158283 w 1934107"/>
                <a:gd name="connsiteY16" fmla="*/ 1156335 h 1359217"/>
                <a:gd name="connsiteX17" fmla="*/ 346879 w 1934107"/>
                <a:gd name="connsiteY17" fmla="*/ 1293495 h 1359217"/>
                <a:gd name="connsiteX18" fmla="*/ 1477496 w 1934107"/>
                <a:gd name="connsiteY18" fmla="*/ 1293495 h 1359217"/>
                <a:gd name="connsiteX19" fmla="*/ 1575604 w 1934107"/>
                <a:gd name="connsiteY19" fmla="*/ 1242060 h 1359217"/>
                <a:gd name="connsiteX20" fmla="*/ 1837541 w 1934107"/>
                <a:gd name="connsiteY20" fmla="*/ 835342 h 1359217"/>
                <a:gd name="connsiteX21" fmla="*/ 1528935 w 1934107"/>
                <a:gd name="connsiteY21" fmla="*/ 835342 h 1359217"/>
                <a:gd name="connsiteX22" fmla="*/ 1528931 w 1934107"/>
                <a:gd name="connsiteY22" fmla="*/ 835343 h 1359217"/>
                <a:gd name="connsiteX23" fmla="*/ 277345 w 1934107"/>
                <a:gd name="connsiteY23" fmla="*/ 835343 h 1359217"/>
                <a:gd name="connsiteX24" fmla="*/ 277342 w 1934107"/>
                <a:gd name="connsiteY24" fmla="*/ 835342 h 1359217"/>
                <a:gd name="connsiteX25" fmla="*/ 310683 w 1934107"/>
                <a:gd name="connsiteY25" fmla="*/ 595313 h 1359217"/>
                <a:gd name="connsiteX26" fmla="*/ 310683 w 1934107"/>
                <a:gd name="connsiteY26" fmla="*/ 767715 h 1359217"/>
                <a:gd name="connsiteX27" fmla="*/ 1472204 w 1934107"/>
                <a:gd name="connsiteY27" fmla="*/ 767715 h 1359217"/>
                <a:gd name="connsiteX28" fmla="*/ 1376531 w 1934107"/>
                <a:gd name="connsiteY28" fmla="*/ 595313 h 1359217"/>
                <a:gd name="connsiteX29" fmla="*/ 942190 w 1934107"/>
                <a:gd name="connsiteY29" fmla="*/ 595313 h 1359217"/>
                <a:gd name="connsiteX30" fmla="*/ 490705 w 1934107"/>
                <a:gd name="connsiteY30" fmla="*/ 595313 h 1359217"/>
                <a:gd name="connsiteX31" fmla="*/ 524043 w 1934107"/>
                <a:gd name="connsiteY31" fmla="*/ 360998 h 1359217"/>
                <a:gd name="connsiteX32" fmla="*/ 524043 w 1934107"/>
                <a:gd name="connsiteY32" fmla="*/ 528638 h 1359217"/>
                <a:gd name="connsiteX33" fmla="*/ 890755 w 1934107"/>
                <a:gd name="connsiteY33" fmla="*/ 528638 h 1359217"/>
                <a:gd name="connsiteX34" fmla="*/ 813603 w 1934107"/>
                <a:gd name="connsiteY34" fmla="*/ 360998 h 1359217"/>
                <a:gd name="connsiteX35" fmla="*/ 1155550 w 1934107"/>
                <a:gd name="connsiteY35" fmla="*/ 0 h 1359217"/>
                <a:gd name="connsiteX36" fmla="*/ 1188888 w 1934107"/>
                <a:gd name="connsiteY36" fmla="*/ 33337 h 1359217"/>
                <a:gd name="connsiteX37" fmla="*/ 1188888 w 1934107"/>
                <a:gd name="connsiteY37" fmla="*/ 528638 h 1359217"/>
                <a:gd name="connsiteX38" fmla="*/ 1395581 w 1934107"/>
                <a:gd name="connsiteY38" fmla="*/ 528638 h 1359217"/>
                <a:gd name="connsiteX39" fmla="*/ 1425108 w 1934107"/>
                <a:gd name="connsiteY39" fmla="*/ 545783 h 1359217"/>
                <a:gd name="connsiteX40" fmla="*/ 1548404 w 1934107"/>
                <a:gd name="connsiteY40" fmla="*/ 767715 h 1359217"/>
                <a:gd name="connsiteX41" fmla="*/ 1900406 w 1934107"/>
                <a:gd name="connsiteY41" fmla="*/ 767715 h 1359217"/>
                <a:gd name="connsiteX42" fmla="*/ 1929933 w 1934107"/>
                <a:gd name="connsiteY42" fmla="*/ 784860 h 1359217"/>
                <a:gd name="connsiteX43" fmla="*/ 1928981 w 1934107"/>
                <a:gd name="connsiteY43" fmla="*/ 819150 h 1359217"/>
                <a:gd name="connsiteX44" fmla="*/ 1633706 w 1934107"/>
                <a:gd name="connsiteY44" fmla="*/ 1277302 h 1359217"/>
                <a:gd name="connsiteX45" fmla="*/ 1478448 w 1934107"/>
                <a:gd name="connsiteY45" fmla="*/ 1359217 h 1359217"/>
                <a:gd name="connsiteX46" fmla="*/ 347831 w 1934107"/>
                <a:gd name="connsiteY46" fmla="*/ 1359217 h 1359217"/>
                <a:gd name="connsiteX47" fmla="*/ 94466 w 1934107"/>
                <a:gd name="connsiteY47" fmla="*/ 1171575 h 1359217"/>
                <a:gd name="connsiteX48" fmla="*/ 1121 w 1934107"/>
                <a:gd name="connsiteY48" fmla="*/ 809625 h 1359217"/>
                <a:gd name="connsiteX49" fmla="*/ 6836 w 1934107"/>
                <a:gd name="connsiteY49" fmla="*/ 781050 h 1359217"/>
                <a:gd name="connsiteX50" fmla="*/ 33506 w 1934107"/>
                <a:gd name="connsiteY50" fmla="*/ 767715 h 1359217"/>
                <a:gd name="connsiteX51" fmla="*/ 244008 w 1934107"/>
                <a:gd name="connsiteY51" fmla="*/ 767715 h 1359217"/>
                <a:gd name="connsiteX52" fmla="*/ 244008 w 1934107"/>
                <a:gd name="connsiteY52" fmla="*/ 561975 h 1359217"/>
                <a:gd name="connsiteX53" fmla="*/ 277345 w 1934107"/>
                <a:gd name="connsiteY53" fmla="*/ 528638 h 1359217"/>
                <a:gd name="connsiteX54" fmla="*/ 457368 w 1934107"/>
                <a:gd name="connsiteY54" fmla="*/ 528638 h 1359217"/>
                <a:gd name="connsiteX55" fmla="*/ 457368 w 1934107"/>
                <a:gd name="connsiteY55" fmla="*/ 327660 h 1359217"/>
                <a:gd name="connsiteX56" fmla="*/ 490705 w 1934107"/>
                <a:gd name="connsiteY56" fmla="*/ 294323 h 1359217"/>
                <a:gd name="connsiteX57" fmla="*/ 835510 w 1934107"/>
                <a:gd name="connsiteY57" fmla="*/ 294323 h 1359217"/>
                <a:gd name="connsiteX58" fmla="*/ 865990 w 1934107"/>
                <a:gd name="connsiteY58" fmla="*/ 313373 h 1359217"/>
                <a:gd name="connsiteX59" fmla="*/ 964872 w 1934107"/>
                <a:gd name="connsiteY59" fmla="*/ 528638 h 1359217"/>
                <a:gd name="connsiteX60" fmla="*/ 1122213 w 1934107"/>
                <a:gd name="connsiteY60" fmla="*/ 528638 h 1359217"/>
                <a:gd name="connsiteX61" fmla="*/ 1122213 w 1934107"/>
                <a:gd name="connsiteY61" fmla="*/ 33337 h 1359217"/>
                <a:gd name="connsiteX62" fmla="*/ 1155550 w 1934107"/>
                <a:gd name="connsiteY62" fmla="*/ 0 h 135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934107" h="1359217">
                  <a:moveTo>
                    <a:pt x="1037441" y="957263"/>
                  </a:moveTo>
                  <a:cubicBezTo>
                    <a:pt x="1090046" y="957263"/>
                    <a:pt x="1132691" y="999908"/>
                    <a:pt x="1132691" y="1052513"/>
                  </a:cubicBezTo>
                  <a:cubicBezTo>
                    <a:pt x="1132691" y="1105118"/>
                    <a:pt x="1090046" y="1147763"/>
                    <a:pt x="1037441" y="1147763"/>
                  </a:cubicBezTo>
                  <a:cubicBezTo>
                    <a:pt x="984836" y="1147763"/>
                    <a:pt x="942191" y="1105118"/>
                    <a:pt x="942191" y="1052513"/>
                  </a:cubicBezTo>
                  <a:cubicBezTo>
                    <a:pt x="942191" y="999908"/>
                    <a:pt x="984836" y="957263"/>
                    <a:pt x="1037441" y="957263"/>
                  </a:cubicBezTo>
                  <a:close/>
                  <a:moveTo>
                    <a:pt x="690731" y="957263"/>
                  </a:moveTo>
                  <a:cubicBezTo>
                    <a:pt x="743336" y="957263"/>
                    <a:pt x="785981" y="999908"/>
                    <a:pt x="785981" y="1052513"/>
                  </a:cubicBezTo>
                  <a:cubicBezTo>
                    <a:pt x="785981" y="1105118"/>
                    <a:pt x="743336" y="1147763"/>
                    <a:pt x="690731" y="1147763"/>
                  </a:cubicBezTo>
                  <a:cubicBezTo>
                    <a:pt x="638126" y="1147763"/>
                    <a:pt x="595481" y="1105118"/>
                    <a:pt x="595481" y="1052513"/>
                  </a:cubicBezTo>
                  <a:cubicBezTo>
                    <a:pt x="595481" y="999908"/>
                    <a:pt x="638126" y="957263"/>
                    <a:pt x="690731" y="957263"/>
                  </a:cubicBezTo>
                  <a:close/>
                  <a:moveTo>
                    <a:pt x="344021" y="957263"/>
                  </a:moveTo>
                  <a:cubicBezTo>
                    <a:pt x="396625" y="957263"/>
                    <a:pt x="439271" y="999908"/>
                    <a:pt x="439271" y="1052513"/>
                  </a:cubicBezTo>
                  <a:cubicBezTo>
                    <a:pt x="439271" y="1105118"/>
                    <a:pt x="396625" y="1147763"/>
                    <a:pt x="344021" y="1147763"/>
                  </a:cubicBezTo>
                  <a:cubicBezTo>
                    <a:pt x="291416" y="1147763"/>
                    <a:pt x="248771" y="1105118"/>
                    <a:pt x="248771" y="1052513"/>
                  </a:cubicBezTo>
                  <a:cubicBezTo>
                    <a:pt x="248771" y="999908"/>
                    <a:pt x="291416" y="957263"/>
                    <a:pt x="344021" y="957263"/>
                  </a:cubicBezTo>
                  <a:close/>
                  <a:moveTo>
                    <a:pt x="76368" y="835342"/>
                  </a:moveTo>
                  <a:lnTo>
                    <a:pt x="158283" y="1156335"/>
                  </a:lnTo>
                  <a:cubicBezTo>
                    <a:pt x="179238" y="1237297"/>
                    <a:pt x="256391" y="1293495"/>
                    <a:pt x="346879" y="1293495"/>
                  </a:cubicBezTo>
                  <a:lnTo>
                    <a:pt x="1477496" y="1293495"/>
                  </a:lnTo>
                  <a:cubicBezTo>
                    <a:pt x="1517501" y="1293495"/>
                    <a:pt x="1555601" y="1273492"/>
                    <a:pt x="1575604" y="1242060"/>
                  </a:cubicBezTo>
                  <a:lnTo>
                    <a:pt x="1837541" y="835342"/>
                  </a:lnTo>
                  <a:lnTo>
                    <a:pt x="1528935" y="835342"/>
                  </a:lnTo>
                  <a:lnTo>
                    <a:pt x="1528931" y="835343"/>
                  </a:lnTo>
                  <a:lnTo>
                    <a:pt x="277345" y="835343"/>
                  </a:lnTo>
                  <a:lnTo>
                    <a:pt x="277342" y="835342"/>
                  </a:lnTo>
                  <a:close/>
                  <a:moveTo>
                    <a:pt x="310683" y="595313"/>
                  </a:moveTo>
                  <a:lnTo>
                    <a:pt x="310683" y="767715"/>
                  </a:lnTo>
                  <a:lnTo>
                    <a:pt x="1472204" y="767715"/>
                  </a:lnTo>
                  <a:lnTo>
                    <a:pt x="1376531" y="595313"/>
                  </a:lnTo>
                  <a:lnTo>
                    <a:pt x="942190" y="595313"/>
                  </a:lnTo>
                  <a:lnTo>
                    <a:pt x="490705" y="595313"/>
                  </a:lnTo>
                  <a:close/>
                  <a:moveTo>
                    <a:pt x="524043" y="360998"/>
                  </a:moveTo>
                  <a:lnTo>
                    <a:pt x="524043" y="528638"/>
                  </a:lnTo>
                  <a:lnTo>
                    <a:pt x="890755" y="528638"/>
                  </a:lnTo>
                  <a:lnTo>
                    <a:pt x="813603" y="360998"/>
                  </a:lnTo>
                  <a:close/>
                  <a:moveTo>
                    <a:pt x="1155550" y="0"/>
                  </a:moveTo>
                  <a:cubicBezTo>
                    <a:pt x="1173648" y="0"/>
                    <a:pt x="1188888" y="15240"/>
                    <a:pt x="1188888" y="33337"/>
                  </a:cubicBezTo>
                  <a:lnTo>
                    <a:pt x="1188888" y="528638"/>
                  </a:lnTo>
                  <a:lnTo>
                    <a:pt x="1395581" y="528638"/>
                  </a:lnTo>
                  <a:cubicBezTo>
                    <a:pt x="1407963" y="528638"/>
                    <a:pt x="1418441" y="535305"/>
                    <a:pt x="1425108" y="545783"/>
                  </a:cubicBezTo>
                  <a:lnTo>
                    <a:pt x="1548404" y="767715"/>
                  </a:lnTo>
                  <a:lnTo>
                    <a:pt x="1900406" y="767715"/>
                  </a:lnTo>
                  <a:cubicBezTo>
                    <a:pt x="1912788" y="767715"/>
                    <a:pt x="1924218" y="774382"/>
                    <a:pt x="1929933" y="784860"/>
                  </a:cubicBezTo>
                  <a:cubicBezTo>
                    <a:pt x="1935648" y="795337"/>
                    <a:pt x="1935648" y="808672"/>
                    <a:pt x="1928981" y="819150"/>
                  </a:cubicBezTo>
                  <a:lnTo>
                    <a:pt x="1633706" y="1277302"/>
                  </a:lnTo>
                  <a:cubicBezTo>
                    <a:pt x="1601321" y="1328737"/>
                    <a:pt x="1541313" y="1359217"/>
                    <a:pt x="1478448" y="1359217"/>
                  </a:cubicBezTo>
                  <a:lnTo>
                    <a:pt x="347831" y="1359217"/>
                  </a:lnTo>
                  <a:cubicBezTo>
                    <a:pt x="226863" y="1359217"/>
                    <a:pt x="123041" y="1282065"/>
                    <a:pt x="94466" y="1171575"/>
                  </a:cubicBezTo>
                  <a:lnTo>
                    <a:pt x="1121" y="809625"/>
                  </a:lnTo>
                  <a:cubicBezTo>
                    <a:pt x="-1737" y="800100"/>
                    <a:pt x="1121" y="788670"/>
                    <a:pt x="6836" y="781050"/>
                  </a:cubicBezTo>
                  <a:cubicBezTo>
                    <a:pt x="12551" y="773430"/>
                    <a:pt x="23028" y="767715"/>
                    <a:pt x="33506" y="767715"/>
                  </a:cubicBezTo>
                  <a:lnTo>
                    <a:pt x="244008" y="767715"/>
                  </a:lnTo>
                  <a:lnTo>
                    <a:pt x="244008" y="561975"/>
                  </a:lnTo>
                  <a:cubicBezTo>
                    <a:pt x="244008" y="543878"/>
                    <a:pt x="259248" y="528638"/>
                    <a:pt x="277345" y="528638"/>
                  </a:cubicBezTo>
                  <a:lnTo>
                    <a:pt x="457368" y="528638"/>
                  </a:lnTo>
                  <a:lnTo>
                    <a:pt x="457368" y="327660"/>
                  </a:lnTo>
                  <a:cubicBezTo>
                    <a:pt x="457368" y="309563"/>
                    <a:pt x="472608" y="294323"/>
                    <a:pt x="490705" y="294323"/>
                  </a:cubicBezTo>
                  <a:lnTo>
                    <a:pt x="835510" y="294323"/>
                  </a:lnTo>
                  <a:cubicBezTo>
                    <a:pt x="848845" y="294323"/>
                    <a:pt x="860275" y="301943"/>
                    <a:pt x="865990" y="313373"/>
                  </a:cubicBezTo>
                  <a:lnTo>
                    <a:pt x="964872" y="528638"/>
                  </a:lnTo>
                  <a:lnTo>
                    <a:pt x="1122213" y="528638"/>
                  </a:lnTo>
                  <a:lnTo>
                    <a:pt x="1122213" y="33337"/>
                  </a:lnTo>
                  <a:cubicBezTo>
                    <a:pt x="1122213" y="15240"/>
                    <a:pt x="1137453" y="0"/>
                    <a:pt x="1155550" y="0"/>
                  </a:cubicBezTo>
                  <a:close/>
                </a:path>
              </a:pathLst>
            </a:custGeom>
            <a:solidFill>
              <a:schemeClr val="accent4"/>
            </a:solidFill>
            <a:ln w="9525" cap="flat">
              <a:noFill/>
              <a:prstDash val="solid"/>
              <a:miter/>
            </a:ln>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118" name="Freeform: Shape 117">
            <a:extLst>
              <a:ext uri="{FF2B5EF4-FFF2-40B4-BE49-F238E27FC236}">
                <a16:creationId xmlns:a16="http://schemas.microsoft.com/office/drawing/2014/main" id="{C948DBE6-510A-41DA-A3C9-55B0DAB35CE0}"/>
              </a:ext>
            </a:extLst>
          </p:cNvPr>
          <p:cNvSpPr/>
          <p:nvPr/>
        </p:nvSpPr>
        <p:spPr>
          <a:xfrm>
            <a:off x="6258012" y="1908664"/>
            <a:ext cx="585519" cy="411480"/>
          </a:xfrm>
          <a:custGeom>
            <a:avLst/>
            <a:gdLst>
              <a:gd name="connsiteX0" fmla="*/ 1037441 w 1934107"/>
              <a:gd name="connsiteY0" fmla="*/ 957263 h 1359217"/>
              <a:gd name="connsiteX1" fmla="*/ 1132691 w 1934107"/>
              <a:gd name="connsiteY1" fmla="*/ 1052513 h 1359217"/>
              <a:gd name="connsiteX2" fmla="*/ 1037441 w 1934107"/>
              <a:gd name="connsiteY2" fmla="*/ 1147763 h 1359217"/>
              <a:gd name="connsiteX3" fmla="*/ 942191 w 1934107"/>
              <a:gd name="connsiteY3" fmla="*/ 1052513 h 1359217"/>
              <a:gd name="connsiteX4" fmla="*/ 1037441 w 1934107"/>
              <a:gd name="connsiteY4" fmla="*/ 957263 h 1359217"/>
              <a:gd name="connsiteX5" fmla="*/ 690731 w 1934107"/>
              <a:gd name="connsiteY5" fmla="*/ 957263 h 1359217"/>
              <a:gd name="connsiteX6" fmla="*/ 785981 w 1934107"/>
              <a:gd name="connsiteY6" fmla="*/ 1052513 h 1359217"/>
              <a:gd name="connsiteX7" fmla="*/ 690731 w 1934107"/>
              <a:gd name="connsiteY7" fmla="*/ 1147763 h 1359217"/>
              <a:gd name="connsiteX8" fmla="*/ 595481 w 1934107"/>
              <a:gd name="connsiteY8" fmla="*/ 1052513 h 1359217"/>
              <a:gd name="connsiteX9" fmla="*/ 690731 w 1934107"/>
              <a:gd name="connsiteY9" fmla="*/ 957263 h 1359217"/>
              <a:gd name="connsiteX10" fmla="*/ 344021 w 1934107"/>
              <a:gd name="connsiteY10" fmla="*/ 957263 h 1359217"/>
              <a:gd name="connsiteX11" fmla="*/ 439271 w 1934107"/>
              <a:gd name="connsiteY11" fmla="*/ 1052513 h 1359217"/>
              <a:gd name="connsiteX12" fmla="*/ 344021 w 1934107"/>
              <a:gd name="connsiteY12" fmla="*/ 1147763 h 1359217"/>
              <a:gd name="connsiteX13" fmla="*/ 248771 w 1934107"/>
              <a:gd name="connsiteY13" fmla="*/ 1052513 h 1359217"/>
              <a:gd name="connsiteX14" fmla="*/ 344021 w 1934107"/>
              <a:gd name="connsiteY14" fmla="*/ 957263 h 1359217"/>
              <a:gd name="connsiteX15" fmla="*/ 76368 w 1934107"/>
              <a:gd name="connsiteY15" fmla="*/ 835342 h 1359217"/>
              <a:gd name="connsiteX16" fmla="*/ 158283 w 1934107"/>
              <a:gd name="connsiteY16" fmla="*/ 1156335 h 1359217"/>
              <a:gd name="connsiteX17" fmla="*/ 346879 w 1934107"/>
              <a:gd name="connsiteY17" fmla="*/ 1293495 h 1359217"/>
              <a:gd name="connsiteX18" fmla="*/ 1477496 w 1934107"/>
              <a:gd name="connsiteY18" fmla="*/ 1293495 h 1359217"/>
              <a:gd name="connsiteX19" fmla="*/ 1575604 w 1934107"/>
              <a:gd name="connsiteY19" fmla="*/ 1242060 h 1359217"/>
              <a:gd name="connsiteX20" fmla="*/ 1837541 w 1934107"/>
              <a:gd name="connsiteY20" fmla="*/ 835342 h 1359217"/>
              <a:gd name="connsiteX21" fmla="*/ 1528935 w 1934107"/>
              <a:gd name="connsiteY21" fmla="*/ 835342 h 1359217"/>
              <a:gd name="connsiteX22" fmla="*/ 1528931 w 1934107"/>
              <a:gd name="connsiteY22" fmla="*/ 835343 h 1359217"/>
              <a:gd name="connsiteX23" fmla="*/ 277345 w 1934107"/>
              <a:gd name="connsiteY23" fmla="*/ 835343 h 1359217"/>
              <a:gd name="connsiteX24" fmla="*/ 277342 w 1934107"/>
              <a:gd name="connsiteY24" fmla="*/ 835342 h 1359217"/>
              <a:gd name="connsiteX25" fmla="*/ 310683 w 1934107"/>
              <a:gd name="connsiteY25" fmla="*/ 595313 h 1359217"/>
              <a:gd name="connsiteX26" fmla="*/ 310683 w 1934107"/>
              <a:gd name="connsiteY26" fmla="*/ 767715 h 1359217"/>
              <a:gd name="connsiteX27" fmla="*/ 1472204 w 1934107"/>
              <a:gd name="connsiteY27" fmla="*/ 767715 h 1359217"/>
              <a:gd name="connsiteX28" fmla="*/ 1376531 w 1934107"/>
              <a:gd name="connsiteY28" fmla="*/ 595313 h 1359217"/>
              <a:gd name="connsiteX29" fmla="*/ 942190 w 1934107"/>
              <a:gd name="connsiteY29" fmla="*/ 595313 h 1359217"/>
              <a:gd name="connsiteX30" fmla="*/ 490705 w 1934107"/>
              <a:gd name="connsiteY30" fmla="*/ 595313 h 1359217"/>
              <a:gd name="connsiteX31" fmla="*/ 524043 w 1934107"/>
              <a:gd name="connsiteY31" fmla="*/ 360998 h 1359217"/>
              <a:gd name="connsiteX32" fmla="*/ 524043 w 1934107"/>
              <a:gd name="connsiteY32" fmla="*/ 528638 h 1359217"/>
              <a:gd name="connsiteX33" fmla="*/ 890755 w 1934107"/>
              <a:gd name="connsiteY33" fmla="*/ 528638 h 1359217"/>
              <a:gd name="connsiteX34" fmla="*/ 813603 w 1934107"/>
              <a:gd name="connsiteY34" fmla="*/ 360998 h 1359217"/>
              <a:gd name="connsiteX35" fmla="*/ 1155550 w 1934107"/>
              <a:gd name="connsiteY35" fmla="*/ 0 h 1359217"/>
              <a:gd name="connsiteX36" fmla="*/ 1188888 w 1934107"/>
              <a:gd name="connsiteY36" fmla="*/ 33337 h 1359217"/>
              <a:gd name="connsiteX37" fmla="*/ 1188888 w 1934107"/>
              <a:gd name="connsiteY37" fmla="*/ 528638 h 1359217"/>
              <a:gd name="connsiteX38" fmla="*/ 1395581 w 1934107"/>
              <a:gd name="connsiteY38" fmla="*/ 528638 h 1359217"/>
              <a:gd name="connsiteX39" fmla="*/ 1425108 w 1934107"/>
              <a:gd name="connsiteY39" fmla="*/ 545783 h 1359217"/>
              <a:gd name="connsiteX40" fmla="*/ 1548404 w 1934107"/>
              <a:gd name="connsiteY40" fmla="*/ 767715 h 1359217"/>
              <a:gd name="connsiteX41" fmla="*/ 1900406 w 1934107"/>
              <a:gd name="connsiteY41" fmla="*/ 767715 h 1359217"/>
              <a:gd name="connsiteX42" fmla="*/ 1929933 w 1934107"/>
              <a:gd name="connsiteY42" fmla="*/ 784860 h 1359217"/>
              <a:gd name="connsiteX43" fmla="*/ 1928981 w 1934107"/>
              <a:gd name="connsiteY43" fmla="*/ 819150 h 1359217"/>
              <a:gd name="connsiteX44" fmla="*/ 1633706 w 1934107"/>
              <a:gd name="connsiteY44" fmla="*/ 1277302 h 1359217"/>
              <a:gd name="connsiteX45" fmla="*/ 1478448 w 1934107"/>
              <a:gd name="connsiteY45" fmla="*/ 1359217 h 1359217"/>
              <a:gd name="connsiteX46" fmla="*/ 347831 w 1934107"/>
              <a:gd name="connsiteY46" fmla="*/ 1359217 h 1359217"/>
              <a:gd name="connsiteX47" fmla="*/ 94466 w 1934107"/>
              <a:gd name="connsiteY47" fmla="*/ 1171575 h 1359217"/>
              <a:gd name="connsiteX48" fmla="*/ 1121 w 1934107"/>
              <a:gd name="connsiteY48" fmla="*/ 809625 h 1359217"/>
              <a:gd name="connsiteX49" fmla="*/ 6836 w 1934107"/>
              <a:gd name="connsiteY49" fmla="*/ 781050 h 1359217"/>
              <a:gd name="connsiteX50" fmla="*/ 33506 w 1934107"/>
              <a:gd name="connsiteY50" fmla="*/ 767715 h 1359217"/>
              <a:gd name="connsiteX51" fmla="*/ 244008 w 1934107"/>
              <a:gd name="connsiteY51" fmla="*/ 767715 h 1359217"/>
              <a:gd name="connsiteX52" fmla="*/ 244008 w 1934107"/>
              <a:gd name="connsiteY52" fmla="*/ 561975 h 1359217"/>
              <a:gd name="connsiteX53" fmla="*/ 277345 w 1934107"/>
              <a:gd name="connsiteY53" fmla="*/ 528638 h 1359217"/>
              <a:gd name="connsiteX54" fmla="*/ 457368 w 1934107"/>
              <a:gd name="connsiteY54" fmla="*/ 528638 h 1359217"/>
              <a:gd name="connsiteX55" fmla="*/ 457368 w 1934107"/>
              <a:gd name="connsiteY55" fmla="*/ 327660 h 1359217"/>
              <a:gd name="connsiteX56" fmla="*/ 490705 w 1934107"/>
              <a:gd name="connsiteY56" fmla="*/ 294323 h 1359217"/>
              <a:gd name="connsiteX57" fmla="*/ 835510 w 1934107"/>
              <a:gd name="connsiteY57" fmla="*/ 294323 h 1359217"/>
              <a:gd name="connsiteX58" fmla="*/ 865990 w 1934107"/>
              <a:gd name="connsiteY58" fmla="*/ 313373 h 1359217"/>
              <a:gd name="connsiteX59" fmla="*/ 964872 w 1934107"/>
              <a:gd name="connsiteY59" fmla="*/ 528638 h 1359217"/>
              <a:gd name="connsiteX60" fmla="*/ 1122213 w 1934107"/>
              <a:gd name="connsiteY60" fmla="*/ 528638 h 1359217"/>
              <a:gd name="connsiteX61" fmla="*/ 1122213 w 1934107"/>
              <a:gd name="connsiteY61" fmla="*/ 33337 h 1359217"/>
              <a:gd name="connsiteX62" fmla="*/ 1155550 w 1934107"/>
              <a:gd name="connsiteY62" fmla="*/ 0 h 135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934107" h="1359217">
                <a:moveTo>
                  <a:pt x="1037441" y="957263"/>
                </a:moveTo>
                <a:cubicBezTo>
                  <a:pt x="1090046" y="957263"/>
                  <a:pt x="1132691" y="999908"/>
                  <a:pt x="1132691" y="1052513"/>
                </a:cubicBezTo>
                <a:cubicBezTo>
                  <a:pt x="1132691" y="1105118"/>
                  <a:pt x="1090046" y="1147763"/>
                  <a:pt x="1037441" y="1147763"/>
                </a:cubicBezTo>
                <a:cubicBezTo>
                  <a:pt x="984836" y="1147763"/>
                  <a:pt x="942191" y="1105118"/>
                  <a:pt x="942191" y="1052513"/>
                </a:cubicBezTo>
                <a:cubicBezTo>
                  <a:pt x="942191" y="999908"/>
                  <a:pt x="984836" y="957263"/>
                  <a:pt x="1037441" y="957263"/>
                </a:cubicBezTo>
                <a:close/>
                <a:moveTo>
                  <a:pt x="690731" y="957263"/>
                </a:moveTo>
                <a:cubicBezTo>
                  <a:pt x="743336" y="957263"/>
                  <a:pt x="785981" y="999908"/>
                  <a:pt x="785981" y="1052513"/>
                </a:cubicBezTo>
                <a:cubicBezTo>
                  <a:pt x="785981" y="1105118"/>
                  <a:pt x="743336" y="1147763"/>
                  <a:pt x="690731" y="1147763"/>
                </a:cubicBezTo>
                <a:cubicBezTo>
                  <a:pt x="638126" y="1147763"/>
                  <a:pt x="595481" y="1105118"/>
                  <a:pt x="595481" y="1052513"/>
                </a:cubicBezTo>
                <a:cubicBezTo>
                  <a:pt x="595481" y="999908"/>
                  <a:pt x="638126" y="957263"/>
                  <a:pt x="690731" y="957263"/>
                </a:cubicBezTo>
                <a:close/>
                <a:moveTo>
                  <a:pt x="344021" y="957263"/>
                </a:moveTo>
                <a:cubicBezTo>
                  <a:pt x="396625" y="957263"/>
                  <a:pt x="439271" y="999908"/>
                  <a:pt x="439271" y="1052513"/>
                </a:cubicBezTo>
                <a:cubicBezTo>
                  <a:pt x="439271" y="1105118"/>
                  <a:pt x="396625" y="1147763"/>
                  <a:pt x="344021" y="1147763"/>
                </a:cubicBezTo>
                <a:cubicBezTo>
                  <a:pt x="291416" y="1147763"/>
                  <a:pt x="248771" y="1105118"/>
                  <a:pt x="248771" y="1052513"/>
                </a:cubicBezTo>
                <a:cubicBezTo>
                  <a:pt x="248771" y="999908"/>
                  <a:pt x="291416" y="957263"/>
                  <a:pt x="344021" y="957263"/>
                </a:cubicBezTo>
                <a:close/>
                <a:moveTo>
                  <a:pt x="76368" y="835342"/>
                </a:moveTo>
                <a:lnTo>
                  <a:pt x="158283" y="1156335"/>
                </a:lnTo>
                <a:cubicBezTo>
                  <a:pt x="179238" y="1237297"/>
                  <a:pt x="256391" y="1293495"/>
                  <a:pt x="346879" y="1293495"/>
                </a:cubicBezTo>
                <a:lnTo>
                  <a:pt x="1477496" y="1293495"/>
                </a:lnTo>
                <a:cubicBezTo>
                  <a:pt x="1517501" y="1293495"/>
                  <a:pt x="1555601" y="1273492"/>
                  <a:pt x="1575604" y="1242060"/>
                </a:cubicBezTo>
                <a:lnTo>
                  <a:pt x="1837541" y="835342"/>
                </a:lnTo>
                <a:lnTo>
                  <a:pt x="1528935" y="835342"/>
                </a:lnTo>
                <a:lnTo>
                  <a:pt x="1528931" y="835343"/>
                </a:lnTo>
                <a:lnTo>
                  <a:pt x="277345" y="835343"/>
                </a:lnTo>
                <a:lnTo>
                  <a:pt x="277342" y="835342"/>
                </a:lnTo>
                <a:close/>
                <a:moveTo>
                  <a:pt x="310683" y="595313"/>
                </a:moveTo>
                <a:lnTo>
                  <a:pt x="310683" y="767715"/>
                </a:lnTo>
                <a:lnTo>
                  <a:pt x="1472204" y="767715"/>
                </a:lnTo>
                <a:lnTo>
                  <a:pt x="1376531" y="595313"/>
                </a:lnTo>
                <a:lnTo>
                  <a:pt x="942190" y="595313"/>
                </a:lnTo>
                <a:lnTo>
                  <a:pt x="490705" y="595313"/>
                </a:lnTo>
                <a:close/>
                <a:moveTo>
                  <a:pt x="524043" y="360998"/>
                </a:moveTo>
                <a:lnTo>
                  <a:pt x="524043" y="528638"/>
                </a:lnTo>
                <a:lnTo>
                  <a:pt x="890755" y="528638"/>
                </a:lnTo>
                <a:lnTo>
                  <a:pt x="813603" y="360998"/>
                </a:lnTo>
                <a:close/>
                <a:moveTo>
                  <a:pt x="1155550" y="0"/>
                </a:moveTo>
                <a:cubicBezTo>
                  <a:pt x="1173648" y="0"/>
                  <a:pt x="1188888" y="15240"/>
                  <a:pt x="1188888" y="33337"/>
                </a:cubicBezTo>
                <a:lnTo>
                  <a:pt x="1188888" y="528638"/>
                </a:lnTo>
                <a:lnTo>
                  <a:pt x="1395581" y="528638"/>
                </a:lnTo>
                <a:cubicBezTo>
                  <a:pt x="1407963" y="528638"/>
                  <a:pt x="1418441" y="535305"/>
                  <a:pt x="1425108" y="545783"/>
                </a:cubicBezTo>
                <a:lnTo>
                  <a:pt x="1548404" y="767715"/>
                </a:lnTo>
                <a:lnTo>
                  <a:pt x="1900406" y="767715"/>
                </a:lnTo>
                <a:cubicBezTo>
                  <a:pt x="1912788" y="767715"/>
                  <a:pt x="1924218" y="774382"/>
                  <a:pt x="1929933" y="784860"/>
                </a:cubicBezTo>
                <a:cubicBezTo>
                  <a:pt x="1935648" y="795337"/>
                  <a:pt x="1935648" y="808672"/>
                  <a:pt x="1928981" y="819150"/>
                </a:cubicBezTo>
                <a:lnTo>
                  <a:pt x="1633706" y="1277302"/>
                </a:lnTo>
                <a:cubicBezTo>
                  <a:pt x="1601321" y="1328737"/>
                  <a:pt x="1541313" y="1359217"/>
                  <a:pt x="1478448" y="1359217"/>
                </a:cubicBezTo>
                <a:lnTo>
                  <a:pt x="347831" y="1359217"/>
                </a:lnTo>
                <a:cubicBezTo>
                  <a:pt x="226863" y="1359217"/>
                  <a:pt x="123041" y="1282065"/>
                  <a:pt x="94466" y="1171575"/>
                </a:cubicBezTo>
                <a:lnTo>
                  <a:pt x="1121" y="809625"/>
                </a:lnTo>
                <a:cubicBezTo>
                  <a:pt x="-1737" y="800100"/>
                  <a:pt x="1121" y="788670"/>
                  <a:pt x="6836" y="781050"/>
                </a:cubicBezTo>
                <a:cubicBezTo>
                  <a:pt x="12551" y="773430"/>
                  <a:pt x="23028" y="767715"/>
                  <a:pt x="33506" y="767715"/>
                </a:cubicBezTo>
                <a:lnTo>
                  <a:pt x="244008" y="767715"/>
                </a:lnTo>
                <a:lnTo>
                  <a:pt x="244008" y="561975"/>
                </a:lnTo>
                <a:cubicBezTo>
                  <a:pt x="244008" y="543878"/>
                  <a:pt x="259248" y="528638"/>
                  <a:pt x="277345" y="528638"/>
                </a:cubicBezTo>
                <a:lnTo>
                  <a:pt x="457368" y="528638"/>
                </a:lnTo>
                <a:lnTo>
                  <a:pt x="457368" y="327660"/>
                </a:lnTo>
                <a:cubicBezTo>
                  <a:pt x="457368" y="309563"/>
                  <a:pt x="472608" y="294323"/>
                  <a:pt x="490705" y="294323"/>
                </a:cubicBezTo>
                <a:lnTo>
                  <a:pt x="835510" y="294323"/>
                </a:lnTo>
                <a:cubicBezTo>
                  <a:pt x="848845" y="294323"/>
                  <a:pt x="860275" y="301943"/>
                  <a:pt x="865990" y="313373"/>
                </a:cubicBezTo>
                <a:lnTo>
                  <a:pt x="964872" y="528638"/>
                </a:lnTo>
                <a:lnTo>
                  <a:pt x="1122213" y="528638"/>
                </a:lnTo>
                <a:lnTo>
                  <a:pt x="1122213" y="33337"/>
                </a:lnTo>
                <a:cubicBezTo>
                  <a:pt x="1122213" y="15240"/>
                  <a:pt x="1137453" y="0"/>
                  <a:pt x="1155550" y="0"/>
                </a:cubicBezTo>
                <a:close/>
              </a:path>
            </a:pathLst>
          </a:custGeom>
          <a:solidFill>
            <a:schemeClr val="accent4"/>
          </a:solidFill>
          <a:ln w="9525" cap="flat">
            <a:noFill/>
            <a:prstDash val="solid"/>
            <a:miter/>
          </a:ln>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23" name="Freeform: Shape 122">
            <a:extLst>
              <a:ext uri="{FF2B5EF4-FFF2-40B4-BE49-F238E27FC236}">
                <a16:creationId xmlns:a16="http://schemas.microsoft.com/office/drawing/2014/main" id="{8A41586D-F049-44B8-A8C1-6E134344C29C}"/>
              </a:ext>
            </a:extLst>
          </p:cNvPr>
          <p:cNvSpPr/>
          <p:nvPr/>
        </p:nvSpPr>
        <p:spPr>
          <a:xfrm>
            <a:off x="9456494" y="3220429"/>
            <a:ext cx="585519" cy="411480"/>
          </a:xfrm>
          <a:custGeom>
            <a:avLst/>
            <a:gdLst>
              <a:gd name="connsiteX0" fmla="*/ 1037441 w 1934107"/>
              <a:gd name="connsiteY0" fmla="*/ 957263 h 1359217"/>
              <a:gd name="connsiteX1" fmla="*/ 1132691 w 1934107"/>
              <a:gd name="connsiteY1" fmla="*/ 1052513 h 1359217"/>
              <a:gd name="connsiteX2" fmla="*/ 1037441 w 1934107"/>
              <a:gd name="connsiteY2" fmla="*/ 1147763 h 1359217"/>
              <a:gd name="connsiteX3" fmla="*/ 942191 w 1934107"/>
              <a:gd name="connsiteY3" fmla="*/ 1052513 h 1359217"/>
              <a:gd name="connsiteX4" fmla="*/ 1037441 w 1934107"/>
              <a:gd name="connsiteY4" fmla="*/ 957263 h 1359217"/>
              <a:gd name="connsiteX5" fmla="*/ 690731 w 1934107"/>
              <a:gd name="connsiteY5" fmla="*/ 957263 h 1359217"/>
              <a:gd name="connsiteX6" fmla="*/ 785981 w 1934107"/>
              <a:gd name="connsiteY6" fmla="*/ 1052513 h 1359217"/>
              <a:gd name="connsiteX7" fmla="*/ 690731 w 1934107"/>
              <a:gd name="connsiteY7" fmla="*/ 1147763 h 1359217"/>
              <a:gd name="connsiteX8" fmla="*/ 595481 w 1934107"/>
              <a:gd name="connsiteY8" fmla="*/ 1052513 h 1359217"/>
              <a:gd name="connsiteX9" fmla="*/ 690731 w 1934107"/>
              <a:gd name="connsiteY9" fmla="*/ 957263 h 1359217"/>
              <a:gd name="connsiteX10" fmla="*/ 344021 w 1934107"/>
              <a:gd name="connsiteY10" fmla="*/ 957263 h 1359217"/>
              <a:gd name="connsiteX11" fmla="*/ 439271 w 1934107"/>
              <a:gd name="connsiteY11" fmla="*/ 1052513 h 1359217"/>
              <a:gd name="connsiteX12" fmla="*/ 344021 w 1934107"/>
              <a:gd name="connsiteY12" fmla="*/ 1147763 h 1359217"/>
              <a:gd name="connsiteX13" fmla="*/ 248771 w 1934107"/>
              <a:gd name="connsiteY13" fmla="*/ 1052513 h 1359217"/>
              <a:gd name="connsiteX14" fmla="*/ 344021 w 1934107"/>
              <a:gd name="connsiteY14" fmla="*/ 957263 h 1359217"/>
              <a:gd name="connsiteX15" fmla="*/ 76368 w 1934107"/>
              <a:gd name="connsiteY15" fmla="*/ 835342 h 1359217"/>
              <a:gd name="connsiteX16" fmla="*/ 158283 w 1934107"/>
              <a:gd name="connsiteY16" fmla="*/ 1156335 h 1359217"/>
              <a:gd name="connsiteX17" fmla="*/ 346879 w 1934107"/>
              <a:gd name="connsiteY17" fmla="*/ 1293495 h 1359217"/>
              <a:gd name="connsiteX18" fmla="*/ 1477496 w 1934107"/>
              <a:gd name="connsiteY18" fmla="*/ 1293495 h 1359217"/>
              <a:gd name="connsiteX19" fmla="*/ 1575604 w 1934107"/>
              <a:gd name="connsiteY19" fmla="*/ 1242060 h 1359217"/>
              <a:gd name="connsiteX20" fmla="*/ 1837541 w 1934107"/>
              <a:gd name="connsiteY20" fmla="*/ 835342 h 1359217"/>
              <a:gd name="connsiteX21" fmla="*/ 1528935 w 1934107"/>
              <a:gd name="connsiteY21" fmla="*/ 835342 h 1359217"/>
              <a:gd name="connsiteX22" fmla="*/ 1528931 w 1934107"/>
              <a:gd name="connsiteY22" fmla="*/ 835343 h 1359217"/>
              <a:gd name="connsiteX23" fmla="*/ 277345 w 1934107"/>
              <a:gd name="connsiteY23" fmla="*/ 835343 h 1359217"/>
              <a:gd name="connsiteX24" fmla="*/ 277342 w 1934107"/>
              <a:gd name="connsiteY24" fmla="*/ 835342 h 1359217"/>
              <a:gd name="connsiteX25" fmla="*/ 310683 w 1934107"/>
              <a:gd name="connsiteY25" fmla="*/ 595313 h 1359217"/>
              <a:gd name="connsiteX26" fmla="*/ 310683 w 1934107"/>
              <a:gd name="connsiteY26" fmla="*/ 767715 h 1359217"/>
              <a:gd name="connsiteX27" fmla="*/ 1472204 w 1934107"/>
              <a:gd name="connsiteY27" fmla="*/ 767715 h 1359217"/>
              <a:gd name="connsiteX28" fmla="*/ 1376531 w 1934107"/>
              <a:gd name="connsiteY28" fmla="*/ 595313 h 1359217"/>
              <a:gd name="connsiteX29" fmla="*/ 942190 w 1934107"/>
              <a:gd name="connsiteY29" fmla="*/ 595313 h 1359217"/>
              <a:gd name="connsiteX30" fmla="*/ 490705 w 1934107"/>
              <a:gd name="connsiteY30" fmla="*/ 595313 h 1359217"/>
              <a:gd name="connsiteX31" fmla="*/ 524043 w 1934107"/>
              <a:gd name="connsiteY31" fmla="*/ 360998 h 1359217"/>
              <a:gd name="connsiteX32" fmla="*/ 524043 w 1934107"/>
              <a:gd name="connsiteY32" fmla="*/ 528638 h 1359217"/>
              <a:gd name="connsiteX33" fmla="*/ 890755 w 1934107"/>
              <a:gd name="connsiteY33" fmla="*/ 528638 h 1359217"/>
              <a:gd name="connsiteX34" fmla="*/ 813603 w 1934107"/>
              <a:gd name="connsiteY34" fmla="*/ 360998 h 1359217"/>
              <a:gd name="connsiteX35" fmla="*/ 1155550 w 1934107"/>
              <a:gd name="connsiteY35" fmla="*/ 0 h 1359217"/>
              <a:gd name="connsiteX36" fmla="*/ 1188888 w 1934107"/>
              <a:gd name="connsiteY36" fmla="*/ 33337 h 1359217"/>
              <a:gd name="connsiteX37" fmla="*/ 1188888 w 1934107"/>
              <a:gd name="connsiteY37" fmla="*/ 528638 h 1359217"/>
              <a:gd name="connsiteX38" fmla="*/ 1395581 w 1934107"/>
              <a:gd name="connsiteY38" fmla="*/ 528638 h 1359217"/>
              <a:gd name="connsiteX39" fmla="*/ 1425108 w 1934107"/>
              <a:gd name="connsiteY39" fmla="*/ 545783 h 1359217"/>
              <a:gd name="connsiteX40" fmla="*/ 1548404 w 1934107"/>
              <a:gd name="connsiteY40" fmla="*/ 767715 h 1359217"/>
              <a:gd name="connsiteX41" fmla="*/ 1900406 w 1934107"/>
              <a:gd name="connsiteY41" fmla="*/ 767715 h 1359217"/>
              <a:gd name="connsiteX42" fmla="*/ 1929933 w 1934107"/>
              <a:gd name="connsiteY42" fmla="*/ 784860 h 1359217"/>
              <a:gd name="connsiteX43" fmla="*/ 1928981 w 1934107"/>
              <a:gd name="connsiteY43" fmla="*/ 819150 h 1359217"/>
              <a:gd name="connsiteX44" fmla="*/ 1633706 w 1934107"/>
              <a:gd name="connsiteY44" fmla="*/ 1277302 h 1359217"/>
              <a:gd name="connsiteX45" fmla="*/ 1478448 w 1934107"/>
              <a:gd name="connsiteY45" fmla="*/ 1359217 h 1359217"/>
              <a:gd name="connsiteX46" fmla="*/ 347831 w 1934107"/>
              <a:gd name="connsiteY46" fmla="*/ 1359217 h 1359217"/>
              <a:gd name="connsiteX47" fmla="*/ 94466 w 1934107"/>
              <a:gd name="connsiteY47" fmla="*/ 1171575 h 1359217"/>
              <a:gd name="connsiteX48" fmla="*/ 1121 w 1934107"/>
              <a:gd name="connsiteY48" fmla="*/ 809625 h 1359217"/>
              <a:gd name="connsiteX49" fmla="*/ 6836 w 1934107"/>
              <a:gd name="connsiteY49" fmla="*/ 781050 h 1359217"/>
              <a:gd name="connsiteX50" fmla="*/ 33506 w 1934107"/>
              <a:gd name="connsiteY50" fmla="*/ 767715 h 1359217"/>
              <a:gd name="connsiteX51" fmla="*/ 244008 w 1934107"/>
              <a:gd name="connsiteY51" fmla="*/ 767715 h 1359217"/>
              <a:gd name="connsiteX52" fmla="*/ 244008 w 1934107"/>
              <a:gd name="connsiteY52" fmla="*/ 561975 h 1359217"/>
              <a:gd name="connsiteX53" fmla="*/ 277345 w 1934107"/>
              <a:gd name="connsiteY53" fmla="*/ 528638 h 1359217"/>
              <a:gd name="connsiteX54" fmla="*/ 457368 w 1934107"/>
              <a:gd name="connsiteY54" fmla="*/ 528638 h 1359217"/>
              <a:gd name="connsiteX55" fmla="*/ 457368 w 1934107"/>
              <a:gd name="connsiteY55" fmla="*/ 327660 h 1359217"/>
              <a:gd name="connsiteX56" fmla="*/ 490705 w 1934107"/>
              <a:gd name="connsiteY56" fmla="*/ 294323 h 1359217"/>
              <a:gd name="connsiteX57" fmla="*/ 835510 w 1934107"/>
              <a:gd name="connsiteY57" fmla="*/ 294323 h 1359217"/>
              <a:gd name="connsiteX58" fmla="*/ 865990 w 1934107"/>
              <a:gd name="connsiteY58" fmla="*/ 313373 h 1359217"/>
              <a:gd name="connsiteX59" fmla="*/ 964872 w 1934107"/>
              <a:gd name="connsiteY59" fmla="*/ 528638 h 1359217"/>
              <a:gd name="connsiteX60" fmla="*/ 1122213 w 1934107"/>
              <a:gd name="connsiteY60" fmla="*/ 528638 h 1359217"/>
              <a:gd name="connsiteX61" fmla="*/ 1122213 w 1934107"/>
              <a:gd name="connsiteY61" fmla="*/ 33337 h 1359217"/>
              <a:gd name="connsiteX62" fmla="*/ 1155550 w 1934107"/>
              <a:gd name="connsiteY62" fmla="*/ 0 h 135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934107" h="1359217">
                <a:moveTo>
                  <a:pt x="1037441" y="957263"/>
                </a:moveTo>
                <a:cubicBezTo>
                  <a:pt x="1090046" y="957263"/>
                  <a:pt x="1132691" y="999908"/>
                  <a:pt x="1132691" y="1052513"/>
                </a:cubicBezTo>
                <a:cubicBezTo>
                  <a:pt x="1132691" y="1105118"/>
                  <a:pt x="1090046" y="1147763"/>
                  <a:pt x="1037441" y="1147763"/>
                </a:cubicBezTo>
                <a:cubicBezTo>
                  <a:pt x="984836" y="1147763"/>
                  <a:pt x="942191" y="1105118"/>
                  <a:pt x="942191" y="1052513"/>
                </a:cubicBezTo>
                <a:cubicBezTo>
                  <a:pt x="942191" y="999908"/>
                  <a:pt x="984836" y="957263"/>
                  <a:pt x="1037441" y="957263"/>
                </a:cubicBezTo>
                <a:close/>
                <a:moveTo>
                  <a:pt x="690731" y="957263"/>
                </a:moveTo>
                <a:cubicBezTo>
                  <a:pt x="743336" y="957263"/>
                  <a:pt x="785981" y="999908"/>
                  <a:pt x="785981" y="1052513"/>
                </a:cubicBezTo>
                <a:cubicBezTo>
                  <a:pt x="785981" y="1105118"/>
                  <a:pt x="743336" y="1147763"/>
                  <a:pt x="690731" y="1147763"/>
                </a:cubicBezTo>
                <a:cubicBezTo>
                  <a:pt x="638126" y="1147763"/>
                  <a:pt x="595481" y="1105118"/>
                  <a:pt x="595481" y="1052513"/>
                </a:cubicBezTo>
                <a:cubicBezTo>
                  <a:pt x="595481" y="999908"/>
                  <a:pt x="638126" y="957263"/>
                  <a:pt x="690731" y="957263"/>
                </a:cubicBezTo>
                <a:close/>
                <a:moveTo>
                  <a:pt x="344021" y="957263"/>
                </a:moveTo>
                <a:cubicBezTo>
                  <a:pt x="396625" y="957263"/>
                  <a:pt x="439271" y="999908"/>
                  <a:pt x="439271" y="1052513"/>
                </a:cubicBezTo>
                <a:cubicBezTo>
                  <a:pt x="439271" y="1105118"/>
                  <a:pt x="396625" y="1147763"/>
                  <a:pt x="344021" y="1147763"/>
                </a:cubicBezTo>
                <a:cubicBezTo>
                  <a:pt x="291416" y="1147763"/>
                  <a:pt x="248771" y="1105118"/>
                  <a:pt x="248771" y="1052513"/>
                </a:cubicBezTo>
                <a:cubicBezTo>
                  <a:pt x="248771" y="999908"/>
                  <a:pt x="291416" y="957263"/>
                  <a:pt x="344021" y="957263"/>
                </a:cubicBezTo>
                <a:close/>
                <a:moveTo>
                  <a:pt x="76368" y="835342"/>
                </a:moveTo>
                <a:lnTo>
                  <a:pt x="158283" y="1156335"/>
                </a:lnTo>
                <a:cubicBezTo>
                  <a:pt x="179238" y="1237297"/>
                  <a:pt x="256391" y="1293495"/>
                  <a:pt x="346879" y="1293495"/>
                </a:cubicBezTo>
                <a:lnTo>
                  <a:pt x="1477496" y="1293495"/>
                </a:lnTo>
                <a:cubicBezTo>
                  <a:pt x="1517501" y="1293495"/>
                  <a:pt x="1555601" y="1273492"/>
                  <a:pt x="1575604" y="1242060"/>
                </a:cubicBezTo>
                <a:lnTo>
                  <a:pt x="1837541" y="835342"/>
                </a:lnTo>
                <a:lnTo>
                  <a:pt x="1528935" y="835342"/>
                </a:lnTo>
                <a:lnTo>
                  <a:pt x="1528931" y="835343"/>
                </a:lnTo>
                <a:lnTo>
                  <a:pt x="277345" y="835343"/>
                </a:lnTo>
                <a:lnTo>
                  <a:pt x="277342" y="835342"/>
                </a:lnTo>
                <a:close/>
                <a:moveTo>
                  <a:pt x="310683" y="595313"/>
                </a:moveTo>
                <a:lnTo>
                  <a:pt x="310683" y="767715"/>
                </a:lnTo>
                <a:lnTo>
                  <a:pt x="1472204" y="767715"/>
                </a:lnTo>
                <a:lnTo>
                  <a:pt x="1376531" y="595313"/>
                </a:lnTo>
                <a:lnTo>
                  <a:pt x="942190" y="595313"/>
                </a:lnTo>
                <a:lnTo>
                  <a:pt x="490705" y="595313"/>
                </a:lnTo>
                <a:close/>
                <a:moveTo>
                  <a:pt x="524043" y="360998"/>
                </a:moveTo>
                <a:lnTo>
                  <a:pt x="524043" y="528638"/>
                </a:lnTo>
                <a:lnTo>
                  <a:pt x="890755" y="528638"/>
                </a:lnTo>
                <a:lnTo>
                  <a:pt x="813603" y="360998"/>
                </a:lnTo>
                <a:close/>
                <a:moveTo>
                  <a:pt x="1155550" y="0"/>
                </a:moveTo>
                <a:cubicBezTo>
                  <a:pt x="1173648" y="0"/>
                  <a:pt x="1188888" y="15240"/>
                  <a:pt x="1188888" y="33337"/>
                </a:cubicBezTo>
                <a:lnTo>
                  <a:pt x="1188888" y="528638"/>
                </a:lnTo>
                <a:lnTo>
                  <a:pt x="1395581" y="528638"/>
                </a:lnTo>
                <a:cubicBezTo>
                  <a:pt x="1407963" y="528638"/>
                  <a:pt x="1418441" y="535305"/>
                  <a:pt x="1425108" y="545783"/>
                </a:cubicBezTo>
                <a:lnTo>
                  <a:pt x="1548404" y="767715"/>
                </a:lnTo>
                <a:lnTo>
                  <a:pt x="1900406" y="767715"/>
                </a:lnTo>
                <a:cubicBezTo>
                  <a:pt x="1912788" y="767715"/>
                  <a:pt x="1924218" y="774382"/>
                  <a:pt x="1929933" y="784860"/>
                </a:cubicBezTo>
                <a:cubicBezTo>
                  <a:pt x="1935648" y="795337"/>
                  <a:pt x="1935648" y="808672"/>
                  <a:pt x="1928981" y="819150"/>
                </a:cubicBezTo>
                <a:lnTo>
                  <a:pt x="1633706" y="1277302"/>
                </a:lnTo>
                <a:cubicBezTo>
                  <a:pt x="1601321" y="1328737"/>
                  <a:pt x="1541313" y="1359217"/>
                  <a:pt x="1478448" y="1359217"/>
                </a:cubicBezTo>
                <a:lnTo>
                  <a:pt x="347831" y="1359217"/>
                </a:lnTo>
                <a:cubicBezTo>
                  <a:pt x="226863" y="1359217"/>
                  <a:pt x="123041" y="1282065"/>
                  <a:pt x="94466" y="1171575"/>
                </a:cubicBezTo>
                <a:lnTo>
                  <a:pt x="1121" y="809625"/>
                </a:lnTo>
                <a:cubicBezTo>
                  <a:pt x="-1737" y="800100"/>
                  <a:pt x="1121" y="788670"/>
                  <a:pt x="6836" y="781050"/>
                </a:cubicBezTo>
                <a:cubicBezTo>
                  <a:pt x="12551" y="773430"/>
                  <a:pt x="23028" y="767715"/>
                  <a:pt x="33506" y="767715"/>
                </a:cubicBezTo>
                <a:lnTo>
                  <a:pt x="244008" y="767715"/>
                </a:lnTo>
                <a:lnTo>
                  <a:pt x="244008" y="561975"/>
                </a:lnTo>
                <a:cubicBezTo>
                  <a:pt x="244008" y="543878"/>
                  <a:pt x="259248" y="528638"/>
                  <a:pt x="277345" y="528638"/>
                </a:cubicBezTo>
                <a:lnTo>
                  <a:pt x="457368" y="528638"/>
                </a:lnTo>
                <a:lnTo>
                  <a:pt x="457368" y="327660"/>
                </a:lnTo>
                <a:cubicBezTo>
                  <a:pt x="457368" y="309563"/>
                  <a:pt x="472608" y="294323"/>
                  <a:pt x="490705" y="294323"/>
                </a:cubicBezTo>
                <a:lnTo>
                  <a:pt x="835510" y="294323"/>
                </a:lnTo>
                <a:cubicBezTo>
                  <a:pt x="848845" y="294323"/>
                  <a:pt x="860275" y="301943"/>
                  <a:pt x="865990" y="313373"/>
                </a:cubicBezTo>
                <a:lnTo>
                  <a:pt x="964872" y="528638"/>
                </a:lnTo>
                <a:lnTo>
                  <a:pt x="1122213" y="528638"/>
                </a:lnTo>
                <a:lnTo>
                  <a:pt x="1122213" y="33337"/>
                </a:lnTo>
                <a:cubicBezTo>
                  <a:pt x="1122213" y="15240"/>
                  <a:pt x="1137453" y="0"/>
                  <a:pt x="1155550" y="0"/>
                </a:cubicBezTo>
                <a:close/>
              </a:path>
            </a:pathLst>
          </a:custGeom>
          <a:solidFill>
            <a:schemeClr val="accent4"/>
          </a:solidFill>
          <a:ln w="9525" cap="flat">
            <a:noFill/>
            <a:prstDash val="solid"/>
            <a:miter/>
          </a:ln>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7" name="TextBox 176">
            <a:extLst>
              <a:ext uri="{FF2B5EF4-FFF2-40B4-BE49-F238E27FC236}">
                <a16:creationId xmlns:a16="http://schemas.microsoft.com/office/drawing/2014/main" id="{54F59B3A-405C-4F52-B0C5-CF289BC053CD}"/>
              </a:ext>
            </a:extLst>
          </p:cNvPr>
          <p:cNvSpPr txBox="1"/>
          <p:nvPr/>
        </p:nvSpPr>
        <p:spPr>
          <a:xfrm>
            <a:off x="3070322" y="3645181"/>
            <a:ext cx="2328602" cy="523220"/>
          </a:xfrm>
          <a:prstGeom prst="rect">
            <a:avLst/>
          </a:prstGeom>
          <a:solidFill>
            <a:srgbClr val="353535"/>
          </a:solidFill>
          <a:ln>
            <a:noFill/>
          </a:ln>
        </p:spPr>
        <p:txBody>
          <a:bodyPr wrap="square" lIns="0" tIns="0" rIns="0" bIns="0" rtlCol="0" anchor="t">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BCF2"/>
                </a:solidFill>
                <a:effectLst/>
                <a:uLnTx/>
                <a:uFillTx/>
                <a:latin typeface="Segoe UI Semibold" panose="020B0702040204020203" pitchFamily="34" charset="0"/>
                <a:ea typeface="+mn-ea"/>
                <a:cs typeface="Segoe UI Semibold" panose="020B0702040204020203" pitchFamily="34" charset="0"/>
              </a:rPr>
              <a:t>Ideal path</a:t>
            </a:r>
          </a:p>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Ship would remain in the safe zone throughout the predicted voyage path</a:t>
            </a:r>
          </a:p>
        </p:txBody>
      </p:sp>
      <p:sp>
        <p:nvSpPr>
          <p:cNvPr id="6" name="Rectangle 5">
            <a:extLst>
              <a:ext uri="{FF2B5EF4-FFF2-40B4-BE49-F238E27FC236}">
                <a16:creationId xmlns:a16="http://schemas.microsoft.com/office/drawing/2014/main" id="{9E72BF45-352F-424B-86D2-D2291092B109}"/>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184678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6CB5D1E2-38BE-4166-A073-37C8C7F91A1C}"/>
              </a:ext>
            </a:extLst>
          </p:cNvPr>
          <p:cNvPicPr>
            <a:picLocks noChangeAspect="1"/>
          </p:cNvPicPr>
          <p:nvPr/>
        </p:nvPicPr>
        <p:blipFill rotWithShape="1">
          <a:blip r:embed="rId3">
            <a:extLst>
              <a:ext uri="{28A0092B-C50C-407E-A947-70E740481C1C}">
                <a14:useLocalDpi xmlns:a14="http://schemas.microsoft.com/office/drawing/2010/main" val="0"/>
              </a:ext>
            </a:extLst>
          </a:blip>
          <a:srcRect t="3639" b="12163"/>
          <a:stretch/>
        </p:blipFill>
        <p:spPr>
          <a:xfrm>
            <a:off x="1" y="975"/>
            <a:ext cx="12217036" cy="6857026"/>
          </a:xfrm>
          <a:prstGeom prst="rect">
            <a:avLst/>
          </a:prstGeom>
        </p:spPr>
      </p:pic>
      <p:sp>
        <p:nvSpPr>
          <p:cNvPr id="9" name="Rectangle 8">
            <a:extLst>
              <a:ext uri="{FF2B5EF4-FFF2-40B4-BE49-F238E27FC236}">
                <a16:creationId xmlns:a16="http://schemas.microsoft.com/office/drawing/2014/main" id="{7C2E1F38-C6C8-4442-BBC4-8731B71973BD}"/>
              </a:ext>
            </a:extLst>
          </p:cNvPr>
          <p:cNvSpPr/>
          <p:nvPr/>
        </p:nvSpPr>
        <p:spPr>
          <a:xfrm rot="10800000">
            <a:off x="-5139" y="-1"/>
            <a:ext cx="12214603" cy="6858000"/>
          </a:xfrm>
          <a:prstGeom prst="rect">
            <a:avLst/>
          </a:prstGeom>
          <a:solidFill>
            <a:srgbClr val="353535">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071" tIns="182828" rIns="457071" bIns="182828" rtlCol="0" anchor="b"/>
          <a:lstStyle/>
          <a:p>
            <a:pPr marL="0" marR="0" lvl="0" indent="0" algn="r" defTabSz="913850" rtl="0" eaLnBrk="1" fontAlgn="auto" latinLnBrk="0" hangingPunct="1">
              <a:lnSpc>
                <a:spcPts val="1200"/>
              </a:lnSpc>
              <a:spcBef>
                <a:spcPts val="0"/>
              </a:spcBef>
              <a:spcAft>
                <a:spcPts val="0"/>
              </a:spcAft>
              <a:buClrTx/>
              <a:buSzTx/>
              <a:buFontTx/>
              <a:buNone/>
              <a:tabLst/>
              <a:defRPr/>
            </a:pPr>
            <a:br>
              <a:rPr kumimoji="0" lang="en-US" sz="2000" b="0" i="1" u="none" strike="noStrike" kern="1200" cap="none" spc="0" normalizeH="0" baseline="0" noProof="0">
                <a:ln>
                  <a:noFill/>
                </a:ln>
                <a:solidFill>
                  <a:prstClr val="white"/>
                </a:solidFill>
                <a:effectLst/>
                <a:uLnTx/>
                <a:uFillTx/>
                <a:latin typeface="Segoe UI"/>
                <a:ea typeface="Segoe UI" pitchFamily="34" charset="0"/>
                <a:cs typeface="Segoe UI" pitchFamily="34" charset="0"/>
              </a:rPr>
            </a:br>
            <a:endParaRPr kumimoji="0" lang="da-DK" sz="16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0" name="Title 1">
            <a:extLst>
              <a:ext uri="{FF2B5EF4-FFF2-40B4-BE49-F238E27FC236}">
                <a16:creationId xmlns:a16="http://schemas.microsoft.com/office/drawing/2014/main" id="{78050FA4-0D8C-4F3E-AEF7-40303B827872}"/>
              </a:ext>
            </a:extLst>
          </p:cNvPr>
          <p:cNvSpPr txBox="1">
            <a:spLocks/>
          </p:cNvSpPr>
          <p:nvPr/>
        </p:nvSpPr>
        <p:spPr>
          <a:xfrm>
            <a:off x="179662" y="231923"/>
            <a:ext cx="11655425" cy="900113"/>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400" b="0" strike="noStrike"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solidFill>
                  <a:prstClr val="white"/>
                </a:solidFill>
                <a:effectLst/>
                <a:uLnTx/>
                <a:uFillTx/>
                <a:latin typeface="Segoe UI Light" panose="020B0502040204020203" pitchFamily="34" charset="0"/>
                <a:ea typeface="+mn-ea"/>
                <a:cs typeface="Segoe UI Light" panose="020B0502040204020203" pitchFamily="34" charset="0"/>
              </a:rPr>
              <a:t>XBOX | Blockchain for royalty payments</a:t>
            </a:r>
          </a:p>
        </p:txBody>
      </p:sp>
      <p:sp>
        <p:nvSpPr>
          <p:cNvPr id="4" name="Pentagon 12">
            <a:extLst>
              <a:ext uri="{FF2B5EF4-FFF2-40B4-BE49-F238E27FC236}">
                <a16:creationId xmlns:a16="http://schemas.microsoft.com/office/drawing/2014/main" id="{78334B88-B76F-4BCD-A799-0DEB420861E5}"/>
              </a:ext>
            </a:extLst>
          </p:cNvPr>
          <p:cNvSpPr/>
          <p:nvPr/>
        </p:nvSpPr>
        <p:spPr>
          <a:xfrm>
            <a:off x="766212" y="1132035"/>
            <a:ext cx="5075785" cy="3963531"/>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37121" tIns="137121" rIns="137121" bIns="137121" rtlCol="0" anchor="t"/>
          <a:lstStyle/>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r>
              <a:rPr kumimoji="0" lang="en-US" sz="2400" b="0"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hallenge </a:t>
            </a:r>
          </a:p>
          <a:p>
            <a:pPr marL="0" marR="0" lvl="0" indent="0" algn="l" defTabSz="914169" rtl="0" eaLnBrk="1" fontAlgn="base" latinLnBrk="0" hangingPunct="1">
              <a:lnSpc>
                <a:spcPct val="100000"/>
              </a:lnSpc>
              <a:spcBef>
                <a:spcPct val="0"/>
              </a:spcBef>
              <a:spcAft>
                <a:spcPts val="196"/>
              </a:spcAft>
              <a:buClr>
                <a:prstClr val="white"/>
              </a:buClr>
              <a:buSzPct val="100000"/>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pitchFamily="34" charset="0"/>
              </a:rPr>
              <a:t>Microsoft wanted to replace the complicated, manual royalty calculation process used to pay XBOX publishers with a faster, more efficient approach</a:t>
            </a:r>
          </a:p>
          <a:p>
            <a:pPr marL="0" marR="0" lvl="0" indent="0" algn="l" defTabSz="914169" rtl="0" eaLnBrk="1" fontAlgn="base" latinLnBrk="0" hangingPunct="1">
              <a:lnSpc>
                <a:spcPct val="100000"/>
              </a:lnSpc>
              <a:spcBef>
                <a:spcPct val="0"/>
              </a:spcBef>
              <a:spcAft>
                <a:spcPts val="196"/>
              </a:spcAft>
              <a:buClr>
                <a:prstClr val="white"/>
              </a:buClr>
              <a:buSzPct val="100000"/>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r>
              <a:rPr kumimoji="0" lang="en-US" sz="2400" b="0"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trategy</a:t>
            </a:r>
          </a:p>
          <a:p>
            <a:pPr marL="0" marR="0" lvl="0" indent="0" algn="l" defTabSz="914169" rtl="0" eaLnBrk="1" fontAlgn="base" latinLnBrk="0" hangingPunct="1">
              <a:lnSpc>
                <a:spcPct val="100000"/>
              </a:lnSpc>
              <a:spcBef>
                <a:spcPct val="0"/>
              </a:spcBef>
              <a:spcAft>
                <a:spcPts val="196"/>
              </a:spcAft>
              <a:buClr>
                <a:prstClr val="white"/>
              </a:buClr>
              <a:buSzPct val="100000"/>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Microsoft developed a blockchain-based solution that automated processes to offer XBOX royalty information in near real time while maximizing security and transparency</a:t>
            </a:r>
          </a:p>
        </p:txBody>
      </p:sp>
      <p:sp>
        <p:nvSpPr>
          <p:cNvPr id="5" name="Chevron 13">
            <a:extLst>
              <a:ext uri="{FF2B5EF4-FFF2-40B4-BE49-F238E27FC236}">
                <a16:creationId xmlns:a16="http://schemas.microsoft.com/office/drawing/2014/main" id="{13752A2D-1156-48AD-9B59-9FACA076B9D9}"/>
              </a:ext>
            </a:extLst>
          </p:cNvPr>
          <p:cNvSpPr/>
          <p:nvPr/>
        </p:nvSpPr>
        <p:spPr>
          <a:xfrm>
            <a:off x="743368" y="2627387"/>
            <a:ext cx="3209544" cy="2468180"/>
          </a:xfrm>
          <a:prstGeom prst="chevron">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37121" tIns="137121" rIns="45707" bIns="137121" rtlCol="0" anchor="t"/>
          <a:lstStyle/>
          <a:p>
            <a:pPr marL="0" marR="0" lvl="0" indent="0" algn="l" defTabSz="914169" rtl="0" eaLnBrk="1" fontAlgn="base" latinLnBrk="0" hangingPunct="1">
              <a:lnSpc>
                <a:spcPct val="100000"/>
              </a:lnSpc>
              <a:spcBef>
                <a:spcPct val="0"/>
              </a:spcBef>
              <a:spcAft>
                <a:spcPts val="1200"/>
              </a:spcAft>
              <a:buClr>
                <a:prstClr val="white"/>
              </a:buClr>
              <a:buSzPct val="100000"/>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 name="Chevron 25">
            <a:extLst>
              <a:ext uri="{FF2B5EF4-FFF2-40B4-BE49-F238E27FC236}">
                <a16:creationId xmlns:a16="http://schemas.microsoft.com/office/drawing/2014/main" id="{E6CBA653-4D0A-48D7-9D30-60C7D50C037F}"/>
              </a:ext>
            </a:extLst>
          </p:cNvPr>
          <p:cNvSpPr/>
          <p:nvPr/>
        </p:nvSpPr>
        <p:spPr>
          <a:xfrm>
            <a:off x="6467683" y="1132036"/>
            <a:ext cx="5281629" cy="2468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5656" tIns="137121" rIns="137121" bIns="137121" rtlCol="0" anchor="t"/>
          <a:lstStyle/>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r>
              <a:rPr kumimoji="0" lang="en-US" sz="2400" b="0" i="0" u="none" strike="noStrike" kern="1200" cap="none" spc="0" normalizeH="0" baseline="0" noProof="0" dirty="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Results</a:t>
            </a:r>
          </a:p>
          <a:p>
            <a:pPr marL="173665" marR="0" lvl="0" indent="-173665" algn="l" defTabSz="914169" rtl="0" eaLnBrk="1" fontAlgn="base" latinLnBrk="0" hangingPunct="1">
              <a:lnSpc>
                <a:spcPct val="100000"/>
              </a:lnSpc>
              <a:spcBef>
                <a:spcPct val="0"/>
              </a:spcBef>
              <a:spcAft>
                <a:spcPts val="196"/>
              </a:spcAft>
              <a:buClr>
                <a:prstClr val="white"/>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rPr>
              <a:t>Improved trust by making the royalty payment calculation process </a:t>
            </a:r>
            <a:r>
              <a:rPr kumimoji="0" lang="en-US" sz="1800" b="1" i="0" u="none" strike="noStrike" kern="1200" cap="none" spc="0" normalizeH="0" baseline="0" noProof="0" dirty="0">
                <a:ln>
                  <a:noFill/>
                </a:ln>
                <a:solidFill>
                  <a:srgbClr val="50E7FF"/>
                </a:solidFill>
                <a:effectLst/>
                <a:uLnTx/>
                <a:uFillTx/>
                <a:latin typeface="Segoe UI Semibold" panose="020B0702040204020203" pitchFamily="34" charset="0"/>
                <a:ea typeface="+mn-ea"/>
                <a:cs typeface="Segoe UI Semibold" panose="020B0702040204020203" pitchFamily="34" charset="0"/>
              </a:rPr>
              <a:t>more transparent</a:t>
            </a:r>
            <a:r>
              <a:rPr kumimoji="0" lang="en-US" sz="1800"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rPr>
              <a:t> for publishers</a:t>
            </a:r>
          </a:p>
          <a:p>
            <a:pPr marL="173665" marR="0" lvl="0" indent="-173665" algn="l" defTabSz="914169" rtl="0" eaLnBrk="1" fontAlgn="base" latinLnBrk="0" hangingPunct="1">
              <a:lnSpc>
                <a:spcPct val="100000"/>
              </a:lnSpc>
              <a:spcBef>
                <a:spcPct val="0"/>
              </a:spcBef>
              <a:spcAft>
                <a:spcPts val="196"/>
              </a:spcAft>
              <a:buClr>
                <a:prstClr val="white"/>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rPr>
              <a:t>Gave publishers </a:t>
            </a:r>
            <a:r>
              <a:rPr kumimoji="0" lang="en-US" sz="1800" b="1" i="0" u="none" strike="noStrike" kern="1200" cap="none" spc="0" normalizeH="0" baseline="0" noProof="0" dirty="0">
                <a:ln>
                  <a:noFill/>
                </a:ln>
                <a:solidFill>
                  <a:srgbClr val="50E7FF"/>
                </a:solidFill>
                <a:effectLst/>
                <a:uLnTx/>
                <a:uFillTx/>
                <a:latin typeface="Segoe UI Semibold" panose="020B0702040204020203" pitchFamily="34" charset="0"/>
                <a:ea typeface="+mn-ea"/>
                <a:cs typeface="Segoe UI Semibold" panose="020B0702040204020203" pitchFamily="34" charset="0"/>
              </a:rPr>
              <a:t>actionable business insights</a:t>
            </a:r>
            <a:r>
              <a:rPr kumimoji="0" lang="en-US" sz="1800"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rPr>
              <a:t>, enabling them to proactively respond to customer demand</a:t>
            </a:r>
          </a:p>
          <a:p>
            <a:pPr marL="173665" marR="0" lvl="0" indent="-173665" algn="l" defTabSz="914169" rtl="0" eaLnBrk="1" fontAlgn="base" latinLnBrk="0" hangingPunct="1">
              <a:lnSpc>
                <a:spcPct val="100000"/>
              </a:lnSpc>
              <a:spcBef>
                <a:spcPct val="0"/>
              </a:spcBef>
              <a:spcAft>
                <a:spcPts val="196"/>
              </a:spcAft>
              <a:buClr>
                <a:prstClr val="white"/>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rPr>
              <a:t>Reduced XBOX process efforts by two thirds and </a:t>
            </a:r>
            <a:r>
              <a:rPr kumimoji="0" lang="en-US" sz="1800" b="1" i="0" u="none" strike="noStrike" kern="1200" cap="none" spc="0" normalizeH="0" baseline="0" noProof="0" dirty="0">
                <a:ln>
                  <a:noFill/>
                </a:ln>
                <a:solidFill>
                  <a:srgbClr val="50E7FF"/>
                </a:solidFill>
                <a:effectLst/>
                <a:uLnTx/>
                <a:uFillTx/>
                <a:latin typeface="Segoe UI Semibold" panose="020B0702040204020203" pitchFamily="34" charset="0"/>
                <a:ea typeface="+mn-ea"/>
                <a:cs typeface="Segoe UI Semibold" panose="020B0702040204020203" pitchFamily="34" charset="0"/>
              </a:rPr>
              <a:t>saved publishers time</a:t>
            </a:r>
            <a:r>
              <a:rPr kumimoji="0" lang="en-US" sz="1800"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rPr>
              <a:t> by eliminating the need for manual audits </a:t>
            </a:r>
          </a:p>
        </p:txBody>
      </p:sp>
      <p:grpSp>
        <p:nvGrpSpPr>
          <p:cNvPr id="2" name="Group 1">
            <a:extLst>
              <a:ext uri="{FF2B5EF4-FFF2-40B4-BE49-F238E27FC236}">
                <a16:creationId xmlns:a16="http://schemas.microsoft.com/office/drawing/2014/main" id="{B07BF8A3-21DE-4092-9EF1-EE3660338025}"/>
              </a:ext>
            </a:extLst>
          </p:cNvPr>
          <p:cNvGrpSpPr/>
          <p:nvPr/>
        </p:nvGrpSpPr>
        <p:grpSpPr>
          <a:xfrm>
            <a:off x="-5140" y="5518894"/>
            <a:ext cx="12214595" cy="1360595"/>
            <a:chOff x="-5140" y="5518894"/>
            <a:chExt cx="12214595" cy="1360595"/>
          </a:xfrm>
        </p:grpSpPr>
        <p:sp>
          <p:nvSpPr>
            <p:cNvPr id="3" name="Rectangle 2">
              <a:extLst>
                <a:ext uri="{FF2B5EF4-FFF2-40B4-BE49-F238E27FC236}">
                  <a16:creationId xmlns:a16="http://schemas.microsoft.com/office/drawing/2014/main" id="{1FDFF06C-F651-40DC-9602-92B76F8FC2A3}"/>
                </a:ext>
              </a:extLst>
            </p:cNvPr>
            <p:cNvSpPr/>
            <p:nvPr/>
          </p:nvSpPr>
          <p:spPr>
            <a:xfrm>
              <a:off x="-5140" y="5518894"/>
              <a:ext cx="12214595" cy="1360595"/>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5" tIns="91415" rIns="91415" bIns="91415" numCol="1" spcCol="0" rtlCol="0" fromWordArt="0" anchor="b" anchorCtr="0" forceAA="0" compatLnSpc="1">
              <a:prstTxWarp prst="textNoShape">
                <a:avLst/>
              </a:prstTxWarp>
              <a:noAutofit/>
            </a:bodyPr>
            <a:lstStyle/>
            <a:p>
              <a:pPr marL="0" marR="0" lvl="0" indent="0" algn="r" defTabSz="108763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7" name="TextBox 6">
              <a:extLst>
                <a:ext uri="{FF2B5EF4-FFF2-40B4-BE49-F238E27FC236}">
                  <a16:creationId xmlns:a16="http://schemas.microsoft.com/office/drawing/2014/main" id="{023B9BFA-58B6-4446-BD3D-608C1D1A9002}"/>
                </a:ext>
              </a:extLst>
            </p:cNvPr>
            <p:cNvSpPr txBox="1"/>
            <p:nvPr/>
          </p:nvSpPr>
          <p:spPr>
            <a:xfrm>
              <a:off x="1803116" y="5599027"/>
              <a:ext cx="10284430"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We are developing an ecosystem within the gaming industry that connects developers and publishers to game performance. Providing near real-time access to data greatly improves the process’ effectiveness and insights that lead to a more enriching experience for the partne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 Tim Stuart, Chief Financial Officer of Xbox</a:t>
              </a:r>
            </a:p>
          </p:txBody>
        </p:sp>
      </p:grpSp>
      <p:grpSp>
        <p:nvGrpSpPr>
          <p:cNvPr id="24" name="Group 23">
            <a:extLst>
              <a:ext uri="{FF2B5EF4-FFF2-40B4-BE49-F238E27FC236}">
                <a16:creationId xmlns:a16="http://schemas.microsoft.com/office/drawing/2014/main" id="{39E7E0C3-3E02-425E-8651-2381FC80D043}"/>
              </a:ext>
            </a:extLst>
          </p:cNvPr>
          <p:cNvGrpSpPr/>
          <p:nvPr/>
        </p:nvGrpSpPr>
        <p:grpSpPr>
          <a:xfrm>
            <a:off x="5762244" y="1312966"/>
            <a:ext cx="667512" cy="3582795"/>
            <a:chOff x="5762244" y="1424709"/>
            <a:chExt cx="667512" cy="3582795"/>
          </a:xfrm>
        </p:grpSpPr>
        <p:cxnSp>
          <p:nvCxnSpPr>
            <p:cNvPr id="25" name="Straight Connector 24">
              <a:extLst>
                <a:ext uri="{FF2B5EF4-FFF2-40B4-BE49-F238E27FC236}">
                  <a16:creationId xmlns:a16="http://schemas.microsoft.com/office/drawing/2014/main" id="{6CA6E488-3849-4939-B120-96A5E04E83FC}"/>
                </a:ext>
              </a:extLst>
            </p:cNvPr>
            <p:cNvCxnSpPr>
              <a:cxnSpLocks/>
            </p:cNvCxnSpPr>
            <p:nvPr/>
          </p:nvCxnSpPr>
          <p:spPr>
            <a:xfrm>
              <a:off x="6096000" y="1424709"/>
              <a:ext cx="0" cy="3582795"/>
            </a:xfrm>
            <a:prstGeom prst="line">
              <a:avLst/>
            </a:prstGeom>
            <a:noFill/>
            <a:ln w="34925" cap="rnd" cmpd="sng" algn="ctr">
              <a:solidFill>
                <a:srgbClr val="00BCF2"/>
              </a:solidFill>
              <a:prstDash val="solid"/>
              <a:headEnd type="none"/>
              <a:tailEnd type="none"/>
            </a:ln>
            <a:effectLst/>
          </p:spPr>
        </p:cxnSp>
        <p:grpSp>
          <p:nvGrpSpPr>
            <p:cNvPr id="26" name="Group 25">
              <a:extLst>
                <a:ext uri="{FF2B5EF4-FFF2-40B4-BE49-F238E27FC236}">
                  <a16:creationId xmlns:a16="http://schemas.microsoft.com/office/drawing/2014/main" id="{61B83086-4C3B-4968-9568-20D09B563398}"/>
                </a:ext>
              </a:extLst>
            </p:cNvPr>
            <p:cNvGrpSpPr/>
            <p:nvPr/>
          </p:nvGrpSpPr>
          <p:grpSpPr>
            <a:xfrm>
              <a:off x="5762244" y="2882350"/>
              <a:ext cx="667512" cy="667512"/>
              <a:chOff x="4970016" y="3801095"/>
              <a:chExt cx="584318" cy="584318"/>
            </a:xfrm>
          </p:grpSpPr>
          <p:sp>
            <p:nvSpPr>
              <p:cNvPr id="27" name="Oval 26">
                <a:extLst>
                  <a:ext uri="{FF2B5EF4-FFF2-40B4-BE49-F238E27FC236}">
                    <a16:creationId xmlns:a16="http://schemas.microsoft.com/office/drawing/2014/main" id="{3A0B67F6-D7CB-4986-977D-1190F86BCAF0}"/>
                  </a:ext>
                </a:extLst>
              </p:cNvPr>
              <p:cNvSpPr/>
              <p:nvPr/>
            </p:nvSpPr>
            <p:spPr bwMode="auto">
              <a:xfrm>
                <a:off x="4970016" y="3801095"/>
                <a:ext cx="584318" cy="584318"/>
              </a:xfrm>
              <a:prstGeom prst="ellipse">
                <a:avLst/>
              </a:prstGeom>
              <a:solidFill>
                <a:srgbClr val="FFFFFF"/>
              </a:solidFill>
              <a:ln w="9525"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Arrow: Chevron 27">
                <a:extLst>
                  <a:ext uri="{FF2B5EF4-FFF2-40B4-BE49-F238E27FC236}">
                    <a16:creationId xmlns:a16="http://schemas.microsoft.com/office/drawing/2014/main" id="{DE014A94-1191-4728-A25A-7C1F203584FA}"/>
                  </a:ext>
                </a:extLst>
              </p:cNvPr>
              <p:cNvSpPr/>
              <p:nvPr/>
            </p:nvSpPr>
            <p:spPr bwMode="auto">
              <a:xfrm flipV="1">
                <a:off x="5154501" y="3924787"/>
                <a:ext cx="262254" cy="336935"/>
              </a:xfrm>
              <a:prstGeom prst="chevron">
                <a:avLst/>
              </a:prstGeom>
              <a:solidFill>
                <a:srgbClr val="0067B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pic>
        <p:nvPicPr>
          <p:cNvPr id="22" name="Picture 8" descr="Image result for xbox logo transparent">
            <a:extLst>
              <a:ext uri="{FF2B5EF4-FFF2-40B4-BE49-F238E27FC236}">
                <a16:creationId xmlns:a16="http://schemas.microsoft.com/office/drawing/2014/main" id="{61DB7CF7-7E01-4643-BE82-22D87D6ADD9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662" y="5999464"/>
            <a:ext cx="1516412" cy="4608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6610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65B1646F-7656-4F7F-A3C5-BFF5492078C7}"/>
              </a:ext>
            </a:extLst>
          </p:cNvPr>
          <p:cNvSpPr>
            <a:spLocks noGrp="1"/>
          </p:cNvSpPr>
          <p:nvPr>
            <p:ph type="title"/>
          </p:nvPr>
        </p:nvSpPr>
        <p:spPr/>
        <p:txBody>
          <a:bodyPr/>
          <a:lstStyle/>
          <a:p>
            <a:r>
              <a:rPr lang="en-US" sz="3600" b="1" spc="-50" dirty="0">
                <a:gradFill>
                  <a:gsLst>
                    <a:gs pos="1250">
                      <a:schemeClr val="tx1"/>
                    </a:gs>
                    <a:gs pos="100000">
                      <a:schemeClr val="tx1"/>
                    </a:gs>
                  </a:gsLst>
                  <a:lin ang="5400000" scaled="0"/>
                </a:gradFill>
              </a:rPr>
              <a:t>Microsoft journey</a:t>
            </a:r>
          </a:p>
        </p:txBody>
      </p:sp>
      <p:sp>
        <p:nvSpPr>
          <p:cNvPr id="41" name="Text Placeholder 62">
            <a:extLst>
              <a:ext uri="{FF2B5EF4-FFF2-40B4-BE49-F238E27FC236}">
                <a16:creationId xmlns:a16="http://schemas.microsoft.com/office/drawing/2014/main" id="{86B8A1E7-4A85-4901-B052-F6028444B2CF}"/>
              </a:ext>
            </a:extLst>
          </p:cNvPr>
          <p:cNvSpPr txBox="1">
            <a:spLocks/>
          </p:cNvSpPr>
          <p:nvPr/>
        </p:nvSpPr>
        <p:spPr>
          <a:xfrm>
            <a:off x="2758185" y="4065311"/>
            <a:ext cx="2108613" cy="633625"/>
          </a:xfrm>
          <a:prstGeom prst="rect">
            <a:avLst/>
          </a:prstGeom>
        </p:spPr>
        <p:txBody>
          <a:bodyPr wrap="square" lIns="0" r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882"/>
              </a:spcBef>
              <a:spcAft>
                <a:spcPts val="0"/>
              </a:spcAft>
              <a:buClrTx/>
              <a:buSzPct val="90000"/>
              <a:buFont typeface="Wingdings" panose="05000000000000000000" pitchFamily="2" charset="2"/>
              <a:buNone/>
              <a:tabLst/>
              <a:defRPr/>
            </a:pPr>
            <a: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t>223,000</a:t>
            </a:r>
            <a:b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br>
            <a: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t>customers</a:t>
            </a:r>
          </a:p>
        </p:txBody>
      </p:sp>
      <p:cxnSp>
        <p:nvCxnSpPr>
          <p:cNvPr id="47" name="Straight Connector 46">
            <a:extLst>
              <a:ext uri="{FF2B5EF4-FFF2-40B4-BE49-F238E27FC236}">
                <a16:creationId xmlns:a16="http://schemas.microsoft.com/office/drawing/2014/main" id="{8E9A33C8-DB9E-44B0-82FA-D8A701094CC0}"/>
              </a:ext>
            </a:extLst>
          </p:cNvPr>
          <p:cNvCxnSpPr>
            <a:cxnSpLocks/>
          </p:cNvCxnSpPr>
          <p:nvPr/>
        </p:nvCxnSpPr>
        <p:spPr>
          <a:xfrm>
            <a:off x="3274634" y="3752965"/>
            <a:ext cx="1075710" cy="0"/>
          </a:xfrm>
          <a:prstGeom prst="line">
            <a:avLst/>
          </a:prstGeom>
          <a:ln w="381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3" name="people_12">
            <a:extLst>
              <a:ext uri="{FF2B5EF4-FFF2-40B4-BE49-F238E27FC236}">
                <a16:creationId xmlns:a16="http://schemas.microsoft.com/office/drawing/2014/main" id="{6BD3F5D3-E221-420A-A180-310A4D217F4A}"/>
              </a:ext>
            </a:extLst>
          </p:cNvPr>
          <p:cNvSpPr>
            <a:spLocks noChangeAspect="1" noEditPoints="1"/>
          </p:cNvSpPr>
          <p:nvPr/>
        </p:nvSpPr>
        <p:spPr bwMode="auto">
          <a:xfrm>
            <a:off x="3432773" y="2792689"/>
            <a:ext cx="759434" cy="64793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2" name="Text Placeholder 62">
            <a:extLst>
              <a:ext uri="{FF2B5EF4-FFF2-40B4-BE49-F238E27FC236}">
                <a16:creationId xmlns:a16="http://schemas.microsoft.com/office/drawing/2014/main" id="{360CF803-F36C-4970-9D18-FF0EBE2092E0}"/>
              </a:ext>
            </a:extLst>
          </p:cNvPr>
          <p:cNvSpPr txBox="1">
            <a:spLocks/>
          </p:cNvSpPr>
          <p:nvPr/>
        </p:nvSpPr>
        <p:spPr>
          <a:xfrm>
            <a:off x="5060372" y="4065311"/>
            <a:ext cx="2108613" cy="633625"/>
          </a:xfrm>
          <a:prstGeom prst="rect">
            <a:avLst/>
          </a:prstGeom>
        </p:spPr>
        <p:txBody>
          <a:bodyPr wrap="square" lIns="0" r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882"/>
              </a:spcBef>
              <a:spcAft>
                <a:spcPts val="0"/>
              </a:spcAft>
              <a:buClrTx/>
              <a:buSzPct val="90000"/>
              <a:buFont typeface="Wingdings" panose="05000000000000000000" pitchFamily="2" charset="2"/>
              <a:buNone/>
              <a:tabLst/>
              <a:defRPr/>
            </a:pPr>
            <a: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t>3.3 million</a:t>
            </a:r>
            <a:b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br>
            <a: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t>users</a:t>
            </a:r>
          </a:p>
        </p:txBody>
      </p:sp>
      <p:cxnSp>
        <p:nvCxnSpPr>
          <p:cNvPr id="48" name="Straight Connector 47">
            <a:extLst>
              <a:ext uri="{FF2B5EF4-FFF2-40B4-BE49-F238E27FC236}">
                <a16:creationId xmlns:a16="http://schemas.microsoft.com/office/drawing/2014/main" id="{B0727AFC-C009-47C7-A3F7-329CFD0718CB}"/>
              </a:ext>
            </a:extLst>
          </p:cNvPr>
          <p:cNvCxnSpPr>
            <a:cxnSpLocks/>
          </p:cNvCxnSpPr>
          <p:nvPr/>
        </p:nvCxnSpPr>
        <p:spPr>
          <a:xfrm>
            <a:off x="5576821" y="3752965"/>
            <a:ext cx="1075710" cy="0"/>
          </a:xfrm>
          <a:prstGeom prst="line">
            <a:avLst/>
          </a:prstGeom>
          <a:ln w="381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ContactCard_EEBD">
            <a:extLst>
              <a:ext uri="{FF2B5EF4-FFF2-40B4-BE49-F238E27FC236}">
                <a16:creationId xmlns:a16="http://schemas.microsoft.com/office/drawing/2014/main" id="{09422856-84C6-4F35-814B-0123FFB0006E}"/>
              </a:ext>
            </a:extLst>
          </p:cNvPr>
          <p:cNvSpPr>
            <a:spLocks noChangeAspect="1" noEditPoints="1"/>
          </p:cNvSpPr>
          <p:nvPr/>
        </p:nvSpPr>
        <p:spPr bwMode="auto">
          <a:xfrm>
            <a:off x="5709721" y="2819491"/>
            <a:ext cx="809915" cy="594327"/>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Text Placeholder 62">
            <a:extLst>
              <a:ext uri="{FF2B5EF4-FFF2-40B4-BE49-F238E27FC236}">
                <a16:creationId xmlns:a16="http://schemas.microsoft.com/office/drawing/2014/main" id="{F36C43C4-0954-4002-AA00-7D6209B8C99F}"/>
              </a:ext>
            </a:extLst>
          </p:cNvPr>
          <p:cNvSpPr txBox="1">
            <a:spLocks/>
          </p:cNvSpPr>
          <p:nvPr/>
        </p:nvSpPr>
        <p:spPr>
          <a:xfrm>
            <a:off x="7362560" y="4065311"/>
            <a:ext cx="2108613" cy="633625"/>
          </a:xfrm>
          <a:prstGeom prst="rect">
            <a:avLst/>
          </a:prstGeom>
        </p:spPr>
        <p:txBody>
          <a:bodyPr wrap="square" lIns="0" r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882"/>
              </a:spcBef>
              <a:spcAft>
                <a:spcPts val="0"/>
              </a:spcAft>
              <a:buClrTx/>
              <a:buSzPct val="90000"/>
              <a:buFont typeface="Wingdings" panose="05000000000000000000" pitchFamily="2" charset="2"/>
              <a:buNone/>
              <a:tabLst/>
              <a:defRPr/>
            </a:pPr>
            <a: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t>Sold in 196</a:t>
            </a:r>
            <a:b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br>
            <a: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t>countries</a:t>
            </a:r>
          </a:p>
        </p:txBody>
      </p:sp>
      <p:cxnSp>
        <p:nvCxnSpPr>
          <p:cNvPr id="49" name="Straight Connector 48">
            <a:extLst>
              <a:ext uri="{FF2B5EF4-FFF2-40B4-BE49-F238E27FC236}">
                <a16:creationId xmlns:a16="http://schemas.microsoft.com/office/drawing/2014/main" id="{4997D426-AA0B-4A44-B303-20266BF03FD2}"/>
              </a:ext>
            </a:extLst>
          </p:cNvPr>
          <p:cNvCxnSpPr>
            <a:cxnSpLocks/>
          </p:cNvCxnSpPr>
          <p:nvPr/>
        </p:nvCxnSpPr>
        <p:spPr>
          <a:xfrm>
            <a:off x="7879009" y="3752965"/>
            <a:ext cx="1075710" cy="0"/>
          </a:xfrm>
          <a:prstGeom prst="line">
            <a:avLst/>
          </a:prstGeom>
          <a:ln w="381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globe_4">
            <a:extLst>
              <a:ext uri="{FF2B5EF4-FFF2-40B4-BE49-F238E27FC236}">
                <a16:creationId xmlns:a16="http://schemas.microsoft.com/office/drawing/2014/main" id="{37F4A962-8164-4C29-900D-F29705C57C13}"/>
              </a:ext>
            </a:extLst>
          </p:cNvPr>
          <p:cNvSpPr>
            <a:spLocks noChangeAspect="1" noEditPoints="1"/>
          </p:cNvSpPr>
          <p:nvPr/>
        </p:nvSpPr>
        <p:spPr bwMode="auto">
          <a:xfrm>
            <a:off x="8096918" y="2792689"/>
            <a:ext cx="639898" cy="64793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4" name="Text Placeholder 62">
            <a:extLst>
              <a:ext uri="{FF2B5EF4-FFF2-40B4-BE49-F238E27FC236}">
                <a16:creationId xmlns:a16="http://schemas.microsoft.com/office/drawing/2014/main" id="{F77D9092-C05D-4902-937B-DEF89965FEBE}"/>
              </a:ext>
            </a:extLst>
          </p:cNvPr>
          <p:cNvSpPr txBox="1">
            <a:spLocks/>
          </p:cNvSpPr>
          <p:nvPr/>
        </p:nvSpPr>
        <p:spPr>
          <a:xfrm>
            <a:off x="9664746" y="4065311"/>
            <a:ext cx="2108613" cy="633625"/>
          </a:xfrm>
          <a:prstGeom prst="rect">
            <a:avLst/>
          </a:prstGeom>
        </p:spPr>
        <p:txBody>
          <a:bodyPr wrap="square" lIns="0" r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882"/>
              </a:spcBef>
              <a:spcAft>
                <a:spcPts val="0"/>
              </a:spcAft>
              <a:buClrTx/>
              <a:buSzPct val="90000"/>
              <a:buFont typeface="Wingdings" panose="05000000000000000000" pitchFamily="2" charset="2"/>
              <a:buNone/>
              <a:tabLst/>
              <a:defRPr/>
            </a:pPr>
            <a: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t>Served by</a:t>
            </a:r>
            <a:b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br>
            <a: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t>4,500 partners</a:t>
            </a:r>
          </a:p>
        </p:txBody>
      </p:sp>
      <p:cxnSp>
        <p:nvCxnSpPr>
          <p:cNvPr id="50" name="Straight Connector 49">
            <a:extLst>
              <a:ext uri="{FF2B5EF4-FFF2-40B4-BE49-F238E27FC236}">
                <a16:creationId xmlns:a16="http://schemas.microsoft.com/office/drawing/2014/main" id="{EF176565-F37E-43FF-BF15-85B80B1820BC}"/>
              </a:ext>
            </a:extLst>
          </p:cNvPr>
          <p:cNvCxnSpPr>
            <a:cxnSpLocks/>
          </p:cNvCxnSpPr>
          <p:nvPr/>
        </p:nvCxnSpPr>
        <p:spPr>
          <a:xfrm>
            <a:off x="10181196" y="3752965"/>
            <a:ext cx="1075710" cy="0"/>
          </a:xfrm>
          <a:prstGeom prst="line">
            <a:avLst/>
          </a:prstGeom>
          <a:ln w="381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Commitments_EC4D">
            <a:extLst>
              <a:ext uri="{FF2B5EF4-FFF2-40B4-BE49-F238E27FC236}">
                <a16:creationId xmlns:a16="http://schemas.microsoft.com/office/drawing/2014/main" id="{F5ED182B-C82E-4195-800D-305C92F7EF75}"/>
              </a:ext>
            </a:extLst>
          </p:cNvPr>
          <p:cNvSpPr>
            <a:spLocks noChangeAspect="1" noEditPoints="1"/>
          </p:cNvSpPr>
          <p:nvPr/>
        </p:nvSpPr>
        <p:spPr bwMode="auto">
          <a:xfrm>
            <a:off x="10373535" y="2792689"/>
            <a:ext cx="691033" cy="64793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5" name="Text Placeholder 62">
            <a:extLst>
              <a:ext uri="{FF2B5EF4-FFF2-40B4-BE49-F238E27FC236}">
                <a16:creationId xmlns:a16="http://schemas.microsoft.com/office/drawing/2014/main" id="{817F1E5C-03A3-48DB-BA2A-655B54851FC7}"/>
              </a:ext>
            </a:extLst>
          </p:cNvPr>
          <p:cNvSpPr txBox="1">
            <a:spLocks/>
          </p:cNvSpPr>
          <p:nvPr/>
        </p:nvSpPr>
        <p:spPr>
          <a:xfrm>
            <a:off x="455996" y="4065311"/>
            <a:ext cx="2108613" cy="633625"/>
          </a:xfrm>
          <a:prstGeom prst="rect">
            <a:avLst/>
          </a:prstGeom>
        </p:spPr>
        <p:txBody>
          <a:bodyPr wrap="square" lIns="0" r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882"/>
              </a:spcBef>
              <a:spcAft>
                <a:spcPts val="0"/>
              </a:spcAft>
              <a:buClrTx/>
              <a:buSzPct val="90000"/>
              <a:buFont typeface="Wingdings" panose="05000000000000000000" pitchFamily="2" charset="2"/>
              <a:buNone/>
              <a:tabLst/>
              <a:defRPr/>
            </a:pPr>
            <a: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t>32 years</a:t>
            </a:r>
            <a:b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br>
            <a: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t>of heritage</a:t>
            </a:r>
          </a:p>
        </p:txBody>
      </p:sp>
      <p:cxnSp>
        <p:nvCxnSpPr>
          <p:cNvPr id="46" name="Straight Connector 45">
            <a:extLst>
              <a:ext uri="{FF2B5EF4-FFF2-40B4-BE49-F238E27FC236}">
                <a16:creationId xmlns:a16="http://schemas.microsoft.com/office/drawing/2014/main" id="{D32B4EE2-7459-420A-9D85-8F5471E76DB2}"/>
              </a:ext>
            </a:extLst>
          </p:cNvPr>
          <p:cNvCxnSpPr>
            <a:cxnSpLocks/>
          </p:cNvCxnSpPr>
          <p:nvPr/>
        </p:nvCxnSpPr>
        <p:spPr>
          <a:xfrm>
            <a:off x="972447" y="3752965"/>
            <a:ext cx="1075710" cy="0"/>
          </a:xfrm>
          <a:prstGeom prst="line">
            <a:avLst/>
          </a:prstGeom>
          <a:ln w="381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Ribbon2_F19B">
            <a:extLst>
              <a:ext uri="{FF2B5EF4-FFF2-40B4-BE49-F238E27FC236}">
                <a16:creationId xmlns:a16="http://schemas.microsoft.com/office/drawing/2014/main" id="{D3E1252E-B0CF-478A-A6CD-595A65B6B709}"/>
              </a:ext>
            </a:extLst>
          </p:cNvPr>
          <p:cNvSpPr>
            <a:spLocks noChangeAspect="1" noEditPoints="1"/>
          </p:cNvSpPr>
          <p:nvPr/>
        </p:nvSpPr>
        <p:spPr bwMode="auto">
          <a:xfrm>
            <a:off x="1278991" y="2792689"/>
            <a:ext cx="462624" cy="647930"/>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66" name="globe_2">
            <a:extLst>
              <a:ext uri="{FF2B5EF4-FFF2-40B4-BE49-F238E27FC236}">
                <a16:creationId xmlns:a16="http://schemas.microsoft.com/office/drawing/2014/main" id="{E1891E8A-38E4-4656-9CF4-05499E6C9B3A}"/>
              </a:ext>
            </a:extLst>
          </p:cNvPr>
          <p:cNvSpPr>
            <a:spLocks noChangeAspect="1" noEditPoints="1"/>
          </p:cNvSpPr>
          <p:nvPr/>
        </p:nvSpPr>
        <p:spPr bwMode="auto">
          <a:xfrm>
            <a:off x="11064569" y="454849"/>
            <a:ext cx="714415" cy="714415"/>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281"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3605556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350"/>
                                        <p:tgtEl>
                                          <p:spTgt spid="65"/>
                                        </p:tgtEl>
                                      </p:cBhvr>
                                    </p:animEffect>
                                  </p:childTnLst>
                                </p:cTn>
                              </p:par>
                              <p:par>
                                <p:cTn id="8" presetID="42" presetClass="path" presetSubtype="0" decel="100000" fill="hold" grpId="1" nodeType="withEffect">
                                  <p:stCondLst>
                                    <p:cond delay="0"/>
                                  </p:stCondLst>
                                  <p:childTnLst>
                                    <p:animMotion origin="layout" path="M 4.58333E-6 4.81481E-6 L 4.58333E-6 0.05 " pathEditMode="relative" rAng="0" ptsTypes="AA">
                                      <p:cBhvr>
                                        <p:cTn id="9" dur="500" spd="-100000" fill="hold"/>
                                        <p:tgtEl>
                                          <p:spTgt spid="65"/>
                                        </p:tgtEl>
                                        <p:attrNameLst>
                                          <p:attrName>ppt_x</p:attrName>
                                          <p:attrName>ppt_y</p:attrName>
                                        </p:attrNameLst>
                                      </p:cBhvr>
                                      <p:rCtr x="0" y="2500"/>
                                    </p:animMotion>
                                  </p:childTnLst>
                                </p:cTn>
                              </p:par>
                              <p:par>
                                <p:cTn id="10" presetID="10" presetClass="entr" presetSubtype="0" fill="hold" nodeType="withEffect">
                                  <p:stCondLst>
                                    <p:cond delay="0"/>
                                  </p:stCondLst>
                                  <p:childTnLst>
                                    <p:set>
                                      <p:cBhvr>
                                        <p:cTn id="11" dur="1" fill="hold">
                                          <p:stCondLst>
                                            <p:cond delay="0"/>
                                          </p:stCondLst>
                                        </p:cTn>
                                        <p:tgtEl>
                                          <p:spTgt spid="46"/>
                                        </p:tgtEl>
                                        <p:attrNameLst>
                                          <p:attrName>style.visibility</p:attrName>
                                        </p:attrNameLst>
                                      </p:cBhvr>
                                      <p:to>
                                        <p:strVal val="visible"/>
                                      </p:to>
                                    </p:set>
                                    <p:animEffect transition="in" filter="fade">
                                      <p:cBhvr>
                                        <p:cTn id="12" dur="350"/>
                                        <p:tgtEl>
                                          <p:spTgt spid="46"/>
                                        </p:tgtEl>
                                      </p:cBhvr>
                                    </p:animEffect>
                                  </p:childTnLst>
                                </p:cTn>
                              </p:par>
                              <p:par>
                                <p:cTn id="13" presetID="35" presetClass="path" presetSubtype="0" decel="100000" fill="hold" nodeType="withEffect">
                                  <p:stCondLst>
                                    <p:cond delay="0"/>
                                  </p:stCondLst>
                                  <p:childTnLst>
                                    <p:animMotion origin="layout" path="M 3.54167E-6 4.44444E-6 L 0.04961 4.44444E-6 " pathEditMode="relative" rAng="0" ptsTypes="AA">
                                      <p:cBhvr>
                                        <p:cTn id="14" dur="500" spd="-100000" fill="hold"/>
                                        <p:tgtEl>
                                          <p:spTgt spid="46"/>
                                        </p:tgtEl>
                                        <p:attrNameLst>
                                          <p:attrName>ppt_x</p:attrName>
                                          <p:attrName>ppt_y</p:attrName>
                                        </p:attrNameLst>
                                      </p:cBhvr>
                                      <p:rCtr x="2474" y="0"/>
                                    </p:animMotion>
                                  </p:childTnLst>
                                </p:cTn>
                              </p:par>
                              <p:par>
                                <p:cTn id="15" presetID="10"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350"/>
                                        <p:tgtEl>
                                          <p:spTgt spid="25"/>
                                        </p:tgtEl>
                                      </p:cBhvr>
                                    </p:animEffect>
                                  </p:childTnLst>
                                </p:cTn>
                              </p:par>
                              <p:par>
                                <p:cTn id="18" presetID="42" presetClass="path" presetSubtype="0" decel="100000" fill="hold" grpId="1" nodeType="withEffect">
                                  <p:stCondLst>
                                    <p:cond delay="0"/>
                                  </p:stCondLst>
                                  <p:childTnLst>
                                    <p:animMotion origin="layout" path="M 4.58333E-6 4.81481E-6 L 4.58333E-6 0.05 " pathEditMode="relative" rAng="0" ptsTypes="AA">
                                      <p:cBhvr>
                                        <p:cTn id="19" dur="500" spd="-100000" fill="hold"/>
                                        <p:tgtEl>
                                          <p:spTgt spid="25"/>
                                        </p:tgtEl>
                                        <p:attrNameLst>
                                          <p:attrName>ppt_x</p:attrName>
                                          <p:attrName>ppt_y</p:attrName>
                                        </p:attrNameLst>
                                      </p:cBhvr>
                                      <p:rCtr x="0" y="2500"/>
                                    </p:animMotion>
                                  </p:childTnLst>
                                </p:cTn>
                              </p:par>
                              <p:par>
                                <p:cTn id="20" presetID="10" presetClass="entr" presetSubtype="0" fill="hold" grpId="0" nodeType="withEffect">
                                  <p:stCondLst>
                                    <p:cond delay="250"/>
                                  </p:stCondLst>
                                  <p:childTnLst>
                                    <p:set>
                                      <p:cBhvr>
                                        <p:cTn id="21" dur="1" fill="hold">
                                          <p:stCondLst>
                                            <p:cond delay="0"/>
                                          </p:stCondLst>
                                        </p:cTn>
                                        <p:tgtEl>
                                          <p:spTgt spid="53"/>
                                        </p:tgtEl>
                                        <p:attrNameLst>
                                          <p:attrName>style.visibility</p:attrName>
                                        </p:attrNameLst>
                                      </p:cBhvr>
                                      <p:to>
                                        <p:strVal val="visible"/>
                                      </p:to>
                                    </p:set>
                                    <p:animEffect transition="in" filter="fade">
                                      <p:cBhvr>
                                        <p:cTn id="22" dur="350"/>
                                        <p:tgtEl>
                                          <p:spTgt spid="53"/>
                                        </p:tgtEl>
                                      </p:cBhvr>
                                    </p:animEffect>
                                  </p:childTnLst>
                                </p:cTn>
                              </p:par>
                              <p:par>
                                <p:cTn id="23" presetID="42" presetClass="path" presetSubtype="0" decel="100000" fill="hold" grpId="1" nodeType="withEffect">
                                  <p:stCondLst>
                                    <p:cond delay="250"/>
                                  </p:stCondLst>
                                  <p:childTnLst>
                                    <p:animMotion origin="layout" path="M 4.58333E-6 4.81481E-6 L 4.58333E-6 0.05 " pathEditMode="relative" rAng="0" ptsTypes="AA">
                                      <p:cBhvr>
                                        <p:cTn id="24" dur="500" spd="-100000" fill="hold"/>
                                        <p:tgtEl>
                                          <p:spTgt spid="53"/>
                                        </p:tgtEl>
                                        <p:attrNameLst>
                                          <p:attrName>ppt_x</p:attrName>
                                          <p:attrName>ppt_y</p:attrName>
                                        </p:attrNameLst>
                                      </p:cBhvr>
                                      <p:rCtr x="0" y="2500"/>
                                    </p:animMotion>
                                  </p:childTnLst>
                                </p:cTn>
                              </p:par>
                              <p:par>
                                <p:cTn id="25" presetID="10" presetClass="entr" presetSubtype="0" fill="hold" nodeType="withEffect">
                                  <p:stCondLst>
                                    <p:cond delay="250"/>
                                  </p:stCondLst>
                                  <p:childTnLst>
                                    <p:set>
                                      <p:cBhvr>
                                        <p:cTn id="26" dur="1" fill="hold">
                                          <p:stCondLst>
                                            <p:cond delay="0"/>
                                          </p:stCondLst>
                                        </p:cTn>
                                        <p:tgtEl>
                                          <p:spTgt spid="47"/>
                                        </p:tgtEl>
                                        <p:attrNameLst>
                                          <p:attrName>style.visibility</p:attrName>
                                        </p:attrNameLst>
                                      </p:cBhvr>
                                      <p:to>
                                        <p:strVal val="visible"/>
                                      </p:to>
                                    </p:set>
                                    <p:animEffect transition="in" filter="fade">
                                      <p:cBhvr>
                                        <p:cTn id="27" dur="350"/>
                                        <p:tgtEl>
                                          <p:spTgt spid="47"/>
                                        </p:tgtEl>
                                      </p:cBhvr>
                                    </p:animEffect>
                                  </p:childTnLst>
                                </p:cTn>
                              </p:par>
                              <p:par>
                                <p:cTn id="28" presetID="35" presetClass="path" presetSubtype="0" decel="100000" fill="hold" nodeType="withEffect">
                                  <p:stCondLst>
                                    <p:cond delay="250"/>
                                  </p:stCondLst>
                                  <p:childTnLst>
                                    <p:animMotion origin="layout" path="M 3.54167E-6 4.44444E-6 L 0.04961 4.44444E-6 " pathEditMode="relative" rAng="0" ptsTypes="AA">
                                      <p:cBhvr>
                                        <p:cTn id="29" dur="500" spd="-100000" fill="hold"/>
                                        <p:tgtEl>
                                          <p:spTgt spid="47"/>
                                        </p:tgtEl>
                                        <p:attrNameLst>
                                          <p:attrName>ppt_x</p:attrName>
                                          <p:attrName>ppt_y</p:attrName>
                                        </p:attrNameLst>
                                      </p:cBhvr>
                                      <p:rCtr x="2474" y="0"/>
                                    </p:animMotion>
                                  </p:childTnLst>
                                </p:cTn>
                              </p:par>
                              <p:par>
                                <p:cTn id="30" presetID="10" presetClass="entr" presetSubtype="0" fill="hold" grpId="0" nodeType="withEffect">
                                  <p:stCondLst>
                                    <p:cond delay="250"/>
                                  </p:stCondLst>
                                  <p:childTnLst>
                                    <p:set>
                                      <p:cBhvr>
                                        <p:cTn id="31" dur="1" fill="hold">
                                          <p:stCondLst>
                                            <p:cond delay="0"/>
                                          </p:stCondLst>
                                        </p:cTn>
                                        <p:tgtEl>
                                          <p:spTgt spid="41"/>
                                        </p:tgtEl>
                                        <p:attrNameLst>
                                          <p:attrName>style.visibility</p:attrName>
                                        </p:attrNameLst>
                                      </p:cBhvr>
                                      <p:to>
                                        <p:strVal val="visible"/>
                                      </p:to>
                                    </p:set>
                                    <p:animEffect transition="in" filter="fade">
                                      <p:cBhvr>
                                        <p:cTn id="32" dur="350"/>
                                        <p:tgtEl>
                                          <p:spTgt spid="41"/>
                                        </p:tgtEl>
                                      </p:cBhvr>
                                    </p:animEffect>
                                  </p:childTnLst>
                                </p:cTn>
                              </p:par>
                              <p:par>
                                <p:cTn id="33" presetID="42" presetClass="path" presetSubtype="0" decel="100000" fill="hold" grpId="1" nodeType="withEffect">
                                  <p:stCondLst>
                                    <p:cond delay="250"/>
                                  </p:stCondLst>
                                  <p:childTnLst>
                                    <p:animMotion origin="layout" path="M 4.58333E-6 4.81481E-6 L 4.58333E-6 0.05 " pathEditMode="relative" rAng="0" ptsTypes="AA">
                                      <p:cBhvr>
                                        <p:cTn id="34" dur="500" spd="-100000" fill="hold"/>
                                        <p:tgtEl>
                                          <p:spTgt spid="41"/>
                                        </p:tgtEl>
                                        <p:attrNameLst>
                                          <p:attrName>ppt_x</p:attrName>
                                          <p:attrName>ppt_y</p:attrName>
                                        </p:attrNameLst>
                                      </p:cBhvr>
                                      <p:rCtr x="0" y="2500"/>
                                    </p:animMotion>
                                  </p:childTnLst>
                                </p:cTn>
                              </p:par>
                              <p:par>
                                <p:cTn id="35" presetID="10" presetClass="entr" presetSubtype="0" fill="hold" grpId="0" nodeType="withEffect">
                                  <p:stCondLst>
                                    <p:cond delay="500"/>
                                  </p:stCondLst>
                                  <p:childTnLst>
                                    <p:set>
                                      <p:cBhvr>
                                        <p:cTn id="36" dur="1" fill="hold">
                                          <p:stCondLst>
                                            <p:cond delay="0"/>
                                          </p:stCondLst>
                                        </p:cTn>
                                        <p:tgtEl>
                                          <p:spTgt spid="56"/>
                                        </p:tgtEl>
                                        <p:attrNameLst>
                                          <p:attrName>style.visibility</p:attrName>
                                        </p:attrNameLst>
                                      </p:cBhvr>
                                      <p:to>
                                        <p:strVal val="visible"/>
                                      </p:to>
                                    </p:set>
                                    <p:animEffect transition="in" filter="fade">
                                      <p:cBhvr>
                                        <p:cTn id="37" dur="350"/>
                                        <p:tgtEl>
                                          <p:spTgt spid="56"/>
                                        </p:tgtEl>
                                      </p:cBhvr>
                                    </p:animEffect>
                                  </p:childTnLst>
                                </p:cTn>
                              </p:par>
                              <p:par>
                                <p:cTn id="38" presetID="42" presetClass="path" presetSubtype="0" decel="100000" fill="hold" grpId="1" nodeType="withEffect">
                                  <p:stCondLst>
                                    <p:cond delay="500"/>
                                  </p:stCondLst>
                                  <p:childTnLst>
                                    <p:animMotion origin="layout" path="M 4.58333E-6 4.81481E-6 L 4.58333E-6 0.05 " pathEditMode="relative" rAng="0" ptsTypes="AA">
                                      <p:cBhvr>
                                        <p:cTn id="39" dur="500" spd="-100000" fill="hold"/>
                                        <p:tgtEl>
                                          <p:spTgt spid="56"/>
                                        </p:tgtEl>
                                        <p:attrNameLst>
                                          <p:attrName>ppt_x</p:attrName>
                                          <p:attrName>ppt_y</p:attrName>
                                        </p:attrNameLst>
                                      </p:cBhvr>
                                      <p:rCtr x="0" y="2500"/>
                                    </p:animMotion>
                                  </p:childTnLst>
                                </p:cTn>
                              </p:par>
                              <p:par>
                                <p:cTn id="40" presetID="10" presetClass="entr" presetSubtype="0" fill="hold" nodeType="withEffect">
                                  <p:stCondLst>
                                    <p:cond delay="50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350"/>
                                        <p:tgtEl>
                                          <p:spTgt spid="48"/>
                                        </p:tgtEl>
                                      </p:cBhvr>
                                    </p:animEffect>
                                  </p:childTnLst>
                                </p:cTn>
                              </p:par>
                              <p:par>
                                <p:cTn id="43" presetID="35" presetClass="path" presetSubtype="0" decel="100000" fill="hold" nodeType="withEffect">
                                  <p:stCondLst>
                                    <p:cond delay="500"/>
                                  </p:stCondLst>
                                  <p:childTnLst>
                                    <p:animMotion origin="layout" path="M 3.54167E-6 4.44444E-6 L 0.04961 4.44444E-6 " pathEditMode="relative" rAng="0" ptsTypes="AA">
                                      <p:cBhvr>
                                        <p:cTn id="44" dur="500" spd="-100000" fill="hold"/>
                                        <p:tgtEl>
                                          <p:spTgt spid="48"/>
                                        </p:tgtEl>
                                        <p:attrNameLst>
                                          <p:attrName>ppt_x</p:attrName>
                                          <p:attrName>ppt_y</p:attrName>
                                        </p:attrNameLst>
                                      </p:cBhvr>
                                      <p:rCtr x="2474" y="0"/>
                                    </p:animMotion>
                                  </p:childTnLst>
                                </p:cTn>
                              </p:par>
                              <p:par>
                                <p:cTn id="45" presetID="10" presetClass="entr" presetSubtype="0" fill="hold" grpId="0" nodeType="withEffect">
                                  <p:stCondLst>
                                    <p:cond delay="500"/>
                                  </p:stCondLst>
                                  <p:childTnLst>
                                    <p:set>
                                      <p:cBhvr>
                                        <p:cTn id="46" dur="1" fill="hold">
                                          <p:stCondLst>
                                            <p:cond delay="0"/>
                                          </p:stCondLst>
                                        </p:cTn>
                                        <p:tgtEl>
                                          <p:spTgt spid="42"/>
                                        </p:tgtEl>
                                        <p:attrNameLst>
                                          <p:attrName>style.visibility</p:attrName>
                                        </p:attrNameLst>
                                      </p:cBhvr>
                                      <p:to>
                                        <p:strVal val="visible"/>
                                      </p:to>
                                    </p:set>
                                    <p:animEffect transition="in" filter="fade">
                                      <p:cBhvr>
                                        <p:cTn id="47" dur="350"/>
                                        <p:tgtEl>
                                          <p:spTgt spid="42"/>
                                        </p:tgtEl>
                                      </p:cBhvr>
                                    </p:animEffect>
                                  </p:childTnLst>
                                </p:cTn>
                              </p:par>
                              <p:par>
                                <p:cTn id="48" presetID="42" presetClass="path" presetSubtype="0" decel="100000" fill="hold" grpId="1" nodeType="withEffect">
                                  <p:stCondLst>
                                    <p:cond delay="500"/>
                                  </p:stCondLst>
                                  <p:childTnLst>
                                    <p:animMotion origin="layout" path="M 4.58333E-6 4.81481E-6 L 4.58333E-6 0.05 " pathEditMode="relative" rAng="0" ptsTypes="AA">
                                      <p:cBhvr>
                                        <p:cTn id="49" dur="500" spd="-100000" fill="hold"/>
                                        <p:tgtEl>
                                          <p:spTgt spid="42"/>
                                        </p:tgtEl>
                                        <p:attrNameLst>
                                          <p:attrName>ppt_x</p:attrName>
                                          <p:attrName>ppt_y</p:attrName>
                                        </p:attrNameLst>
                                      </p:cBhvr>
                                      <p:rCtr x="0" y="2500"/>
                                    </p:animMotion>
                                  </p:childTnLst>
                                </p:cTn>
                              </p:par>
                              <p:par>
                                <p:cTn id="50" presetID="10" presetClass="entr" presetSubtype="0" fill="hold" grpId="0" nodeType="withEffect">
                                  <p:stCondLst>
                                    <p:cond delay="750"/>
                                  </p:stCondLst>
                                  <p:childTnLst>
                                    <p:set>
                                      <p:cBhvr>
                                        <p:cTn id="51" dur="1" fill="hold">
                                          <p:stCondLst>
                                            <p:cond delay="0"/>
                                          </p:stCondLst>
                                        </p:cTn>
                                        <p:tgtEl>
                                          <p:spTgt spid="59"/>
                                        </p:tgtEl>
                                        <p:attrNameLst>
                                          <p:attrName>style.visibility</p:attrName>
                                        </p:attrNameLst>
                                      </p:cBhvr>
                                      <p:to>
                                        <p:strVal val="visible"/>
                                      </p:to>
                                    </p:set>
                                    <p:animEffect transition="in" filter="fade">
                                      <p:cBhvr>
                                        <p:cTn id="52" dur="350"/>
                                        <p:tgtEl>
                                          <p:spTgt spid="59"/>
                                        </p:tgtEl>
                                      </p:cBhvr>
                                    </p:animEffect>
                                  </p:childTnLst>
                                </p:cTn>
                              </p:par>
                              <p:par>
                                <p:cTn id="53" presetID="42" presetClass="path" presetSubtype="0" decel="100000" fill="hold" grpId="1" nodeType="withEffect">
                                  <p:stCondLst>
                                    <p:cond delay="750"/>
                                  </p:stCondLst>
                                  <p:childTnLst>
                                    <p:animMotion origin="layout" path="M 4.58333E-6 4.81481E-6 L 4.58333E-6 0.05 " pathEditMode="relative" rAng="0" ptsTypes="AA">
                                      <p:cBhvr>
                                        <p:cTn id="54" dur="500" spd="-100000" fill="hold"/>
                                        <p:tgtEl>
                                          <p:spTgt spid="59"/>
                                        </p:tgtEl>
                                        <p:attrNameLst>
                                          <p:attrName>ppt_x</p:attrName>
                                          <p:attrName>ppt_y</p:attrName>
                                        </p:attrNameLst>
                                      </p:cBhvr>
                                      <p:rCtr x="0" y="2500"/>
                                    </p:animMotion>
                                  </p:childTnLst>
                                </p:cTn>
                              </p:par>
                              <p:par>
                                <p:cTn id="55" presetID="10" presetClass="entr" presetSubtype="0" fill="hold" nodeType="withEffect">
                                  <p:stCondLst>
                                    <p:cond delay="750"/>
                                  </p:stCondLst>
                                  <p:childTnLst>
                                    <p:set>
                                      <p:cBhvr>
                                        <p:cTn id="56" dur="1" fill="hold">
                                          <p:stCondLst>
                                            <p:cond delay="0"/>
                                          </p:stCondLst>
                                        </p:cTn>
                                        <p:tgtEl>
                                          <p:spTgt spid="49"/>
                                        </p:tgtEl>
                                        <p:attrNameLst>
                                          <p:attrName>style.visibility</p:attrName>
                                        </p:attrNameLst>
                                      </p:cBhvr>
                                      <p:to>
                                        <p:strVal val="visible"/>
                                      </p:to>
                                    </p:set>
                                    <p:animEffect transition="in" filter="fade">
                                      <p:cBhvr>
                                        <p:cTn id="57" dur="350"/>
                                        <p:tgtEl>
                                          <p:spTgt spid="49"/>
                                        </p:tgtEl>
                                      </p:cBhvr>
                                    </p:animEffect>
                                  </p:childTnLst>
                                </p:cTn>
                              </p:par>
                              <p:par>
                                <p:cTn id="58" presetID="35" presetClass="path" presetSubtype="0" decel="100000" fill="hold" nodeType="withEffect">
                                  <p:stCondLst>
                                    <p:cond delay="750"/>
                                  </p:stCondLst>
                                  <p:childTnLst>
                                    <p:animMotion origin="layout" path="M 3.54167E-6 4.44444E-6 L 0.04961 4.44444E-6 " pathEditMode="relative" rAng="0" ptsTypes="AA">
                                      <p:cBhvr>
                                        <p:cTn id="59" dur="500" spd="-100000" fill="hold"/>
                                        <p:tgtEl>
                                          <p:spTgt spid="49"/>
                                        </p:tgtEl>
                                        <p:attrNameLst>
                                          <p:attrName>ppt_x</p:attrName>
                                          <p:attrName>ppt_y</p:attrName>
                                        </p:attrNameLst>
                                      </p:cBhvr>
                                      <p:rCtr x="2474" y="0"/>
                                    </p:animMotion>
                                  </p:childTnLst>
                                </p:cTn>
                              </p:par>
                              <p:par>
                                <p:cTn id="60" presetID="10" presetClass="entr" presetSubtype="0" fill="hold" grpId="0" nodeType="withEffect">
                                  <p:stCondLst>
                                    <p:cond delay="750"/>
                                  </p:stCondLst>
                                  <p:childTnLst>
                                    <p:set>
                                      <p:cBhvr>
                                        <p:cTn id="61" dur="1" fill="hold">
                                          <p:stCondLst>
                                            <p:cond delay="0"/>
                                          </p:stCondLst>
                                        </p:cTn>
                                        <p:tgtEl>
                                          <p:spTgt spid="43"/>
                                        </p:tgtEl>
                                        <p:attrNameLst>
                                          <p:attrName>style.visibility</p:attrName>
                                        </p:attrNameLst>
                                      </p:cBhvr>
                                      <p:to>
                                        <p:strVal val="visible"/>
                                      </p:to>
                                    </p:set>
                                    <p:animEffect transition="in" filter="fade">
                                      <p:cBhvr>
                                        <p:cTn id="62" dur="350"/>
                                        <p:tgtEl>
                                          <p:spTgt spid="43"/>
                                        </p:tgtEl>
                                      </p:cBhvr>
                                    </p:animEffect>
                                  </p:childTnLst>
                                </p:cTn>
                              </p:par>
                              <p:par>
                                <p:cTn id="63" presetID="42" presetClass="path" presetSubtype="0" decel="100000" fill="hold" grpId="1" nodeType="withEffect">
                                  <p:stCondLst>
                                    <p:cond delay="750"/>
                                  </p:stCondLst>
                                  <p:childTnLst>
                                    <p:animMotion origin="layout" path="M -4.22773E-6 -1.49796E-6 L -4.22773E-6 0.04993 " pathEditMode="relative" rAng="0" ptsTypes="AA">
                                      <p:cBhvr>
                                        <p:cTn id="64" dur="500" spd="-100000" fill="hold"/>
                                        <p:tgtEl>
                                          <p:spTgt spid="43"/>
                                        </p:tgtEl>
                                        <p:attrNameLst>
                                          <p:attrName>ppt_x</p:attrName>
                                          <p:attrName>ppt_y</p:attrName>
                                        </p:attrNameLst>
                                      </p:cBhvr>
                                      <p:rCtr x="0" y="2497"/>
                                    </p:animMotion>
                                  </p:childTnLst>
                                </p:cTn>
                              </p:par>
                              <p:par>
                                <p:cTn id="65" presetID="10" presetClass="entr" presetSubtype="0" fill="hold" grpId="0" nodeType="withEffect">
                                  <p:stCondLst>
                                    <p:cond delay="1000"/>
                                  </p:stCondLst>
                                  <p:childTnLst>
                                    <p:set>
                                      <p:cBhvr>
                                        <p:cTn id="66" dur="1" fill="hold">
                                          <p:stCondLst>
                                            <p:cond delay="0"/>
                                          </p:stCondLst>
                                        </p:cTn>
                                        <p:tgtEl>
                                          <p:spTgt spid="62"/>
                                        </p:tgtEl>
                                        <p:attrNameLst>
                                          <p:attrName>style.visibility</p:attrName>
                                        </p:attrNameLst>
                                      </p:cBhvr>
                                      <p:to>
                                        <p:strVal val="visible"/>
                                      </p:to>
                                    </p:set>
                                    <p:animEffect transition="in" filter="fade">
                                      <p:cBhvr>
                                        <p:cTn id="67" dur="350"/>
                                        <p:tgtEl>
                                          <p:spTgt spid="62"/>
                                        </p:tgtEl>
                                      </p:cBhvr>
                                    </p:animEffect>
                                  </p:childTnLst>
                                </p:cTn>
                              </p:par>
                              <p:par>
                                <p:cTn id="68" presetID="42" presetClass="path" presetSubtype="0" decel="100000" fill="hold" grpId="1" nodeType="withEffect">
                                  <p:stCondLst>
                                    <p:cond delay="1000"/>
                                  </p:stCondLst>
                                  <p:childTnLst>
                                    <p:animMotion origin="layout" path="M 4.58333E-6 4.81481E-6 L 4.58333E-6 0.05 " pathEditMode="relative" rAng="0" ptsTypes="AA">
                                      <p:cBhvr>
                                        <p:cTn id="69" dur="500" spd="-100000" fill="hold"/>
                                        <p:tgtEl>
                                          <p:spTgt spid="62"/>
                                        </p:tgtEl>
                                        <p:attrNameLst>
                                          <p:attrName>ppt_x</p:attrName>
                                          <p:attrName>ppt_y</p:attrName>
                                        </p:attrNameLst>
                                      </p:cBhvr>
                                      <p:rCtr x="0" y="2500"/>
                                    </p:animMotion>
                                  </p:childTnLst>
                                </p:cTn>
                              </p:par>
                              <p:par>
                                <p:cTn id="70" presetID="10" presetClass="entr" presetSubtype="0" fill="hold" nodeType="withEffect">
                                  <p:stCondLst>
                                    <p:cond delay="1000"/>
                                  </p:stCondLst>
                                  <p:childTnLst>
                                    <p:set>
                                      <p:cBhvr>
                                        <p:cTn id="71" dur="1" fill="hold">
                                          <p:stCondLst>
                                            <p:cond delay="0"/>
                                          </p:stCondLst>
                                        </p:cTn>
                                        <p:tgtEl>
                                          <p:spTgt spid="50"/>
                                        </p:tgtEl>
                                        <p:attrNameLst>
                                          <p:attrName>style.visibility</p:attrName>
                                        </p:attrNameLst>
                                      </p:cBhvr>
                                      <p:to>
                                        <p:strVal val="visible"/>
                                      </p:to>
                                    </p:set>
                                    <p:animEffect transition="in" filter="fade">
                                      <p:cBhvr>
                                        <p:cTn id="72" dur="350"/>
                                        <p:tgtEl>
                                          <p:spTgt spid="50"/>
                                        </p:tgtEl>
                                      </p:cBhvr>
                                    </p:animEffect>
                                  </p:childTnLst>
                                </p:cTn>
                              </p:par>
                              <p:par>
                                <p:cTn id="73" presetID="35" presetClass="path" presetSubtype="0" decel="100000" fill="hold" nodeType="withEffect">
                                  <p:stCondLst>
                                    <p:cond delay="1000"/>
                                  </p:stCondLst>
                                  <p:childTnLst>
                                    <p:animMotion origin="layout" path="M 3.54167E-6 4.44444E-6 L 0.04961 4.44444E-6 " pathEditMode="relative" rAng="0" ptsTypes="AA">
                                      <p:cBhvr>
                                        <p:cTn id="74" dur="500" spd="-100000" fill="hold"/>
                                        <p:tgtEl>
                                          <p:spTgt spid="50"/>
                                        </p:tgtEl>
                                        <p:attrNameLst>
                                          <p:attrName>ppt_x</p:attrName>
                                          <p:attrName>ppt_y</p:attrName>
                                        </p:attrNameLst>
                                      </p:cBhvr>
                                      <p:rCtr x="2474" y="0"/>
                                    </p:animMotion>
                                  </p:childTnLst>
                                </p:cTn>
                              </p:par>
                              <p:par>
                                <p:cTn id="75" presetID="10" presetClass="entr" presetSubtype="0" fill="hold" grpId="0" nodeType="withEffect">
                                  <p:stCondLst>
                                    <p:cond delay="100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350"/>
                                        <p:tgtEl>
                                          <p:spTgt spid="44"/>
                                        </p:tgtEl>
                                      </p:cBhvr>
                                    </p:animEffect>
                                  </p:childTnLst>
                                </p:cTn>
                              </p:par>
                              <p:par>
                                <p:cTn id="78" presetID="42" presetClass="path" presetSubtype="0" decel="100000" fill="hold" grpId="1" nodeType="withEffect">
                                  <p:stCondLst>
                                    <p:cond delay="1000"/>
                                  </p:stCondLst>
                                  <p:childTnLst>
                                    <p:animMotion origin="layout" path="M 4.58333E-6 4.81481E-6 L 4.58333E-6 0.05 " pathEditMode="relative" rAng="0" ptsTypes="AA">
                                      <p:cBhvr>
                                        <p:cTn id="79" dur="500" spd="-100000" fill="hold"/>
                                        <p:tgtEl>
                                          <p:spTgt spid="44"/>
                                        </p:tgtEl>
                                        <p:attrNameLst>
                                          <p:attrName>ppt_x</p:attrName>
                                          <p:attrName>ppt_y</p:attrName>
                                        </p:attrNameLst>
                                      </p:cBhvr>
                                      <p:rCtr x="0" y="2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1" grpId="1"/>
      <p:bldP spid="53" grpId="0" animBg="1"/>
      <p:bldP spid="53" grpId="1" animBg="1"/>
      <p:bldP spid="42" grpId="0"/>
      <p:bldP spid="42" grpId="1"/>
      <p:bldP spid="56" grpId="0" animBg="1"/>
      <p:bldP spid="56" grpId="1" animBg="1"/>
      <p:bldP spid="43" grpId="0"/>
      <p:bldP spid="43" grpId="1"/>
      <p:bldP spid="59" grpId="0" animBg="1"/>
      <p:bldP spid="59" grpId="1" animBg="1"/>
      <p:bldP spid="44" grpId="0"/>
      <p:bldP spid="44" grpId="1"/>
      <p:bldP spid="62" grpId="0" animBg="1"/>
      <p:bldP spid="62" grpId="1" animBg="1"/>
      <p:bldP spid="25" grpId="0"/>
      <p:bldP spid="25" grpId="1"/>
      <p:bldP spid="65" grpId="0" animBg="1"/>
      <p:bldP spid="65"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197" name="TextBox 196">
            <a:extLst>
              <a:ext uri="{FF2B5EF4-FFF2-40B4-BE49-F238E27FC236}">
                <a16:creationId xmlns:a16="http://schemas.microsoft.com/office/drawing/2014/main" id="{4DC4E34D-1F2C-4937-A197-ACA022025A0C}"/>
              </a:ext>
            </a:extLst>
          </p:cNvPr>
          <p:cNvSpPr txBox="1"/>
          <p:nvPr/>
        </p:nvSpPr>
        <p:spPr>
          <a:xfrm>
            <a:off x="8837533" y="1982441"/>
            <a:ext cx="2992517" cy="745218"/>
          </a:xfrm>
          <a:prstGeom prst="rect">
            <a:avLst/>
          </a:prstGeom>
          <a:noFill/>
        </p:spPr>
        <p:txBody>
          <a:bodyPr wrap="square" lIns="0" tIns="0" rIns="0" bIns="0" numCol="2" rtlCol="0" anchor="t">
            <a:noAutofit/>
          </a:bodyPr>
          <a:lstStyle/>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Game Purchase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Publisher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Price</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Customer Age</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Customer Gender</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Location</a:t>
            </a:r>
          </a:p>
        </p:txBody>
      </p:sp>
      <p:sp>
        <p:nvSpPr>
          <p:cNvPr id="544" name="Rectangle 543">
            <a:extLst>
              <a:ext uri="{FF2B5EF4-FFF2-40B4-BE49-F238E27FC236}">
                <a16:creationId xmlns:a16="http://schemas.microsoft.com/office/drawing/2014/main" id="{E3B848DD-DE85-4794-B551-EF511FCE9E3C}"/>
              </a:ext>
            </a:extLst>
          </p:cNvPr>
          <p:cNvSpPr/>
          <p:nvPr/>
        </p:nvSpPr>
        <p:spPr>
          <a:xfrm>
            <a:off x="8837533" y="1695568"/>
            <a:ext cx="1700316"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ONTRACT CREATED</a:t>
            </a:r>
          </a:p>
        </p:txBody>
      </p:sp>
      <p:sp>
        <p:nvSpPr>
          <p:cNvPr id="547" name="Freeform: Shape 546">
            <a:extLst>
              <a:ext uri="{FF2B5EF4-FFF2-40B4-BE49-F238E27FC236}">
                <a16:creationId xmlns:a16="http://schemas.microsoft.com/office/drawing/2014/main" id="{5471FC64-C032-4155-98B5-9A14CEB2442B}"/>
              </a:ext>
            </a:extLst>
          </p:cNvPr>
          <p:cNvSpPr/>
          <p:nvPr/>
        </p:nvSpPr>
        <p:spPr>
          <a:xfrm>
            <a:off x="8470174" y="1667949"/>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50E6FF"/>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48" name="Freeform: Shape 547">
            <a:extLst>
              <a:ext uri="{FF2B5EF4-FFF2-40B4-BE49-F238E27FC236}">
                <a16:creationId xmlns:a16="http://schemas.microsoft.com/office/drawing/2014/main" id="{087A2963-F647-4ED9-A3B6-4BD421F01E85}"/>
              </a:ext>
            </a:extLst>
          </p:cNvPr>
          <p:cNvSpPr/>
          <p:nvPr/>
        </p:nvSpPr>
        <p:spPr>
          <a:xfrm>
            <a:off x="8470174" y="1793199"/>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50E6FF"/>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49" name="Freeform: Shape 548">
            <a:extLst>
              <a:ext uri="{FF2B5EF4-FFF2-40B4-BE49-F238E27FC236}">
                <a16:creationId xmlns:a16="http://schemas.microsoft.com/office/drawing/2014/main" id="{95EB5441-E19C-4F4F-8559-272E2D160014}"/>
              </a:ext>
            </a:extLst>
          </p:cNvPr>
          <p:cNvSpPr/>
          <p:nvPr/>
        </p:nvSpPr>
        <p:spPr>
          <a:xfrm>
            <a:off x="8470174" y="1709699"/>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50E6FF"/>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50" name="Freeform: Shape 549">
            <a:extLst>
              <a:ext uri="{FF2B5EF4-FFF2-40B4-BE49-F238E27FC236}">
                <a16:creationId xmlns:a16="http://schemas.microsoft.com/office/drawing/2014/main" id="{818080D8-F5A0-4E2C-9576-5C01581163B6}"/>
              </a:ext>
            </a:extLst>
          </p:cNvPr>
          <p:cNvSpPr/>
          <p:nvPr/>
        </p:nvSpPr>
        <p:spPr>
          <a:xfrm>
            <a:off x="8470174" y="1834949"/>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50E6FF"/>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51" name="Freeform: Shape 550">
            <a:extLst>
              <a:ext uri="{FF2B5EF4-FFF2-40B4-BE49-F238E27FC236}">
                <a16:creationId xmlns:a16="http://schemas.microsoft.com/office/drawing/2014/main" id="{88121B96-0F78-4C0D-921D-F5C6F4859B6B}"/>
              </a:ext>
            </a:extLst>
          </p:cNvPr>
          <p:cNvSpPr/>
          <p:nvPr/>
        </p:nvSpPr>
        <p:spPr>
          <a:xfrm>
            <a:off x="8470174" y="1751449"/>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50E6FF"/>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52" name="Freeform: Shape 551">
            <a:extLst>
              <a:ext uri="{FF2B5EF4-FFF2-40B4-BE49-F238E27FC236}">
                <a16:creationId xmlns:a16="http://schemas.microsoft.com/office/drawing/2014/main" id="{0F7E32ED-D635-41D0-884F-C4E868499231}"/>
              </a:ext>
            </a:extLst>
          </p:cNvPr>
          <p:cNvSpPr/>
          <p:nvPr/>
        </p:nvSpPr>
        <p:spPr>
          <a:xfrm>
            <a:off x="8409307" y="1620082"/>
            <a:ext cx="290497" cy="343048"/>
          </a:xfrm>
          <a:custGeom>
            <a:avLst/>
            <a:gdLst/>
            <a:ahLst/>
            <a:cxnLst/>
            <a:rect l="0" t="0" r="0" b="0"/>
            <a:pathLst>
              <a:path w="1000125" h="1228725">
                <a:moveTo>
                  <a:pt x="921544" y="45244"/>
                </a:moveTo>
                <a:cubicBezTo>
                  <a:pt x="942556" y="45244"/>
                  <a:pt x="959644" y="62332"/>
                  <a:pt x="959644" y="83344"/>
                </a:cubicBezTo>
                <a:lnTo>
                  <a:pt x="959644" y="1150144"/>
                </a:lnTo>
                <a:cubicBezTo>
                  <a:pt x="959644" y="1171156"/>
                  <a:pt x="942556" y="1188244"/>
                  <a:pt x="921544" y="1188244"/>
                </a:cubicBezTo>
                <a:lnTo>
                  <a:pt x="83344" y="1188244"/>
                </a:lnTo>
                <a:cubicBezTo>
                  <a:pt x="62332" y="1188244"/>
                  <a:pt x="45244" y="1171156"/>
                  <a:pt x="45244" y="1150144"/>
                </a:cubicBezTo>
                <a:lnTo>
                  <a:pt x="45244" y="83344"/>
                </a:lnTo>
                <a:cubicBezTo>
                  <a:pt x="45244" y="62332"/>
                  <a:pt x="62332" y="45244"/>
                  <a:pt x="83344" y="45244"/>
                </a:cubicBezTo>
                <a:lnTo>
                  <a:pt x="921544" y="45244"/>
                </a:lnTo>
                <a:moveTo>
                  <a:pt x="921544" y="7144"/>
                </a:moveTo>
                <a:lnTo>
                  <a:pt x="83344" y="7144"/>
                </a:lnTo>
                <a:cubicBezTo>
                  <a:pt x="41262" y="7144"/>
                  <a:pt x="7144" y="41262"/>
                  <a:pt x="7144" y="83344"/>
                </a:cubicBezTo>
                <a:lnTo>
                  <a:pt x="7144" y="1150144"/>
                </a:lnTo>
                <a:cubicBezTo>
                  <a:pt x="7144" y="1192225"/>
                  <a:pt x="41262" y="1226344"/>
                  <a:pt x="83344" y="1226344"/>
                </a:cubicBezTo>
                <a:lnTo>
                  <a:pt x="921544" y="1226344"/>
                </a:lnTo>
                <a:cubicBezTo>
                  <a:pt x="963625" y="1226344"/>
                  <a:pt x="997744" y="1192225"/>
                  <a:pt x="997744" y="1150144"/>
                </a:cubicBezTo>
                <a:lnTo>
                  <a:pt x="997744" y="83344"/>
                </a:lnTo>
                <a:cubicBezTo>
                  <a:pt x="997744" y="41262"/>
                  <a:pt x="963625" y="7144"/>
                  <a:pt x="921544" y="7144"/>
                </a:cubicBezTo>
                <a:lnTo>
                  <a:pt x="921544" y="7144"/>
                </a:lnTo>
                <a:close/>
              </a:path>
            </a:pathLst>
          </a:custGeom>
          <a:solidFill>
            <a:srgbClr val="50E6FF"/>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53" name="Freeform: Shape 552">
            <a:extLst>
              <a:ext uri="{FF2B5EF4-FFF2-40B4-BE49-F238E27FC236}">
                <a16:creationId xmlns:a16="http://schemas.microsoft.com/office/drawing/2014/main" id="{0BDBBED5-DE59-4724-B37F-0920670F320F}"/>
              </a:ext>
            </a:extLst>
          </p:cNvPr>
          <p:cNvSpPr/>
          <p:nvPr/>
        </p:nvSpPr>
        <p:spPr>
          <a:xfrm>
            <a:off x="8470174" y="1877876"/>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50E6FF"/>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54" name="Freeform: Shape 553">
            <a:extLst>
              <a:ext uri="{FF2B5EF4-FFF2-40B4-BE49-F238E27FC236}">
                <a16:creationId xmlns:a16="http://schemas.microsoft.com/office/drawing/2014/main" id="{F23175F1-60EF-4F83-B073-98FE0DE3C55A}"/>
              </a:ext>
            </a:extLst>
          </p:cNvPr>
          <p:cNvSpPr/>
          <p:nvPr/>
        </p:nvSpPr>
        <p:spPr>
          <a:xfrm>
            <a:off x="8470174" y="1919625"/>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50E6FF"/>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56" name="Oval 555">
            <a:extLst>
              <a:ext uri="{FF2B5EF4-FFF2-40B4-BE49-F238E27FC236}">
                <a16:creationId xmlns:a16="http://schemas.microsoft.com/office/drawing/2014/main" id="{8D6A4910-15A6-4418-BE3B-D87E2B676CC0}"/>
              </a:ext>
            </a:extLst>
          </p:cNvPr>
          <p:cNvSpPr/>
          <p:nvPr/>
        </p:nvSpPr>
        <p:spPr bwMode="auto">
          <a:xfrm>
            <a:off x="8335101" y="1799847"/>
            <a:ext cx="206735" cy="19871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342" name="Freeform: Shape 341">
            <a:extLst>
              <a:ext uri="{FF2B5EF4-FFF2-40B4-BE49-F238E27FC236}">
                <a16:creationId xmlns:a16="http://schemas.microsoft.com/office/drawing/2014/main" id="{0F689A6B-A6EB-4B3E-97CA-AE11B6612D81}"/>
              </a:ext>
            </a:extLst>
          </p:cNvPr>
          <p:cNvSpPr/>
          <p:nvPr/>
        </p:nvSpPr>
        <p:spPr>
          <a:xfrm>
            <a:off x="8346648" y="1838821"/>
            <a:ext cx="160736" cy="119689"/>
          </a:xfrm>
          <a:custGeom>
            <a:avLst/>
            <a:gdLst/>
            <a:ahLst/>
            <a:cxnLst/>
            <a:rect l="0" t="0" r="0" b="0"/>
            <a:pathLst>
              <a:path w="581025" h="466725">
                <a:moveTo>
                  <a:pt x="559594" y="426244"/>
                </a:moveTo>
                <a:lnTo>
                  <a:pt x="225209" y="426244"/>
                </a:lnTo>
                <a:lnTo>
                  <a:pt x="512988" y="191777"/>
                </a:lnTo>
                <a:cubicBezTo>
                  <a:pt x="545373" y="165383"/>
                  <a:pt x="549869" y="117996"/>
                  <a:pt x="522980" y="86173"/>
                </a:cubicBezTo>
                <a:lnTo>
                  <a:pt x="479041" y="34205"/>
                </a:lnTo>
                <a:cubicBezTo>
                  <a:pt x="452142" y="2391"/>
                  <a:pt x="403898" y="-2009"/>
                  <a:pt x="371494" y="24394"/>
                </a:cubicBezTo>
                <a:lnTo>
                  <a:pt x="77172" y="264215"/>
                </a:lnTo>
                <a:cubicBezTo>
                  <a:pt x="77162" y="264224"/>
                  <a:pt x="77143" y="264262"/>
                  <a:pt x="77124" y="264281"/>
                </a:cubicBezTo>
                <a:cubicBezTo>
                  <a:pt x="75343" y="265720"/>
                  <a:pt x="73962" y="267567"/>
                  <a:pt x="72790" y="269539"/>
                </a:cubicBezTo>
                <a:cubicBezTo>
                  <a:pt x="72485" y="270053"/>
                  <a:pt x="72200" y="270539"/>
                  <a:pt x="71961" y="271092"/>
                </a:cubicBezTo>
                <a:cubicBezTo>
                  <a:pt x="71733" y="271539"/>
                  <a:pt x="71399" y="271930"/>
                  <a:pt x="71228" y="272425"/>
                </a:cubicBezTo>
                <a:lnTo>
                  <a:pt x="8382" y="437970"/>
                </a:lnTo>
                <a:cubicBezTo>
                  <a:pt x="8030" y="438903"/>
                  <a:pt x="7925" y="439856"/>
                  <a:pt x="7725" y="440818"/>
                </a:cubicBezTo>
                <a:cubicBezTo>
                  <a:pt x="7639" y="441170"/>
                  <a:pt x="7553" y="441513"/>
                  <a:pt x="7487" y="441865"/>
                </a:cubicBezTo>
                <a:cubicBezTo>
                  <a:pt x="7372" y="442589"/>
                  <a:pt x="7306" y="443304"/>
                  <a:pt x="7277" y="444037"/>
                </a:cubicBezTo>
                <a:cubicBezTo>
                  <a:pt x="7249" y="444447"/>
                  <a:pt x="7144" y="444856"/>
                  <a:pt x="7144" y="445294"/>
                </a:cubicBezTo>
                <a:cubicBezTo>
                  <a:pt x="7144" y="455458"/>
                  <a:pt x="15135" y="463697"/>
                  <a:pt x="25165" y="464240"/>
                </a:cubicBezTo>
                <a:cubicBezTo>
                  <a:pt x="25203" y="464240"/>
                  <a:pt x="25232" y="464249"/>
                  <a:pt x="25270" y="464249"/>
                </a:cubicBezTo>
                <a:cubicBezTo>
                  <a:pt x="25575" y="464268"/>
                  <a:pt x="25879" y="464344"/>
                  <a:pt x="26194" y="464344"/>
                </a:cubicBezTo>
                <a:lnTo>
                  <a:pt x="559594" y="464344"/>
                </a:lnTo>
                <a:cubicBezTo>
                  <a:pt x="570109" y="464344"/>
                  <a:pt x="578644" y="455810"/>
                  <a:pt x="578644" y="445294"/>
                </a:cubicBezTo>
                <a:cubicBezTo>
                  <a:pt x="578644" y="434779"/>
                  <a:pt x="570109" y="426244"/>
                  <a:pt x="559594" y="426244"/>
                </a:cubicBezTo>
                <a:close/>
                <a:moveTo>
                  <a:pt x="396935" y="54484"/>
                </a:moveTo>
                <a:cubicBezTo>
                  <a:pt x="412442" y="41863"/>
                  <a:pt x="435531" y="43949"/>
                  <a:pt x="448389" y="59189"/>
                </a:cubicBezTo>
                <a:lnTo>
                  <a:pt x="492319" y="111148"/>
                </a:lnTo>
                <a:cubicBezTo>
                  <a:pt x="505197" y="126378"/>
                  <a:pt x="503034" y="149038"/>
                  <a:pt x="487528" y="161668"/>
                </a:cubicBezTo>
                <a:lnTo>
                  <a:pt x="471573" y="174651"/>
                </a:lnTo>
                <a:lnTo>
                  <a:pt x="380981" y="67485"/>
                </a:lnTo>
                <a:lnTo>
                  <a:pt x="396935" y="54484"/>
                </a:lnTo>
                <a:close/>
                <a:moveTo>
                  <a:pt x="350349" y="92450"/>
                </a:moveTo>
                <a:lnTo>
                  <a:pt x="440950" y="199626"/>
                </a:lnTo>
                <a:lnTo>
                  <a:pt x="208540" y="388992"/>
                </a:lnTo>
                <a:lnTo>
                  <a:pt x="117939" y="281817"/>
                </a:lnTo>
                <a:lnTo>
                  <a:pt x="350349" y="92450"/>
                </a:lnTo>
                <a:close/>
                <a:moveTo>
                  <a:pt x="96536" y="317736"/>
                </a:moveTo>
                <a:lnTo>
                  <a:pt x="167040" y="401146"/>
                </a:lnTo>
                <a:lnTo>
                  <a:pt x="57817" y="419691"/>
                </a:lnTo>
                <a:lnTo>
                  <a:pt x="96536" y="317736"/>
                </a:lnTo>
                <a:close/>
              </a:path>
            </a:pathLst>
          </a:custGeom>
          <a:solidFill>
            <a:srgbClr val="0078D7"/>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00" name="Straight Connector 199">
            <a:extLst>
              <a:ext uri="{FF2B5EF4-FFF2-40B4-BE49-F238E27FC236}">
                <a16:creationId xmlns:a16="http://schemas.microsoft.com/office/drawing/2014/main" id="{DE59C0B1-28BC-4267-A12F-28CC51172394}"/>
              </a:ext>
            </a:extLst>
          </p:cNvPr>
          <p:cNvCxnSpPr>
            <a:cxnSpLocks/>
          </p:cNvCxnSpPr>
          <p:nvPr/>
        </p:nvCxnSpPr>
        <p:spPr>
          <a:xfrm flipH="1">
            <a:off x="8801102" y="2691606"/>
            <a:ext cx="2590798"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grpSp>
        <p:nvGrpSpPr>
          <p:cNvPr id="11" name="Group 10">
            <a:extLst>
              <a:ext uri="{FF2B5EF4-FFF2-40B4-BE49-F238E27FC236}">
                <a16:creationId xmlns:a16="http://schemas.microsoft.com/office/drawing/2014/main" id="{A2D08897-5211-439D-B215-D9560868BDB0}"/>
              </a:ext>
            </a:extLst>
          </p:cNvPr>
          <p:cNvGrpSpPr/>
          <p:nvPr/>
        </p:nvGrpSpPr>
        <p:grpSpPr>
          <a:xfrm>
            <a:off x="8409307" y="2720685"/>
            <a:ext cx="290497" cy="343048"/>
            <a:chOff x="8409307" y="2720685"/>
            <a:chExt cx="290497" cy="343048"/>
          </a:xfrm>
          <a:solidFill>
            <a:srgbClr val="50E6FF"/>
          </a:solidFill>
        </p:grpSpPr>
        <p:sp>
          <p:nvSpPr>
            <p:cNvPr id="319" name="Freeform: Shape 318">
              <a:extLst>
                <a:ext uri="{FF2B5EF4-FFF2-40B4-BE49-F238E27FC236}">
                  <a16:creationId xmlns:a16="http://schemas.microsoft.com/office/drawing/2014/main" id="{3D21394F-6671-4F5C-8BF3-436425209867}"/>
                </a:ext>
              </a:extLst>
            </p:cNvPr>
            <p:cNvSpPr/>
            <p:nvPr/>
          </p:nvSpPr>
          <p:spPr>
            <a:xfrm>
              <a:off x="8470174" y="2768552"/>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20" name="Freeform: Shape 319">
              <a:extLst>
                <a:ext uri="{FF2B5EF4-FFF2-40B4-BE49-F238E27FC236}">
                  <a16:creationId xmlns:a16="http://schemas.microsoft.com/office/drawing/2014/main" id="{FEA44B33-3D40-4828-AFE1-35DA34727039}"/>
                </a:ext>
              </a:extLst>
            </p:cNvPr>
            <p:cNvSpPr/>
            <p:nvPr/>
          </p:nvSpPr>
          <p:spPr>
            <a:xfrm>
              <a:off x="8470174" y="2893802"/>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21" name="Freeform: Shape 320">
              <a:extLst>
                <a:ext uri="{FF2B5EF4-FFF2-40B4-BE49-F238E27FC236}">
                  <a16:creationId xmlns:a16="http://schemas.microsoft.com/office/drawing/2014/main" id="{B80951E1-AD3F-4658-A1D1-0B6EE0B320D2}"/>
                </a:ext>
              </a:extLst>
            </p:cNvPr>
            <p:cNvSpPr/>
            <p:nvPr/>
          </p:nvSpPr>
          <p:spPr>
            <a:xfrm>
              <a:off x="8470174" y="2810302"/>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22" name="Freeform: Shape 321">
              <a:extLst>
                <a:ext uri="{FF2B5EF4-FFF2-40B4-BE49-F238E27FC236}">
                  <a16:creationId xmlns:a16="http://schemas.microsoft.com/office/drawing/2014/main" id="{9406D7BE-7FF4-471C-940D-E1289CF5D9F4}"/>
                </a:ext>
              </a:extLst>
            </p:cNvPr>
            <p:cNvSpPr/>
            <p:nvPr/>
          </p:nvSpPr>
          <p:spPr>
            <a:xfrm>
              <a:off x="8470174" y="2935552"/>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23" name="Freeform: Shape 322">
              <a:extLst>
                <a:ext uri="{FF2B5EF4-FFF2-40B4-BE49-F238E27FC236}">
                  <a16:creationId xmlns:a16="http://schemas.microsoft.com/office/drawing/2014/main" id="{510A947E-228C-489B-A444-3F69CF9E5766}"/>
                </a:ext>
              </a:extLst>
            </p:cNvPr>
            <p:cNvSpPr/>
            <p:nvPr/>
          </p:nvSpPr>
          <p:spPr>
            <a:xfrm>
              <a:off x="8470174" y="2852052"/>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26" name="Freeform: Shape 325">
              <a:extLst>
                <a:ext uri="{FF2B5EF4-FFF2-40B4-BE49-F238E27FC236}">
                  <a16:creationId xmlns:a16="http://schemas.microsoft.com/office/drawing/2014/main" id="{FEEB2D23-FE46-47E3-8B4F-220AB2587E48}"/>
                </a:ext>
              </a:extLst>
            </p:cNvPr>
            <p:cNvSpPr/>
            <p:nvPr/>
          </p:nvSpPr>
          <p:spPr>
            <a:xfrm>
              <a:off x="8409307" y="2720685"/>
              <a:ext cx="290497" cy="343048"/>
            </a:xfrm>
            <a:custGeom>
              <a:avLst/>
              <a:gdLst/>
              <a:ahLst/>
              <a:cxnLst/>
              <a:rect l="0" t="0" r="0" b="0"/>
              <a:pathLst>
                <a:path w="1000125" h="1228725">
                  <a:moveTo>
                    <a:pt x="921544" y="45244"/>
                  </a:moveTo>
                  <a:cubicBezTo>
                    <a:pt x="942556" y="45244"/>
                    <a:pt x="959644" y="62332"/>
                    <a:pt x="959644" y="83344"/>
                  </a:cubicBezTo>
                  <a:lnTo>
                    <a:pt x="959644" y="1150144"/>
                  </a:lnTo>
                  <a:cubicBezTo>
                    <a:pt x="959644" y="1171156"/>
                    <a:pt x="942556" y="1188244"/>
                    <a:pt x="921544" y="1188244"/>
                  </a:cubicBezTo>
                  <a:lnTo>
                    <a:pt x="83344" y="1188244"/>
                  </a:lnTo>
                  <a:cubicBezTo>
                    <a:pt x="62332" y="1188244"/>
                    <a:pt x="45244" y="1171156"/>
                    <a:pt x="45244" y="1150144"/>
                  </a:cubicBezTo>
                  <a:lnTo>
                    <a:pt x="45244" y="83344"/>
                  </a:lnTo>
                  <a:cubicBezTo>
                    <a:pt x="45244" y="62332"/>
                    <a:pt x="62332" y="45244"/>
                    <a:pt x="83344" y="45244"/>
                  </a:cubicBezTo>
                  <a:lnTo>
                    <a:pt x="921544" y="45244"/>
                  </a:lnTo>
                  <a:moveTo>
                    <a:pt x="921544" y="7144"/>
                  </a:moveTo>
                  <a:lnTo>
                    <a:pt x="83344" y="7144"/>
                  </a:lnTo>
                  <a:cubicBezTo>
                    <a:pt x="41262" y="7144"/>
                    <a:pt x="7144" y="41262"/>
                    <a:pt x="7144" y="83344"/>
                  </a:cubicBezTo>
                  <a:lnTo>
                    <a:pt x="7144" y="1150144"/>
                  </a:lnTo>
                  <a:cubicBezTo>
                    <a:pt x="7144" y="1192225"/>
                    <a:pt x="41262" y="1226344"/>
                    <a:pt x="83344" y="1226344"/>
                  </a:cubicBezTo>
                  <a:lnTo>
                    <a:pt x="921544" y="1226344"/>
                  </a:lnTo>
                  <a:cubicBezTo>
                    <a:pt x="963625" y="1226344"/>
                    <a:pt x="997744" y="1192225"/>
                    <a:pt x="997744" y="1150144"/>
                  </a:cubicBezTo>
                  <a:lnTo>
                    <a:pt x="997744" y="83344"/>
                  </a:lnTo>
                  <a:cubicBezTo>
                    <a:pt x="997744" y="41262"/>
                    <a:pt x="963625" y="7144"/>
                    <a:pt x="921544" y="7144"/>
                  </a:cubicBezTo>
                  <a:lnTo>
                    <a:pt x="921544" y="7144"/>
                  </a:ln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27" name="Freeform: Shape 326">
              <a:extLst>
                <a:ext uri="{FF2B5EF4-FFF2-40B4-BE49-F238E27FC236}">
                  <a16:creationId xmlns:a16="http://schemas.microsoft.com/office/drawing/2014/main" id="{4CD1A95B-0BC8-48CD-B251-74087FE47616}"/>
                </a:ext>
              </a:extLst>
            </p:cNvPr>
            <p:cNvSpPr/>
            <p:nvPr/>
          </p:nvSpPr>
          <p:spPr>
            <a:xfrm>
              <a:off x="8470174" y="2978479"/>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28" name="Freeform: Shape 327">
              <a:extLst>
                <a:ext uri="{FF2B5EF4-FFF2-40B4-BE49-F238E27FC236}">
                  <a16:creationId xmlns:a16="http://schemas.microsoft.com/office/drawing/2014/main" id="{1B93B6A7-38E5-40D8-AB66-F22B89317420}"/>
                </a:ext>
              </a:extLst>
            </p:cNvPr>
            <p:cNvSpPr/>
            <p:nvPr/>
          </p:nvSpPr>
          <p:spPr>
            <a:xfrm>
              <a:off x="8470174" y="3020228"/>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329" name="Group 328">
            <a:extLst>
              <a:ext uri="{FF2B5EF4-FFF2-40B4-BE49-F238E27FC236}">
                <a16:creationId xmlns:a16="http://schemas.microsoft.com/office/drawing/2014/main" id="{720EC42A-07B0-4C89-87A9-BDD81CACA9E4}"/>
              </a:ext>
            </a:extLst>
          </p:cNvPr>
          <p:cNvGrpSpPr/>
          <p:nvPr/>
        </p:nvGrpSpPr>
        <p:grpSpPr>
          <a:xfrm>
            <a:off x="8335101" y="2900450"/>
            <a:ext cx="206735" cy="198713"/>
            <a:chOff x="434465" y="8199646"/>
            <a:chExt cx="1102673" cy="1102673"/>
          </a:xfrm>
        </p:grpSpPr>
        <p:sp>
          <p:nvSpPr>
            <p:cNvPr id="330" name="Oval 329">
              <a:extLst>
                <a:ext uri="{FF2B5EF4-FFF2-40B4-BE49-F238E27FC236}">
                  <a16:creationId xmlns:a16="http://schemas.microsoft.com/office/drawing/2014/main" id="{102EC3AB-35E8-4A31-A0FE-9A71670C7E6F}"/>
                </a:ext>
              </a:extLst>
            </p:cNvPr>
            <p:cNvSpPr/>
            <p:nvPr/>
          </p:nvSpPr>
          <p:spPr bwMode="auto">
            <a:xfrm>
              <a:off x="434465" y="8199646"/>
              <a:ext cx="1102673" cy="11026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pic>
          <p:nvPicPr>
            <p:cNvPr id="331" name="Graphic 330" descr="Repeat">
              <a:extLst>
                <a:ext uri="{FF2B5EF4-FFF2-40B4-BE49-F238E27FC236}">
                  <a16:creationId xmlns:a16="http://schemas.microsoft.com/office/drawing/2014/main" id="{584E3FA6-F700-4354-AB69-9332890BA9A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6878" y="8222062"/>
              <a:ext cx="1057845" cy="1057839"/>
            </a:xfrm>
            <a:prstGeom prst="rect">
              <a:avLst/>
            </a:prstGeom>
          </p:spPr>
        </p:pic>
      </p:grpSp>
      <p:sp>
        <p:nvSpPr>
          <p:cNvPr id="77" name="Rectangle 76">
            <a:extLst>
              <a:ext uri="{FF2B5EF4-FFF2-40B4-BE49-F238E27FC236}">
                <a16:creationId xmlns:a16="http://schemas.microsoft.com/office/drawing/2014/main" id="{71D5094D-5C5B-42D5-90F2-ED0FB52D92B2}"/>
              </a:ext>
            </a:extLst>
          </p:cNvPr>
          <p:cNvSpPr/>
          <p:nvPr/>
        </p:nvSpPr>
        <p:spPr>
          <a:xfrm>
            <a:off x="8837533" y="2819031"/>
            <a:ext cx="2668441"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ONTRACT VISIBILITY</a:t>
            </a:r>
          </a:p>
        </p:txBody>
      </p:sp>
      <p:sp>
        <p:nvSpPr>
          <p:cNvPr id="515" name="TextBox 514">
            <a:extLst>
              <a:ext uri="{FF2B5EF4-FFF2-40B4-BE49-F238E27FC236}">
                <a16:creationId xmlns:a16="http://schemas.microsoft.com/office/drawing/2014/main" id="{66B86645-1A8A-4ED9-AD24-24BBA9F3911B}"/>
              </a:ext>
            </a:extLst>
          </p:cNvPr>
          <p:cNvSpPr txBox="1"/>
          <p:nvPr/>
        </p:nvSpPr>
        <p:spPr>
          <a:xfrm>
            <a:off x="8837533" y="3374403"/>
            <a:ext cx="2992517" cy="475201"/>
          </a:xfrm>
          <a:prstGeom prst="rect">
            <a:avLst/>
          </a:prstGeom>
          <a:noFill/>
        </p:spPr>
        <p:txBody>
          <a:bodyPr wrap="square" lIns="0" tIns="0" rIns="0" bIns="0" numCol="2" rtlCol="0" anchor="t">
            <a:noAutofit/>
          </a:bodyPr>
          <a:lstStyle/>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Top Grossing Content</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Publisher Royalty</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Publisher Deman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Net Revenue</a:t>
            </a:r>
          </a:p>
        </p:txBody>
      </p:sp>
      <p:sp>
        <p:nvSpPr>
          <p:cNvPr id="10" name="Title 9">
            <a:extLst>
              <a:ext uri="{FF2B5EF4-FFF2-40B4-BE49-F238E27FC236}">
                <a16:creationId xmlns:a16="http://schemas.microsoft.com/office/drawing/2014/main" id="{CE891725-E379-44CA-B889-31A38704DC13}"/>
              </a:ext>
            </a:extLst>
          </p:cNvPr>
          <p:cNvSpPr>
            <a:spLocks noGrp="1"/>
          </p:cNvSpPr>
          <p:nvPr>
            <p:ph type="title"/>
          </p:nvPr>
        </p:nvSpPr>
        <p:spPr>
          <a:xfrm>
            <a:off x="269240" y="289511"/>
            <a:ext cx="11655840" cy="899665"/>
          </a:xfrm>
        </p:spPr>
        <p:txBody>
          <a:bodyPr/>
          <a:lstStyle/>
          <a:p>
            <a:pPr lvl="0">
              <a:defRPr/>
            </a:pPr>
            <a:r>
              <a:rPr lang="en-US" dirty="0">
                <a:solidFill>
                  <a:schemeClr val="bg1"/>
                </a:solidFill>
              </a:rPr>
              <a:t>Blockchain in action | Manage royalty payments</a:t>
            </a:r>
          </a:p>
        </p:txBody>
      </p:sp>
      <p:sp>
        <p:nvSpPr>
          <p:cNvPr id="238" name="Rectangle 237">
            <a:extLst>
              <a:ext uri="{FF2B5EF4-FFF2-40B4-BE49-F238E27FC236}">
                <a16:creationId xmlns:a16="http://schemas.microsoft.com/office/drawing/2014/main" id="{DB6DB5E8-5FE2-424F-9722-F90E47555B5F}"/>
              </a:ext>
            </a:extLst>
          </p:cNvPr>
          <p:cNvSpPr/>
          <p:nvPr/>
        </p:nvSpPr>
        <p:spPr>
          <a:xfrm>
            <a:off x="8837533" y="3143516"/>
            <a:ext cx="2668441"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XBOX Platform</a:t>
            </a:r>
          </a:p>
        </p:txBody>
      </p:sp>
      <p:sp>
        <p:nvSpPr>
          <p:cNvPr id="45" name="Rectangle 44">
            <a:extLst>
              <a:ext uri="{FF2B5EF4-FFF2-40B4-BE49-F238E27FC236}">
                <a16:creationId xmlns:a16="http://schemas.microsoft.com/office/drawing/2014/main" id="{C04E2829-BE30-4212-871B-68D26C74864C}"/>
              </a:ext>
            </a:extLst>
          </p:cNvPr>
          <p:cNvSpPr/>
          <p:nvPr/>
        </p:nvSpPr>
        <p:spPr bwMode="auto">
          <a:xfrm>
            <a:off x="8215084" y="1320800"/>
            <a:ext cx="3453041" cy="5066441"/>
          </a:xfrm>
          <a:custGeom>
            <a:avLst/>
            <a:gdLst>
              <a:gd name="connsiteX0" fmla="*/ 0 w 3135086"/>
              <a:gd name="connsiteY0" fmla="*/ 0 h 5198063"/>
              <a:gd name="connsiteX1" fmla="*/ 3135086 w 3135086"/>
              <a:gd name="connsiteY1" fmla="*/ 0 h 5198063"/>
              <a:gd name="connsiteX2" fmla="*/ 3135086 w 3135086"/>
              <a:gd name="connsiteY2" fmla="*/ 5198063 h 5198063"/>
              <a:gd name="connsiteX3" fmla="*/ 0 w 3135086"/>
              <a:gd name="connsiteY3" fmla="*/ 5198063 h 5198063"/>
              <a:gd name="connsiteX4" fmla="*/ 0 w 3135086"/>
              <a:gd name="connsiteY4" fmla="*/ 0 h 5198063"/>
              <a:gd name="connsiteX0" fmla="*/ 3135086 w 3226526"/>
              <a:gd name="connsiteY0" fmla="*/ 5198063 h 5289503"/>
              <a:gd name="connsiteX1" fmla="*/ 0 w 3226526"/>
              <a:gd name="connsiteY1" fmla="*/ 5198063 h 5289503"/>
              <a:gd name="connsiteX2" fmla="*/ 0 w 3226526"/>
              <a:gd name="connsiteY2" fmla="*/ 0 h 5289503"/>
              <a:gd name="connsiteX3" fmla="*/ 3135086 w 3226526"/>
              <a:gd name="connsiteY3" fmla="*/ 0 h 5289503"/>
              <a:gd name="connsiteX4" fmla="*/ 3226526 w 3226526"/>
              <a:gd name="connsiteY4" fmla="*/ 5289503 h 5289503"/>
              <a:gd name="connsiteX0" fmla="*/ 3135086 w 3135086"/>
              <a:gd name="connsiteY0" fmla="*/ 5198063 h 5198063"/>
              <a:gd name="connsiteX1" fmla="*/ 0 w 3135086"/>
              <a:gd name="connsiteY1" fmla="*/ 5198063 h 5198063"/>
              <a:gd name="connsiteX2" fmla="*/ 0 w 3135086"/>
              <a:gd name="connsiteY2" fmla="*/ 0 h 5198063"/>
              <a:gd name="connsiteX3" fmla="*/ 3135086 w 3135086"/>
              <a:gd name="connsiteY3" fmla="*/ 0 h 5198063"/>
            </a:gdLst>
            <a:ahLst/>
            <a:cxnLst>
              <a:cxn ang="0">
                <a:pos x="connsiteX0" y="connsiteY0"/>
              </a:cxn>
              <a:cxn ang="0">
                <a:pos x="connsiteX1" y="connsiteY1"/>
              </a:cxn>
              <a:cxn ang="0">
                <a:pos x="connsiteX2" y="connsiteY2"/>
              </a:cxn>
              <a:cxn ang="0">
                <a:pos x="connsiteX3" y="connsiteY3"/>
              </a:cxn>
            </a:cxnLst>
            <a:rect l="l" t="t" r="r" b="b"/>
            <a:pathLst>
              <a:path w="3135086" h="5198063">
                <a:moveTo>
                  <a:pt x="3135086" y="5198063"/>
                </a:moveTo>
                <a:lnTo>
                  <a:pt x="0" y="5198063"/>
                </a:lnTo>
                <a:lnTo>
                  <a:pt x="0" y="0"/>
                </a:lnTo>
                <a:lnTo>
                  <a:pt x="3135086" y="0"/>
                </a:lnTo>
              </a:path>
            </a:pathLst>
          </a:custGeom>
          <a:ln>
            <a:solidFill>
              <a:srgbClr val="50E7FF"/>
            </a:solidFill>
            <a:prstDash val="dash"/>
            <a:headEnd type="ova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460" name="TextBox 459">
            <a:extLst>
              <a:ext uri="{FF2B5EF4-FFF2-40B4-BE49-F238E27FC236}">
                <a16:creationId xmlns:a16="http://schemas.microsoft.com/office/drawing/2014/main" id="{90374245-2AF9-446A-B9BB-2E0D99FF09C9}"/>
              </a:ext>
            </a:extLst>
          </p:cNvPr>
          <p:cNvSpPr txBox="1"/>
          <p:nvPr/>
        </p:nvSpPr>
        <p:spPr>
          <a:xfrm>
            <a:off x="9037497" y="1194727"/>
            <a:ext cx="1964210" cy="276999"/>
          </a:xfrm>
          <a:prstGeom prst="rect">
            <a:avLst/>
          </a:prstGeom>
          <a:solidFill>
            <a:srgbClr val="353535"/>
          </a:solidFill>
        </p:spPr>
        <p:txBody>
          <a:bodyPr wrap="square" rtlCol="0" anchor="ctr">
            <a:spAutoFit/>
          </a:bodyPr>
          <a:lstStyle/>
          <a:p>
            <a:pPr marL="0" marR="0" lvl="0" indent="0" algn="ctr"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HARED LEDGER DATA</a:t>
            </a:r>
          </a:p>
        </p:txBody>
      </p:sp>
      <p:sp>
        <p:nvSpPr>
          <p:cNvPr id="112" name="Arc 111">
            <a:extLst>
              <a:ext uri="{FF2B5EF4-FFF2-40B4-BE49-F238E27FC236}">
                <a16:creationId xmlns:a16="http://schemas.microsoft.com/office/drawing/2014/main" id="{41A9F11B-2FFF-4EB1-92EF-17C7DE9A1781}"/>
              </a:ext>
            </a:extLst>
          </p:cNvPr>
          <p:cNvSpPr/>
          <p:nvPr/>
        </p:nvSpPr>
        <p:spPr bwMode="auto">
          <a:xfrm>
            <a:off x="3103342" y="1714713"/>
            <a:ext cx="4174905" cy="4177093"/>
          </a:xfrm>
          <a:prstGeom prst="arc">
            <a:avLst>
              <a:gd name="adj1" fmla="val 16200000"/>
              <a:gd name="adj2" fmla="val 5348517"/>
            </a:avLst>
          </a:prstGeom>
          <a:noFill/>
          <a:ln>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cxnSp>
        <p:nvCxnSpPr>
          <p:cNvPr id="160" name="Straight Connector 159">
            <a:extLst>
              <a:ext uri="{FF2B5EF4-FFF2-40B4-BE49-F238E27FC236}">
                <a16:creationId xmlns:a16="http://schemas.microsoft.com/office/drawing/2014/main" id="{3B8D8A61-3DB9-4AF5-A998-2B72851CF523}"/>
              </a:ext>
            </a:extLst>
          </p:cNvPr>
          <p:cNvCxnSpPr>
            <a:cxnSpLocks/>
          </p:cNvCxnSpPr>
          <p:nvPr/>
        </p:nvCxnSpPr>
        <p:spPr>
          <a:xfrm flipH="1">
            <a:off x="8801102" y="3855657"/>
            <a:ext cx="2590798" cy="0"/>
          </a:xfrm>
          <a:prstGeom prst="line">
            <a:avLst/>
          </a:prstGeom>
          <a:ln w="6350">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sp>
        <p:nvSpPr>
          <p:cNvPr id="152" name="Rectangle 151">
            <a:extLst>
              <a:ext uri="{FF2B5EF4-FFF2-40B4-BE49-F238E27FC236}">
                <a16:creationId xmlns:a16="http://schemas.microsoft.com/office/drawing/2014/main" id="{EFF84B83-B70E-46D6-B09A-77D58A01191B}"/>
              </a:ext>
            </a:extLst>
          </p:cNvPr>
          <p:cNvSpPr/>
          <p:nvPr/>
        </p:nvSpPr>
        <p:spPr>
          <a:xfrm>
            <a:off x="8837533" y="3995476"/>
            <a:ext cx="2668441"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ONTENT PUBLISHER A VISIBILITY</a:t>
            </a:r>
          </a:p>
        </p:txBody>
      </p:sp>
      <p:grpSp>
        <p:nvGrpSpPr>
          <p:cNvPr id="9" name="Group 8">
            <a:extLst>
              <a:ext uri="{FF2B5EF4-FFF2-40B4-BE49-F238E27FC236}">
                <a16:creationId xmlns:a16="http://schemas.microsoft.com/office/drawing/2014/main" id="{6284F5CB-50B5-4794-82D1-80EAD989683F}"/>
              </a:ext>
            </a:extLst>
          </p:cNvPr>
          <p:cNvGrpSpPr/>
          <p:nvPr/>
        </p:nvGrpSpPr>
        <p:grpSpPr>
          <a:xfrm>
            <a:off x="8409307" y="3923349"/>
            <a:ext cx="290497" cy="343048"/>
            <a:chOff x="8409307" y="3923349"/>
            <a:chExt cx="290497" cy="343048"/>
          </a:xfrm>
          <a:solidFill>
            <a:srgbClr val="50E6FF"/>
          </a:solidFill>
        </p:grpSpPr>
        <p:sp>
          <p:nvSpPr>
            <p:cNvPr id="154" name="Freeform: Shape 153">
              <a:extLst>
                <a:ext uri="{FF2B5EF4-FFF2-40B4-BE49-F238E27FC236}">
                  <a16:creationId xmlns:a16="http://schemas.microsoft.com/office/drawing/2014/main" id="{BCD85A32-2218-4A6B-BDBC-B968143B8BED}"/>
                </a:ext>
              </a:extLst>
            </p:cNvPr>
            <p:cNvSpPr/>
            <p:nvPr/>
          </p:nvSpPr>
          <p:spPr>
            <a:xfrm>
              <a:off x="8470174" y="3971216"/>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56" name="Freeform: Shape 155">
              <a:extLst>
                <a:ext uri="{FF2B5EF4-FFF2-40B4-BE49-F238E27FC236}">
                  <a16:creationId xmlns:a16="http://schemas.microsoft.com/office/drawing/2014/main" id="{8BA9FF63-52FC-40BB-96C2-DF9A0A822F03}"/>
                </a:ext>
              </a:extLst>
            </p:cNvPr>
            <p:cNvSpPr/>
            <p:nvPr/>
          </p:nvSpPr>
          <p:spPr>
            <a:xfrm>
              <a:off x="8470174" y="4096466"/>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3" name="Freeform: Shape 162">
              <a:extLst>
                <a:ext uri="{FF2B5EF4-FFF2-40B4-BE49-F238E27FC236}">
                  <a16:creationId xmlns:a16="http://schemas.microsoft.com/office/drawing/2014/main" id="{86194CB9-FE0F-49C1-A203-B33528AFADAB}"/>
                </a:ext>
              </a:extLst>
            </p:cNvPr>
            <p:cNvSpPr/>
            <p:nvPr/>
          </p:nvSpPr>
          <p:spPr>
            <a:xfrm>
              <a:off x="8470174" y="4012966"/>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4" name="Freeform: Shape 163">
              <a:extLst>
                <a:ext uri="{FF2B5EF4-FFF2-40B4-BE49-F238E27FC236}">
                  <a16:creationId xmlns:a16="http://schemas.microsoft.com/office/drawing/2014/main" id="{698BC0C9-E375-400C-AD8A-768928F0A8AE}"/>
                </a:ext>
              </a:extLst>
            </p:cNvPr>
            <p:cNvSpPr/>
            <p:nvPr/>
          </p:nvSpPr>
          <p:spPr>
            <a:xfrm>
              <a:off x="8470174" y="4138216"/>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5" name="Freeform: Shape 164">
              <a:extLst>
                <a:ext uri="{FF2B5EF4-FFF2-40B4-BE49-F238E27FC236}">
                  <a16:creationId xmlns:a16="http://schemas.microsoft.com/office/drawing/2014/main" id="{D3AC83A8-0958-4C81-8091-F24EC005A4FD}"/>
                </a:ext>
              </a:extLst>
            </p:cNvPr>
            <p:cNvSpPr/>
            <p:nvPr/>
          </p:nvSpPr>
          <p:spPr>
            <a:xfrm>
              <a:off x="8470174" y="4054716"/>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6" name="Freeform: Shape 165">
              <a:extLst>
                <a:ext uri="{FF2B5EF4-FFF2-40B4-BE49-F238E27FC236}">
                  <a16:creationId xmlns:a16="http://schemas.microsoft.com/office/drawing/2014/main" id="{E0A99995-36EB-4750-90CA-61B9D3A82C95}"/>
                </a:ext>
              </a:extLst>
            </p:cNvPr>
            <p:cNvSpPr/>
            <p:nvPr/>
          </p:nvSpPr>
          <p:spPr>
            <a:xfrm>
              <a:off x="8409307" y="3923349"/>
              <a:ext cx="290497" cy="343048"/>
            </a:xfrm>
            <a:custGeom>
              <a:avLst/>
              <a:gdLst/>
              <a:ahLst/>
              <a:cxnLst/>
              <a:rect l="0" t="0" r="0" b="0"/>
              <a:pathLst>
                <a:path w="1000125" h="1228725">
                  <a:moveTo>
                    <a:pt x="921544" y="45244"/>
                  </a:moveTo>
                  <a:cubicBezTo>
                    <a:pt x="942556" y="45244"/>
                    <a:pt x="959644" y="62332"/>
                    <a:pt x="959644" y="83344"/>
                  </a:cubicBezTo>
                  <a:lnTo>
                    <a:pt x="959644" y="1150144"/>
                  </a:lnTo>
                  <a:cubicBezTo>
                    <a:pt x="959644" y="1171156"/>
                    <a:pt x="942556" y="1188244"/>
                    <a:pt x="921544" y="1188244"/>
                  </a:cubicBezTo>
                  <a:lnTo>
                    <a:pt x="83344" y="1188244"/>
                  </a:lnTo>
                  <a:cubicBezTo>
                    <a:pt x="62332" y="1188244"/>
                    <a:pt x="45244" y="1171156"/>
                    <a:pt x="45244" y="1150144"/>
                  </a:cubicBezTo>
                  <a:lnTo>
                    <a:pt x="45244" y="83344"/>
                  </a:lnTo>
                  <a:cubicBezTo>
                    <a:pt x="45244" y="62332"/>
                    <a:pt x="62332" y="45244"/>
                    <a:pt x="83344" y="45244"/>
                  </a:cubicBezTo>
                  <a:lnTo>
                    <a:pt x="921544" y="45244"/>
                  </a:lnTo>
                  <a:moveTo>
                    <a:pt x="921544" y="7144"/>
                  </a:moveTo>
                  <a:lnTo>
                    <a:pt x="83344" y="7144"/>
                  </a:lnTo>
                  <a:cubicBezTo>
                    <a:pt x="41262" y="7144"/>
                    <a:pt x="7144" y="41262"/>
                    <a:pt x="7144" y="83344"/>
                  </a:cubicBezTo>
                  <a:lnTo>
                    <a:pt x="7144" y="1150144"/>
                  </a:lnTo>
                  <a:cubicBezTo>
                    <a:pt x="7144" y="1192225"/>
                    <a:pt x="41262" y="1226344"/>
                    <a:pt x="83344" y="1226344"/>
                  </a:cubicBezTo>
                  <a:lnTo>
                    <a:pt x="921544" y="1226344"/>
                  </a:lnTo>
                  <a:cubicBezTo>
                    <a:pt x="963625" y="1226344"/>
                    <a:pt x="997744" y="1192225"/>
                    <a:pt x="997744" y="1150144"/>
                  </a:cubicBezTo>
                  <a:lnTo>
                    <a:pt x="997744" y="83344"/>
                  </a:lnTo>
                  <a:cubicBezTo>
                    <a:pt x="997744" y="41262"/>
                    <a:pt x="963625" y="7144"/>
                    <a:pt x="921544" y="7144"/>
                  </a:cubicBezTo>
                  <a:lnTo>
                    <a:pt x="921544" y="7144"/>
                  </a:ln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7" name="Freeform: Shape 166">
              <a:extLst>
                <a:ext uri="{FF2B5EF4-FFF2-40B4-BE49-F238E27FC236}">
                  <a16:creationId xmlns:a16="http://schemas.microsoft.com/office/drawing/2014/main" id="{11B288D5-CD11-49F4-BB7F-E7E68C6C5064}"/>
                </a:ext>
              </a:extLst>
            </p:cNvPr>
            <p:cNvSpPr/>
            <p:nvPr/>
          </p:nvSpPr>
          <p:spPr>
            <a:xfrm>
              <a:off x="8470174" y="4181143"/>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9" name="Freeform: Shape 168">
              <a:extLst>
                <a:ext uri="{FF2B5EF4-FFF2-40B4-BE49-F238E27FC236}">
                  <a16:creationId xmlns:a16="http://schemas.microsoft.com/office/drawing/2014/main" id="{C97B2985-72F4-489C-9309-00594E471715}"/>
                </a:ext>
              </a:extLst>
            </p:cNvPr>
            <p:cNvSpPr/>
            <p:nvPr/>
          </p:nvSpPr>
          <p:spPr>
            <a:xfrm>
              <a:off x="8470174" y="4222892"/>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173" name="Oval 172">
            <a:extLst>
              <a:ext uri="{FF2B5EF4-FFF2-40B4-BE49-F238E27FC236}">
                <a16:creationId xmlns:a16="http://schemas.microsoft.com/office/drawing/2014/main" id="{BF63AFCC-B274-4FC9-B389-24A36E725CB4}"/>
              </a:ext>
            </a:extLst>
          </p:cNvPr>
          <p:cNvSpPr/>
          <p:nvPr/>
        </p:nvSpPr>
        <p:spPr bwMode="auto">
          <a:xfrm>
            <a:off x="8335101" y="4103114"/>
            <a:ext cx="206735" cy="19871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pic>
        <p:nvPicPr>
          <p:cNvPr id="178" name="Picture Placeholder 190">
            <a:extLst>
              <a:ext uri="{FF2B5EF4-FFF2-40B4-BE49-F238E27FC236}">
                <a16:creationId xmlns:a16="http://schemas.microsoft.com/office/drawing/2014/main" id="{A2FD7C4F-D05F-46DB-9564-CC91601C57B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03" r="103"/>
          <a:stretch>
            <a:fillRect/>
          </a:stretch>
        </p:blipFill>
        <p:spPr>
          <a:xfrm rot="5793030">
            <a:off x="8334531" y="4139805"/>
            <a:ext cx="166171" cy="166171"/>
          </a:xfrm>
          <a:prstGeom prst="rect">
            <a:avLst/>
          </a:prstGeom>
        </p:spPr>
      </p:pic>
      <p:grpSp>
        <p:nvGrpSpPr>
          <p:cNvPr id="29" name="Group 28">
            <a:extLst>
              <a:ext uri="{FF2B5EF4-FFF2-40B4-BE49-F238E27FC236}">
                <a16:creationId xmlns:a16="http://schemas.microsoft.com/office/drawing/2014/main" id="{0C4B430B-2959-43DB-A7CC-761F5ACDF61D}"/>
              </a:ext>
            </a:extLst>
          </p:cNvPr>
          <p:cNvGrpSpPr/>
          <p:nvPr/>
        </p:nvGrpSpPr>
        <p:grpSpPr>
          <a:xfrm>
            <a:off x="9045726" y="4161206"/>
            <a:ext cx="1333591" cy="1667810"/>
            <a:chOff x="9019972" y="4161206"/>
            <a:chExt cx="1333591" cy="1667810"/>
          </a:xfrm>
        </p:grpSpPr>
        <p:sp>
          <p:nvSpPr>
            <p:cNvPr id="199" name="Rectangle 198">
              <a:extLst>
                <a:ext uri="{FF2B5EF4-FFF2-40B4-BE49-F238E27FC236}">
                  <a16:creationId xmlns:a16="http://schemas.microsoft.com/office/drawing/2014/main" id="{AD9D63C4-0A68-4451-B782-AB049DD06332}"/>
                </a:ext>
              </a:extLst>
            </p:cNvPr>
            <p:cNvSpPr/>
            <p:nvPr/>
          </p:nvSpPr>
          <p:spPr bwMode="auto">
            <a:xfrm>
              <a:off x="9019972" y="4326984"/>
              <a:ext cx="1230230" cy="1395238"/>
            </a:xfrm>
            <a:prstGeom prst="rect">
              <a:avLst/>
            </a:prstGeom>
            <a:solidFill>
              <a:schemeClr val="bg1"/>
            </a:solid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sp>
          <p:nvSpPr>
            <p:cNvPr id="188" name="TextBox 187">
              <a:extLst>
                <a:ext uri="{FF2B5EF4-FFF2-40B4-BE49-F238E27FC236}">
                  <a16:creationId xmlns:a16="http://schemas.microsoft.com/office/drawing/2014/main" id="{77A9231F-1BB6-4D1E-AED4-C197C8FF6803}"/>
                </a:ext>
              </a:extLst>
            </p:cNvPr>
            <p:cNvSpPr txBox="1"/>
            <p:nvPr/>
          </p:nvSpPr>
          <p:spPr>
            <a:xfrm>
              <a:off x="9114894" y="4585863"/>
              <a:ext cx="1051858" cy="1243153"/>
            </a:xfrm>
            <a:prstGeom prst="rect">
              <a:avLst/>
            </a:prstGeom>
            <a:noFill/>
          </p:spPr>
          <p:txBody>
            <a:bodyPr wrap="square" lIns="0" tIns="0" rIns="0" bIns="0" numCol="1" rtlCol="0" anchor="t">
              <a:noAutofit/>
            </a:bodyPr>
            <a:lstStyle/>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Customer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Content Dev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Licensing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Marketing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Distributor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Content Provider ID</a:t>
              </a:r>
            </a:p>
          </p:txBody>
        </p:sp>
        <p:sp>
          <p:nvSpPr>
            <p:cNvPr id="194" name="Rectangle 193">
              <a:extLst>
                <a:ext uri="{FF2B5EF4-FFF2-40B4-BE49-F238E27FC236}">
                  <a16:creationId xmlns:a16="http://schemas.microsoft.com/office/drawing/2014/main" id="{C5A70540-219F-412C-ACB5-BACC70B00B14}"/>
                </a:ext>
              </a:extLst>
            </p:cNvPr>
            <p:cNvSpPr/>
            <p:nvPr/>
          </p:nvSpPr>
          <p:spPr>
            <a:xfrm>
              <a:off x="9142503" y="4387407"/>
              <a:ext cx="738524"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Publisher C</a:t>
              </a:r>
            </a:p>
          </p:txBody>
        </p:sp>
        <p:sp>
          <p:nvSpPr>
            <p:cNvPr id="187" name="Rectangle 186">
              <a:extLst>
                <a:ext uri="{FF2B5EF4-FFF2-40B4-BE49-F238E27FC236}">
                  <a16:creationId xmlns:a16="http://schemas.microsoft.com/office/drawing/2014/main" id="{282E2B38-5608-491A-A674-439F9D9D3651}"/>
                </a:ext>
              </a:extLst>
            </p:cNvPr>
            <p:cNvSpPr/>
            <p:nvPr/>
          </p:nvSpPr>
          <p:spPr bwMode="auto">
            <a:xfrm>
              <a:off x="9019972" y="4330158"/>
              <a:ext cx="1230230" cy="1395238"/>
            </a:xfrm>
            <a:prstGeom prst="rect">
              <a:avLst/>
            </a:prstGeom>
            <a:solidFill>
              <a:schemeClr val="bg1">
                <a:lumMod val="85000"/>
                <a:alpha val="50000"/>
              </a:schemeClr>
            </a:solidFill>
            <a:ln>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grpSp>
          <p:nvGrpSpPr>
            <p:cNvPr id="195" name="Group 194">
              <a:extLst>
                <a:ext uri="{FF2B5EF4-FFF2-40B4-BE49-F238E27FC236}">
                  <a16:creationId xmlns:a16="http://schemas.microsoft.com/office/drawing/2014/main" id="{D54371FB-6236-4CA6-AD98-961F245DDE2F}"/>
                </a:ext>
              </a:extLst>
            </p:cNvPr>
            <p:cNvGrpSpPr/>
            <p:nvPr/>
          </p:nvGrpSpPr>
          <p:grpSpPr>
            <a:xfrm rot="20648782">
              <a:off x="9979941" y="4161206"/>
              <a:ext cx="373622" cy="373622"/>
              <a:chOff x="11496406" y="4294278"/>
              <a:chExt cx="475488" cy="475488"/>
            </a:xfrm>
          </p:grpSpPr>
          <p:sp>
            <p:nvSpPr>
              <p:cNvPr id="196" name="Rectangle: Rounded Corners 12">
                <a:extLst>
                  <a:ext uri="{FF2B5EF4-FFF2-40B4-BE49-F238E27FC236}">
                    <a16:creationId xmlns:a16="http://schemas.microsoft.com/office/drawing/2014/main" id="{9AC9F262-12AD-4C4E-90E8-568A85D9E6C3}"/>
                  </a:ext>
                </a:extLst>
              </p:cNvPr>
              <p:cNvSpPr/>
              <p:nvPr/>
            </p:nvSpPr>
            <p:spPr bwMode="auto">
              <a:xfrm>
                <a:off x="11556241" y="4480785"/>
                <a:ext cx="354351" cy="282321"/>
              </a:xfrm>
              <a:custGeom>
                <a:avLst/>
                <a:gdLst>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50031 w 250031"/>
                  <a:gd name="connsiteY4" fmla="*/ 171281 h 205538"/>
                  <a:gd name="connsiteX5" fmla="*/ 215774 w 250031"/>
                  <a:gd name="connsiteY5" fmla="*/ 205538 h 205538"/>
                  <a:gd name="connsiteX6" fmla="*/ 34257 w 250031"/>
                  <a:gd name="connsiteY6" fmla="*/ 205538 h 205538"/>
                  <a:gd name="connsiteX7" fmla="*/ 0 w 250031"/>
                  <a:gd name="connsiteY7" fmla="*/ 171281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15774 w 250031"/>
                  <a:gd name="connsiteY5" fmla="*/ 205538 h 205538"/>
                  <a:gd name="connsiteX6" fmla="*/ 34257 w 250031"/>
                  <a:gd name="connsiteY6" fmla="*/ 205538 h 205538"/>
                  <a:gd name="connsiteX7" fmla="*/ 0 w 250031"/>
                  <a:gd name="connsiteY7" fmla="*/ 171281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15774 w 250031"/>
                  <a:gd name="connsiteY5" fmla="*/ 205538 h 205538"/>
                  <a:gd name="connsiteX6" fmla="*/ 34257 w 250031"/>
                  <a:gd name="connsiteY6" fmla="*/ 205538 h 205538"/>
                  <a:gd name="connsiteX7" fmla="*/ 13097 w 250031"/>
                  <a:gd name="connsiteY7" fmla="*/ 170090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15774 w 250031"/>
                  <a:gd name="connsiteY5" fmla="*/ 205538 h 205538"/>
                  <a:gd name="connsiteX6" fmla="*/ 47354 w 250031"/>
                  <a:gd name="connsiteY6" fmla="*/ 204347 h 205538"/>
                  <a:gd name="connsiteX7" fmla="*/ 13097 w 250031"/>
                  <a:gd name="connsiteY7" fmla="*/ 170090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02677 w 250031"/>
                  <a:gd name="connsiteY5" fmla="*/ 205538 h 205538"/>
                  <a:gd name="connsiteX6" fmla="*/ 47354 w 250031"/>
                  <a:gd name="connsiteY6" fmla="*/ 204347 h 205538"/>
                  <a:gd name="connsiteX7" fmla="*/ 13097 w 250031"/>
                  <a:gd name="connsiteY7" fmla="*/ 170090 h 205538"/>
                  <a:gd name="connsiteX8" fmla="*/ 0 w 250031"/>
                  <a:gd name="connsiteY8" fmla="*/ 34257 h 205538"/>
                  <a:gd name="connsiteX0" fmla="*/ 0 w 250031"/>
                  <a:gd name="connsiteY0" fmla="*/ 34257 h 205538"/>
                  <a:gd name="connsiteX1" fmla="*/ 22351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02677 w 250031"/>
                  <a:gd name="connsiteY5" fmla="*/ 205538 h 205538"/>
                  <a:gd name="connsiteX6" fmla="*/ 47354 w 250031"/>
                  <a:gd name="connsiteY6" fmla="*/ 204347 h 205538"/>
                  <a:gd name="connsiteX7" fmla="*/ 13097 w 250031"/>
                  <a:gd name="connsiteY7" fmla="*/ 170090 h 205538"/>
                  <a:gd name="connsiteX8" fmla="*/ 0 w 250031"/>
                  <a:gd name="connsiteY8" fmla="*/ 34257 h 205538"/>
                  <a:gd name="connsiteX0" fmla="*/ 0 w 260747"/>
                  <a:gd name="connsiteY0" fmla="*/ 34257 h 205538"/>
                  <a:gd name="connsiteX1" fmla="*/ 33067 w 260747"/>
                  <a:gd name="connsiteY1" fmla="*/ 0 h 205538"/>
                  <a:gd name="connsiteX2" fmla="*/ 226490 w 260747"/>
                  <a:gd name="connsiteY2" fmla="*/ 0 h 205538"/>
                  <a:gd name="connsiteX3" fmla="*/ 260747 w 260747"/>
                  <a:gd name="connsiteY3" fmla="*/ 34257 h 205538"/>
                  <a:gd name="connsiteX4" fmla="*/ 252413 w 260747"/>
                  <a:gd name="connsiteY4" fmla="*/ 171281 h 205538"/>
                  <a:gd name="connsiteX5" fmla="*/ 213393 w 260747"/>
                  <a:gd name="connsiteY5" fmla="*/ 205538 h 205538"/>
                  <a:gd name="connsiteX6" fmla="*/ 58070 w 260747"/>
                  <a:gd name="connsiteY6" fmla="*/ 204347 h 205538"/>
                  <a:gd name="connsiteX7" fmla="*/ 23813 w 260747"/>
                  <a:gd name="connsiteY7" fmla="*/ 170090 h 205538"/>
                  <a:gd name="connsiteX8" fmla="*/ 0 w 260747"/>
                  <a:gd name="connsiteY8" fmla="*/ 34257 h 205538"/>
                  <a:gd name="connsiteX0" fmla="*/ 0 w 260747"/>
                  <a:gd name="connsiteY0" fmla="*/ 34257 h 205538"/>
                  <a:gd name="connsiteX1" fmla="*/ 33067 w 260747"/>
                  <a:gd name="connsiteY1" fmla="*/ 0 h 205538"/>
                  <a:gd name="connsiteX2" fmla="*/ 241968 w 260747"/>
                  <a:gd name="connsiteY2" fmla="*/ 0 h 205538"/>
                  <a:gd name="connsiteX3" fmla="*/ 260747 w 260747"/>
                  <a:gd name="connsiteY3" fmla="*/ 34257 h 205538"/>
                  <a:gd name="connsiteX4" fmla="*/ 252413 w 260747"/>
                  <a:gd name="connsiteY4" fmla="*/ 171281 h 205538"/>
                  <a:gd name="connsiteX5" fmla="*/ 213393 w 260747"/>
                  <a:gd name="connsiteY5" fmla="*/ 205538 h 205538"/>
                  <a:gd name="connsiteX6" fmla="*/ 58070 w 260747"/>
                  <a:gd name="connsiteY6" fmla="*/ 204347 h 205538"/>
                  <a:gd name="connsiteX7" fmla="*/ 23813 w 260747"/>
                  <a:gd name="connsiteY7" fmla="*/ 170090 h 205538"/>
                  <a:gd name="connsiteX8" fmla="*/ 0 w 260747"/>
                  <a:gd name="connsiteY8" fmla="*/ 34257 h 205538"/>
                  <a:gd name="connsiteX0" fmla="*/ 0 w 270272"/>
                  <a:gd name="connsiteY0" fmla="*/ 34257 h 205538"/>
                  <a:gd name="connsiteX1" fmla="*/ 33067 w 270272"/>
                  <a:gd name="connsiteY1" fmla="*/ 0 h 205538"/>
                  <a:gd name="connsiteX2" fmla="*/ 241968 w 270272"/>
                  <a:gd name="connsiteY2" fmla="*/ 0 h 205538"/>
                  <a:gd name="connsiteX3" fmla="*/ 270272 w 270272"/>
                  <a:gd name="connsiteY3" fmla="*/ 34257 h 205538"/>
                  <a:gd name="connsiteX4" fmla="*/ 252413 w 270272"/>
                  <a:gd name="connsiteY4" fmla="*/ 171281 h 205538"/>
                  <a:gd name="connsiteX5" fmla="*/ 213393 w 270272"/>
                  <a:gd name="connsiteY5" fmla="*/ 205538 h 205538"/>
                  <a:gd name="connsiteX6" fmla="*/ 58070 w 270272"/>
                  <a:gd name="connsiteY6" fmla="*/ 204347 h 205538"/>
                  <a:gd name="connsiteX7" fmla="*/ 23813 w 270272"/>
                  <a:gd name="connsiteY7" fmla="*/ 170090 h 205538"/>
                  <a:gd name="connsiteX8" fmla="*/ 0 w 270272"/>
                  <a:gd name="connsiteY8" fmla="*/ 34257 h 20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0272" h="205538">
                    <a:moveTo>
                      <a:pt x="0" y="34257"/>
                    </a:moveTo>
                    <a:cubicBezTo>
                      <a:pt x="0" y="15337"/>
                      <a:pt x="14147" y="0"/>
                      <a:pt x="33067" y="0"/>
                    </a:cubicBezTo>
                    <a:lnTo>
                      <a:pt x="241968" y="0"/>
                    </a:lnTo>
                    <a:cubicBezTo>
                      <a:pt x="260888" y="0"/>
                      <a:pt x="270272" y="15337"/>
                      <a:pt x="270272" y="34257"/>
                    </a:cubicBezTo>
                    <a:cubicBezTo>
                      <a:pt x="270272" y="79932"/>
                      <a:pt x="252413" y="125606"/>
                      <a:pt x="252413" y="171281"/>
                    </a:cubicBezTo>
                    <a:cubicBezTo>
                      <a:pt x="252413" y="190201"/>
                      <a:pt x="232313" y="205538"/>
                      <a:pt x="213393" y="205538"/>
                    </a:cubicBezTo>
                    <a:lnTo>
                      <a:pt x="58070" y="204347"/>
                    </a:lnTo>
                    <a:cubicBezTo>
                      <a:pt x="39150" y="204347"/>
                      <a:pt x="23813" y="189010"/>
                      <a:pt x="23813" y="170090"/>
                    </a:cubicBezTo>
                    <a:lnTo>
                      <a:pt x="0" y="3425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pic>
            <p:nvPicPr>
              <p:cNvPr id="198" name="Picture Placeholder 228">
                <a:extLst>
                  <a:ext uri="{FF2B5EF4-FFF2-40B4-BE49-F238E27FC236}">
                    <a16:creationId xmlns:a16="http://schemas.microsoft.com/office/drawing/2014/main" id="{3FE1F649-D5CA-4DC2-BEBA-5AEB05D93E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p:blipFill>
            <p:spPr>
              <a:xfrm flipH="1">
                <a:off x="11496406" y="4294278"/>
                <a:ext cx="475488" cy="475488"/>
              </a:xfrm>
              <a:prstGeom prst="rect">
                <a:avLst/>
              </a:prstGeom>
            </p:spPr>
          </p:pic>
        </p:grpSp>
      </p:grpSp>
      <p:grpSp>
        <p:nvGrpSpPr>
          <p:cNvPr id="201" name="Group 200">
            <a:extLst>
              <a:ext uri="{FF2B5EF4-FFF2-40B4-BE49-F238E27FC236}">
                <a16:creationId xmlns:a16="http://schemas.microsoft.com/office/drawing/2014/main" id="{ACEB494B-98EF-4C94-ADC6-A130F630EFD3}"/>
              </a:ext>
            </a:extLst>
          </p:cNvPr>
          <p:cNvGrpSpPr/>
          <p:nvPr/>
        </p:nvGrpSpPr>
        <p:grpSpPr>
          <a:xfrm>
            <a:off x="9489242" y="4393904"/>
            <a:ext cx="1333591" cy="1667810"/>
            <a:chOff x="9019972" y="4161206"/>
            <a:chExt cx="1333591" cy="1667810"/>
          </a:xfrm>
        </p:grpSpPr>
        <p:sp>
          <p:nvSpPr>
            <p:cNvPr id="202" name="Rectangle 201">
              <a:extLst>
                <a:ext uri="{FF2B5EF4-FFF2-40B4-BE49-F238E27FC236}">
                  <a16:creationId xmlns:a16="http://schemas.microsoft.com/office/drawing/2014/main" id="{38CE9601-9339-427E-881B-8677E14EA734}"/>
                </a:ext>
              </a:extLst>
            </p:cNvPr>
            <p:cNvSpPr/>
            <p:nvPr/>
          </p:nvSpPr>
          <p:spPr bwMode="auto">
            <a:xfrm>
              <a:off x="9019972" y="4326984"/>
              <a:ext cx="1230230" cy="1395238"/>
            </a:xfrm>
            <a:prstGeom prst="rect">
              <a:avLst/>
            </a:prstGeom>
            <a:solidFill>
              <a:schemeClr val="bg1"/>
            </a:solid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sp>
          <p:nvSpPr>
            <p:cNvPr id="203" name="TextBox 202">
              <a:extLst>
                <a:ext uri="{FF2B5EF4-FFF2-40B4-BE49-F238E27FC236}">
                  <a16:creationId xmlns:a16="http://schemas.microsoft.com/office/drawing/2014/main" id="{84DE897F-06A0-42A0-88C5-CD838FF7D5D8}"/>
                </a:ext>
              </a:extLst>
            </p:cNvPr>
            <p:cNvSpPr txBox="1"/>
            <p:nvPr/>
          </p:nvSpPr>
          <p:spPr>
            <a:xfrm>
              <a:off x="9114894" y="4585863"/>
              <a:ext cx="1051858" cy="1243153"/>
            </a:xfrm>
            <a:prstGeom prst="rect">
              <a:avLst/>
            </a:prstGeom>
            <a:noFill/>
          </p:spPr>
          <p:txBody>
            <a:bodyPr wrap="square" lIns="0" tIns="0" rIns="0" bIns="0" numCol="1" rtlCol="0" anchor="t">
              <a:noAutofit/>
            </a:bodyPr>
            <a:lstStyle/>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Customer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Content Dev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Licensing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Marketing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Distributor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Content Provider ID</a:t>
              </a:r>
            </a:p>
          </p:txBody>
        </p:sp>
        <p:sp>
          <p:nvSpPr>
            <p:cNvPr id="204" name="Rectangle 203">
              <a:extLst>
                <a:ext uri="{FF2B5EF4-FFF2-40B4-BE49-F238E27FC236}">
                  <a16:creationId xmlns:a16="http://schemas.microsoft.com/office/drawing/2014/main" id="{2B2EE15F-50E5-48A5-A4F6-2742050B45C0}"/>
                </a:ext>
              </a:extLst>
            </p:cNvPr>
            <p:cNvSpPr/>
            <p:nvPr/>
          </p:nvSpPr>
          <p:spPr>
            <a:xfrm>
              <a:off x="9142503" y="4387407"/>
              <a:ext cx="738524"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Publisher B</a:t>
              </a:r>
            </a:p>
          </p:txBody>
        </p:sp>
        <p:sp>
          <p:nvSpPr>
            <p:cNvPr id="205" name="Rectangle 204">
              <a:extLst>
                <a:ext uri="{FF2B5EF4-FFF2-40B4-BE49-F238E27FC236}">
                  <a16:creationId xmlns:a16="http://schemas.microsoft.com/office/drawing/2014/main" id="{0E429B38-A413-41C6-96B5-2F28B035AAFF}"/>
                </a:ext>
              </a:extLst>
            </p:cNvPr>
            <p:cNvSpPr/>
            <p:nvPr/>
          </p:nvSpPr>
          <p:spPr bwMode="auto">
            <a:xfrm>
              <a:off x="9019972" y="4330158"/>
              <a:ext cx="1230230" cy="1395238"/>
            </a:xfrm>
            <a:prstGeom prst="rect">
              <a:avLst/>
            </a:prstGeom>
            <a:solidFill>
              <a:schemeClr val="bg1">
                <a:lumMod val="85000"/>
                <a:alpha val="49000"/>
              </a:schemeClr>
            </a:solidFill>
            <a:ln>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grpSp>
          <p:nvGrpSpPr>
            <p:cNvPr id="206" name="Group 205">
              <a:extLst>
                <a:ext uri="{FF2B5EF4-FFF2-40B4-BE49-F238E27FC236}">
                  <a16:creationId xmlns:a16="http://schemas.microsoft.com/office/drawing/2014/main" id="{50093840-9C21-457D-BF28-3B1D0AC27409}"/>
                </a:ext>
              </a:extLst>
            </p:cNvPr>
            <p:cNvGrpSpPr/>
            <p:nvPr/>
          </p:nvGrpSpPr>
          <p:grpSpPr>
            <a:xfrm rot="20648782">
              <a:off x="9979941" y="4161206"/>
              <a:ext cx="373622" cy="373622"/>
              <a:chOff x="11496406" y="4294278"/>
              <a:chExt cx="475488" cy="475488"/>
            </a:xfrm>
          </p:grpSpPr>
          <p:sp>
            <p:nvSpPr>
              <p:cNvPr id="207" name="Rectangle: Rounded Corners 12">
                <a:extLst>
                  <a:ext uri="{FF2B5EF4-FFF2-40B4-BE49-F238E27FC236}">
                    <a16:creationId xmlns:a16="http://schemas.microsoft.com/office/drawing/2014/main" id="{398C4DBB-205A-479A-9D34-9F06C6ADAB88}"/>
                  </a:ext>
                </a:extLst>
              </p:cNvPr>
              <p:cNvSpPr/>
              <p:nvPr/>
            </p:nvSpPr>
            <p:spPr bwMode="auto">
              <a:xfrm>
                <a:off x="11556241" y="4480785"/>
                <a:ext cx="354351" cy="282321"/>
              </a:xfrm>
              <a:custGeom>
                <a:avLst/>
                <a:gdLst>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50031 w 250031"/>
                  <a:gd name="connsiteY4" fmla="*/ 171281 h 205538"/>
                  <a:gd name="connsiteX5" fmla="*/ 215774 w 250031"/>
                  <a:gd name="connsiteY5" fmla="*/ 205538 h 205538"/>
                  <a:gd name="connsiteX6" fmla="*/ 34257 w 250031"/>
                  <a:gd name="connsiteY6" fmla="*/ 205538 h 205538"/>
                  <a:gd name="connsiteX7" fmla="*/ 0 w 250031"/>
                  <a:gd name="connsiteY7" fmla="*/ 171281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15774 w 250031"/>
                  <a:gd name="connsiteY5" fmla="*/ 205538 h 205538"/>
                  <a:gd name="connsiteX6" fmla="*/ 34257 w 250031"/>
                  <a:gd name="connsiteY6" fmla="*/ 205538 h 205538"/>
                  <a:gd name="connsiteX7" fmla="*/ 0 w 250031"/>
                  <a:gd name="connsiteY7" fmla="*/ 171281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15774 w 250031"/>
                  <a:gd name="connsiteY5" fmla="*/ 205538 h 205538"/>
                  <a:gd name="connsiteX6" fmla="*/ 34257 w 250031"/>
                  <a:gd name="connsiteY6" fmla="*/ 205538 h 205538"/>
                  <a:gd name="connsiteX7" fmla="*/ 13097 w 250031"/>
                  <a:gd name="connsiteY7" fmla="*/ 170090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15774 w 250031"/>
                  <a:gd name="connsiteY5" fmla="*/ 205538 h 205538"/>
                  <a:gd name="connsiteX6" fmla="*/ 47354 w 250031"/>
                  <a:gd name="connsiteY6" fmla="*/ 204347 h 205538"/>
                  <a:gd name="connsiteX7" fmla="*/ 13097 w 250031"/>
                  <a:gd name="connsiteY7" fmla="*/ 170090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02677 w 250031"/>
                  <a:gd name="connsiteY5" fmla="*/ 205538 h 205538"/>
                  <a:gd name="connsiteX6" fmla="*/ 47354 w 250031"/>
                  <a:gd name="connsiteY6" fmla="*/ 204347 h 205538"/>
                  <a:gd name="connsiteX7" fmla="*/ 13097 w 250031"/>
                  <a:gd name="connsiteY7" fmla="*/ 170090 h 205538"/>
                  <a:gd name="connsiteX8" fmla="*/ 0 w 250031"/>
                  <a:gd name="connsiteY8" fmla="*/ 34257 h 205538"/>
                  <a:gd name="connsiteX0" fmla="*/ 0 w 250031"/>
                  <a:gd name="connsiteY0" fmla="*/ 34257 h 205538"/>
                  <a:gd name="connsiteX1" fmla="*/ 22351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02677 w 250031"/>
                  <a:gd name="connsiteY5" fmla="*/ 205538 h 205538"/>
                  <a:gd name="connsiteX6" fmla="*/ 47354 w 250031"/>
                  <a:gd name="connsiteY6" fmla="*/ 204347 h 205538"/>
                  <a:gd name="connsiteX7" fmla="*/ 13097 w 250031"/>
                  <a:gd name="connsiteY7" fmla="*/ 170090 h 205538"/>
                  <a:gd name="connsiteX8" fmla="*/ 0 w 250031"/>
                  <a:gd name="connsiteY8" fmla="*/ 34257 h 205538"/>
                  <a:gd name="connsiteX0" fmla="*/ 0 w 260747"/>
                  <a:gd name="connsiteY0" fmla="*/ 34257 h 205538"/>
                  <a:gd name="connsiteX1" fmla="*/ 33067 w 260747"/>
                  <a:gd name="connsiteY1" fmla="*/ 0 h 205538"/>
                  <a:gd name="connsiteX2" fmla="*/ 226490 w 260747"/>
                  <a:gd name="connsiteY2" fmla="*/ 0 h 205538"/>
                  <a:gd name="connsiteX3" fmla="*/ 260747 w 260747"/>
                  <a:gd name="connsiteY3" fmla="*/ 34257 h 205538"/>
                  <a:gd name="connsiteX4" fmla="*/ 252413 w 260747"/>
                  <a:gd name="connsiteY4" fmla="*/ 171281 h 205538"/>
                  <a:gd name="connsiteX5" fmla="*/ 213393 w 260747"/>
                  <a:gd name="connsiteY5" fmla="*/ 205538 h 205538"/>
                  <a:gd name="connsiteX6" fmla="*/ 58070 w 260747"/>
                  <a:gd name="connsiteY6" fmla="*/ 204347 h 205538"/>
                  <a:gd name="connsiteX7" fmla="*/ 23813 w 260747"/>
                  <a:gd name="connsiteY7" fmla="*/ 170090 h 205538"/>
                  <a:gd name="connsiteX8" fmla="*/ 0 w 260747"/>
                  <a:gd name="connsiteY8" fmla="*/ 34257 h 205538"/>
                  <a:gd name="connsiteX0" fmla="*/ 0 w 260747"/>
                  <a:gd name="connsiteY0" fmla="*/ 34257 h 205538"/>
                  <a:gd name="connsiteX1" fmla="*/ 33067 w 260747"/>
                  <a:gd name="connsiteY1" fmla="*/ 0 h 205538"/>
                  <a:gd name="connsiteX2" fmla="*/ 241968 w 260747"/>
                  <a:gd name="connsiteY2" fmla="*/ 0 h 205538"/>
                  <a:gd name="connsiteX3" fmla="*/ 260747 w 260747"/>
                  <a:gd name="connsiteY3" fmla="*/ 34257 h 205538"/>
                  <a:gd name="connsiteX4" fmla="*/ 252413 w 260747"/>
                  <a:gd name="connsiteY4" fmla="*/ 171281 h 205538"/>
                  <a:gd name="connsiteX5" fmla="*/ 213393 w 260747"/>
                  <a:gd name="connsiteY5" fmla="*/ 205538 h 205538"/>
                  <a:gd name="connsiteX6" fmla="*/ 58070 w 260747"/>
                  <a:gd name="connsiteY6" fmla="*/ 204347 h 205538"/>
                  <a:gd name="connsiteX7" fmla="*/ 23813 w 260747"/>
                  <a:gd name="connsiteY7" fmla="*/ 170090 h 205538"/>
                  <a:gd name="connsiteX8" fmla="*/ 0 w 260747"/>
                  <a:gd name="connsiteY8" fmla="*/ 34257 h 205538"/>
                  <a:gd name="connsiteX0" fmla="*/ 0 w 270272"/>
                  <a:gd name="connsiteY0" fmla="*/ 34257 h 205538"/>
                  <a:gd name="connsiteX1" fmla="*/ 33067 w 270272"/>
                  <a:gd name="connsiteY1" fmla="*/ 0 h 205538"/>
                  <a:gd name="connsiteX2" fmla="*/ 241968 w 270272"/>
                  <a:gd name="connsiteY2" fmla="*/ 0 h 205538"/>
                  <a:gd name="connsiteX3" fmla="*/ 270272 w 270272"/>
                  <a:gd name="connsiteY3" fmla="*/ 34257 h 205538"/>
                  <a:gd name="connsiteX4" fmla="*/ 252413 w 270272"/>
                  <a:gd name="connsiteY4" fmla="*/ 171281 h 205538"/>
                  <a:gd name="connsiteX5" fmla="*/ 213393 w 270272"/>
                  <a:gd name="connsiteY5" fmla="*/ 205538 h 205538"/>
                  <a:gd name="connsiteX6" fmla="*/ 58070 w 270272"/>
                  <a:gd name="connsiteY6" fmla="*/ 204347 h 205538"/>
                  <a:gd name="connsiteX7" fmla="*/ 23813 w 270272"/>
                  <a:gd name="connsiteY7" fmla="*/ 170090 h 205538"/>
                  <a:gd name="connsiteX8" fmla="*/ 0 w 270272"/>
                  <a:gd name="connsiteY8" fmla="*/ 34257 h 20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0272" h="205538">
                    <a:moveTo>
                      <a:pt x="0" y="34257"/>
                    </a:moveTo>
                    <a:cubicBezTo>
                      <a:pt x="0" y="15337"/>
                      <a:pt x="14147" y="0"/>
                      <a:pt x="33067" y="0"/>
                    </a:cubicBezTo>
                    <a:lnTo>
                      <a:pt x="241968" y="0"/>
                    </a:lnTo>
                    <a:cubicBezTo>
                      <a:pt x="260888" y="0"/>
                      <a:pt x="270272" y="15337"/>
                      <a:pt x="270272" y="34257"/>
                    </a:cubicBezTo>
                    <a:cubicBezTo>
                      <a:pt x="270272" y="79932"/>
                      <a:pt x="252413" y="125606"/>
                      <a:pt x="252413" y="171281"/>
                    </a:cubicBezTo>
                    <a:cubicBezTo>
                      <a:pt x="252413" y="190201"/>
                      <a:pt x="232313" y="205538"/>
                      <a:pt x="213393" y="205538"/>
                    </a:cubicBezTo>
                    <a:lnTo>
                      <a:pt x="58070" y="204347"/>
                    </a:lnTo>
                    <a:cubicBezTo>
                      <a:pt x="39150" y="204347"/>
                      <a:pt x="23813" y="189010"/>
                      <a:pt x="23813" y="170090"/>
                    </a:cubicBezTo>
                    <a:lnTo>
                      <a:pt x="0" y="3425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pic>
            <p:nvPicPr>
              <p:cNvPr id="208" name="Picture Placeholder 228">
                <a:extLst>
                  <a:ext uri="{FF2B5EF4-FFF2-40B4-BE49-F238E27FC236}">
                    <a16:creationId xmlns:a16="http://schemas.microsoft.com/office/drawing/2014/main" id="{2DDB36ED-8CD6-4031-A633-8ACAD21CEC3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p:blipFill>
            <p:spPr>
              <a:xfrm flipH="1">
                <a:off x="11496406" y="4294278"/>
                <a:ext cx="475488" cy="475488"/>
              </a:xfrm>
              <a:prstGeom prst="rect">
                <a:avLst/>
              </a:prstGeom>
            </p:spPr>
          </p:pic>
        </p:grpSp>
      </p:grpSp>
      <p:grpSp>
        <p:nvGrpSpPr>
          <p:cNvPr id="25" name="Group 24">
            <a:extLst>
              <a:ext uri="{FF2B5EF4-FFF2-40B4-BE49-F238E27FC236}">
                <a16:creationId xmlns:a16="http://schemas.microsoft.com/office/drawing/2014/main" id="{4F856A1C-E30C-45A3-B5F9-F754DF735CA6}"/>
              </a:ext>
            </a:extLst>
          </p:cNvPr>
          <p:cNvGrpSpPr/>
          <p:nvPr/>
        </p:nvGrpSpPr>
        <p:grpSpPr>
          <a:xfrm>
            <a:off x="9911379" y="4626603"/>
            <a:ext cx="1339761" cy="1614381"/>
            <a:chOff x="10197851" y="5000431"/>
            <a:chExt cx="1378367" cy="1660900"/>
          </a:xfrm>
        </p:grpSpPr>
        <p:sp>
          <p:nvSpPr>
            <p:cNvPr id="15" name="Rectangle 14">
              <a:extLst>
                <a:ext uri="{FF2B5EF4-FFF2-40B4-BE49-F238E27FC236}">
                  <a16:creationId xmlns:a16="http://schemas.microsoft.com/office/drawing/2014/main" id="{473CD6E7-5431-4FBF-A5A1-F26A2D5FB840}"/>
                </a:ext>
              </a:extLst>
            </p:cNvPr>
            <p:cNvSpPr/>
            <p:nvPr/>
          </p:nvSpPr>
          <p:spPr bwMode="auto">
            <a:xfrm>
              <a:off x="10197851" y="5183023"/>
              <a:ext cx="1267026" cy="1435442"/>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sp>
          <p:nvSpPr>
            <p:cNvPr id="239" name="TextBox 238">
              <a:extLst>
                <a:ext uri="{FF2B5EF4-FFF2-40B4-BE49-F238E27FC236}">
                  <a16:creationId xmlns:a16="http://schemas.microsoft.com/office/drawing/2014/main" id="{8DC811DF-1A38-4AD6-8B64-96B9A8724537}"/>
                </a:ext>
              </a:extLst>
            </p:cNvPr>
            <p:cNvSpPr txBox="1"/>
            <p:nvPr/>
          </p:nvSpPr>
          <p:spPr>
            <a:xfrm>
              <a:off x="10309193" y="5449578"/>
              <a:ext cx="1060217" cy="1211753"/>
            </a:xfrm>
            <a:prstGeom prst="rect">
              <a:avLst/>
            </a:prstGeom>
            <a:noFill/>
          </p:spPr>
          <p:txBody>
            <a:bodyPr wrap="square" lIns="0" tIns="0" rIns="0" bIns="0" numCol="1" rtlCol="0" anchor="t">
              <a:noAutofit/>
            </a:bodyPr>
            <a:lstStyle/>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Customer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Content Dev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Licensing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Marketing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Distributor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Content Provider ID</a:t>
              </a:r>
            </a:p>
          </p:txBody>
        </p:sp>
        <p:sp>
          <p:nvSpPr>
            <p:cNvPr id="240" name="Rectangle 239">
              <a:extLst>
                <a:ext uri="{FF2B5EF4-FFF2-40B4-BE49-F238E27FC236}">
                  <a16:creationId xmlns:a16="http://schemas.microsoft.com/office/drawing/2014/main" id="{0E236F45-1B61-4085-B454-44CDE8232BC6}"/>
                </a:ext>
              </a:extLst>
            </p:cNvPr>
            <p:cNvSpPr/>
            <p:nvPr/>
          </p:nvSpPr>
          <p:spPr>
            <a:xfrm>
              <a:off x="10309193" y="5245403"/>
              <a:ext cx="886855" cy="17415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Publisher A</a:t>
              </a:r>
            </a:p>
          </p:txBody>
        </p:sp>
        <p:grpSp>
          <p:nvGrpSpPr>
            <p:cNvPr id="21" name="Group 20">
              <a:extLst>
                <a:ext uri="{FF2B5EF4-FFF2-40B4-BE49-F238E27FC236}">
                  <a16:creationId xmlns:a16="http://schemas.microsoft.com/office/drawing/2014/main" id="{CDC75220-89F0-4311-90D5-5E63A280225D}"/>
                </a:ext>
              </a:extLst>
            </p:cNvPr>
            <p:cNvGrpSpPr/>
            <p:nvPr/>
          </p:nvGrpSpPr>
          <p:grpSpPr>
            <a:xfrm>
              <a:off x="11188552" y="5000431"/>
              <a:ext cx="387666" cy="387667"/>
              <a:chOff x="9088159" y="4802050"/>
              <a:chExt cx="479544" cy="479544"/>
            </a:xfrm>
          </p:grpSpPr>
          <p:sp>
            <p:nvSpPr>
              <p:cNvPr id="13" name="Rectangle: Rounded Corners 12">
                <a:extLst>
                  <a:ext uri="{FF2B5EF4-FFF2-40B4-BE49-F238E27FC236}">
                    <a16:creationId xmlns:a16="http://schemas.microsoft.com/office/drawing/2014/main" id="{2BE7A69D-623D-45D6-A525-C09F617AD23B}"/>
                  </a:ext>
                </a:extLst>
              </p:cNvPr>
              <p:cNvSpPr/>
              <p:nvPr/>
            </p:nvSpPr>
            <p:spPr bwMode="auto">
              <a:xfrm rot="20606611">
                <a:off x="9160512" y="4985206"/>
                <a:ext cx="354351" cy="282321"/>
              </a:xfrm>
              <a:custGeom>
                <a:avLst/>
                <a:gdLst>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50031 w 250031"/>
                  <a:gd name="connsiteY4" fmla="*/ 171281 h 205538"/>
                  <a:gd name="connsiteX5" fmla="*/ 215774 w 250031"/>
                  <a:gd name="connsiteY5" fmla="*/ 205538 h 205538"/>
                  <a:gd name="connsiteX6" fmla="*/ 34257 w 250031"/>
                  <a:gd name="connsiteY6" fmla="*/ 205538 h 205538"/>
                  <a:gd name="connsiteX7" fmla="*/ 0 w 250031"/>
                  <a:gd name="connsiteY7" fmla="*/ 171281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15774 w 250031"/>
                  <a:gd name="connsiteY5" fmla="*/ 205538 h 205538"/>
                  <a:gd name="connsiteX6" fmla="*/ 34257 w 250031"/>
                  <a:gd name="connsiteY6" fmla="*/ 205538 h 205538"/>
                  <a:gd name="connsiteX7" fmla="*/ 0 w 250031"/>
                  <a:gd name="connsiteY7" fmla="*/ 171281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15774 w 250031"/>
                  <a:gd name="connsiteY5" fmla="*/ 205538 h 205538"/>
                  <a:gd name="connsiteX6" fmla="*/ 34257 w 250031"/>
                  <a:gd name="connsiteY6" fmla="*/ 205538 h 205538"/>
                  <a:gd name="connsiteX7" fmla="*/ 13097 w 250031"/>
                  <a:gd name="connsiteY7" fmla="*/ 170090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15774 w 250031"/>
                  <a:gd name="connsiteY5" fmla="*/ 205538 h 205538"/>
                  <a:gd name="connsiteX6" fmla="*/ 47354 w 250031"/>
                  <a:gd name="connsiteY6" fmla="*/ 204347 h 205538"/>
                  <a:gd name="connsiteX7" fmla="*/ 13097 w 250031"/>
                  <a:gd name="connsiteY7" fmla="*/ 170090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02677 w 250031"/>
                  <a:gd name="connsiteY5" fmla="*/ 205538 h 205538"/>
                  <a:gd name="connsiteX6" fmla="*/ 47354 w 250031"/>
                  <a:gd name="connsiteY6" fmla="*/ 204347 h 205538"/>
                  <a:gd name="connsiteX7" fmla="*/ 13097 w 250031"/>
                  <a:gd name="connsiteY7" fmla="*/ 170090 h 205538"/>
                  <a:gd name="connsiteX8" fmla="*/ 0 w 250031"/>
                  <a:gd name="connsiteY8" fmla="*/ 34257 h 205538"/>
                  <a:gd name="connsiteX0" fmla="*/ 0 w 250031"/>
                  <a:gd name="connsiteY0" fmla="*/ 34257 h 205538"/>
                  <a:gd name="connsiteX1" fmla="*/ 22351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02677 w 250031"/>
                  <a:gd name="connsiteY5" fmla="*/ 205538 h 205538"/>
                  <a:gd name="connsiteX6" fmla="*/ 47354 w 250031"/>
                  <a:gd name="connsiteY6" fmla="*/ 204347 h 205538"/>
                  <a:gd name="connsiteX7" fmla="*/ 13097 w 250031"/>
                  <a:gd name="connsiteY7" fmla="*/ 170090 h 205538"/>
                  <a:gd name="connsiteX8" fmla="*/ 0 w 250031"/>
                  <a:gd name="connsiteY8" fmla="*/ 34257 h 205538"/>
                  <a:gd name="connsiteX0" fmla="*/ 0 w 260747"/>
                  <a:gd name="connsiteY0" fmla="*/ 34257 h 205538"/>
                  <a:gd name="connsiteX1" fmla="*/ 33067 w 260747"/>
                  <a:gd name="connsiteY1" fmla="*/ 0 h 205538"/>
                  <a:gd name="connsiteX2" fmla="*/ 226490 w 260747"/>
                  <a:gd name="connsiteY2" fmla="*/ 0 h 205538"/>
                  <a:gd name="connsiteX3" fmla="*/ 260747 w 260747"/>
                  <a:gd name="connsiteY3" fmla="*/ 34257 h 205538"/>
                  <a:gd name="connsiteX4" fmla="*/ 252413 w 260747"/>
                  <a:gd name="connsiteY4" fmla="*/ 171281 h 205538"/>
                  <a:gd name="connsiteX5" fmla="*/ 213393 w 260747"/>
                  <a:gd name="connsiteY5" fmla="*/ 205538 h 205538"/>
                  <a:gd name="connsiteX6" fmla="*/ 58070 w 260747"/>
                  <a:gd name="connsiteY6" fmla="*/ 204347 h 205538"/>
                  <a:gd name="connsiteX7" fmla="*/ 23813 w 260747"/>
                  <a:gd name="connsiteY7" fmla="*/ 170090 h 205538"/>
                  <a:gd name="connsiteX8" fmla="*/ 0 w 260747"/>
                  <a:gd name="connsiteY8" fmla="*/ 34257 h 205538"/>
                  <a:gd name="connsiteX0" fmla="*/ 0 w 260747"/>
                  <a:gd name="connsiteY0" fmla="*/ 34257 h 205538"/>
                  <a:gd name="connsiteX1" fmla="*/ 33067 w 260747"/>
                  <a:gd name="connsiteY1" fmla="*/ 0 h 205538"/>
                  <a:gd name="connsiteX2" fmla="*/ 241968 w 260747"/>
                  <a:gd name="connsiteY2" fmla="*/ 0 h 205538"/>
                  <a:gd name="connsiteX3" fmla="*/ 260747 w 260747"/>
                  <a:gd name="connsiteY3" fmla="*/ 34257 h 205538"/>
                  <a:gd name="connsiteX4" fmla="*/ 252413 w 260747"/>
                  <a:gd name="connsiteY4" fmla="*/ 171281 h 205538"/>
                  <a:gd name="connsiteX5" fmla="*/ 213393 w 260747"/>
                  <a:gd name="connsiteY5" fmla="*/ 205538 h 205538"/>
                  <a:gd name="connsiteX6" fmla="*/ 58070 w 260747"/>
                  <a:gd name="connsiteY6" fmla="*/ 204347 h 205538"/>
                  <a:gd name="connsiteX7" fmla="*/ 23813 w 260747"/>
                  <a:gd name="connsiteY7" fmla="*/ 170090 h 205538"/>
                  <a:gd name="connsiteX8" fmla="*/ 0 w 260747"/>
                  <a:gd name="connsiteY8" fmla="*/ 34257 h 205538"/>
                  <a:gd name="connsiteX0" fmla="*/ 0 w 270272"/>
                  <a:gd name="connsiteY0" fmla="*/ 34257 h 205538"/>
                  <a:gd name="connsiteX1" fmla="*/ 33067 w 270272"/>
                  <a:gd name="connsiteY1" fmla="*/ 0 h 205538"/>
                  <a:gd name="connsiteX2" fmla="*/ 241968 w 270272"/>
                  <a:gd name="connsiteY2" fmla="*/ 0 h 205538"/>
                  <a:gd name="connsiteX3" fmla="*/ 270272 w 270272"/>
                  <a:gd name="connsiteY3" fmla="*/ 34257 h 205538"/>
                  <a:gd name="connsiteX4" fmla="*/ 252413 w 270272"/>
                  <a:gd name="connsiteY4" fmla="*/ 171281 h 205538"/>
                  <a:gd name="connsiteX5" fmla="*/ 213393 w 270272"/>
                  <a:gd name="connsiteY5" fmla="*/ 205538 h 205538"/>
                  <a:gd name="connsiteX6" fmla="*/ 58070 w 270272"/>
                  <a:gd name="connsiteY6" fmla="*/ 204347 h 205538"/>
                  <a:gd name="connsiteX7" fmla="*/ 23813 w 270272"/>
                  <a:gd name="connsiteY7" fmla="*/ 170090 h 205538"/>
                  <a:gd name="connsiteX8" fmla="*/ 0 w 270272"/>
                  <a:gd name="connsiteY8" fmla="*/ 34257 h 20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0272" h="205538">
                    <a:moveTo>
                      <a:pt x="0" y="34257"/>
                    </a:moveTo>
                    <a:cubicBezTo>
                      <a:pt x="0" y="15337"/>
                      <a:pt x="14147" y="0"/>
                      <a:pt x="33067" y="0"/>
                    </a:cubicBezTo>
                    <a:lnTo>
                      <a:pt x="241968" y="0"/>
                    </a:lnTo>
                    <a:cubicBezTo>
                      <a:pt x="260888" y="0"/>
                      <a:pt x="270272" y="15337"/>
                      <a:pt x="270272" y="34257"/>
                    </a:cubicBezTo>
                    <a:cubicBezTo>
                      <a:pt x="270272" y="79932"/>
                      <a:pt x="252413" y="125606"/>
                      <a:pt x="252413" y="171281"/>
                    </a:cubicBezTo>
                    <a:cubicBezTo>
                      <a:pt x="252413" y="190201"/>
                      <a:pt x="232313" y="205538"/>
                      <a:pt x="213393" y="205538"/>
                    </a:cubicBezTo>
                    <a:lnTo>
                      <a:pt x="58070" y="204347"/>
                    </a:lnTo>
                    <a:cubicBezTo>
                      <a:pt x="39150" y="204347"/>
                      <a:pt x="23813" y="189010"/>
                      <a:pt x="23813" y="170090"/>
                    </a:cubicBezTo>
                    <a:lnTo>
                      <a:pt x="0" y="3425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pic>
            <p:nvPicPr>
              <p:cNvPr id="138" name="Picture Placeholder 230">
                <a:extLst>
                  <a:ext uri="{FF2B5EF4-FFF2-40B4-BE49-F238E27FC236}">
                    <a16:creationId xmlns:a16="http://schemas.microsoft.com/office/drawing/2014/main" id="{29BD6615-C731-41B1-9430-162684F5287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p:blipFill>
            <p:spPr>
              <a:xfrm rot="20587996">
                <a:off x="9088159" y="4802050"/>
                <a:ext cx="479544" cy="479544"/>
              </a:xfrm>
              <a:prstGeom prst="rect">
                <a:avLst/>
              </a:prstGeom>
            </p:spPr>
          </p:pic>
        </p:grpSp>
      </p:grpSp>
      <p:grpSp>
        <p:nvGrpSpPr>
          <p:cNvPr id="3" name="Group 2">
            <a:extLst>
              <a:ext uri="{FF2B5EF4-FFF2-40B4-BE49-F238E27FC236}">
                <a16:creationId xmlns:a16="http://schemas.microsoft.com/office/drawing/2014/main" id="{C7F0E339-9612-4C7B-B090-540655DC4A64}"/>
              </a:ext>
            </a:extLst>
          </p:cNvPr>
          <p:cNvGrpSpPr/>
          <p:nvPr/>
        </p:nvGrpSpPr>
        <p:grpSpPr>
          <a:xfrm>
            <a:off x="4468994" y="1422263"/>
            <a:ext cx="3700272" cy="4752590"/>
            <a:chOff x="4468994" y="1422263"/>
            <a:chExt cx="3700272" cy="4752590"/>
          </a:xfrm>
        </p:grpSpPr>
        <p:sp>
          <p:nvSpPr>
            <p:cNvPr id="147" name="TextBox 146">
              <a:extLst>
                <a:ext uri="{FF2B5EF4-FFF2-40B4-BE49-F238E27FC236}">
                  <a16:creationId xmlns:a16="http://schemas.microsoft.com/office/drawing/2014/main" id="{F6EA697F-9095-49AF-BD77-D8705FF0730F}"/>
                </a:ext>
              </a:extLst>
            </p:cNvPr>
            <p:cNvSpPr txBox="1"/>
            <p:nvPr/>
          </p:nvSpPr>
          <p:spPr>
            <a:xfrm>
              <a:off x="4468994" y="3726210"/>
              <a:ext cx="1657486" cy="861774"/>
            </a:xfrm>
            <a:prstGeom prst="rect">
              <a:avLst/>
            </a:prstGeom>
            <a:noFill/>
          </p:spPr>
          <p:txBody>
            <a:bodyPr wrap="square" lIns="0" tIns="0" rIns="0" bIns="0" rtlCol="0" anchor="ctr">
              <a:spAutoFit/>
            </a:bodyPr>
            <a:lstStyle/>
            <a:p>
              <a:pPr marL="0" marR="0" lvl="0" indent="0" algn="ctr"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Content Publishers</a:t>
              </a:r>
            </a:p>
            <a:p>
              <a:pPr marL="0" marR="0" lvl="0" indent="0" algn="ctr" defTabSz="93257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Semilight"/>
                  <a:ea typeface="+mn-ea"/>
                  <a:cs typeface="+mn-cs"/>
                </a:rPr>
                <a:t>Gain visibility into sales data and royalty revenue, enabling them to make near real time decisions. </a:t>
              </a:r>
            </a:p>
          </p:txBody>
        </p:sp>
        <p:sp>
          <p:nvSpPr>
            <p:cNvPr id="149" name="Freeform: Shape 148">
              <a:extLst>
                <a:ext uri="{FF2B5EF4-FFF2-40B4-BE49-F238E27FC236}">
                  <a16:creationId xmlns:a16="http://schemas.microsoft.com/office/drawing/2014/main" id="{6920133B-4C8B-4726-9258-1FF0CEA24C0B}"/>
                </a:ext>
              </a:extLst>
            </p:cNvPr>
            <p:cNvSpPr/>
            <p:nvPr/>
          </p:nvSpPr>
          <p:spPr>
            <a:xfrm flipH="1">
              <a:off x="4755918" y="3039742"/>
              <a:ext cx="527523" cy="494747"/>
            </a:xfrm>
            <a:custGeom>
              <a:avLst/>
              <a:gdLst/>
              <a:ahLst/>
              <a:cxnLst/>
              <a:rect l="0" t="0" r="0" b="0"/>
              <a:pathLst>
                <a:path w="561975" h="781050">
                  <a:moveTo>
                    <a:pt x="548754" y="750837"/>
                  </a:moveTo>
                  <a:lnTo>
                    <a:pt x="502968" y="750837"/>
                  </a:lnTo>
                  <a:lnTo>
                    <a:pt x="502968" y="82763"/>
                  </a:lnTo>
                  <a:cubicBezTo>
                    <a:pt x="502968" y="76276"/>
                    <a:pt x="497710" y="71018"/>
                    <a:pt x="491223" y="71018"/>
                  </a:cubicBezTo>
                  <a:lnTo>
                    <a:pt x="403155" y="71018"/>
                  </a:lnTo>
                  <a:lnTo>
                    <a:pt x="403155" y="43520"/>
                  </a:lnTo>
                  <a:cubicBezTo>
                    <a:pt x="403155" y="37033"/>
                    <a:pt x="397897" y="31775"/>
                    <a:pt x="391411" y="31775"/>
                  </a:cubicBezTo>
                  <a:cubicBezTo>
                    <a:pt x="384924" y="31775"/>
                    <a:pt x="379667" y="37033"/>
                    <a:pt x="379667" y="43520"/>
                  </a:cubicBezTo>
                  <a:lnTo>
                    <a:pt x="379667" y="71018"/>
                  </a:lnTo>
                  <a:lnTo>
                    <a:pt x="330689" y="71018"/>
                  </a:lnTo>
                  <a:lnTo>
                    <a:pt x="305581" y="71018"/>
                  </a:lnTo>
                  <a:lnTo>
                    <a:pt x="305581" y="18888"/>
                  </a:lnTo>
                  <a:cubicBezTo>
                    <a:pt x="305581" y="12402"/>
                    <a:pt x="300323" y="7144"/>
                    <a:pt x="293837" y="7144"/>
                  </a:cubicBezTo>
                  <a:lnTo>
                    <a:pt x="203549" y="7144"/>
                  </a:lnTo>
                  <a:cubicBezTo>
                    <a:pt x="197063" y="7144"/>
                    <a:pt x="191805" y="12402"/>
                    <a:pt x="191805" y="18888"/>
                  </a:cubicBezTo>
                  <a:lnTo>
                    <a:pt x="191805" y="71018"/>
                  </a:lnTo>
                  <a:lnTo>
                    <a:pt x="128292" y="71018"/>
                  </a:lnTo>
                  <a:lnTo>
                    <a:pt x="128292" y="43520"/>
                  </a:lnTo>
                  <a:cubicBezTo>
                    <a:pt x="128292" y="37033"/>
                    <a:pt x="123034" y="31775"/>
                    <a:pt x="116548" y="31775"/>
                  </a:cubicBezTo>
                  <a:cubicBezTo>
                    <a:pt x="110061" y="31775"/>
                    <a:pt x="104804" y="37033"/>
                    <a:pt x="104804" y="43520"/>
                  </a:cubicBezTo>
                  <a:lnTo>
                    <a:pt x="104804" y="71018"/>
                  </a:lnTo>
                  <a:lnTo>
                    <a:pt x="76419" y="71018"/>
                  </a:lnTo>
                  <a:cubicBezTo>
                    <a:pt x="69933" y="71018"/>
                    <a:pt x="64675" y="76276"/>
                    <a:pt x="64675" y="82763"/>
                  </a:cubicBezTo>
                  <a:lnTo>
                    <a:pt x="64675" y="750837"/>
                  </a:lnTo>
                  <a:lnTo>
                    <a:pt x="18888" y="750837"/>
                  </a:lnTo>
                  <a:cubicBezTo>
                    <a:pt x="12402" y="750837"/>
                    <a:pt x="7144" y="756095"/>
                    <a:pt x="7144" y="762581"/>
                  </a:cubicBezTo>
                  <a:cubicBezTo>
                    <a:pt x="7144" y="769068"/>
                    <a:pt x="12402" y="774325"/>
                    <a:pt x="18888" y="774325"/>
                  </a:cubicBezTo>
                  <a:lnTo>
                    <a:pt x="548754" y="774325"/>
                  </a:lnTo>
                  <a:cubicBezTo>
                    <a:pt x="555241" y="774325"/>
                    <a:pt x="560499" y="769068"/>
                    <a:pt x="560499" y="762581"/>
                  </a:cubicBezTo>
                  <a:cubicBezTo>
                    <a:pt x="560499" y="756095"/>
                    <a:pt x="555241" y="750837"/>
                    <a:pt x="548754" y="750837"/>
                  </a:cubicBezTo>
                  <a:close/>
                  <a:moveTo>
                    <a:pt x="479489" y="750837"/>
                  </a:moveTo>
                  <a:lnTo>
                    <a:pt x="342433" y="750837"/>
                  </a:lnTo>
                  <a:lnTo>
                    <a:pt x="342433" y="94498"/>
                  </a:lnTo>
                  <a:lnTo>
                    <a:pt x="479489" y="94498"/>
                  </a:lnTo>
                  <a:lnTo>
                    <a:pt x="479489" y="750837"/>
                  </a:lnTo>
                  <a:close/>
                  <a:moveTo>
                    <a:pt x="215284" y="30632"/>
                  </a:moveTo>
                  <a:lnTo>
                    <a:pt x="282083" y="30632"/>
                  </a:lnTo>
                  <a:lnTo>
                    <a:pt x="282083" y="71018"/>
                  </a:lnTo>
                  <a:lnTo>
                    <a:pt x="215284" y="71018"/>
                  </a:lnTo>
                  <a:lnTo>
                    <a:pt x="215284" y="30632"/>
                  </a:lnTo>
                  <a:close/>
                  <a:moveTo>
                    <a:pt x="88163" y="94498"/>
                  </a:moveTo>
                  <a:lnTo>
                    <a:pt x="318945" y="94498"/>
                  </a:lnTo>
                  <a:lnTo>
                    <a:pt x="318945" y="750827"/>
                  </a:lnTo>
                  <a:lnTo>
                    <a:pt x="215284" y="750827"/>
                  </a:lnTo>
                  <a:lnTo>
                    <a:pt x="215284" y="684162"/>
                  </a:lnTo>
                  <a:cubicBezTo>
                    <a:pt x="215284" y="677675"/>
                    <a:pt x="210026" y="672417"/>
                    <a:pt x="203540" y="672417"/>
                  </a:cubicBezTo>
                  <a:cubicBezTo>
                    <a:pt x="197053" y="672417"/>
                    <a:pt x="191795" y="677675"/>
                    <a:pt x="191795" y="684162"/>
                  </a:cubicBezTo>
                  <a:lnTo>
                    <a:pt x="191795" y="750827"/>
                  </a:lnTo>
                  <a:lnTo>
                    <a:pt x="88163" y="750827"/>
                  </a:lnTo>
                  <a:lnTo>
                    <a:pt x="88163" y="94498"/>
                  </a:lnTo>
                  <a:close/>
                  <a:moveTo>
                    <a:pt x="399298" y="161173"/>
                  </a:moveTo>
                  <a:lnTo>
                    <a:pt x="399298" y="142456"/>
                  </a:lnTo>
                  <a:cubicBezTo>
                    <a:pt x="399298" y="135969"/>
                    <a:pt x="404555" y="130712"/>
                    <a:pt x="411042" y="130712"/>
                  </a:cubicBezTo>
                  <a:cubicBezTo>
                    <a:pt x="417528" y="130712"/>
                    <a:pt x="422786" y="135969"/>
                    <a:pt x="422786" y="142456"/>
                  </a:cubicBezTo>
                  <a:lnTo>
                    <a:pt x="422786" y="161173"/>
                  </a:lnTo>
                  <a:cubicBezTo>
                    <a:pt x="422786" y="167659"/>
                    <a:pt x="417528" y="172917"/>
                    <a:pt x="411042" y="172917"/>
                  </a:cubicBezTo>
                  <a:cubicBezTo>
                    <a:pt x="404555" y="172917"/>
                    <a:pt x="399298" y="167659"/>
                    <a:pt x="399298" y="161173"/>
                  </a:cubicBezTo>
                  <a:close/>
                  <a:moveTo>
                    <a:pt x="399298" y="251460"/>
                  </a:moveTo>
                  <a:lnTo>
                    <a:pt x="399298" y="232743"/>
                  </a:lnTo>
                  <a:cubicBezTo>
                    <a:pt x="399298" y="226257"/>
                    <a:pt x="404555" y="220999"/>
                    <a:pt x="411042" y="220999"/>
                  </a:cubicBezTo>
                  <a:cubicBezTo>
                    <a:pt x="417528" y="220999"/>
                    <a:pt x="422786" y="226257"/>
                    <a:pt x="422786" y="232743"/>
                  </a:cubicBezTo>
                  <a:lnTo>
                    <a:pt x="422786" y="251460"/>
                  </a:lnTo>
                  <a:cubicBezTo>
                    <a:pt x="422786" y="257947"/>
                    <a:pt x="417528" y="263204"/>
                    <a:pt x="411042" y="263204"/>
                  </a:cubicBezTo>
                  <a:cubicBezTo>
                    <a:pt x="404555" y="263204"/>
                    <a:pt x="399298" y="257947"/>
                    <a:pt x="399298" y="251460"/>
                  </a:cubicBezTo>
                  <a:close/>
                  <a:moveTo>
                    <a:pt x="399298" y="341747"/>
                  </a:moveTo>
                  <a:lnTo>
                    <a:pt x="399298" y="323031"/>
                  </a:lnTo>
                  <a:cubicBezTo>
                    <a:pt x="399298" y="316544"/>
                    <a:pt x="404555" y="311287"/>
                    <a:pt x="411042" y="311287"/>
                  </a:cubicBezTo>
                  <a:cubicBezTo>
                    <a:pt x="417528" y="311287"/>
                    <a:pt x="422786" y="316544"/>
                    <a:pt x="422786" y="323031"/>
                  </a:cubicBezTo>
                  <a:lnTo>
                    <a:pt x="422786" y="341747"/>
                  </a:lnTo>
                  <a:cubicBezTo>
                    <a:pt x="422786" y="348234"/>
                    <a:pt x="417528" y="353492"/>
                    <a:pt x="411042" y="353492"/>
                  </a:cubicBezTo>
                  <a:cubicBezTo>
                    <a:pt x="404555" y="353492"/>
                    <a:pt x="399298" y="348234"/>
                    <a:pt x="399298" y="341747"/>
                  </a:cubicBezTo>
                  <a:close/>
                  <a:moveTo>
                    <a:pt x="399298" y="432025"/>
                  </a:moveTo>
                  <a:lnTo>
                    <a:pt x="399298" y="413309"/>
                  </a:lnTo>
                  <a:cubicBezTo>
                    <a:pt x="399298" y="406822"/>
                    <a:pt x="404555" y="401565"/>
                    <a:pt x="411042" y="401565"/>
                  </a:cubicBezTo>
                  <a:cubicBezTo>
                    <a:pt x="417528" y="401565"/>
                    <a:pt x="422786" y="406822"/>
                    <a:pt x="422786" y="413309"/>
                  </a:cubicBezTo>
                  <a:lnTo>
                    <a:pt x="422786" y="432025"/>
                  </a:lnTo>
                  <a:cubicBezTo>
                    <a:pt x="422786" y="438512"/>
                    <a:pt x="417528" y="443770"/>
                    <a:pt x="411042" y="443770"/>
                  </a:cubicBezTo>
                  <a:cubicBezTo>
                    <a:pt x="404555" y="443770"/>
                    <a:pt x="399298" y="438512"/>
                    <a:pt x="399298" y="432025"/>
                  </a:cubicBezTo>
                  <a:close/>
                  <a:moveTo>
                    <a:pt x="399298" y="522313"/>
                  </a:moveTo>
                  <a:lnTo>
                    <a:pt x="399298" y="503596"/>
                  </a:lnTo>
                  <a:cubicBezTo>
                    <a:pt x="399298" y="497110"/>
                    <a:pt x="404555" y="491852"/>
                    <a:pt x="411042" y="491852"/>
                  </a:cubicBezTo>
                  <a:cubicBezTo>
                    <a:pt x="417528" y="491852"/>
                    <a:pt x="422786" y="497110"/>
                    <a:pt x="422786" y="503596"/>
                  </a:cubicBezTo>
                  <a:lnTo>
                    <a:pt x="422786" y="522313"/>
                  </a:lnTo>
                  <a:cubicBezTo>
                    <a:pt x="422786" y="528799"/>
                    <a:pt x="417528" y="534057"/>
                    <a:pt x="411042" y="534057"/>
                  </a:cubicBezTo>
                  <a:cubicBezTo>
                    <a:pt x="404555" y="534057"/>
                    <a:pt x="399298" y="528799"/>
                    <a:pt x="399298" y="522313"/>
                  </a:cubicBezTo>
                  <a:close/>
                  <a:moveTo>
                    <a:pt x="399298" y="612591"/>
                  </a:moveTo>
                  <a:lnTo>
                    <a:pt x="399298" y="593874"/>
                  </a:lnTo>
                  <a:cubicBezTo>
                    <a:pt x="399298" y="587388"/>
                    <a:pt x="404555" y="582130"/>
                    <a:pt x="411042" y="582130"/>
                  </a:cubicBezTo>
                  <a:cubicBezTo>
                    <a:pt x="417528" y="582130"/>
                    <a:pt x="422786" y="587388"/>
                    <a:pt x="422786" y="593874"/>
                  </a:cubicBezTo>
                  <a:lnTo>
                    <a:pt x="422786" y="612591"/>
                  </a:lnTo>
                  <a:cubicBezTo>
                    <a:pt x="422786" y="619077"/>
                    <a:pt x="417528" y="624335"/>
                    <a:pt x="411042" y="624335"/>
                  </a:cubicBezTo>
                  <a:cubicBezTo>
                    <a:pt x="404555" y="624335"/>
                    <a:pt x="399298" y="619077"/>
                    <a:pt x="399298" y="612591"/>
                  </a:cubicBezTo>
                  <a:close/>
                  <a:moveTo>
                    <a:pt x="399298" y="702878"/>
                  </a:moveTo>
                  <a:lnTo>
                    <a:pt x="399298" y="684162"/>
                  </a:lnTo>
                  <a:cubicBezTo>
                    <a:pt x="399298" y="677675"/>
                    <a:pt x="404555" y="672417"/>
                    <a:pt x="411042" y="672417"/>
                  </a:cubicBezTo>
                  <a:cubicBezTo>
                    <a:pt x="417528" y="672417"/>
                    <a:pt x="422786" y="677675"/>
                    <a:pt x="422786" y="684162"/>
                  </a:cubicBezTo>
                  <a:lnTo>
                    <a:pt x="422786" y="702878"/>
                  </a:lnTo>
                  <a:cubicBezTo>
                    <a:pt x="422786" y="709365"/>
                    <a:pt x="417528" y="714623"/>
                    <a:pt x="411042" y="714623"/>
                  </a:cubicBezTo>
                  <a:cubicBezTo>
                    <a:pt x="404555" y="714623"/>
                    <a:pt x="399298" y="709374"/>
                    <a:pt x="399298" y="702878"/>
                  </a:cubicBezTo>
                  <a:close/>
                  <a:moveTo>
                    <a:pt x="251727" y="161173"/>
                  </a:moveTo>
                  <a:lnTo>
                    <a:pt x="251727" y="142456"/>
                  </a:lnTo>
                  <a:cubicBezTo>
                    <a:pt x="251727" y="135969"/>
                    <a:pt x="256985" y="130712"/>
                    <a:pt x="263471" y="130712"/>
                  </a:cubicBezTo>
                  <a:cubicBezTo>
                    <a:pt x="269958" y="130712"/>
                    <a:pt x="275215" y="135969"/>
                    <a:pt x="275215" y="142456"/>
                  </a:cubicBezTo>
                  <a:lnTo>
                    <a:pt x="275215" y="161173"/>
                  </a:lnTo>
                  <a:cubicBezTo>
                    <a:pt x="275215" y="167659"/>
                    <a:pt x="269958" y="172917"/>
                    <a:pt x="263471" y="172917"/>
                  </a:cubicBezTo>
                  <a:cubicBezTo>
                    <a:pt x="256985" y="172917"/>
                    <a:pt x="251727" y="167659"/>
                    <a:pt x="251727" y="161173"/>
                  </a:cubicBezTo>
                  <a:close/>
                  <a:moveTo>
                    <a:pt x="191805" y="161173"/>
                  </a:moveTo>
                  <a:lnTo>
                    <a:pt x="191805" y="142456"/>
                  </a:lnTo>
                  <a:cubicBezTo>
                    <a:pt x="191805" y="135969"/>
                    <a:pt x="197063" y="130712"/>
                    <a:pt x="203549" y="130712"/>
                  </a:cubicBezTo>
                  <a:cubicBezTo>
                    <a:pt x="210036" y="130712"/>
                    <a:pt x="215294" y="135969"/>
                    <a:pt x="215294" y="142456"/>
                  </a:cubicBezTo>
                  <a:lnTo>
                    <a:pt x="215294" y="161173"/>
                  </a:lnTo>
                  <a:cubicBezTo>
                    <a:pt x="215294" y="167659"/>
                    <a:pt x="210036" y="172917"/>
                    <a:pt x="203549" y="172917"/>
                  </a:cubicBezTo>
                  <a:cubicBezTo>
                    <a:pt x="197063" y="172917"/>
                    <a:pt x="191805" y="167659"/>
                    <a:pt x="191805" y="161173"/>
                  </a:cubicBezTo>
                  <a:close/>
                  <a:moveTo>
                    <a:pt x="155372" y="142465"/>
                  </a:moveTo>
                  <a:lnTo>
                    <a:pt x="155372" y="161182"/>
                  </a:lnTo>
                  <a:cubicBezTo>
                    <a:pt x="155372" y="167669"/>
                    <a:pt x="150114" y="172926"/>
                    <a:pt x="143627" y="172926"/>
                  </a:cubicBezTo>
                  <a:cubicBezTo>
                    <a:pt x="137141" y="172926"/>
                    <a:pt x="131883" y="167669"/>
                    <a:pt x="131883" y="161182"/>
                  </a:cubicBezTo>
                  <a:lnTo>
                    <a:pt x="131883" y="142465"/>
                  </a:lnTo>
                  <a:cubicBezTo>
                    <a:pt x="131883" y="135979"/>
                    <a:pt x="137141" y="130721"/>
                    <a:pt x="143627" y="130721"/>
                  </a:cubicBezTo>
                  <a:cubicBezTo>
                    <a:pt x="150114" y="130721"/>
                    <a:pt x="155372" y="135979"/>
                    <a:pt x="155372" y="142465"/>
                  </a:cubicBezTo>
                  <a:close/>
                  <a:moveTo>
                    <a:pt x="251727" y="251460"/>
                  </a:moveTo>
                  <a:lnTo>
                    <a:pt x="251727" y="232743"/>
                  </a:lnTo>
                  <a:cubicBezTo>
                    <a:pt x="251727" y="226257"/>
                    <a:pt x="256985" y="220999"/>
                    <a:pt x="263471" y="220999"/>
                  </a:cubicBezTo>
                  <a:cubicBezTo>
                    <a:pt x="269958" y="220999"/>
                    <a:pt x="275215" y="226257"/>
                    <a:pt x="275215" y="232743"/>
                  </a:cubicBezTo>
                  <a:lnTo>
                    <a:pt x="275215" y="251460"/>
                  </a:lnTo>
                  <a:cubicBezTo>
                    <a:pt x="275215" y="257947"/>
                    <a:pt x="269958" y="263204"/>
                    <a:pt x="263471" y="263204"/>
                  </a:cubicBezTo>
                  <a:cubicBezTo>
                    <a:pt x="256985" y="263204"/>
                    <a:pt x="251727" y="257947"/>
                    <a:pt x="251727" y="251460"/>
                  </a:cubicBezTo>
                  <a:close/>
                  <a:moveTo>
                    <a:pt x="191805" y="251460"/>
                  </a:moveTo>
                  <a:lnTo>
                    <a:pt x="191805" y="232743"/>
                  </a:lnTo>
                  <a:cubicBezTo>
                    <a:pt x="191805" y="226257"/>
                    <a:pt x="197063" y="220999"/>
                    <a:pt x="203549" y="220999"/>
                  </a:cubicBezTo>
                  <a:cubicBezTo>
                    <a:pt x="210036" y="220999"/>
                    <a:pt x="215294" y="226257"/>
                    <a:pt x="215294" y="232743"/>
                  </a:cubicBezTo>
                  <a:lnTo>
                    <a:pt x="215294" y="251460"/>
                  </a:lnTo>
                  <a:cubicBezTo>
                    <a:pt x="215294" y="257947"/>
                    <a:pt x="210036" y="263204"/>
                    <a:pt x="203549" y="263204"/>
                  </a:cubicBezTo>
                  <a:cubicBezTo>
                    <a:pt x="197063" y="263195"/>
                    <a:pt x="191805" y="257947"/>
                    <a:pt x="191805" y="251460"/>
                  </a:cubicBezTo>
                  <a:close/>
                  <a:moveTo>
                    <a:pt x="155372" y="232743"/>
                  </a:moveTo>
                  <a:lnTo>
                    <a:pt x="155372" y="251460"/>
                  </a:lnTo>
                  <a:cubicBezTo>
                    <a:pt x="155372" y="257947"/>
                    <a:pt x="150114" y="263204"/>
                    <a:pt x="143627" y="263204"/>
                  </a:cubicBezTo>
                  <a:cubicBezTo>
                    <a:pt x="137141" y="263204"/>
                    <a:pt x="131883" y="257947"/>
                    <a:pt x="131883" y="251460"/>
                  </a:cubicBezTo>
                  <a:lnTo>
                    <a:pt x="131883" y="232743"/>
                  </a:lnTo>
                  <a:cubicBezTo>
                    <a:pt x="131883" y="226257"/>
                    <a:pt x="137141" y="220999"/>
                    <a:pt x="143627" y="220999"/>
                  </a:cubicBezTo>
                  <a:cubicBezTo>
                    <a:pt x="150114" y="220999"/>
                    <a:pt x="155372" y="226257"/>
                    <a:pt x="155372" y="232743"/>
                  </a:cubicBezTo>
                  <a:close/>
                  <a:moveTo>
                    <a:pt x="251727" y="341747"/>
                  </a:moveTo>
                  <a:lnTo>
                    <a:pt x="251727" y="323031"/>
                  </a:lnTo>
                  <a:cubicBezTo>
                    <a:pt x="251727" y="316544"/>
                    <a:pt x="256985" y="311287"/>
                    <a:pt x="263471" y="311287"/>
                  </a:cubicBezTo>
                  <a:cubicBezTo>
                    <a:pt x="269958" y="311287"/>
                    <a:pt x="275215" y="316544"/>
                    <a:pt x="275215" y="323031"/>
                  </a:cubicBezTo>
                  <a:lnTo>
                    <a:pt x="275215" y="341747"/>
                  </a:lnTo>
                  <a:cubicBezTo>
                    <a:pt x="275215" y="348234"/>
                    <a:pt x="269958" y="353492"/>
                    <a:pt x="263471" y="353492"/>
                  </a:cubicBezTo>
                  <a:cubicBezTo>
                    <a:pt x="256985" y="353492"/>
                    <a:pt x="251727" y="348234"/>
                    <a:pt x="251727" y="341747"/>
                  </a:cubicBezTo>
                  <a:close/>
                  <a:moveTo>
                    <a:pt x="191805" y="341747"/>
                  </a:moveTo>
                  <a:lnTo>
                    <a:pt x="191805" y="323031"/>
                  </a:lnTo>
                  <a:cubicBezTo>
                    <a:pt x="191805" y="316544"/>
                    <a:pt x="197063" y="311287"/>
                    <a:pt x="203549" y="311287"/>
                  </a:cubicBezTo>
                  <a:cubicBezTo>
                    <a:pt x="210036" y="311287"/>
                    <a:pt x="215294" y="316544"/>
                    <a:pt x="215294" y="323031"/>
                  </a:cubicBezTo>
                  <a:lnTo>
                    <a:pt x="215294" y="341747"/>
                  </a:lnTo>
                  <a:cubicBezTo>
                    <a:pt x="215294" y="348234"/>
                    <a:pt x="210036" y="353492"/>
                    <a:pt x="203549" y="353492"/>
                  </a:cubicBezTo>
                  <a:cubicBezTo>
                    <a:pt x="197063" y="353492"/>
                    <a:pt x="191805" y="348234"/>
                    <a:pt x="191805" y="341747"/>
                  </a:cubicBezTo>
                  <a:close/>
                  <a:moveTo>
                    <a:pt x="155372" y="323031"/>
                  </a:moveTo>
                  <a:lnTo>
                    <a:pt x="155372" y="341747"/>
                  </a:lnTo>
                  <a:cubicBezTo>
                    <a:pt x="155372" y="348234"/>
                    <a:pt x="150114" y="353492"/>
                    <a:pt x="143627" y="353492"/>
                  </a:cubicBezTo>
                  <a:cubicBezTo>
                    <a:pt x="137141" y="353492"/>
                    <a:pt x="131883" y="348234"/>
                    <a:pt x="131883" y="341747"/>
                  </a:cubicBezTo>
                  <a:lnTo>
                    <a:pt x="131883" y="323031"/>
                  </a:lnTo>
                  <a:cubicBezTo>
                    <a:pt x="131883" y="316544"/>
                    <a:pt x="137141" y="311287"/>
                    <a:pt x="143627" y="311287"/>
                  </a:cubicBezTo>
                  <a:cubicBezTo>
                    <a:pt x="150114" y="311287"/>
                    <a:pt x="155372" y="316544"/>
                    <a:pt x="155372" y="323031"/>
                  </a:cubicBezTo>
                  <a:close/>
                  <a:moveTo>
                    <a:pt x="251727" y="432025"/>
                  </a:moveTo>
                  <a:lnTo>
                    <a:pt x="251727" y="413309"/>
                  </a:lnTo>
                  <a:cubicBezTo>
                    <a:pt x="251727" y="406822"/>
                    <a:pt x="256985" y="401565"/>
                    <a:pt x="263471" y="401565"/>
                  </a:cubicBezTo>
                  <a:cubicBezTo>
                    <a:pt x="269958" y="401565"/>
                    <a:pt x="275215" y="406822"/>
                    <a:pt x="275215" y="413309"/>
                  </a:cubicBezTo>
                  <a:lnTo>
                    <a:pt x="275215" y="432025"/>
                  </a:lnTo>
                  <a:cubicBezTo>
                    <a:pt x="275215" y="438512"/>
                    <a:pt x="269958" y="443770"/>
                    <a:pt x="263471" y="443770"/>
                  </a:cubicBezTo>
                  <a:cubicBezTo>
                    <a:pt x="256985" y="443770"/>
                    <a:pt x="251727" y="438512"/>
                    <a:pt x="251727" y="432025"/>
                  </a:cubicBezTo>
                  <a:close/>
                  <a:moveTo>
                    <a:pt x="191805" y="432025"/>
                  </a:moveTo>
                  <a:lnTo>
                    <a:pt x="191805" y="413309"/>
                  </a:lnTo>
                  <a:cubicBezTo>
                    <a:pt x="191805" y="406822"/>
                    <a:pt x="197063" y="401565"/>
                    <a:pt x="203549" y="401565"/>
                  </a:cubicBezTo>
                  <a:cubicBezTo>
                    <a:pt x="210036" y="401565"/>
                    <a:pt x="215294" y="406822"/>
                    <a:pt x="215294" y="413309"/>
                  </a:cubicBezTo>
                  <a:lnTo>
                    <a:pt x="215294" y="432025"/>
                  </a:lnTo>
                  <a:cubicBezTo>
                    <a:pt x="215294" y="438512"/>
                    <a:pt x="210036" y="443770"/>
                    <a:pt x="203549" y="443770"/>
                  </a:cubicBezTo>
                  <a:cubicBezTo>
                    <a:pt x="197063" y="443770"/>
                    <a:pt x="191805" y="438512"/>
                    <a:pt x="191805" y="432025"/>
                  </a:cubicBezTo>
                  <a:close/>
                  <a:moveTo>
                    <a:pt x="155372" y="413309"/>
                  </a:moveTo>
                  <a:lnTo>
                    <a:pt x="155372" y="432025"/>
                  </a:lnTo>
                  <a:cubicBezTo>
                    <a:pt x="155372" y="438512"/>
                    <a:pt x="150114" y="443770"/>
                    <a:pt x="143627" y="443770"/>
                  </a:cubicBezTo>
                  <a:cubicBezTo>
                    <a:pt x="137141" y="443770"/>
                    <a:pt x="131883" y="438512"/>
                    <a:pt x="131883" y="432025"/>
                  </a:cubicBezTo>
                  <a:lnTo>
                    <a:pt x="131883" y="413309"/>
                  </a:lnTo>
                  <a:cubicBezTo>
                    <a:pt x="131883" y="406822"/>
                    <a:pt x="137141" y="401565"/>
                    <a:pt x="143627" y="401565"/>
                  </a:cubicBezTo>
                  <a:cubicBezTo>
                    <a:pt x="150114" y="401565"/>
                    <a:pt x="155372" y="406822"/>
                    <a:pt x="155372" y="413309"/>
                  </a:cubicBezTo>
                  <a:close/>
                  <a:moveTo>
                    <a:pt x="251727" y="522313"/>
                  </a:moveTo>
                  <a:lnTo>
                    <a:pt x="251727" y="503596"/>
                  </a:lnTo>
                  <a:cubicBezTo>
                    <a:pt x="251727" y="497110"/>
                    <a:pt x="256985" y="491852"/>
                    <a:pt x="263471" y="491852"/>
                  </a:cubicBezTo>
                  <a:cubicBezTo>
                    <a:pt x="269958" y="491852"/>
                    <a:pt x="275215" y="497110"/>
                    <a:pt x="275215" y="503596"/>
                  </a:cubicBezTo>
                  <a:lnTo>
                    <a:pt x="275215" y="522313"/>
                  </a:lnTo>
                  <a:cubicBezTo>
                    <a:pt x="275215" y="528799"/>
                    <a:pt x="269958" y="534057"/>
                    <a:pt x="263471" y="534057"/>
                  </a:cubicBezTo>
                  <a:cubicBezTo>
                    <a:pt x="256985" y="534057"/>
                    <a:pt x="251727" y="528799"/>
                    <a:pt x="251727" y="522313"/>
                  </a:cubicBezTo>
                  <a:close/>
                  <a:moveTo>
                    <a:pt x="191805" y="522313"/>
                  </a:moveTo>
                  <a:lnTo>
                    <a:pt x="191805" y="503596"/>
                  </a:lnTo>
                  <a:cubicBezTo>
                    <a:pt x="191805" y="497110"/>
                    <a:pt x="197063" y="491852"/>
                    <a:pt x="203549" y="491852"/>
                  </a:cubicBezTo>
                  <a:cubicBezTo>
                    <a:pt x="210036" y="491852"/>
                    <a:pt x="215294" y="497110"/>
                    <a:pt x="215294" y="503596"/>
                  </a:cubicBezTo>
                  <a:lnTo>
                    <a:pt x="215294" y="522313"/>
                  </a:lnTo>
                  <a:cubicBezTo>
                    <a:pt x="215294" y="528799"/>
                    <a:pt x="210036" y="534057"/>
                    <a:pt x="203549" y="534057"/>
                  </a:cubicBezTo>
                  <a:cubicBezTo>
                    <a:pt x="197063" y="534057"/>
                    <a:pt x="191805" y="528799"/>
                    <a:pt x="191805" y="522313"/>
                  </a:cubicBezTo>
                  <a:close/>
                  <a:moveTo>
                    <a:pt x="155372" y="503596"/>
                  </a:moveTo>
                  <a:lnTo>
                    <a:pt x="155372" y="522313"/>
                  </a:lnTo>
                  <a:cubicBezTo>
                    <a:pt x="155372" y="528799"/>
                    <a:pt x="150114" y="534057"/>
                    <a:pt x="143627" y="534057"/>
                  </a:cubicBezTo>
                  <a:cubicBezTo>
                    <a:pt x="137141" y="534057"/>
                    <a:pt x="131883" y="528799"/>
                    <a:pt x="131883" y="522313"/>
                  </a:cubicBezTo>
                  <a:lnTo>
                    <a:pt x="131883" y="503596"/>
                  </a:lnTo>
                  <a:cubicBezTo>
                    <a:pt x="131883" y="497110"/>
                    <a:pt x="137141" y="491852"/>
                    <a:pt x="143627" y="491852"/>
                  </a:cubicBezTo>
                  <a:cubicBezTo>
                    <a:pt x="150114" y="491852"/>
                    <a:pt x="155372" y="497110"/>
                    <a:pt x="155372" y="503596"/>
                  </a:cubicBezTo>
                  <a:close/>
                  <a:moveTo>
                    <a:pt x="251727" y="612591"/>
                  </a:moveTo>
                  <a:lnTo>
                    <a:pt x="251727" y="593874"/>
                  </a:lnTo>
                  <a:cubicBezTo>
                    <a:pt x="251727" y="587388"/>
                    <a:pt x="256985" y="582130"/>
                    <a:pt x="263471" y="582130"/>
                  </a:cubicBezTo>
                  <a:cubicBezTo>
                    <a:pt x="269958" y="582130"/>
                    <a:pt x="275215" y="587388"/>
                    <a:pt x="275215" y="593874"/>
                  </a:cubicBezTo>
                  <a:lnTo>
                    <a:pt x="275215" y="612591"/>
                  </a:lnTo>
                  <a:cubicBezTo>
                    <a:pt x="275215" y="619077"/>
                    <a:pt x="269958" y="624335"/>
                    <a:pt x="263471" y="624335"/>
                  </a:cubicBezTo>
                  <a:cubicBezTo>
                    <a:pt x="256985" y="624335"/>
                    <a:pt x="251727" y="619077"/>
                    <a:pt x="251727" y="612591"/>
                  </a:cubicBezTo>
                  <a:close/>
                  <a:moveTo>
                    <a:pt x="191805" y="612591"/>
                  </a:moveTo>
                  <a:lnTo>
                    <a:pt x="191805" y="593874"/>
                  </a:lnTo>
                  <a:cubicBezTo>
                    <a:pt x="191805" y="587388"/>
                    <a:pt x="197063" y="582130"/>
                    <a:pt x="203549" y="582130"/>
                  </a:cubicBezTo>
                  <a:cubicBezTo>
                    <a:pt x="210036" y="582130"/>
                    <a:pt x="215294" y="587388"/>
                    <a:pt x="215294" y="593874"/>
                  </a:cubicBezTo>
                  <a:lnTo>
                    <a:pt x="215294" y="612591"/>
                  </a:lnTo>
                  <a:cubicBezTo>
                    <a:pt x="215294" y="619077"/>
                    <a:pt x="210036" y="624335"/>
                    <a:pt x="203549" y="624335"/>
                  </a:cubicBezTo>
                  <a:cubicBezTo>
                    <a:pt x="197063" y="624335"/>
                    <a:pt x="191805" y="619077"/>
                    <a:pt x="191805" y="612591"/>
                  </a:cubicBezTo>
                  <a:close/>
                  <a:moveTo>
                    <a:pt x="155372" y="593884"/>
                  </a:moveTo>
                  <a:lnTo>
                    <a:pt x="155372" y="612600"/>
                  </a:lnTo>
                  <a:cubicBezTo>
                    <a:pt x="155372" y="619087"/>
                    <a:pt x="150114" y="624345"/>
                    <a:pt x="143627" y="624345"/>
                  </a:cubicBezTo>
                  <a:cubicBezTo>
                    <a:pt x="137141" y="624345"/>
                    <a:pt x="131883" y="619087"/>
                    <a:pt x="131883" y="612600"/>
                  </a:cubicBezTo>
                  <a:lnTo>
                    <a:pt x="131883" y="593884"/>
                  </a:lnTo>
                  <a:cubicBezTo>
                    <a:pt x="131883" y="587397"/>
                    <a:pt x="137141" y="582139"/>
                    <a:pt x="143627" y="582139"/>
                  </a:cubicBezTo>
                  <a:cubicBezTo>
                    <a:pt x="150114" y="582139"/>
                    <a:pt x="155372" y="587397"/>
                    <a:pt x="155372" y="593884"/>
                  </a:cubicBezTo>
                  <a:close/>
                  <a:moveTo>
                    <a:pt x="251727" y="702878"/>
                  </a:moveTo>
                  <a:lnTo>
                    <a:pt x="251727" y="684162"/>
                  </a:lnTo>
                  <a:cubicBezTo>
                    <a:pt x="251727" y="677675"/>
                    <a:pt x="256985" y="672417"/>
                    <a:pt x="263471" y="672417"/>
                  </a:cubicBezTo>
                  <a:cubicBezTo>
                    <a:pt x="269958" y="672417"/>
                    <a:pt x="275215" y="677675"/>
                    <a:pt x="275215" y="684162"/>
                  </a:cubicBezTo>
                  <a:lnTo>
                    <a:pt x="275215" y="702878"/>
                  </a:lnTo>
                  <a:cubicBezTo>
                    <a:pt x="275215" y="709365"/>
                    <a:pt x="269958" y="714623"/>
                    <a:pt x="263471" y="714623"/>
                  </a:cubicBezTo>
                  <a:cubicBezTo>
                    <a:pt x="256985" y="714623"/>
                    <a:pt x="251727" y="709374"/>
                    <a:pt x="251727" y="702878"/>
                  </a:cubicBezTo>
                  <a:close/>
                  <a:moveTo>
                    <a:pt x="155372" y="684171"/>
                  </a:moveTo>
                  <a:lnTo>
                    <a:pt x="155372" y="702888"/>
                  </a:lnTo>
                  <a:cubicBezTo>
                    <a:pt x="155372" y="709374"/>
                    <a:pt x="150114" y="714632"/>
                    <a:pt x="143627" y="714632"/>
                  </a:cubicBezTo>
                  <a:cubicBezTo>
                    <a:pt x="137141" y="714632"/>
                    <a:pt x="131883" y="709374"/>
                    <a:pt x="131883" y="702888"/>
                  </a:cubicBezTo>
                  <a:lnTo>
                    <a:pt x="131883" y="684171"/>
                  </a:lnTo>
                  <a:cubicBezTo>
                    <a:pt x="131883" y="677685"/>
                    <a:pt x="137141" y="672427"/>
                    <a:pt x="143627" y="672427"/>
                  </a:cubicBezTo>
                  <a:cubicBezTo>
                    <a:pt x="150114" y="672427"/>
                    <a:pt x="155372" y="677685"/>
                    <a:pt x="155372" y="684171"/>
                  </a:cubicBezTo>
                  <a:close/>
                </a:path>
              </a:pathLst>
            </a:custGeom>
            <a:solidFill>
              <a:srgbClr val="50E6FF"/>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50" name="Freeform: Shape 149">
              <a:extLst>
                <a:ext uri="{FF2B5EF4-FFF2-40B4-BE49-F238E27FC236}">
                  <a16:creationId xmlns:a16="http://schemas.microsoft.com/office/drawing/2014/main" id="{B6B7E040-1D4D-43EA-96F9-BD0A0E62C727}"/>
                </a:ext>
              </a:extLst>
            </p:cNvPr>
            <p:cNvSpPr/>
            <p:nvPr/>
          </p:nvSpPr>
          <p:spPr>
            <a:xfrm flipH="1">
              <a:off x="5312034" y="3087323"/>
              <a:ext cx="527523" cy="494747"/>
            </a:xfrm>
            <a:custGeom>
              <a:avLst/>
              <a:gdLst/>
              <a:ahLst/>
              <a:cxnLst/>
              <a:rect l="0" t="0" r="0" b="0"/>
              <a:pathLst>
                <a:path w="561975" h="781050">
                  <a:moveTo>
                    <a:pt x="548754" y="750837"/>
                  </a:moveTo>
                  <a:lnTo>
                    <a:pt x="502968" y="750837"/>
                  </a:lnTo>
                  <a:lnTo>
                    <a:pt x="502968" y="82763"/>
                  </a:lnTo>
                  <a:cubicBezTo>
                    <a:pt x="502968" y="76276"/>
                    <a:pt x="497710" y="71018"/>
                    <a:pt x="491223" y="71018"/>
                  </a:cubicBezTo>
                  <a:lnTo>
                    <a:pt x="403155" y="71018"/>
                  </a:lnTo>
                  <a:lnTo>
                    <a:pt x="403155" y="43520"/>
                  </a:lnTo>
                  <a:cubicBezTo>
                    <a:pt x="403155" y="37033"/>
                    <a:pt x="397897" y="31775"/>
                    <a:pt x="391411" y="31775"/>
                  </a:cubicBezTo>
                  <a:cubicBezTo>
                    <a:pt x="384924" y="31775"/>
                    <a:pt x="379667" y="37033"/>
                    <a:pt x="379667" y="43520"/>
                  </a:cubicBezTo>
                  <a:lnTo>
                    <a:pt x="379667" y="71018"/>
                  </a:lnTo>
                  <a:lnTo>
                    <a:pt x="330689" y="71018"/>
                  </a:lnTo>
                  <a:lnTo>
                    <a:pt x="305581" y="71018"/>
                  </a:lnTo>
                  <a:lnTo>
                    <a:pt x="305581" y="18888"/>
                  </a:lnTo>
                  <a:cubicBezTo>
                    <a:pt x="305581" y="12402"/>
                    <a:pt x="300323" y="7144"/>
                    <a:pt x="293837" y="7144"/>
                  </a:cubicBezTo>
                  <a:lnTo>
                    <a:pt x="203549" y="7144"/>
                  </a:lnTo>
                  <a:cubicBezTo>
                    <a:pt x="197063" y="7144"/>
                    <a:pt x="191805" y="12402"/>
                    <a:pt x="191805" y="18888"/>
                  </a:cubicBezTo>
                  <a:lnTo>
                    <a:pt x="191805" y="71018"/>
                  </a:lnTo>
                  <a:lnTo>
                    <a:pt x="128292" y="71018"/>
                  </a:lnTo>
                  <a:lnTo>
                    <a:pt x="128292" y="43520"/>
                  </a:lnTo>
                  <a:cubicBezTo>
                    <a:pt x="128292" y="37033"/>
                    <a:pt x="123034" y="31775"/>
                    <a:pt x="116548" y="31775"/>
                  </a:cubicBezTo>
                  <a:cubicBezTo>
                    <a:pt x="110061" y="31775"/>
                    <a:pt x="104804" y="37033"/>
                    <a:pt x="104804" y="43520"/>
                  </a:cubicBezTo>
                  <a:lnTo>
                    <a:pt x="104804" y="71018"/>
                  </a:lnTo>
                  <a:lnTo>
                    <a:pt x="76419" y="71018"/>
                  </a:lnTo>
                  <a:cubicBezTo>
                    <a:pt x="69933" y="71018"/>
                    <a:pt x="64675" y="76276"/>
                    <a:pt x="64675" y="82763"/>
                  </a:cubicBezTo>
                  <a:lnTo>
                    <a:pt x="64675" y="750837"/>
                  </a:lnTo>
                  <a:lnTo>
                    <a:pt x="18888" y="750837"/>
                  </a:lnTo>
                  <a:cubicBezTo>
                    <a:pt x="12402" y="750837"/>
                    <a:pt x="7144" y="756095"/>
                    <a:pt x="7144" y="762581"/>
                  </a:cubicBezTo>
                  <a:cubicBezTo>
                    <a:pt x="7144" y="769068"/>
                    <a:pt x="12402" y="774325"/>
                    <a:pt x="18888" y="774325"/>
                  </a:cubicBezTo>
                  <a:lnTo>
                    <a:pt x="548754" y="774325"/>
                  </a:lnTo>
                  <a:cubicBezTo>
                    <a:pt x="555241" y="774325"/>
                    <a:pt x="560499" y="769068"/>
                    <a:pt x="560499" y="762581"/>
                  </a:cubicBezTo>
                  <a:cubicBezTo>
                    <a:pt x="560499" y="756095"/>
                    <a:pt x="555241" y="750837"/>
                    <a:pt x="548754" y="750837"/>
                  </a:cubicBezTo>
                  <a:close/>
                  <a:moveTo>
                    <a:pt x="479489" y="750837"/>
                  </a:moveTo>
                  <a:lnTo>
                    <a:pt x="342433" y="750837"/>
                  </a:lnTo>
                  <a:lnTo>
                    <a:pt x="342433" y="94498"/>
                  </a:lnTo>
                  <a:lnTo>
                    <a:pt x="479489" y="94498"/>
                  </a:lnTo>
                  <a:lnTo>
                    <a:pt x="479489" y="750837"/>
                  </a:lnTo>
                  <a:close/>
                  <a:moveTo>
                    <a:pt x="215284" y="30632"/>
                  </a:moveTo>
                  <a:lnTo>
                    <a:pt x="282083" y="30632"/>
                  </a:lnTo>
                  <a:lnTo>
                    <a:pt x="282083" y="71018"/>
                  </a:lnTo>
                  <a:lnTo>
                    <a:pt x="215284" y="71018"/>
                  </a:lnTo>
                  <a:lnTo>
                    <a:pt x="215284" y="30632"/>
                  </a:lnTo>
                  <a:close/>
                  <a:moveTo>
                    <a:pt x="88163" y="94498"/>
                  </a:moveTo>
                  <a:lnTo>
                    <a:pt x="318945" y="94498"/>
                  </a:lnTo>
                  <a:lnTo>
                    <a:pt x="318945" y="750827"/>
                  </a:lnTo>
                  <a:lnTo>
                    <a:pt x="215284" y="750827"/>
                  </a:lnTo>
                  <a:lnTo>
                    <a:pt x="215284" y="684162"/>
                  </a:lnTo>
                  <a:cubicBezTo>
                    <a:pt x="215284" y="677675"/>
                    <a:pt x="210026" y="672417"/>
                    <a:pt x="203540" y="672417"/>
                  </a:cubicBezTo>
                  <a:cubicBezTo>
                    <a:pt x="197053" y="672417"/>
                    <a:pt x="191795" y="677675"/>
                    <a:pt x="191795" y="684162"/>
                  </a:cubicBezTo>
                  <a:lnTo>
                    <a:pt x="191795" y="750827"/>
                  </a:lnTo>
                  <a:lnTo>
                    <a:pt x="88163" y="750827"/>
                  </a:lnTo>
                  <a:lnTo>
                    <a:pt x="88163" y="94498"/>
                  </a:lnTo>
                  <a:close/>
                  <a:moveTo>
                    <a:pt x="399298" y="161173"/>
                  </a:moveTo>
                  <a:lnTo>
                    <a:pt x="399298" y="142456"/>
                  </a:lnTo>
                  <a:cubicBezTo>
                    <a:pt x="399298" y="135969"/>
                    <a:pt x="404555" y="130712"/>
                    <a:pt x="411042" y="130712"/>
                  </a:cubicBezTo>
                  <a:cubicBezTo>
                    <a:pt x="417528" y="130712"/>
                    <a:pt x="422786" y="135969"/>
                    <a:pt x="422786" y="142456"/>
                  </a:cubicBezTo>
                  <a:lnTo>
                    <a:pt x="422786" y="161173"/>
                  </a:lnTo>
                  <a:cubicBezTo>
                    <a:pt x="422786" y="167659"/>
                    <a:pt x="417528" y="172917"/>
                    <a:pt x="411042" y="172917"/>
                  </a:cubicBezTo>
                  <a:cubicBezTo>
                    <a:pt x="404555" y="172917"/>
                    <a:pt x="399298" y="167659"/>
                    <a:pt x="399298" y="161173"/>
                  </a:cubicBezTo>
                  <a:close/>
                  <a:moveTo>
                    <a:pt x="399298" y="251460"/>
                  </a:moveTo>
                  <a:lnTo>
                    <a:pt x="399298" y="232743"/>
                  </a:lnTo>
                  <a:cubicBezTo>
                    <a:pt x="399298" y="226257"/>
                    <a:pt x="404555" y="220999"/>
                    <a:pt x="411042" y="220999"/>
                  </a:cubicBezTo>
                  <a:cubicBezTo>
                    <a:pt x="417528" y="220999"/>
                    <a:pt x="422786" y="226257"/>
                    <a:pt x="422786" y="232743"/>
                  </a:cubicBezTo>
                  <a:lnTo>
                    <a:pt x="422786" y="251460"/>
                  </a:lnTo>
                  <a:cubicBezTo>
                    <a:pt x="422786" y="257947"/>
                    <a:pt x="417528" y="263204"/>
                    <a:pt x="411042" y="263204"/>
                  </a:cubicBezTo>
                  <a:cubicBezTo>
                    <a:pt x="404555" y="263204"/>
                    <a:pt x="399298" y="257947"/>
                    <a:pt x="399298" y="251460"/>
                  </a:cubicBezTo>
                  <a:close/>
                  <a:moveTo>
                    <a:pt x="399298" y="341747"/>
                  </a:moveTo>
                  <a:lnTo>
                    <a:pt x="399298" y="323031"/>
                  </a:lnTo>
                  <a:cubicBezTo>
                    <a:pt x="399298" y="316544"/>
                    <a:pt x="404555" y="311287"/>
                    <a:pt x="411042" y="311287"/>
                  </a:cubicBezTo>
                  <a:cubicBezTo>
                    <a:pt x="417528" y="311287"/>
                    <a:pt x="422786" y="316544"/>
                    <a:pt x="422786" y="323031"/>
                  </a:cubicBezTo>
                  <a:lnTo>
                    <a:pt x="422786" y="341747"/>
                  </a:lnTo>
                  <a:cubicBezTo>
                    <a:pt x="422786" y="348234"/>
                    <a:pt x="417528" y="353492"/>
                    <a:pt x="411042" y="353492"/>
                  </a:cubicBezTo>
                  <a:cubicBezTo>
                    <a:pt x="404555" y="353492"/>
                    <a:pt x="399298" y="348234"/>
                    <a:pt x="399298" y="341747"/>
                  </a:cubicBezTo>
                  <a:close/>
                  <a:moveTo>
                    <a:pt x="399298" y="432025"/>
                  </a:moveTo>
                  <a:lnTo>
                    <a:pt x="399298" y="413309"/>
                  </a:lnTo>
                  <a:cubicBezTo>
                    <a:pt x="399298" y="406822"/>
                    <a:pt x="404555" y="401565"/>
                    <a:pt x="411042" y="401565"/>
                  </a:cubicBezTo>
                  <a:cubicBezTo>
                    <a:pt x="417528" y="401565"/>
                    <a:pt x="422786" y="406822"/>
                    <a:pt x="422786" y="413309"/>
                  </a:cubicBezTo>
                  <a:lnTo>
                    <a:pt x="422786" y="432025"/>
                  </a:lnTo>
                  <a:cubicBezTo>
                    <a:pt x="422786" y="438512"/>
                    <a:pt x="417528" y="443770"/>
                    <a:pt x="411042" y="443770"/>
                  </a:cubicBezTo>
                  <a:cubicBezTo>
                    <a:pt x="404555" y="443770"/>
                    <a:pt x="399298" y="438512"/>
                    <a:pt x="399298" y="432025"/>
                  </a:cubicBezTo>
                  <a:close/>
                  <a:moveTo>
                    <a:pt x="399298" y="522313"/>
                  </a:moveTo>
                  <a:lnTo>
                    <a:pt x="399298" y="503596"/>
                  </a:lnTo>
                  <a:cubicBezTo>
                    <a:pt x="399298" y="497110"/>
                    <a:pt x="404555" y="491852"/>
                    <a:pt x="411042" y="491852"/>
                  </a:cubicBezTo>
                  <a:cubicBezTo>
                    <a:pt x="417528" y="491852"/>
                    <a:pt x="422786" y="497110"/>
                    <a:pt x="422786" y="503596"/>
                  </a:cubicBezTo>
                  <a:lnTo>
                    <a:pt x="422786" y="522313"/>
                  </a:lnTo>
                  <a:cubicBezTo>
                    <a:pt x="422786" y="528799"/>
                    <a:pt x="417528" y="534057"/>
                    <a:pt x="411042" y="534057"/>
                  </a:cubicBezTo>
                  <a:cubicBezTo>
                    <a:pt x="404555" y="534057"/>
                    <a:pt x="399298" y="528799"/>
                    <a:pt x="399298" y="522313"/>
                  </a:cubicBezTo>
                  <a:close/>
                  <a:moveTo>
                    <a:pt x="399298" y="612591"/>
                  </a:moveTo>
                  <a:lnTo>
                    <a:pt x="399298" y="593874"/>
                  </a:lnTo>
                  <a:cubicBezTo>
                    <a:pt x="399298" y="587388"/>
                    <a:pt x="404555" y="582130"/>
                    <a:pt x="411042" y="582130"/>
                  </a:cubicBezTo>
                  <a:cubicBezTo>
                    <a:pt x="417528" y="582130"/>
                    <a:pt x="422786" y="587388"/>
                    <a:pt x="422786" y="593874"/>
                  </a:cubicBezTo>
                  <a:lnTo>
                    <a:pt x="422786" y="612591"/>
                  </a:lnTo>
                  <a:cubicBezTo>
                    <a:pt x="422786" y="619077"/>
                    <a:pt x="417528" y="624335"/>
                    <a:pt x="411042" y="624335"/>
                  </a:cubicBezTo>
                  <a:cubicBezTo>
                    <a:pt x="404555" y="624335"/>
                    <a:pt x="399298" y="619077"/>
                    <a:pt x="399298" y="612591"/>
                  </a:cubicBezTo>
                  <a:close/>
                  <a:moveTo>
                    <a:pt x="399298" y="702878"/>
                  </a:moveTo>
                  <a:lnTo>
                    <a:pt x="399298" y="684162"/>
                  </a:lnTo>
                  <a:cubicBezTo>
                    <a:pt x="399298" y="677675"/>
                    <a:pt x="404555" y="672417"/>
                    <a:pt x="411042" y="672417"/>
                  </a:cubicBezTo>
                  <a:cubicBezTo>
                    <a:pt x="417528" y="672417"/>
                    <a:pt x="422786" y="677675"/>
                    <a:pt x="422786" y="684162"/>
                  </a:cubicBezTo>
                  <a:lnTo>
                    <a:pt x="422786" y="702878"/>
                  </a:lnTo>
                  <a:cubicBezTo>
                    <a:pt x="422786" y="709365"/>
                    <a:pt x="417528" y="714623"/>
                    <a:pt x="411042" y="714623"/>
                  </a:cubicBezTo>
                  <a:cubicBezTo>
                    <a:pt x="404555" y="714623"/>
                    <a:pt x="399298" y="709374"/>
                    <a:pt x="399298" y="702878"/>
                  </a:cubicBezTo>
                  <a:close/>
                  <a:moveTo>
                    <a:pt x="251727" y="161173"/>
                  </a:moveTo>
                  <a:lnTo>
                    <a:pt x="251727" y="142456"/>
                  </a:lnTo>
                  <a:cubicBezTo>
                    <a:pt x="251727" y="135969"/>
                    <a:pt x="256985" y="130712"/>
                    <a:pt x="263471" y="130712"/>
                  </a:cubicBezTo>
                  <a:cubicBezTo>
                    <a:pt x="269958" y="130712"/>
                    <a:pt x="275215" y="135969"/>
                    <a:pt x="275215" y="142456"/>
                  </a:cubicBezTo>
                  <a:lnTo>
                    <a:pt x="275215" y="161173"/>
                  </a:lnTo>
                  <a:cubicBezTo>
                    <a:pt x="275215" y="167659"/>
                    <a:pt x="269958" y="172917"/>
                    <a:pt x="263471" y="172917"/>
                  </a:cubicBezTo>
                  <a:cubicBezTo>
                    <a:pt x="256985" y="172917"/>
                    <a:pt x="251727" y="167659"/>
                    <a:pt x="251727" y="161173"/>
                  </a:cubicBezTo>
                  <a:close/>
                  <a:moveTo>
                    <a:pt x="191805" y="161173"/>
                  </a:moveTo>
                  <a:lnTo>
                    <a:pt x="191805" y="142456"/>
                  </a:lnTo>
                  <a:cubicBezTo>
                    <a:pt x="191805" y="135969"/>
                    <a:pt x="197063" y="130712"/>
                    <a:pt x="203549" y="130712"/>
                  </a:cubicBezTo>
                  <a:cubicBezTo>
                    <a:pt x="210036" y="130712"/>
                    <a:pt x="215294" y="135969"/>
                    <a:pt x="215294" y="142456"/>
                  </a:cubicBezTo>
                  <a:lnTo>
                    <a:pt x="215294" y="161173"/>
                  </a:lnTo>
                  <a:cubicBezTo>
                    <a:pt x="215294" y="167659"/>
                    <a:pt x="210036" y="172917"/>
                    <a:pt x="203549" y="172917"/>
                  </a:cubicBezTo>
                  <a:cubicBezTo>
                    <a:pt x="197063" y="172917"/>
                    <a:pt x="191805" y="167659"/>
                    <a:pt x="191805" y="161173"/>
                  </a:cubicBezTo>
                  <a:close/>
                  <a:moveTo>
                    <a:pt x="155372" y="142465"/>
                  </a:moveTo>
                  <a:lnTo>
                    <a:pt x="155372" y="161182"/>
                  </a:lnTo>
                  <a:cubicBezTo>
                    <a:pt x="155372" y="167669"/>
                    <a:pt x="150114" y="172926"/>
                    <a:pt x="143627" y="172926"/>
                  </a:cubicBezTo>
                  <a:cubicBezTo>
                    <a:pt x="137141" y="172926"/>
                    <a:pt x="131883" y="167669"/>
                    <a:pt x="131883" y="161182"/>
                  </a:cubicBezTo>
                  <a:lnTo>
                    <a:pt x="131883" y="142465"/>
                  </a:lnTo>
                  <a:cubicBezTo>
                    <a:pt x="131883" y="135979"/>
                    <a:pt x="137141" y="130721"/>
                    <a:pt x="143627" y="130721"/>
                  </a:cubicBezTo>
                  <a:cubicBezTo>
                    <a:pt x="150114" y="130721"/>
                    <a:pt x="155372" y="135979"/>
                    <a:pt x="155372" y="142465"/>
                  </a:cubicBezTo>
                  <a:close/>
                  <a:moveTo>
                    <a:pt x="251727" y="251460"/>
                  </a:moveTo>
                  <a:lnTo>
                    <a:pt x="251727" y="232743"/>
                  </a:lnTo>
                  <a:cubicBezTo>
                    <a:pt x="251727" y="226257"/>
                    <a:pt x="256985" y="220999"/>
                    <a:pt x="263471" y="220999"/>
                  </a:cubicBezTo>
                  <a:cubicBezTo>
                    <a:pt x="269958" y="220999"/>
                    <a:pt x="275215" y="226257"/>
                    <a:pt x="275215" y="232743"/>
                  </a:cubicBezTo>
                  <a:lnTo>
                    <a:pt x="275215" y="251460"/>
                  </a:lnTo>
                  <a:cubicBezTo>
                    <a:pt x="275215" y="257947"/>
                    <a:pt x="269958" y="263204"/>
                    <a:pt x="263471" y="263204"/>
                  </a:cubicBezTo>
                  <a:cubicBezTo>
                    <a:pt x="256985" y="263204"/>
                    <a:pt x="251727" y="257947"/>
                    <a:pt x="251727" y="251460"/>
                  </a:cubicBezTo>
                  <a:close/>
                  <a:moveTo>
                    <a:pt x="191805" y="251460"/>
                  </a:moveTo>
                  <a:lnTo>
                    <a:pt x="191805" y="232743"/>
                  </a:lnTo>
                  <a:cubicBezTo>
                    <a:pt x="191805" y="226257"/>
                    <a:pt x="197063" y="220999"/>
                    <a:pt x="203549" y="220999"/>
                  </a:cubicBezTo>
                  <a:cubicBezTo>
                    <a:pt x="210036" y="220999"/>
                    <a:pt x="215294" y="226257"/>
                    <a:pt x="215294" y="232743"/>
                  </a:cubicBezTo>
                  <a:lnTo>
                    <a:pt x="215294" y="251460"/>
                  </a:lnTo>
                  <a:cubicBezTo>
                    <a:pt x="215294" y="257947"/>
                    <a:pt x="210036" y="263204"/>
                    <a:pt x="203549" y="263204"/>
                  </a:cubicBezTo>
                  <a:cubicBezTo>
                    <a:pt x="197063" y="263195"/>
                    <a:pt x="191805" y="257947"/>
                    <a:pt x="191805" y="251460"/>
                  </a:cubicBezTo>
                  <a:close/>
                  <a:moveTo>
                    <a:pt x="155372" y="232743"/>
                  </a:moveTo>
                  <a:lnTo>
                    <a:pt x="155372" y="251460"/>
                  </a:lnTo>
                  <a:cubicBezTo>
                    <a:pt x="155372" y="257947"/>
                    <a:pt x="150114" y="263204"/>
                    <a:pt x="143627" y="263204"/>
                  </a:cubicBezTo>
                  <a:cubicBezTo>
                    <a:pt x="137141" y="263204"/>
                    <a:pt x="131883" y="257947"/>
                    <a:pt x="131883" y="251460"/>
                  </a:cubicBezTo>
                  <a:lnTo>
                    <a:pt x="131883" y="232743"/>
                  </a:lnTo>
                  <a:cubicBezTo>
                    <a:pt x="131883" y="226257"/>
                    <a:pt x="137141" y="220999"/>
                    <a:pt x="143627" y="220999"/>
                  </a:cubicBezTo>
                  <a:cubicBezTo>
                    <a:pt x="150114" y="220999"/>
                    <a:pt x="155372" y="226257"/>
                    <a:pt x="155372" y="232743"/>
                  </a:cubicBezTo>
                  <a:close/>
                  <a:moveTo>
                    <a:pt x="251727" y="341747"/>
                  </a:moveTo>
                  <a:lnTo>
                    <a:pt x="251727" y="323031"/>
                  </a:lnTo>
                  <a:cubicBezTo>
                    <a:pt x="251727" y="316544"/>
                    <a:pt x="256985" y="311287"/>
                    <a:pt x="263471" y="311287"/>
                  </a:cubicBezTo>
                  <a:cubicBezTo>
                    <a:pt x="269958" y="311287"/>
                    <a:pt x="275215" y="316544"/>
                    <a:pt x="275215" y="323031"/>
                  </a:cubicBezTo>
                  <a:lnTo>
                    <a:pt x="275215" y="341747"/>
                  </a:lnTo>
                  <a:cubicBezTo>
                    <a:pt x="275215" y="348234"/>
                    <a:pt x="269958" y="353492"/>
                    <a:pt x="263471" y="353492"/>
                  </a:cubicBezTo>
                  <a:cubicBezTo>
                    <a:pt x="256985" y="353492"/>
                    <a:pt x="251727" y="348234"/>
                    <a:pt x="251727" y="341747"/>
                  </a:cubicBezTo>
                  <a:close/>
                  <a:moveTo>
                    <a:pt x="191805" y="341747"/>
                  </a:moveTo>
                  <a:lnTo>
                    <a:pt x="191805" y="323031"/>
                  </a:lnTo>
                  <a:cubicBezTo>
                    <a:pt x="191805" y="316544"/>
                    <a:pt x="197063" y="311287"/>
                    <a:pt x="203549" y="311287"/>
                  </a:cubicBezTo>
                  <a:cubicBezTo>
                    <a:pt x="210036" y="311287"/>
                    <a:pt x="215294" y="316544"/>
                    <a:pt x="215294" y="323031"/>
                  </a:cubicBezTo>
                  <a:lnTo>
                    <a:pt x="215294" y="341747"/>
                  </a:lnTo>
                  <a:cubicBezTo>
                    <a:pt x="215294" y="348234"/>
                    <a:pt x="210036" y="353492"/>
                    <a:pt x="203549" y="353492"/>
                  </a:cubicBezTo>
                  <a:cubicBezTo>
                    <a:pt x="197063" y="353492"/>
                    <a:pt x="191805" y="348234"/>
                    <a:pt x="191805" y="341747"/>
                  </a:cubicBezTo>
                  <a:close/>
                  <a:moveTo>
                    <a:pt x="155372" y="323031"/>
                  </a:moveTo>
                  <a:lnTo>
                    <a:pt x="155372" y="341747"/>
                  </a:lnTo>
                  <a:cubicBezTo>
                    <a:pt x="155372" y="348234"/>
                    <a:pt x="150114" y="353492"/>
                    <a:pt x="143627" y="353492"/>
                  </a:cubicBezTo>
                  <a:cubicBezTo>
                    <a:pt x="137141" y="353492"/>
                    <a:pt x="131883" y="348234"/>
                    <a:pt x="131883" y="341747"/>
                  </a:cubicBezTo>
                  <a:lnTo>
                    <a:pt x="131883" y="323031"/>
                  </a:lnTo>
                  <a:cubicBezTo>
                    <a:pt x="131883" y="316544"/>
                    <a:pt x="137141" y="311287"/>
                    <a:pt x="143627" y="311287"/>
                  </a:cubicBezTo>
                  <a:cubicBezTo>
                    <a:pt x="150114" y="311287"/>
                    <a:pt x="155372" y="316544"/>
                    <a:pt x="155372" y="323031"/>
                  </a:cubicBezTo>
                  <a:close/>
                  <a:moveTo>
                    <a:pt x="251727" y="432025"/>
                  </a:moveTo>
                  <a:lnTo>
                    <a:pt x="251727" y="413309"/>
                  </a:lnTo>
                  <a:cubicBezTo>
                    <a:pt x="251727" y="406822"/>
                    <a:pt x="256985" y="401565"/>
                    <a:pt x="263471" y="401565"/>
                  </a:cubicBezTo>
                  <a:cubicBezTo>
                    <a:pt x="269958" y="401565"/>
                    <a:pt x="275215" y="406822"/>
                    <a:pt x="275215" y="413309"/>
                  </a:cubicBezTo>
                  <a:lnTo>
                    <a:pt x="275215" y="432025"/>
                  </a:lnTo>
                  <a:cubicBezTo>
                    <a:pt x="275215" y="438512"/>
                    <a:pt x="269958" y="443770"/>
                    <a:pt x="263471" y="443770"/>
                  </a:cubicBezTo>
                  <a:cubicBezTo>
                    <a:pt x="256985" y="443770"/>
                    <a:pt x="251727" y="438512"/>
                    <a:pt x="251727" y="432025"/>
                  </a:cubicBezTo>
                  <a:close/>
                  <a:moveTo>
                    <a:pt x="191805" y="432025"/>
                  </a:moveTo>
                  <a:lnTo>
                    <a:pt x="191805" y="413309"/>
                  </a:lnTo>
                  <a:cubicBezTo>
                    <a:pt x="191805" y="406822"/>
                    <a:pt x="197063" y="401565"/>
                    <a:pt x="203549" y="401565"/>
                  </a:cubicBezTo>
                  <a:cubicBezTo>
                    <a:pt x="210036" y="401565"/>
                    <a:pt x="215294" y="406822"/>
                    <a:pt x="215294" y="413309"/>
                  </a:cubicBezTo>
                  <a:lnTo>
                    <a:pt x="215294" y="432025"/>
                  </a:lnTo>
                  <a:cubicBezTo>
                    <a:pt x="215294" y="438512"/>
                    <a:pt x="210036" y="443770"/>
                    <a:pt x="203549" y="443770"/>
                  </a:cubicBezTo>
                  <a:cubicBezTo>
                    <a:pt x="197063" y="443770"/>
                    <a:pt x="191805" y="438512"/>
                    <a:pt x="191805" y="432025"/>
                  </a:cubicBezTo>
                  <a:close/>
                  <a:moveTo>
                    <a:pt x="155372" y="413309"/>
                  </a:moveTo>
                  <a:lnTo>
                    <a:pt x="155372" y="432025"/>
                  </a:lnTo>
                  <a:cubicBezTo>
                    <a:pt x="155372" y="438512"/>
                    <a:pt x="150114" y="443770"/>
                    <a:pt x="143627" y="443770"/>
                  </a:cubicBezTo>
                  <a:cubicBezTo>
                    <a:pt x="137141" y="443770"/>
                    <a:pt x="131883" y="438512"/>
                    <a:pt x="131883" y="432025"/>
                  </a:cubicBezTo>
                  <a:lnTo>
                    <a:pt x="131883" y="413309"/>
                  </a:lnTo>
                  <a:cubicBezTo>
                    <a:pt x="131883" y="406822"/>
                    <a:pt x="137141" y="401565"/>
                    <a:pt x="143627" y="401565"/>
                  </a:cubicBezTo>
                  <a:cubicBezTo>
                    <a:pt x="150114" y="401565"/>
                    <a:pt x="155372" y="406822"/>
                    <a:pt x="155372" y="413309"/>
                  </a:cubicBezTo>
                  <a:close/>
                  <a:moveTo>
                    <a:pt x="251727" y="522313"/>
                  </a:moveTo>
                  <a:lnTo>
                    <a:pt x="251727" y="503596"/>
                  </a:lnTo>
                  <a:cubicBezTo>
                    <a:pt x="251727" y="497110"/>
                    <a:pt x="256985" y="491852"/>
                    <a:pt x="263471" y="491852"/>
                  </a:cubicBezTo>
                  <a:cubicBezTo>
                    <a:pt x="269958" y="491852"/>
                    <a:pt x="275215" y="497110"/>
                    <a:pt x="275215" y="503596"/>
                  </a:cubicBezTo>
                  <a:lnTo>
                    <a:pt x="275215" y="522313"/>
                  </a:lnTo>
                  <a:cubicBezTo>
                    <a:pt x="275215" y="528799"/>
                    <a:pt x="269958" y="534057"/>
                    <a:pt x="263471" y="534057"/>
                  </a:cubicBezTo>
                  <a:cubicBezTo>
                    <a:pt x="256985" y="534057"/>
                    <a:pt x="251727" y="528799"/>
                    <a:pt x="251727" y="522313"/>
                  </a:cubicBezTo>
                  <a:close/>
                  <a:moveTo>
                    <a:pt x="191805" y="522313"/>
                  </a:moveTo>
                  <a:lnTo>
                    <a:pt x="191805" y="503596"/>
                  </a:lnTo>
                  <a:cubicBezTo>
                    <a:pt x="191805" y="497110"/>
                    <a:pt x="197063" y="491852"/>
                    <a:pt x="203549" y="491852"/>
                  </a:cubicBezTo>
                  <a:cubicBezTo>
                    <a:pt x="210036" y="491852"/>
                    <a:pt x="215294" y="497110"/>
                    <a:pt x="215294" y="503596"/>
                  </a:cubicBezTo>
                  <a:lnTo>
                    <a:pt x="215294" y="522313"/>
                  </a:lnTo>
                  <a:cubicBezTo>
                    <a:pt x="215294" y="528799"/>
                    <a:pt x="210036" y="534057"/>
                    <a:pt x="203549" y="534057"/>
                  </a:cubicBezTo>
                  <a:cubicBezTo>
                    <a:pt x="197063" y="534057"/>
                    <a:pt x="191805" y="528799"/>
                    <a:pt x="191805" y="522313"/>
                  </a:cubicBezTo>
                  <a:close/>
                  <a:moveTo>
                    <a:pt x="155372" y="503596"/>
                  </a:moveTo>
                  <a:lnTo>
                    <a:pt x="155372" y="522313"/>
                  </a:lnTo>
                  <a:cubicBezTo>
                    <a:pt x="155372" y="528799"/>
                    <a:pt x="150114" y="534057"/>
                    <a:pt x="143627" y="534057"/>
                  </a:cubicBezTo>
                  <a:cubicBezTo>
                    <a:pt x="137141" y="534057"/>
                    <a:pt x="131883" y="528799"/>
                    <a:pt x="131883" y="522313"/>
                  </a:cubicBezTo>
                  <a:lnTo>
                    <a:pt x="131883" y="503596"/>
                  </a:lnTo>
                  <a:cubicBezTo>
                    <a:pt x="131883" y="497110"/>
                    <a:pt x="137141" y="491852"/>
                    <a:pt x="143627" y="491852"/>
                  </a:cubicBezTo>
                  <a:cubicBezTo>
                    <a:pt x="150114" y="491852"/>
                    <a:pt x="155372" y="497110"/>
                    <a:pt x="155372" y="503596"/>
                  </a:cubicBezTo>
                  <a:close/>
                  <a:moveTo>
                    <a:pt x="251727" y="612591"/>
                  </a:moveTo>
                  <a:lnTo>
                    <a:pt x="251727" y="593874"/>
                  </a:lnTo>
                  <a:cubicBezTo>
                    <a:pt x="251727" y="587388"/>
                    <a:pt x="256985" y="582130"/>
                    <a:pt x="263471" y="582130"/>
                  </a:cubicBezTo>
                  <a:cubicBezTo>
                    <a:pt x="269958" y="582130"/>
                    <a:pt x="275215" y="587388"/>
                    <a:pt x="275215" y="593874"/>
                  </a:cubicBezTo>
                  <a:lnTo>
                    <a:pt x="275215" y="612591"/>
                  </a:lnTo>
                  <a:cubicBezTo>
                    <a:pt x="275215" y="619077"/>
                    <a:pt x="269958" y="624335"/>
                    <a:pt x="263471" y="624335"/>
                  </a:cubicBezTo>
                  <a:cubicBezTo>
                    <a:pt x="256985" y="624335"/>
                    <a:pt x="251727" y="619077"/>
                    <a:pt x="251727" y="612591"/>
                  </a:cubicBezTo>
                  <a:close/>
                  <a:moveTo>
                    <a:pt x="191805" y="612591"/>
                  </a:moveTo>
                  <a:lnTo>
                    <a:pt x="191805" y="593874"/>
                  </a:lnTo>
                  <a:cubicBezTo>
                    <a:pt x="191805" y="587388"/>
                    <a:pt x="197063" y="582130"/>
                    <a:pt x="203549" y="582130"/>
                  </a:cubicBezTo>
                  <a:cubicBezTo>
                    <a:pt x="210036" y="582130"/>
                    <a:pt x="215294" y="587388"/>
                    <a:pt x="215294" y="593874"/>
                  </a:cubicBezTo>
                  <a:lnTo>
                    <a:pt x="215294" y="612591"/>
                  </a:lnTo>
                  <a:cubicBezTo>
                    <a:pt x="215294" y="619077"/>
                    <a:pt x="210036" y="624335"/>
                    <a:pt x="203549" y="624335"/>
                  </a:cubicBezTo>
                  <a:cubicBezTo>
                    <a:pt x="197063" y="624335"/>
                    <a:pt x="191805" y="619077"/>
                    <a:pt x="191805" y="612591"/>
                  </a:cubicBezTo>
                  <a:close/>
                  <a:moveTo>
                    <a:pt x="155372" y="593884"/>
                  </a:moveTo>
                  <a:lnTo>
                    <a:pt x="155372" y="612600"/>
                  </a:lnTo>
                  <a:cubicBezTo>
                    <a:pt x="155372" y="619087"/>
                    <a:pt x="150114" y="624345"/>
                    <a:pt x="143627" y="624345"/>
                  </a:cubicBezTo>
                  <a:cubicBezTo>
                    <a:pt x="137141" y="624345"/>
                    <a:pt x="131883" y="619087"/>
                    <a:pt x="131883" y="612600"/>
                  </a:cubicBezTo>
                  <a:lnTo>
                    <a:pt x="131883" y="593884"/>
                  </a:lnTo>
                  <a:cubicBezTo>
                    <a:pt x="131883" y="587397"/>
                    <a:pt x="137141" y="582139"/>
                    <a:pt x="143627" y="582139"/>
                  </a:cubicBezTo>
                  <a:cubicBezTo>
                    <a:pt x="150114" y="582139"/>
                    <a:pt x="155372" y="587397"/>
                    <a:pt x="155372" y="593884"/>
                  </a:cubicBezTo>
                  <a:close/>
                  <a:moveTo>
                    <a:pt x="251727" y="702878"/>
                  </a:moveTo>
                  <a:lnTo>
                    <a:pt x="251727" y="684162"/>
                  </a:lnTo>
                  <a:cubicBezTo>
                    <a:pt x="251727" y="677675"/>
                    <a:pt x="256985" y="672417"/>
                    <a:pt x="263471" y="672417"/>
                  </a:cubicBezTo>
                  <a:cubicBezTo>
                    <a:pt x="269958" y="672417"/>
                    <a:pt x="275215" y="677675"/>
                    <a:pt x="275215" y="684162"/>
                  </a:cubicBezTo>
                  <a:lnTo>
                    <a:pt x="275215" y="702878"/>
                  </a:lnTo>
                  <a:cubicBezTo>
                    <a:pt x="275215" y="709365"/>
                    <a:pt x="269958" y="714623"/>
                    <a:pt x="263471" y="714623"/>
                  </a:cubicBezTo>
                  <a:cubicBezTo>
                    <a:pt x="256985" y="714623"/>
                    <a:pt x="251727" y="709374"/>
                    <a:pt x="251727" y="702878"/>
                  </a:cubicBezTo>
                  <a:close/>
                  <a:moveTo>
                    <a:pt x="155372" y="684171"/>
                  </a:moveTo>
                  <a:lnTo>
                    <a:pt x="155372" y="702888"/>
                  </a:lnTo>
                  <a:cubicBezTo>
                    <a:pt x="155372" y="709374"/>
                    <a:pt x="150114" y="714632"/>
                    <a:pt x="143627" y="714632"/>
                  </a:cubicBezTo>
                  <a:cubicBezTo>
                    <a:pt x="137141" y="714632"/>
                    <a:pt x="131883" y="709374"/>
                    <a:pt x="131883" y="702888"/>
                  </a:cubicBezTo>
                  <a:lnTo>
                    <a:pt x="131883" y="684171"/>
                  </a:lnTo>
                  <a:cubicBezTo>
                    <a:pt x="131883" y="677685"/>
                    <a:pt x="137141" y="672427"/>
                    <a:pt x="143627" y="672427"/>
                  </a:cubicBezTo>
                  <a:cubicBezTo>
                    <a:pt x="150114" y="672427"/>
                    <a:pt x="155372" y="677685"/>
                    <a:pt x="155372" y="684171"/>
                  </a:cubicBezTo>
                  <a:close/>
                </a:path>
              </a:pathLst>
            </a:custGeom>
            <a:solidFill>
              <a:srgbClr val="50E6FF"/>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51" name="Rectangle 150">
              <a:extLst>
                <a:ext uri="{FF2B5EF4-FFF2-40B4-BE49-F238E27FC236}">
                  <a16:creationId xmlns:a16="http://schemas.microsoft.com/office/drawing/2014/main" id="{9D2FF397-7583-4B40-9D5B-1A120817ECB8}"/>
                </a:ext>
              </a:extLst>
            </p:cNvPr>
            <p:cNvSpPr/>
            <p:nvPr/>
          </p:nvSpPr>
          <p:spPr bwMode="auto">
            <a:xfrm>
              <a:off x="5086229" y="3222618"/>
              <a:ext cx="389724" cy="443124"/>
            </a:xfrm>
            <a:prstGeom prst="rect">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55" name="Freeform: Shape 154">
              <a:extLst>
                <a:ext uri="{FF2B5EF4-FFF2-40B4-BE49-F238E27FC236}">
                  <a16:creationId xmlns:a16="http://schemas.microsoft.com/office/drawing/2014/main" id="{A0B4A8B2-0F0A-4ADA-83E4-DE1E56287A03}"/>
                </a:ext>
              </a:extLst>
            </p:cNvPr>
            <p:cNvSpPr/>
            <p:nvPr/>
          </p:nvSpPr>
          <p:spPr>
            <a:xfrm>
              <a:off x="5010169" y="3180022"/>
              <a:ext cx="527523" cy="494747"/>
            </a:xfrm>
            <a:custGeom>
              <a:avLst/>
              <a:gdLst/>
              <a:ahLst/>
              <a:cxnLst/>
              <a:rect l="0" t="0" r="0" b="0"/>
              <a:pathLst>
                <a:path w="561975" h="781050">
                  <a:moveTo>
                    <a:pt x="548754" y="750837"/>
                  </a:moveTo>
                  <a:lnTo>
                    <a:pt x="502968" y="750837"/>
                  </a:lnTo>
                  <a:lnTo>
                    <a:pt x="502968" y="82763"/>
                  </a:lnTo>
                  <a:cubicBezTo>
                    <a:pt x="502968" y="76276"/>
                    <a:pt x="497710" y="71018"/>
                    <a:pt x="491223" y="71018"/>
                  </a:cubicBezTo>
                  <a:lnTo>
                    <a:pt x="403155" y="71018"/>
                  </a:lnTo>
                  <a:lnTo>
                    <a:pt x="403155" y="43520"/>
                  </a:lnTo>
                  <a:cubicBezTo>
                    <a:pt x="403155" y="37033"/>
                    <a:pt x="397897" y="31775"/>
                    <a:pt x="391411" y="31775"/>
                  </a:cubicBezTo>
                  <a:cubicBezTo>
                    <a:pt x="384924" y="31775"/>
                    <a:pt x="379667" y="37033"/>
                    <a:pt x="379667" y="43520"/>
                  </a:cubicBezTo>
                  <a:lnTo>
                    <a:pt x="379667" y="71018"/>
                  </a:lnTo>
                  <a:lnTo>
                    <a:pt x="330689" y="71018"/>
                  </a:lnTo>
                  <a:lnTo>
                    <a:pt x="305581" y="71018"/>
                  </a:lnTo>
                  <a:lnTo>
                    <a:pt x="305581" y="18888"/>
                  </a:lnTo>
                  <a:cubicBezTo>
                    <a:pt x="305581" y="12402"/>
                    <a:pt x="300323" y="7144"/>
                    <a:pt x="293837" y="7144"/>
                  </a:cubicBezTo>
                  <a:lnTo>
                    <a:pt x="203549" y="7144"/>
                  </a:lnTo>
                  <a:cubicBezTo>
                    <a:pt x="197063" y="7144"/>
                    <a:pt x="191805" y="12402"/>
                    <a:pt x="191805" y="18888"/>
                  </a:cubicBezTo>
                  <a:lnTo>
                    <a:pt x="191805" y="71018"/>
                  </a:lnTo>
                  <a:lnTo>
                    <a:pt x="128292" y="71018"/>
                  </a:lnTo>
                  <a:lnTo>
                    <a:pt x="128292" y="43520"/>
                  </a:lnTo>
                  <a:cubicBezTo>
                    <a:pt x="128292" y="37033"/>
                    <a:pt x="123034" y="31775"/>
                    <a:pt x="116548" y="31775"/>
                  </a:cubicBezTo>
                  <a:cubicBezTo>
                    <a:pt x="110061" y="31775"/>
                    <a:pt x="104804" y="37033"/>
                    <a:pt x="104804" y="43520"/>
                  </a:cubicBezTo>
                  <a:lnTo>
                    <a:pt x="104804" y="71018"/>
                  </a:lnTo>
                  <a:lnTo>
                    <a:pt x="76419" y="71018"/>
                  </a:lnTo>
                  <a:cubicBezTo>
                    <a:pt x="69933" y="71018"/>
                    <a:pt x="64675" y="76276"/>
                    <a:pt x="64675" y="82763"/>
                  </a:cubicBezTo>
                  <a:lnTo>
                    <a:pt x="64675" y="750837"/>
                  </a:lnTo>
                  <a:lnTo>
                    <a:pt x="18888" y="750837"/>
                  </a:lnTo>
                  <a:cubicBezTo>
                    <a:pt x="12402" y="750837"/>
                    <a:pt x="7144" y="756095"/>
                    <a:pt x="7144" y="762581"/>
                  </a:cubicBezTo>
                  <a:cubicBezTo>
                    <a:pt x="7144" y="769068"/>
                    <a:pt x="12402" y="774325"/>
                    <a:pt x="18888" y="774325"/>
                  </a:cubicBezTo>
                  <a:lnTo>
                    <a:pt x="548754" y="774325"/>
                  </a:lnTo>
                  <a:cubicBezTo>
                    <a:pt x="555241" y="774325"/>
                    <a:pt x="560499" y="769068"/>
                    <a:pt x="560499" y="762581"/>
                  </a:cubicBezTo>
                  <a:cubicBezTo>
                    <a:pt x="560499" y="756095"/>
                    <a:pt x="555241" y="750837"/>
                    <a:pt x="548754" y="750837"/>
                  </a:cubicBezTo>
                  <a:close/>
                  <a:moveTo>
                    <a:pt x="479489" y="750837"/>
                  </a:moveTo>
                  <a:lnTo>
                    <a:pt x="342433" y="750837"/>
                  </a:lnTo>
                  <a:lnTo>
                    <a:pt x="342433" y="94498"/>
                  </a:lnTo>
                  <a:lnTo>
                    <a:pt x="479489" y="94498"/>
                  </a:lnTo>
                  <a:lnTo>
                    <a:pt x="479489" y="750837"/>
                  </a:lnTo>
                  <a:close/>
                  <a:moveTo>
                    <a:pt x="215284" y="30632"/>
                  </a:moveTo>
                  <a:lnTo>
                    <a:pt x="282083" y="30632"/>
                  </a:lnTo>
                  <a:lnTo>
                    <a:pt x="282083" y="71018"/>
                  </a:lnTo>
                  <a:lnTo>
                    <a:pt x="215284" y="71018"/>
                  </a:lnTo>
                  <a:lnTo>
                    <a:pt x="215284" y="30632"/>
                  </a:lnTo>
                  <a:close/>
                  <a:moveTo>
                    <a:pt x="88163" y="94498"/>
                  </a:moveTo>
                  <a:lnTo>
                    <a:pt x="318945" y="94498"/>
                  </a:lnTo>
                  <a:lnTo>
                    <a:pt x="318945" y="750827"/>
                  </a:lnTo>
                  <a:lnTo>
                    <a:pt x="215284" y="750827"/>
                  </a:lnTo>
                  <a:lnTo>
                    <a:pt x="215284" y="684162"/>
                  </a:lnTo>
                  <a:cubicBezTo>
                    <a:pt x="215284" y="677675"/>
                    <a:pt x="210026" y="672417"/>
                    <a:pt x="203540" y="672417"/>
                  </a:cubicBezTo>
                  <a:cubicBezTo>
                    <a:pt x="197053" y="672417"/>
                    <a:pt x="191795" y="677675"/>
                    <a:pt x="191795" y="684162"/>
                  </a:cubicBezTo>
                  <a:lnTo>
                    <a:pt x="191795" y="750827"/>
                  </a:lnTo>
                  <a:lnTo>
                    <a:pt x="88163" y="750827"/>
                  </a:lnTo>
                  <a:lnTo>
                    <a:pt x="88163" y="94498"/>
                  </a:lnTo>
                  <a:close/>
                  <a:moveTo>
                    <a:pt x="399298" y="161173"/>
                  </a:moveTo>
                  <a:lnTo>
                    <a:pt x="399298" y="142456"/>
                  </a:lnTo>
                  <a:cubicBezTo>
                    <a:pt x="399298" y="135969"/>
                    <a:pt x="404555" y="130712"/>
                    <a:pt x="411042" y="130712"/>
                  </a:cubicBezTo>
                  <a:cubicBezTo>
                    <a:pt x="417528" y="130712"/>
                    <a:pt x="422786" y="135969"/>
                    <a:pt x="422786" y="142456"/>
                  </a:cubicBezTo>
                  <a:lnTo>
                    <a:pt x="422786" y="161173"/>
                  </a:lnTo>
                  <a:cubicBezTo>
                    <a:pt x="422786" y="167659"/>
                    <a:pt x="417528" y="172917"/>
                    <a:pt x="411042" y="172917"/>
                  </a:cubicBezTo>
                  <a:cubicBezTo>
                    <a:pt x="404555" y="172917"/>
                    <a:pt x="399298" y="167659"/>
                    <a:pt x="399298" y="161173"/>
                  </a:cubicBezTo>
                  <a:close/>
                  <a:moveTo>
                    <a:pt x="399298" y="251460"/>
                  </a:moveTo>
                  <a:lnTo>
                    <a:pt x="399298" y="232743"/>
                  </a:lnTo>
                  <a:cubicBezTo>
                    <a:pt x="399298" y="226257"/>
                    <a:pt x="404555" y="220999"/>
                    <a:pt x="411042" y="220999"/>
                  </a:cubicBezTo>
                  <a:cubicBezTo>
                    <a:pt x="417528" y="220999"/>
                    <a:pt x="422786" y="226257"/>
                    <a:pt x="422786" y="232743"/>
                  </a:cubicBezTo>
                  <a:lnTo>
                    <a:pt x="422786" y="251460"/>
                  </a:lnTo>
                  <a:cubicBezTo>
                    <a:pt x="422786" y="257947"/>
                    <a:pt x="417528" y="263204"/>
                    <a:pt x="411042" y="263204"/>
                  </a:cubicBezTo>
                  <a:cubicBezTo>
                    <a:pt x="404555" y="263204"/>
                    <a:pt x="399298" y="257947"/>
                    <a:pt x="399298" y="251460"/>
                  </a:cubicBezTo>
                  <a:close/>
                  <a:moveTo>
                    <a:pt x="399298" y="341747"/>
                  </a:moveTo>
                  <a:lnTo>
                    <a:pt x="399298" y="323031"/>
                  </a:lnTo>
                  <a:cubicBezTo>
                    <a:pt x="399298" y="316544"/>
                    <a:pt x="404555" y="311287"/>
                    <a:pt x="411042" y="311287"/>
                  </a:cubicBezTo>
                  <a:cubicBezTo>
                    <a:pt x="417528" y="311287"/>
                    <a:pt x="422786" y="316544"/>
                    <a:pt x="422786" y="323031"/>
                  </a:cubicBezTo>
                  <a:lnTo>
                    <a:pt x="422786" y="341747"/>
                  </a:lnTo>
                  <a:cubicBezTo>
                    <a:pt x="422786" y="348234"/>
                    <a:pt x="417528" y="353492"/>
                    <a:pt x="411042" y="353492"/>
                  </a:cubicBezTo>
                  <a:cubicBezTo>
                    <a:pt x="404555" y="353492"/>
                    <a:pt x="399298" y="348234"/>
                    <a:pt x="399298" y="341747"/>
                  </a:cubicBezTo>
                  <a:close/>
                  <a:moveTo>
                    <a:pt x="399298" y="432025"/>
                  </a:moveTo>
                  <a:lnTo>
                    <a:pt x="399298" y="413309"/>
                  </a:lnTo>
                  <a:cubicBezTo>
                    <a:pt x="399298" y="406822"/>
                    <a:pt x="404555" y="401565"/>
                    <a:pt x="411042" y="401565"/>
                  </a:cubicBezTo>
                  <a:cubicBezTo>
                    <a:pt x="417528" y="401565"/>
                    <a:pt x="422786" y="406822"/>
                    <a:pt x="422786" y="413309"/>
                  </a:cubicBezTo>
                  <a:lnTo>
                    <a:pt x="422786" y="432025"/>
                  </a:lnTo>
                  <a:cubicBezTo>
                    <a:pt x="422786" y="438512"/>
                    <a:pt x="417528" y="443770"/>
                    <a:pt x="411042" y="443770"/>
                  </a:cubicBezTo>
                  <a:cubicBezTo>
                    <a:pt x="404555" y="443770"/>
                    <a:pt x="399298" y="438512"/>
                    <a:pt x="399298" y="432025"/>
                  </a:cubicBezTo>
                  <a:close/>
                  <a:moveTo>
                    <a:pt x="399298" y="522313"/>
                  </a:moveTo>
                  <a:lnTo>
                    <a:pt x="399298" y="503596"/>
                  </a:lnTo>
                  <a:cubicBezTo>
                    <a:pt x="399298" y="497110"/>
                    <a:pt x="404555" y="491852"/>
                    <a:pt x="411042" y="491852"/>
                  </a:cubicBezTo>
                  <a:cubicBezTo>
                    <a:pt x="417528" y="491852"/>
                    <a:pt x="422786" y="497110"/>
                    <a:pt x="422786" y="503596"/>
                  </a:cubicBezTo>
                  <a:lnTo>
                    <a:pt x="422786" y="522313"/>
                  </a:lnTo>
                  <a:cubicBezTo>
                    <a:pt x="422786" y="528799"/>
                    <a:pt x="417528" y="534057"/>
                    <a:pt x="411042" y="534057"/>
                  </a:cubicBezTo>
                  <a:cubicBezTo>
                    <a:pt x="404555" y="534057"/>
                    <a:pt x="399298" y="528799"/>
                    <a:pt x="399298" y="522313"/>
                  </a:cubicBezTo>
                  <a:close/>
                  <a:moveTo>
                    <a:pt x="399298" y="612591"/>
                  </a:moveTo>
                  <a:lnTo>
                    <a:pt x="399298" y="593874"/>
                  </a:lnTo>
                  <a:cubicBezTo>
                    <a:pt x="399298" y="587388"/>
                    <a:pt x="404555" y="582130"/>
                    <a:pt x="411042" y="582130"/>
                  </a:cubicBezTo>
                  <a:cubicBezTo>
                    <a:pt x="417528" y="582130"/>
                    <a:pt x="422786" y="587388"/>
                    <a:pt x="422786" y="593874"/>
                  </a:cubicBezTo>
                  <a:lnTo>
                    <a:pt x="422786" y="612591"/>
                  </a:lnTo>
                  <a:cubicBezTo>
                    <a:pt x="422786" y="619077"/>
                    <a:pt x="417528" y="624335"/>
                    <a:pt x="411042" y="624335"/>
                  </a:cubicBezTo>
                  <a:cubicBezTo>
                    <a:pt x="404555" y="624335"/>
                    <a:pt x="399298" y="619077"/>
                    <a:pt x="399298" y="612591"/>
                  </a:cubicBezTo>
                  <a:close/>
                  <a:moveTo>
                    <a:pt x="399298" y="702878"/>
                  </a:moveTo>
                  <a:lnTo>
                    <a:pt x="399298" y="684162"/>
                  </a:lnTo>
                  <a:cubicBezTo>
                    <a:pt x="399298" y="677675"/>
                    <a:pt x="404555" y="672417"/>
                    <a:pt x="411042" y="672417"/>
                  </a:cubicBezTo>
                  <a:cubicBezTo>
                    <a:pt x="417528" y="672417"/>
                    <a:pt x="422786" y="677675"/>
                    <a:pt x="422786" y="684162"/>
                  </a:cubicBezTo>
                  <a:lnTo>
                    <a:pt x="422786" y="702878"/>
                  </a:lnTo>
                  <a:cubicBezTo>
                    <a:pt x="422786" y="709365"/>
                    <a:pt x="417528" y="714623"/>
                    <a:pt x="411042" y="714623"/>
                  </a:cubicBezTo>
                  <a:cubicBezTo>
                    <a:pt x="404555" y="714623"/>
                    <a:pt x="399298" y="709374"/>
                    <a:pt x="399298" y="702878"/>
                  </a:cubicBezTo>
                  <a:close/>
                  <a:moveTo>
                    <a:pt x="251727" y="161173"/>
                  </a:moveTo>
                  <a:lnTo>
                    <a:pt x="251727" y="142456"/>
                  </a:lnTo>
                  <a:cubicBezTo>
                    <a:pt x="251727" y="135969"/>
                    <a:pt x="256985" y="130712"/>
                    <a:pt x="263471" y="130712"/>
                  </a:cubicBezTo>
                  <a:cubicBezTo>
                    <a:pt x="269958" y="130712"/>
                    <a:pt x="275215" y="135969"/>
                    <a:pt x="275215" y="142456"/>
                  </a:cubicBezTo>
                  <a:lnTo>
                    <a:pt x="275215" y="161173"/>
                  </a:lnTo>
                  <a:cubicBezTo>
                    <a:pt x="275215" y="167659"/>
                    <a:pt x="269958" y="172917"/>
                    <a:pt x="263471" y="172917"/>
                  </a:cubicBezTo>
                  <a:cubicBezTo>
                    <a:pt x="256985" y="172917"/>
                    <a:pt x="251727" y="167659"/>
                    <a:pt x="251727" y="161173"/>
                  </a:cubicBezTo>
                  <a:close/>
                  <a:moveTo>
                    <a:pt x="191805" y="161173"/>
                  </a:moveTo>
                  <a:lnTo>
                    <a:pt x="191805" y="142456"/>
                  </a:lnTo>
                  <a:cubicBezTo>
                    <a:pt x="191805" y="135969"/>
                    <a:pt x="197063" y="130712"/>
                    <a:pt x="203549" y="130712"/>
                  </a:cubicBezTo>
                  <a:cubicBezTo>
                    <a:pt x="210036" y="130712"/>
                    <a:pt x="215294" y="135969"/>
                    <a:pt x="215294" y="142456"/>
                  </a:cubicBezTo>
                  <a:lnTo>
                    <a:pt x="215294" y="161173"/>
                  </a:lnTo>
                  <a:cubicBezTo>
                    <a:pt x="215294" y="167659"/>
                    <a:pt x="210036" y="172917"/>
                    <a:pt x="203549" y="172917"/>
                  </a:cubicBezTo>
                  <a:cubicBezTo>
                    <a:pt x="197063" y="172917"/>
                    <a:pt x="191805" y="167659"/>
                    <a:pt x="191805" y="161173"/>
                  </a:cubicBezTo>
                  <a:close/>
                  <a:moveTo>
                    <a:pt x="155372" y="142465"/>
                  </a:moveTo>
                  <a:lnTo>
                    <a:pt x="155372" y="161182"/>
                  </a:lnTo>
                  <a:cubicBezTo>
                    <a:pt x="155372" y="167669"/>
                    <a:pt x="150114" y="172926"/>
                    <a:pt x="143627" y="172926"/>
                  </a:cubicBezTo>
                  <a:cubicBezTo>
                    <a:pt x="137141" y="172926"/>
                    <a:pt x="131883" y="167669"/>
                    <a:pt x="131883" y="161182"/>
                  </a:cubicBezTo>
                  <a:lnTo>
                    <a:pt x="131883" y="142465"/>
                  </a:lnTo>
                  <a:cubicBezTo>
                    <a:pt x="131883" y="135979"/>
                    <a:pt x="137141" y="130721"/>
                    <a:pt x="143627" y="130721"/>
                  </a:cubicBezTo>
                  <a:cubicBezTo>
                    <a:pt x="150114" y="130721"/>
                    <a:pt x="155372" y="135979"/>
                    <a:pt x="155372" y="142465"/>
                  </a:cubicBezTo>
                  <a:close/>
                  <a:moveTo>
                    <a:pt x="251727" y="251460"/>
                  </a:moveTo>
                  <a:lnTo>
                    <a:pt x="251727" y="232743"/>
                  </a:lnTo>
                  <a:cubicBezTo>
                    <a:pt x="251727" y="226257"/>
                    <a:pt x="256985" y="220999"/>
                    <a:pt x="263471" y="220999"/>
                  </a:cubicBezTo>
                  <a:cubicBezTo>
                    <a:pt x="269958" y="220999"/>
                    <a:pt x="275215" y="226257"/>
                    <a:pt x="275215" y="232743"/>
                  </a:cubicBezTo>
                  <a:lnTo>
                    <a:pt x="275215" y="251460"/>
                  </a:lnTo>
                  <a:cubicBezTo>
                    <a:pt x="275215" y="257947"/>
                    <a:pt x="269958" y="263204"/>
                    <a:pt x="263471" y="263204"/>
                  </a:cubicBezTo>
                  <a:cubicBezTo>
                    <a:pt x="256985" y="263204"/>
                    <a:pt x="251727" y="257947"/>
                    <a:pt x="251727" y="251460"/>
                  </a:cubicBezTo>
                  <a:close/>
                  <a:moveTo>
                    <a:pt x="191805" y="251460"/>
                  </a:moveTo>
                  <a:lnTo>
                    <a:pt x="191805" y="232743"/>
                  </a:lnTo>
                  <a:cubicBezTo>
                    <a:pt x="191805" y="226257"/>
                    <a:pt x="197063" y="220999"/>
                    <a:pt x="203549" y="220999"/>
                  </a:cubicBezTo>
                  <a:cubicBezTo>
                    <a:pt x="210036" y="220999"/>
                    <a:pt x="215294" y="226257"/>
                    <a:pt x="215294" y="232743"/>
                  </a:cubicBezTo>
                  <a:lnTo>
                    <a:pt x="215294" y="251460"/>
                  </a:lnTo>
                  <a:cubicBezTo>
                    <a:pt x="215294" y="257947"/>
                    <a:pt x="210036" y="263204"/>
                    <a:pt x="203549" y="263204"/>
                  </a:cubicBezTo>
                  <a:cubicBezTo>
                    <a:pt x="197063" y="263195"/>
                    <a:pt x="191805" y="257947"/>
                    <a:pt x="191805" y="251460"/>
                  </a:cubicBezTo>
                  <a:close/>
                  <a:moveTo>
                    <a:pt x="155372" y="232743"/>
                  </a:moveTo>
                  <a:lnTo>
                    <a:pt x="155372" y="251460"/>
                  </a:lnTo>
                  <a:cubicBezTo>
                    <a:pt x="155372" y="257947"/>
                    <a:pt x="150114" y="263204"/>
                    <a:pt x="143627" y="263204"/>
                  </a:cubicBezTo>
                  <a:cubicBezTo>
                    <a:pt x="137141" y="263204"/>
                    <a:pt x="131883" y="257947"/>
                    <a:pt x="131883" y="251460"/>
                  </a:cubicBezTo>
                  <a:lnTo>
                    <a:pt x="131883" y="232743"/>
                  </a:lnTo>
                  <a:cubicBezTo>
                    <a:pt x="131883" y="226257"/>
                    <a:pt x="137141" y="220999"/>
                    <a:pt x="143627" y="220999"/>
                  </a:cubicBezTo>
                  <a:cubicBezTo>
                    <a:pt x="150114" y="220999"/>
                    <a:pt x="155372" y="226257"/>
                    <a:pt x="155372" y="232743"/>
                  </a:cubicBezTo>
                  <a:close/>
                  <a:moveTo>
                    <a:pt x="251727" y="341747"/>
                  </a:moveTo>
                  <a:lnTo>
                    <a:pt x="251727" y="323031"/>
                  </a:lnTo>
                  <a:cubicBezTo>
                    <a:pt x="251727" y="316544"/>
                    <a:pt x="256985" y="311287"/>
                    <a:pt x="263471" y="311287"/>
                  </a:cubicBezTo>
                  <a:cubicBezTo>
                    <a:pt x="269958" y="311287"/>
                    <a:pt x="275215" y="316544"/>
                    <a:pt x="275215" y="323031"/>
                  </a:cubicBezTo>
                  <a:lnTo>
                    <a:pt x="275215" y="341747"/>
                  </a:lnTo>
                  <a:cubicBezTo>
                    <a:pt x="275215" y="348234"/>
                    <a:pt x="269958" y="353492"/>
                    <a:pt x="263471" y="353492"/>
                  </a:cubicBezTo>
                  <a:cubicBezTo>
                    <a:pt x="256985" y="353492"/>
                    <a:pt x="251727" y="348234"/>
                    <a:pt x="251727" y="341747"/>
                  </a:cubicBezTo>
                  <a:close/>
                  <a:moveTo>
                    <a:pt x="191805" y="341747"/>
                  </a:moveTo>
                  <a:lnTo>
                    <a:pt x="191805" y="323031"/>
                  </a:lnTo>
                  <a:cubicBezTo>
                    <a:pt x="191805" y="316544"/>
                    <a:pt x="197063" y="311287"/>
                    <a:pt x="203549" y="311287"/>
                  </a:cubicBezTo>
                  <a:cubicBezTo>
                    <a:pt x="210036" y="311287"/>
                    <a:pt x="215294" y="316544"/>
                    <a:pt x="215294" y="323031"/>
                  </a:cubicBezTo>
                  <a:lnTo>
                    <a:pt x="215294" y="341747"/>
                  </a:lnTo>
                  <a:cubicBezTo>
                    <a:pt x="215294" y="348234"/>
                    <a:pt x="210036" y="353492"/>
                    <a:pt x="203549" y="353492"/>
                  </a:cubicBezTo>
                  <a:cubicBezTo>
                    <a:pt x="197063" y="353492"/>
                    <a:pt x="191805" y="348234"/>
                    <a:pt x="191805" y="341747"/>
                  </a:cubicBezTo>
                  <a:close/>
                  <a:moveTo>
                    <a:pt x="155372" y="323031"/>
                  </a:moveTo>
                  <a:lnTo>
                    <a:pt x="155372" y="341747"/>
                  </a:lnTo>
                  <a:cubicBezTo>
                    <a:pt x="155372" y="348234"/>
                    <a:pt x="150114" y="353492"/>
                    <a:pt x="143627" y="353492"/>
                  </a:cubicBezTo>
                  <a:cubicBezTo>
                    <a:pt x="137141" y="353492"/>
                    <a:pt x="131883" y="348234"/>
                    <a:pt x="131883" y="341747"/>
                  </a:cubicBezTo>
                  <a:lnTo>
                    <a:pt x="131883" y="323031"/>
                  </a:lnTo>
                  <a:cubicBezTo>
                    <a:pt x="131883" y="316544"/>
                    <a:pt x="137141" y="311287"/>
                    <a:pt x="143627" y="311287"/>
                  </a:cubicBezTo>
                  <a:cubicBezTo>
                    <a:pt x="150114" y="311287"/>
                    <a:pt x="155372" y="316544"/>
                    <a:pt x="155372" y="323031"/>
                  </a:cubicBezTo>
                  <a:close/>
                  <a:moveTo>
                    <a:pt x="251727" y="432025"/>
                  </a:moveTo>
                  <a:lnTo>
                    <a:pt x="251727" y="413309"/>
                  </a:lnTo>
                  <a:cubicBezTo>
                    <a:pt x="251727" y="406822"/>
                    <a:pt x="256985" y="401565"/>
                    <a:pt x="263471" y="401565"/>
                  </a:cubicBezTo>
                  <a:cubicBezTo>
                    <a:pt x="269958" y="401565"/>
                    <a:pt x="275215" y="406822"/>
                    <a:pt x="275215" y="413309"/>
                  </a:cubicBezTo>
                  <a:lnTo>
                    <a:pt x="275215" y="432025"/>
                  </a:lnTo>
                  <a:cubicBezTo>
                    <a:pt x="275215" y="438512"/>
                    <a:pt x="269958" y="443770"/>
                    <a:pt x="263471" y="443770"/>
                  </a:cubicBezTo>
                  <a:cubicBezTo>
                    <a:pt x="256985" y="443770"/>
                    <a:pt x="251727" y="438512"/>
                    <a:pt x="251727" y="432025"/>
                  </a:cubicBezTo>
                  <a:close/>
                  <a:moveTo>
                    <a:pt x="191805" y="432025"/>
                  </a:moveTo>
                  <a:lnTo>
                    <a:pt x="191805" y="413309"/>
                  </a:lnTo>
                  <a:cubicBezTo>
                    <a:pt x="191805" y="406822"/>
                    <a:pt x="197063" y="401565"/>
                    <a:pt x="203549" y="401565"/>
                  </a:cubicBezTo>
                  <a:cubicBezTo>
                    <a:pt x="210036" y="401565"/>
                    <a:pt x="215294" y="406822"/>
                    <a:pt x="215294" y="413309"/>
                  </a:cubicBezTo>
                  <a:lnTo>
                    <a:pt x="215294" y="432025"/>
                  </a:lnTo>
                  <a:cubicBezTo>
                    <a:pt x="215294" y="438512"/>
                    <a:pt x="210036" y="443770"/>
                    <a:pt x="203549" y="443770"/>
                  </a:cubicBezTo>
                  <a:cubicBezTo>
                    <a:pt x="197063" y="443770"/>
                    <a:pt x="191805" y="438512"/>
                    <a:pt x="191805" y="432025"/>
                  </a:cubicBezTo>
                  <a:close/>
                  <a:moveTo>
                    <a:pt x="155372" y="413309"/>
                  </a:moveTo>
                  <a:lnTo>
                    <a:pt x="155372" y="432025"/>
                  </a:lnTo>
                  <a:cubicBezTo>
                    <a:pt x="155372" y="438512"/>
                    <a:pt x="150114" y="443770"/>
                    <a:pt x="143627" y="443770"/>
                  </a:cubicBezTo>
                  <a:cubicBezTo>
                    <a:pt x="137141" y="443770"/>
                    <a:pt x="131883" y="438512"/>
                    <a:pt x="131883" y="432025"/>
                  </a:cubicBezTo>
                  <a:lnTo>
                    <a:pt x="131883" y="413309"/>
                  </a:lnTo>
                  <a:cubicBezTo>
                    <a:pt x="131883" y="406822"/>
                    <a:pt x="137141" y="401565"/>
                    <a:pt x="143627" y="401565"/>
                  </a:cubicBezTo>
                  <a:cubicBezTo>
                    <a:pt x="150114" y="401565"/>
                    <a:pt x="155372" y="406822"/>
                    <a:pt x="155372" y="413309"/>
                  </a:cubicBezTo>
                  <a:close/>
                  <a:moveTo>
                    <a:pt x="251727" y="522313"/>
                  </a:moveTo>
                  <a:lnTo>
                    <a:pt x="251727" y="503596"/>
                  </a:lnTo>
                  <a:cubicBezTo>
                    <a:pt x="251727" y="497110"/>
                    <a:pt x="256985" y="491852"/>
                    <a:pt x="263471" y="491852"/>
                  </a:cubicBezTo>
                  <a:cubicBezTo>
                    <a:pt x="269958" y="491852"/>
                    <a:pt x="275215" y="497110"/>
                    <a:pt x="275215" y="503596"/>
                  </a:cubicBezTo>
                  <a:lnTo>
                    <a:pt x="275215" y="522313"/>
                  </a:lnTo>
                  <a:cubicBezTo>
                    <a:pt x="275215" y="528799"/>
                    <a:pt x="269958" y="534057"/>
                    <a:pt x="263471" y="534057"/>
                  </a:cubicBezTo>
                  <a:cubicBezTo>
                    <a:pt x="256985" y="534057"/>
                    <a:pt x="251727" y="528799"/>
                    <a:pt x="251727" y="522313"/>
                  </a:cubicBezTo>
                  <a:close/>
                  <a:moveTo>
                    <a:pt x="191805" y="522313"/>
                  </a:moveTo>
                  <a:lnTo>
                    <a:pt x="191805" y="503596"/>
                  </a:lnTo>
                  <a:cubicBezTo>
                    <a:pt x="191805" y="497110"/>
                    <a:pt x="197063" y="491852"/>
                    <a:pt x="203549" y="491852"/>
                  </a:cubicBezTo>
                  <a:cubicBezTo>
                    <a:pt x="210036" y="491852"/>
                    <a:pt x="215294" y="497110"/>
                    <a:pt x="215294" y="503596"/>
                  </a:cubicBezTo>
                  <a:lnTo>
                    <a:pt x="215294" y="522313"/>
                  </a:lnTo>
                  <a:cubicBezTo>
                    <a:pt x="215294" y="528799"/>
                    <a:pt x="210036" y="534057"/>
                    <a:pt x="203549" y="534057"/>
                  </a:cubicBezTo>
                  <a:cubicBezTo>
                    <a:pt x="197063" y="534057"/>
                    <a:pt x="191805" y="528799"/>
                    <a:pt x="191805" y="522313"/>
                  </a:cubicBezTo>
                  <a:close/>
                  <a:moveTo>
                    <a:pt x="155372" y="503596"/>
                  </a:moveTo>
                  <a:lnTo>
                    <a:pt x="155372" y="522313"/>
                  </a:lnTo>
                  <a:cubicBezTo>
                    <a:pt x="155372" y="528799"/>
                    <a:pt x="150114" y="534057"/>
                    <a:pt x="143627" y="534057"/>
                  </a:cubicBezTo>
                  <a:cubicBezTo>
                    <a:pt x="137141" y="534057"/>
                    <a:pt x="131883" y="528799"/>
                    <a:pt x="131883" y="522313"/>
                  </a:cubicBezTo>
                  <a:lnTo>
                    <a:pt x="131883" y="503596"/>
                  </a:lnTo>
                  <a:cubicBezTo>
                    <a:pt x="131883" y="497110"/>
                    <a:pt x="137141" y="491852"/>
                    <a:pt x="143627" y="491852"/>
                  </a:cubicBezTo>
                  <a:cubicBezTo>
                    <a:pt x="150114" y="491852"/>
                    <a:pt x="155372" y="497110"/>
                    <a:pt x="155372" y="503596"/>
                  </a:cubicBezTo>
                  <a:close/>
                  <a:moveTo>
                    <a:pt x="251727" y="612591"/>
                  </a:moveTo>
                  <a:lnTo>
                    <a:pt x="251727" y="593874"/>
                  </a:lnTo>
                  <a:cubicBezTo>
                    <a:pt x="251727" y="587388"/>
                    <a:pt x="256985" y="582130"/>
                    <a:pt x="263471" y="582130"/>
                  </a:cubicBezTo>
                  <a:cubicBezTo>
                    <a:pt x="269958" y="582130"/>
                    <a:pt x="275215" y="587388"/>
                    <a:pt x="275215" y="593874"/>
                  </a:cubicBezTo>
                  <a:lnTo>
                    <a:pt x="275215" y="612591"/>
                  </a:lnTo>
                  <a:cubicBezTo>
                    <a:pt x="275215" y="619077"/>
                    <a:pt x="269958" y="624335"/>
                    <a:pt x="263471" y="624335"/>
                  </a:cubicBezTo>
                  <a:cubicBezTo>
                    <a:pt x="256985" y="624335"/>
                    <a:pt x="251727" y="619077"/>
                    <a:pt x="251727" y="612591"/>
                  </a:cubicBezTo>
                  <a:close/>
                  <a:moveTo>
                    <a:pt x="191805" y="612591"/>
                  </a:moveTo>
                  <a:lnTo>
                    <a:pt x="191805" y="593874"/>
                  </a:lnTo>
                  <a:cubicBezTo>
                    <a:pt x="191805" y="587388"/>
                    <a:pt x="197063" y="582130"/>
                    <a:pt x="203549" y="582130"/>
                  </a:cubicBezTo>
                  <a:cubicBezTo>
                    <a:pt x="210036" y="582130"/>
                    <a:pt x="215294" y="587388"/>
                    <a:pt x="215294" y="593874"/>
                  </a:cubicBezTo>
                  <a:lnTo>
                    <a:pt x="215294" y="612591"/>
                  </a:lnTo>
                  <a:cubicBezTo>
                    <a:pt x="215294" y="619077"/>
                    <a:pt x="210036" y="624335"/>
                    <a:pt x="203549" y="624335"/>
                  </a:cubicBezTo>
                  <a:cubicBezTo>
                    <a:pt x="197063" y="624335"/>
                    <a:pt x="191805" y="619077"/>
                    <a:pt x="191805" y="612591"/>
                  </a:cubicBezTo>
                  <a:close/>
                  <a:moveTo>
                    <a:pt x="155372" y="593884"/>
                  </a:moveTo>
                  <a:lnTo>
                    <a:pt x="155372" y="612600"/>
                  </a:lnTo>
                  <a:cubicBezTo>
                    <a:pt x="155372" y="619087"/>
                    <a:pt x="150114" y="624345"/>
                    <a:pt x="143627" y="624345"/>
                  </a:cubicBezTo>
                  <a:cubicBezTo>
                    <a:pt x="137141" y="624345"/>
                    <a:pt x="131883" y="619087"/>
                    <a:pt x="131883" y="612600"/>
                  </a:cubicBezTo>
                  <a:lnTo>
                    <a:pt x="131883" y="593884"/>
                  </a:lnTo>
                  <a:cubicBezTo>
                    <a:pt x="131883" y="587397"/>
                    <a:pt x="137141" y="582139"/>
                    <a:pt x="143627" y="582139"/>
                  </a:cubicBezTo>
                  <a:cubicBezTo>
                    <a:pt x="150114" y="582139"/>
                    <a:pt x="155372" y="587397"/>
                    <a:pt x="155372" y="593884"/>
                  </a:cubicBezTo>
                  <a:close/>
                  <a:moveTo>
                    <a:pt x="251727" y="702878"/>
                  </a:moveTo>
                  <a:lnTo>
                    <a:pt x="251727" y="684162"/>
                  </a:lnTo>
                  <a:cubicBezTo>
                    <a:pt x="251727" y="677675"/>
                    <a:pt x="256985" y="672417"/>
                    <a:pt x="263471" y="672417"/>
                  </a:cubicBezTo>
                  <a:cubicBezTo>
                    <a:pt x="269958" y="672417"/>
                    <a:pt x="275215" y="677675"/>
                    <a:pt x="275215" y="684162"/>
                  </a:cubicBezTo>
                  <a:lnTo>
                    <a:pt x="275215" y="702878"/>
                  </a:lnTo>
                  <a:cubicBezTo>
                    <a:pt x="275215" y="709365"/>
                    <a:pt x="269958" y="714623"/>
                    <a:pt x="263471" y="714623"/>
                  </a:cubicBezTo>
                  <a:cubicBezTo>
                    <a:pt x="256985" y="714623"/>
                    <a:pt x="251727" y="709374"/>
                    <a:pt x="251727" y="702878"/>
                  </a:cubicBezTo>
                  <a:close/>
                  <a:moveTo>
                    <a:pt x="155372" y="684171"/>
                  </a:moveTo>
                  <a:lnTo>
                    <a:pt x="155372" y="702888"/>
                  </a:lnTo>
                  <a:cubicBezTo>
                    <a:pt x="155372" y="709374"/>
                    <a:pt x="150114" y="714632"/>
                    <a:pt x="143627" y="714632"/>
                  </a:cubicBezTo>
                  <a:cubicBezTo>
                    <a:pt x="137141" y="714632"/>
                    <a:pt x="131883" y="709374"/>
                    <a:pt x="131883" y="702888"/>
                  </a:cubicBezTo>
                  <a:lnTo>
                    <a:pt x="131883" y="684171"/>
                  </a:lnTo>
                  <a:cubicBezTo>
                    <a:pt x="131883" y="677685"/>
                    <a:pt x="137141" y="672427"/>
                    <a:pt x="143627" y="672427"/>
                  </a:cubicBezTo>
                  <a:cubicBezTo>
                    <a:pt x="150114" y="672427"/>
                    <a:pt x="155372" y="677685"/>
                    <a:pt x="155372" y="684171"/>
                  </a:cubicBezTo>
                  <a:close/>
                </a:path>
              </a:pathLst>
            </a:custGeom>
            <a:solidFill>
              <a:srgbClr val="50E6FF"/>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57" name="Rectangle 156">
              <a:extLst>
                <a:ext uri="{FF2B5EF4-FFF2-40B4-BE49-F238E27FC236}">
                  <a16:creationId xmlns:a16="http://schemas.microsoft.com/office/drawing/2014/main" id="{0AA860F4-BDF4-4398-BC28-16046BA191BC}"/>
                </a:ext>
              </a:extLst>
            </p:cNvPr>
            <p:cNvSpPr/>
            <p:nvPr/>
          </p:nvSpPr>
          <p:spPr bwMode="auto">
            <a:xfrm>
              <a:off x="5213343" y="3197959"/>
              <a:ext cx="63809" cy="45986"/>
            </a:xfrm>
            <a:prstGeom prst="rect">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58" name="Rectangle 157">
              <a:extLst>
                <a:ext uri="{FF2B5EF4-FFF2-40B4-BE49-F238E27FC236}">
                  <a16:creationId xmlns:a16="http://schemas.microsoft.com/office/drawing/2014/main" id="{72F60B58-50B5-47BD-8CB8-389B909307A1}"/>
                </a:ext>
              </a:extLst>
            </p:cNvPr>
            <p:cNvSpPr/>
            <p:nvPr/>
          </p:nvSpPr>
          <p:spPr bwMode="auto">
            <a:xfrm>
              <a:off x="5107460" y="3178065"/>
              <a:ext cx="63809" cy="45986"/>
            </a:xfrm>
            <a:prstGeom prst="rect">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cxnSp>
          <p:nvCxnSpPr>
            <p:cNvPr id="159" name="Straight Connector 158">
              <a:extLst>
                <a:ext uri="{FF2B5EF4-FFF2-40B4-BE49-F238E27FC236}">
                  <a16:creationId xmlns:a16="http://schemas.microsoft.com/office/drawing/2014/main" id="{65C8390F-62BC-4D0A-80FB-0D19C224F7E6}"/>
                </a:ext>
              </a:extLst>
            </p:cNvPr>
            <p:cNvCxnSpPr/>
            <p:nvPr/>
          </p:nvCxnSpPr>
          <p:spPr>
            <a:xfrm>
              <a:off x="5197993" y="3230540"/>
              <a:ext cx="97631" cy="0"/>
            </a:xfrm>
            <a:prstGeom prst="line">
              <a:avLst/>
            </a:prstGeom>
            <a:ln w="19050">
              <a:no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2B49C094-D2D0-4F27-8AB4-C5FB74CB1752}"/>
                </a:ext>
              </a:extLst>
            </p:cNvPr>
            <p:cNvCxnSpPr>
              <a:cxnSpLocks/>
            </p:cNvCxnSpPr>
            <p:nvPr/>
          </p:nvCxnSpPr>
          <p:spPr>
            <a:xfrm flipH="1" flipV="1">
              <a:off x="5234166" y="2267236"/>
              <a:ext cx="2469" cy="36576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D902B065-6502-4FE9-BC45-C1EF95EF0E23}"/>
                </a:ext>
              </a:extLst>
            </p:cNvPr>
            <p:cNvSpPr txBox="1"/>
            <p:nvPr/>
          </p:nvSpPr>
          <p:spPr>
            <a:xfrm>
              <a:off x="5142926" y="2564509"/>
              <a:ext cx="184948" cy="184666"/>
            </a:xfrm>
            <a:prstGeom prst="rect">
              <a:avLst/>
            </a:prstGeom>
            <a:solidFill>
              <a:srgbClr val="353535"/>
            </a:solidFill>
          </p:spPr>
          <p:txBody>
            <a:bodyPr wrap="square" lIns="0" tIns="0" rIns="0" bIns="0" rtlCol="0" anchor="ctr">
              <a:spAutoFit/>
            </a:bodyPr>
            <a:lstStyle/>
            <a:p>
              <a:pPr marL="0" marR="0" lvl="0" indent="0" algn="ctr"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t>
              </a:r>
            </a:p>
          </p:txBody>
        </p:sp>
        <p:cxnSp>
          <p:nvCxnSpPr>
            <p:cNvPr id="116" name="Straight Arrow Connector 115">
              <a:extLst>
                <a:ext uri="{FF2B5EF4-FFF2-40B4-BE49-F238E27FC236}">
                  <a16:creationId xmlns:a16="http://schemas.microsoft.com/office/drawing/2014/main" id="{C0DE25F1-B2E5-4DB3-94D7-3614980F4CE5}"/>
                </a:ext>
              </a:extLst>
            </p:cNvPr>
            <p:cNvCxnSpPr>
              <a:cxnSpLocks/>
            </p:cNvCxnSpPr>
            <p:nvPr/>
          </p:nvCxnSpPr>
          <p:spPr>
            <a:xfrm>
              <a:off x="5235400" y="5058853"/>
              <a:ext cx="0" cy="33138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E169C4D5-1496-4D66-A0BF-D65637EBB1B2}"/>
                </a:ext>
              </a:extLst>
            </p:cNvPr>
            <p:cNvSpPr txBox="1"/>
            <p:nvPr/>
          </p:nvSpPr>
          <p:spPr>
            <a:xfrm>
              <a:off x="5142926" y="4911693"/>
              <a:ext cx="184948" cy="184666"/>
            </a:xfrm>
            <a:prstGeom prst="rect">
              <a:avLst/>
            </a:prstGeom>
            <a:solidFill>
              <a:srgbClr val="353535"/>
            </a:solidFill>
          </p:spPr>
          <p:txBody>
            <a:bodyPr wrap="square" lIns="0" tIns="0" rIns="0" bIns="0" rtlCol="0" anchor="ctr">
              <a:spAutoFit/>
            </a:bodyPr>
            <a:lstStyle/>
            <a:p>
              <a:pPr marL="0" marR="0" lvl="0" indent="0" algn="ctr"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t>
              </a:r>
            </a:p>
          </p:txBody>
        </p:sp>
        <p:cxnSp>
          <p:nvCxnSpPr>
            <p:cNvPr id="118" name="Straight Arrow Connector 117">
              <a:extLst>
                <a:ext uri="{FF2B5EF4-FFF2-40B4-BE49-F238E27FC236}">
                  <a16:creationId xmlns:a16="http://schemas.microsoft.com/office/drawing/2014/main" id="{A6251578-D616-4FAF-9927-F0CE9BC3625F}"/>
                </a:ext>
              </a:extLst>
            </p:cNvPr>
            <p:cNvCxnSpPr>
              <a:cxnSpLocks/>
            </p:cNvCxnSpPr>
            <p:nvPr/>
          </p:nvCxnSpPr>
          <p:spPr>
            <a:xfrm flipV="1">
              <a:off x="6477758" y="3801215"/>
              <a:ext cx="365760"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9B2A20CE-47EC-45EE-92A7-0E82C2737D35}"/>
                </a:ext>
              </a:extLst>
            </p:cNvPr>
            <p:cNvSpPr txBox="1"/>
            <p:nvPr/>
          </p:nvSpPr>
          <p:spPr>
            <a:xfrm>
              <a:off x="6347964" y="3708882"/>
              <a:ext cx="184948" cy="184666"/>
            </a:xfrm>
            <a:prstGeom prst="rect">
              <a:avLst/>
            </a:prstGeom>
            <a:solidFill>
              <a:srgbClr val="353535"/>
            </a:solidFill>
          </p:spPr>
          <p:txBody>
            <a:bodyPr wrap="square" lIns="0" tIns="0" rIns="0" bIns="0" rtlCol="0" anchor="ctr">
              <a:spAutoFit/>
            </a:bodyPr>
            <a:lstStyle/>
            <a:p>
              <a:pPr marL="0" marR="0" lvl="0" indent="0" algn="ctr"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t>
              </a:r>
            </a:p>
          </p:txBody>
        </p:sp>
        <p:sp>
          <p:nvSpPr>
            <p:cNvPr id="145" name="Hexagon 144">
              <a:extLst>
                <a:ext uri="{FF2B5EF4-FFF2-40B4-BE49-F238E27FC236}">
                  <a16:creationId xmlns:a16="http://schemas.microsoft.com/office/drawing/2014/main" id="{F88A37B5-8F13-437F-9485-3679AE0BDA55}"/>
                </a:ext>
              </a:extLst>
            </p:cNvPr>
            <p:cNvSpPr/>
            <p:nvPr/>
          </p:nvSpPr>
          <p:spPr bwMode="auto">
            <a:xfrm rot="5400000">
              <a:off x="4938220" y="1478721"/>
              <a:ext cx="594360" cy="535361"/>
            </a:xfrm>
            <a:prstGeom prst="hexagon">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43" name="Hexagon 142">
              <a:extLst>
                <a:ext uri="{FF2B5EF4-FFF2-40B4-BE49-F238E27FC236}">
                  <a16:creationId xmlns:a16="http://schemas.microsoft.com/office/drawing/2014/main" id="{D6E8AF73-6787-4932-9E87-0EC9BFE9DF18}"/>
                </a:ext>
              </a:extLst>
            </p:cNvPr>
            <p:cNvSpPr/>
            <p:nvPr/>
          </p:nvSpPr>
          <p:spPr bwMode="auto">
            <a:xfrm rot="5400000">
              <a:off x="6470148" y="2134910"/>
              <a:ext cx="594360" cy="535361"/>
            </a:xfrm>
            <a:prstGeom prst="hexagon">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39" name="Hexagon 138">
              <a:extLst>
                <a:ext uri="{FF2B5EF4-FFF2-40B4-BE49-F238E27FC236}">
                  <a16:creationId xmlns:a16="http://schemas.microsoft.com/office/drawing/2014/main" id="{C789C52D-1839-4774-B7E7-2C9D180FC1EF}"/>
                </a:ext>
              </a:extLst>
            </p:cNvPr>
            <p:cNvSpPr/>
            <p:nvPr/>
          </p:nvSpPr>
          <p:spPr bwMode="auto">
            <a:xfrm rot="5400000">
              <a:off x="6470148" y="4934800"/>
              <a:ext cx="594360" cy="535361"/>
            </a:xfrm>
            <a:prstGeom prst="hexagon">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36" name="Hexagon 135">
              <a:extLst>
                <a:ext uri="{FF2B5EF4-FFF2-40B4-BE49-F238E27FC236}">
                  <a16:creationId xmlns:a16="http://schemas.microsoft.com/office/drawing/2014/main" id="{2529C982-7FB5-4356-AE5F-606AADA3E55E}"/>
                </a:ext>
              </a:extLst>
            </p:cNvPr>
            <p:cNvSpPr/>
            <p:nvPr/>
          </p:nvSpPr>
          <p:spPr bwMode="auto">
            <a:xfrm rot="5400000">
              <a:off x="4938220" y="5571761"/>
              <a:ext cx="594360" cy="535361"/>
            </a:xfrm>
            <a:prstGeom prst="hexagon">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cxnSp>
          <p:nvCxnSpPr>
            <p:cNvPr id="127" name="Straight Arrow Connector 126">
              <a:extLst>
                <a:ext uri="{FF2B5EF4-FFF2-40B4-BE49-F238E27FC236}">
                  <a16:creationId xmlns:a16="http://schemas.microsoft.com/office/drawing/2014/main" id="{CE2F7B53-71E5-451E-939E-A0E5CF125AFB}"/>
                </a:ext>
              </a:extLst>
            </p:cNvPr>
            <p:cNvCxnSpPr>
              <a:cxnSpLocks/>
            </p:cNvCxnSpPr>
            <p:nvPr/>
          </p:nvCxnSpPr>
          <p:spPr>
            <a:xfrm>
              <a:off x="6082109" y="4721855"/>
              <a:ext cx="279359" cy="29754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72BC76F7-65EC-4591-88A1-E3D1D12AFC26}"/>
                </a:ext>
              </a:extLst>
            </p:cNvPr>
            <p:cNvSpPr txBox="1"/>
            <p:nvPr/>
          </p:nvSpPr>
          <p:spPr>
            <a:xfrm>
              <a:off x="5999478" y="4656580"/>
              <a:ext cx="198924" cy="184666"/>
            </a:xfrm>
            <a:prstGeom prst="rect">
              <a:avLst/>
            </a:prstGeom>
            <a:solidFill>
              <a:srgbClr val="353535"/>
            </a:solidFill>
          </p:spPr>
          <p:txBody>
            <a:bodyPr wrap="square" lIns="0" tIns="0" rIns="0" bIns="0" rtlCol="0" anchor="ctr">
              <a:spAutoFit/>
            </a:bodyPr>
            <a:lstStyle/>
            <a:p>
              <a:pPr marL="0" marR="0" lvl="0" indent="0" algn="ctr"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t>
              </a:r>
            </a:p>
          </p:txBody>
        </p:sp>
        <p:cxnSp>
          <p:nvCxnSpPr>
            <p:cNvPr id="129" name="Straight Arrow Connector 128">
              <a:extLst>
                <a:ext uri="{FF2B5EF4-FFF2-40B4-BE49-F238E27FC236}">
                  <a16:creationId xmlns:a16="http://schemas.microsoft.com/office/drawing/2014/main" id="{06594041-192B-46C5-8012-4BB8A51772BD}"/>
                </a:ext>
              </a:extLst>
            </p:cNvPr>
            <p:cNvCxnSpPr>
              <a:cxnSpLocks/>
            </p:cNvCxnSpPr>
            <p:nvPr/>
          </p:nvCxnSpPr>
          <p:spPr>
            <a:xfrm flipV="1">
              <a:off x="6045598" y="2611943"/>
              <a:ext cx="358018" cy="31643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1A7F40FE-5F7F-4F8C-9D32-2761921191CE}"/>
                </a:ext>
              </a:extLst>
            </p:cNvPr>
            <p:cNvSpPr txBox="1"/>
            <p:nvPr/>
          </p:nvSpPr>
          <p:spPr>
            <a:xfrm>
              <a:off x="5999478" y="2816755"/>
              <a:ext cx="198924" cy="184666"/>
            </a:xfrm>
            <a:prstGeom prst="rect">
              <a:avLst/>
            </a:prstGeom>
            <a:solidFill>
              <a:srgbClr val="353535"/>
            </a:solidFill>
          </p:spPr>
          <p:txBody>
            <a:bodyPr wrap="square" lIns="0" tIns="0" rIns="0" bIns="0" rtlCol="0" anchor="ctr">
              <a:spAutoFit/>
            </a:bodyPr>
            <a:lstStyle/>
            <a:p>
              <a:pPr marL="0" marR="0" lvl="0" indent="0" algn="ctr"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t>
              </a:r>
            </a:p>
          </p:txBody>
        </p:sp>
        <p:sp>
          <p:nvSpPr>
            <p:cNvPr id="131" name="Rectangle 130">
              <a:extLst>
                <a:ext uri="{FF2B5EF4-FFF2-40B4-BE49-F238E27FC236}">
                  <a16:creationId xmlns:a16="http://schemas.microsoft.com/office/drawing/2014/main" id="{5928AEC2-9A3D-4C6E-8864-59BACB55A934}"/>
                </a:ext>
              </a:extLst>
            </p:cNvPr>
            <p:cNvSpPr/>
            <p:nvPr/>
          </p:nvSpPr>
          <p:spPr>
            <a:xfrm>
              <a:off x="7141293" y="2333341"/>
              <a:ext cx="456856" cy="138499"/>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Segoe UI Semilight"/>
                  <a:ea typeface="+mn-ea"/>
                  <a:cs typeface="Segoe UI" pitchFamily="34" charset="0"/>
                </a:rPr>
                <a:t>Licensing</a:t>
              </a: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2" name="Rectangle 131">
              <a:extLst>
                <a:ext uri="{FF2B5EF4-FFF2-40B4-BE49-F238E27FC236}">
                  <a16:creationId xmlns:a16="http://schemas.microsoft.com/office/drawing/2014/main" id="{55027D94-0E15-43A0-829C-A2AF53856971}"/>
                </a:ext>
              </a:extLst>
            </p:cNvPr>
            <p:cNvSpPr/>
            <p:nvPr/>
          </p:nvSpPr>
          <p:spPr>
            <a:xfrm>
              <a:off x="7667526" y="3731966"/>
              <a:ext cx="501740" cy="138499"/>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Segoe UI Semilight"/>
                  <a:ea typeface="+mn-ea"/>
                  <a:cs typeface="Segoe UI" pitchFamily="34" charset="0"/>
                </a:rPr>
                <a:t>Marketing</a:t>
              </a: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3" name="Rectangle 132">
              <a:extLst>
                <a:ext uri="{FF2B5EF4-FFF2-40B4-BE49-F238E27FC236}">
                  <a16:creationId xmlns:a16="http://schemas.microsoft.com/office/drawing/2014/main" id="{854852A8-7678-4CFD-B7FD-507D8556252D}"/>
                </a:ext>
              </a:extLst>
            </p:cNvPr>
            <p:cNvSpPr/>
            <p:nvPr/>
          </p:nvSpPr>
          <p:spPr>
            <a:xfrm>
              <a:off x="7141293" y="5133231"/>
              <a:ext cx="575479" cy="138499"/>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Segoe UI Semilight"/>
                  <a:ea typeface="+mn-ea"/>
                  <a:cs typeface="Segoe UI" pitchFamily="34" charset="0"/>
                </a:rPr>
                <a:t>Distribution</a:t>
              </a: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4" name="Rectangle 133">
              <a:extLst>
                <a:ext uri="{FF2B5EF4-FFF2-40B4-BE49-F238E27FC236}">
                  <a16:creationId xmlns:a16="http://schemas.microsoft.com/office/drawing/2014/main" id="{D5BC0786-3948-4412-80E5-CA521A13FFED}"/>
                </a:ext>
              </a:extLst>
            </p:cNvPr>
            <p:cNvSpPr/>
            <p:nvPr/>
          </p:nvSpPr>
          <p:spPr>
            <a:xfrm>
              <a:off x="5597867" y="5897854"/>
              <a:ext cx="431208" cy="276999"/>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Segoe UI Semilight"/>
                  <a:ea typeface="+mn-ea"/>
                  <a:cs typeface="Segoe UI" pitchFamily="34" charset="0"/>
                </a:rPr>
                <a:t>Content </a:t>
              </a:r>
              <a:br>
                <a:rPr kumimoji="0" lang="en-US" sz="900" b="1" i="0" u="none" strike="noStrike" kern="1200" cap="none" spc="0" normalizeH="0" baseline="0" noProof="0">
                  <a:ln>
                    <a:noFill/>
                  </a:ln>
                  <a:solidFill>
                    <a:srgbClr val="FFFFFF"/>
                  </a:solidFill>
                  <a:effectLst/>
                  <a:uLnTx/>
                  <a:uFillTx/>
                  <a:latin typeface="Segoe UI Semilight"/>
                  <a:ea typeface="+mn-ea"/>
                  <a:cs typeface="Segoe UI" pitchFamily="34" charset="0"/>
                </a:rPr>
              </a:br>
              <a:r>
                <a:rPr kumimoji="0" lang="en-US" sz="900" b="1" i="0" u="none" strike="noStrike" kern="1200" cap="none" spc="0" normalizeH="0" baseline="0" noProof="0">
                  <a:ln>
                    <a:noFill/>
                  </a:ln>
                  <a:solidFill>
                    <a:srgbClr val="FFFFFF"/>
                  </a:solidFill>
                  <a:effectLst/>
                  <a:uLnTx/>
                  <a:uFillTx/>
                  <a:latin typeface="Segoe UI Semilight"/>
                  <a:ea typeface="+mn-ea"/>
                  <a:cs typeface="Segoe UI" pitchFamily="34" charset="0"/>
                </a:rPr>
                <a:t>Provider</a:t>
              </a: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5" name="Rectangle 134">
              <a:extLst>
                <a:ext uri="{FF2B5EF4-FFF2-40B4-BE49-F238E27FC236}">
                  <a16:creationId xmlns:a16="http://schemas.microsoft.com/office/drawing/2014/main" id="{39D44384-5BE1-4CC3-8CE2-55D7D4D41B36}"/>
                </a:ext>
              </a:extLst>
            </p:cNvPr>
            <p:cNvSpPr/>
            <p:nvPr/>
          </p:nvSpPr>
          <p:spPr>
            <a:xfrm>
              <a:off x="5597867" y="1422263"/>
              <a:ext cx="508152" cy="276999"/>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Segoe UI Semilight"/>
                  <a:ea typeface="+mn-ea"/>
                  <a:cs typeface="Segoe UI" pitchFamily="34" charset="0"/>
                </a:rPr>
                <a:t>Content </a:t>
              </a:r>
              <a:br>
                <a:rPr kumimoji="0" lang="en-US" sz="900" b="1" i="0" u="none" strike="noStrike" kern="1200" cap="none" spc="0" normalizeH="0" baseline="0" noProof="0">
                  <a:ln>
                    <a:noFill/>
                  </a:ln>
                  <a:solidFill>
                    <a:srgbClr val="FFFFFF"/>
                  </a:solidFill>
                  <a:effectLst/>
                  <a:uLnTx/>
                  <a:uFillTx/>
                  <a:latin typeface="Segoe UI Semilight"/>
                  <a:ea typeface="+mn-ea"/>
                  <a:cs typeface="Segoe UI" pitchFamily="34" charset="0"/>
                </a:rPr>
              </a:br>
              <a:r>
                <a:rPr kumimoji="0" lang="en-US" sz="900" b="1" i="0" u="none" strike="noStrike" kern="1200" cap="none" spc="0" normalizeH="0" baseline="0" noProof="0">
                  <a:ln>
                    <a:noFill/>
                  </a:ln>
                  <a:solidFill>
                    <a:srgbClr val="FFFFFF"/>
                  </a:solidFill>
                  <a:effectLst/>
                  <a:uLnTx/>
                  <a:uFillTx/>
                  <a:latin typeface="Segoe UI Semilight"/>
                  <a:ea typeface="+mn-ea"/>
                  <a:cs typeface="Segoe UI" pitchFamily="34" charset="0"/>
                </a:rPr>
                <a:t>Developer</a:t>
              </a: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1" name="Hexagon 140">
              <a:extLst>
                <a:ext uri="{FF2B5EF4-FFF2-40B4-BE49-F238E27FC236}">
                  <a16:creationId xmlns:a16="http://schemas.microsoft.com/office/drawing/2014/main" id="{0C43F4AA-60BA-4B50-BACF-E4F332A8AF23}"/>
                </a:ext>
              </a:extLst>
            </p:cNvPr>
            <p:cNvSpPr/>
            <p:nvPr/>
          </p:nvSpPr>
          <p:spPr bwMode="auto">
            <a:xfrm rot="5400000">
              <a:off x="6966538" y="3533535"/>
              <a:ext cx="594360" cy="535361"/>
            </a:xfrm>
            <a:prstGeom prst="hexagon">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70" name="News_E900" title="Icon of a newspaper">
              <a:extLst>
                <a:ext uri="{FF2B5EF4-FFF2-40B4-BE49-F238E27FC236}">
                  <a16:creationId xmlns:a16="http://schemas.microsoft.com/office/drawing/2014/main" id="{4CA72689-9CB4-435F-B974-88740A013ACB}"/>
                </a:ext>
              </a:extLst>
            </p:cNvPr>
            <p:cNvSpPr>
              <a:spLocks noChangeAspect="1" noEditPoints="1"/>
            </p:cNvSpPr>
            <p:nvPr/>
          </p:nvSpPr>
          <p:spPr bwMode="auto">
            <a:xfrm>
              <a:off x="5063800" y="5724899"/>
              <a:ext cx="343200" cy="229085"/>
            </a:xfrm>
            <a:custGeom>
              <a:avLst/>
              <a:gdLst>
                <a:gd name="T0" fmla="*/ 3240 w 3738"/>
                <a:gd name="T1" fmla="*/ 0 h 2493"/>
                <a:gd name="T2" fmla="*/ 3240 w 3738"/>
                <a:gd name="T3" fmla="*/ 499 h 2493"/>
                <a:gd name="T4" fmla="*/ 3738 w 3738"/>
                <a:gd name="T5" fmla="*/ 499 h 2493"/>
                <a:gd name="T6" fmla="*/ 3738 w 3738"/>
                <a:gd name="T7" fmla="*/ 2119 h 2493"/>
                <a:gd name="T8" fmla="*/ 3365 w 3738"/>
                <a:gd name="T9" fmla="*/ 2493 h 2493"/>
                <a:gd name="T10" fmla="*/ 361 w 3738"/>
                <a:gd name="T11" fmla="*/ 2493 h 2493"/>
                <a:gd name="T12" fmla="*/ 0 w 3738"/>
                <a:gd name="T13" fmla="*/ 2132 h 2493"/>
                <a:gd name="T14" fmla="*/ 0 w 3738"/>
                <a:gd name="T15" fmla="*/ 0 h 2493"/>
                <a:gd name="T16" fmla="*/ 3240 w 3738"/>
                <a:gd name="T17" fmla="*/ 0 h 2493"/>
                <a:gd name="T18" fmla="*/ 3240 w 3738"/>
                <a:gd name="T19" fmla="*/ 499 h 2493"/>
                <a:gd name="T20" fmla="*/ 3240 w 3738"/>
                <a:gd name="T21" fmla="*/ 1994 h 2493"/>
                <a:gd name="T22" fmla="*/ 2866 w 3738"/>
                <a:gd name="T23" fmla="*/ 499 h 2493"/>
                <a:gd name="T24" fmla="*/ 374 w 3738"/>
                <a:gd name="T25" fmla="*/ 499 h 2493"/>
                <a:gd name="T26" fmla="*/ 2866 w 3738"/>
                <a:gd name="T27" fmla="*/ 1994 h 2493"/>
                <a:gd name="T28" fmla="*/ 1869 w 3738"/>
                <a:gd name="T29" fmla="*/ 1994 h 2493"/>
                <a:gd name="T30" fmla="*/ 2866 w 3738"/>
                <a:gd name="T31" fmla="*/ 1496 h 2493"/>
                <a:gd name="T32" fmla="*/ 1869 w 3738"/>
                <a:gd name="T33" fmla="*/ 1496 h 2493"/>
                <a:gd name="T34" fmla="*/ 2866 w 3738"/>
                <a:gd name="T35" fmla="*/ 997 h 2493"/>
                <a:gd name="T36" fmla="*/ 1869 w 3738"/>
                <a:gd name="T37" fmla="*/ 997 h 2493"/>
                <a:gd name="T38" fmla="*/ 498 w 3738"/>
                <a:gd name="T39" fmla="*/ 1994 h 2493"/>
                <a:gd name="T40" fmla="*/ 1495 w 3738"/>
                <a:gd name="T41" fmla="*/ 1994 h 2493"/>
                <a:gd name="T42" fmla="*/ 1495 w 3738"/>
                <a:gd name="T43" fmla="*/ 992 h 2493"/>
                <a:gd name="T44" fmla="*/ 498 w 3738"/>
                <a:gd name="T45" fmla="*/ 992 h 2493"/>
                <a:gd name="T46" fmla="*/ 498 w 3738"/>
                <a:gd name="T47" fmla="*/ 1994 h 2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38" h="2493">
                  <a:moveTo>
                    <a:pt x="3240" y="0"/>
                  </a:moveTo>
                  <a:cubicBezTo>
                    <a:pt x="3240" y="499"/>
                    <a:pt x="3240" y="499"/>
                    <a:pt x="3240" y="499"/>
                  </a:cubicBezTo>
                  <a:cubicBezTo>
                    <a:pt x="3738" y="499"/>
                    <a:pt x="3738" y="499"/>
                    <a:pt x="3738" y="499"/>
                  </a:cubicBezTo>
                  <a:cubicBezTo>
                    <a:pt x="3738" y="2119"/>
                    <a:pt x="3738" y="2119"/>
                    <a:pt x="3738" y="2119"/>
                  </a:cubicBezTo>
                  <a:cubicBezTo>
                    <a:pt x="3738" y="2325"/>
                    <a:pt x="3571" y="2493"/>
                    <a:pt x="3365" y="2493"/>
                  </a:cubicBezTo>
                  <a:cubicBezTo>
                    <a:pt x="361" y="2493"/>
                    <a:pt x="361" y="2493"/>
                    <a:pt x="361" y="2493"/>
                  </a:cubicBezTo>
                  <a:cubicBezTo>
                    <a:pt x="161" y="2493"/>
                    <a:pt x="0" y="2331"/>
                    <a:pt x="0" y="2132"/>
                  </a:cubicBezTo>
                  <a:cubicBezTo>
                    <a:pt x="0" y="0"/>
                    <a:pt x="0" y="0"/>
                    <a:pt x="0" y="0"/>
                  </a:cubicBezTo>
                  <a:lnTo>
                    <a:pt x="3240" y="0"/>
                  </a:lnTo>
                  <a:close/>
                  <a:moveTo>
                    <a:pt x="3240" y="499"/>
                  </a:moveTo>
                  <a:cubicBezTo>
                    <a:pt x="3240" y="1994"/>
                    <a:pt x="3240" y="1994"/>
                    <a:pt x="3240" y="1994"/>
                  </a:cubicBezTo>
                  <a:moveTo>
                    <a:pt x="2866" y="499"/>
                  </a:moveTo>
                  <a:cubicBezTo>
                    <a:pt x="374" y="499"/>
                    <a:pt x="374" y="499"/>
                    <a:pt x="374" y="499"/>
                  </a:cubicBezTo>
                  <a:moveTo>
                    <a:pt x="2866" y="1994"/>
                  </a:moveTo>
                  <a:cubicBezTo>
                    <a:pt x="1869" y="1994"/>
                    <a:pt x="1869" y="1994"/>
                    <a:pt x="1869" y="1994"/>
                  </a:cubicBezTo>
                  <a:moveTo>
                    <a:pt x="2866" y="1496"/>
                  </a:moveTo>
                  <a:cubicBezTo>
                    <a:pt x="1869" y="1496"/>
                    <a:pt x="1869" y="1496"/>
                    <a:pt x="1869" y="1496"/>
                  </a:cubicBezTo>
                  <a:moveTo>
                    <a:pt x="2866" y="997"/>
                  </a:moveTo>
                  <a:cubicBezTo>
                    <a:pt x="1869" y="997"/>
                    <a:pt x="1869" y="997"/>
                    <a:pt x="1869" y="997"/>
                  </a:cubicBezTo>
                  <a:moveTo>
                    <a:pt x="498" y="1994"/>
                  </a:moveTo>
                  <a:cubicBezTo>
                    <a:pt x="1495" y="1994"/>
                    <a:pt x="1495" y="1994"/>
                    <a:pt x="1495" y="1994"/>
                  </a:cubicBezTo>
                  <a:cubicBezTo>
                    <a:pt x="1495" y="992"/>
                    <a:pt x="1495" y="992"/>
                    <a:pt x="1495" y="992"/>
                  </a:cubicBezTo>
                  <a:cubicBezTo>
                    <a:pt x="498" y="992"/>
                    <a:pt x="498" y="992"/>
                    <a:pt x="498" y="992"/>
                  </a:cubicBezTo>
                  <a:lnTo>
                    <a:pt x="498" y="199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4" name="Truck" title="Icon of a truck with a storage trailer">
              <a:extLst>
                <a:ext uri="{FF2B5EF4-FFF2-40B4-BE49-F238E27FC236}">
                  <a16:creationId xmlns:a16="http://schemas.microsoft.com/office/drawing/2014/main" id="{4A46F8E4-5E6C-4E0A-8620-F16D9DCB077C}"/>
                </a:ext>
              </a:extLst>
            </p:cNvPr>
            <p:cNvSpPr>
              <a:spLocks noChangeAspect="1" noEditPoints="1"/>
            </p:cNvSpPr>
            <p:nvPr/>
          </p:nvSpPr>
          <p:spPr bwMode="auto">
            <a:xfrm>
              <a:off x="6551953" y="5103907"/>
              <a:ext cx="430750" cy="197146"/>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2" name="target_2" title="Icon of a target with an arrow hitting the bullseye">
              <a:extLst>
                <a:ext uri="{FF2B5EF4-FFF2-40B4-BE49-F238E27FC236}">
                  <a16:creationId xmlns:a16="http://schemas.microsoft.com/office/drawing/2014/main" id="{6CE44837-08DD-400B-AC80-EE2C7B9058F5}"/>
                </a:ext>
              </a:extLst>
            </p:cNvPr>
            <p:cNvSpPr>
              <a:spLocks noChangeAspect="1" noEditPoints="1"/>
            </p:cNvSpPr>
            <p:nvPr/>
          </p:nvSpPr>
          <p:spPr bwMode="auto">
            <a:xfrm>
              <a:off x="7125889" y="3663935"/>
              <a:ext cx="275659" cy="27456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4" name="ContactCard_EEBD" title="Icon of a contact card">
              <a:extLst>
                <a:ext uri="{FF2B5EF4-FFF2-40B4-BE49-F238E27FC236}">
                  <a16:creationId xmlns:a16="http://schemas.microsoft.com/office/drawing/2014/main" id="{FF87B2B0-3A26-4CCF-BB12-454A22F80017}"/>
                </a:ext>
              </a:extLst>
            </p:cNvPr>
            <p:cNvSpPr>
              <a:spLocks noChangeAspect="1" noEditPoints="1"/>
            </p:cNvSpPr>
            <p:nvPr/>
          </p:nvSpPr>
          <p:spPr bwMode="auto">
            <a:xfrm>
              <a:off x="6613489" y="2289700"/>
              <a:ext cx="307678" cy="225780"/>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209" name="Group 208">
              <a:extLst>
                <a:ext uri="{FF2B5EF4-FFF2-40B4-BE49-F238E27FC236}">
                  <a16:creationId xmlns:a16="http://schemas.microsoft.com/office/drawing/2014/main" id="{DDF01E12-519A-4AB4-BB45-D90110A83361}"/>
                </a:ext>
              </a:extLst>
            </p:cNvPr>
            <p:cNvGrpSpPr/>
            <p:nvPr/>
          </p:nvGrpSpPr>
          <p:grpSpPr>
            <a:xfrm>
              <a:off x="5085888" y="1596889"/>
              <a:ext cx="299024" cy="299024"/>
              <a:chOff x="605350" y="5880668"/>
              <a:chExt cx="398350" cy="398350"/>
            </a:xfrm>
          </p:grpSpPr>
          <p:sp>
            <p:nvSpPr>
              <p:cNvPr id="210" name="Freeform: Shape 209">
                <a:extLst>
                  <a:ext uri="{FF2B5EF4-FFF2-40B4-BE49-F238E27FC236}">
                    <a16:creationId xmlns:a16="http://schemas.microsoft.com/office/drawing/2014/main" id="{55E03197-2845-4222-86F7-80BE20ADB953}"/>
                  </a:ext>
                </a:extLst>
              </p:cNvPr>
              <p:cNvSpPr/>
              <p:nvPr/>
            </p:nvSpPr>
            <p:spPr>
              <a:xfrm>
                <a:off x="620178" y="5901242"/>
                <a:ext cx="373454" cy="373454"/>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5742 w 232172"/>
                  <a:gd name="connsiteY14" fmla="*/ 74949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4624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2781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8703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1663 w 232172"/>
                  <a:gd name="connsiteY14" fmla="*/ 69027 h 232172"/>
                  <a:gd name="connsiteX15" fmla="*/ 176927 w 232172"/>
                  <a:gd name="connsiteY15" fmla="*/ 55245 h 23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2172" h="232172">
                    <a:moveTo>
                      <a:pt x="6429" y="195263"/>
                    </a:moveTo>
                    <a:cubicBezTo>
                      <a:pt x="-2143" y="203835"/>
                      <a:pt x="-2143" y="217170"/>
                      <a:pt x="6429" y="225743"/>
                    </a:cubicBezTo>
                    <a:cubicBezTo>
                      <a:pt x="15002" y="234315"/>
                      <a:pt x="29290" y="234315"/>
                      <a:pt x="36910" y="225743"/>
                    </a:cubicBezTo>
                    <a:lnTo>
                      <a:pt x="114062" y="148590"/>
                    </a:lnTo>
                    <a:lnTo>
                      <a:pt x="83582" y="118110"/>
                    </a:lnTo>
                    <a:lnTo>
                      <a:pt x="6429" y="195263"/>
                    </a:lnTo>
                    <a:close/>
                    <a:moveTo>
                      <a:pt x="232172" y="30480"/>
                    </a:moveTo>
                    <a:lnTo>
                      <a:pt x="201692" y="0"/>
                    </a:lnTo>
                    <a:lnTo>
                      <a:pt x="177879" y="24765"/>
                    </a:lnTo>
                    <a:lnTo>
                      <a:pt x="177879" y="55245"/>
                    </a:lnTo>
                    <a:lnTo>
                      <a:pt x="208360" y="55245"/>
                    </a:lnTo>
                    <a:lnTo>
                      <a:pt x="232172" y="30480"/>
                    </a:lnTo>
                    <a:lnTo>
                      <a:pt x="232172" y="30480"/>
                    </a:lnTo>
                    <a:close/>
                    <a:moveTo>
                      <a:pt x="176927" y="55245"/>
                    </a:moveTo>
                    <a:lnTo>
                      <a:pt x="161663" y="69027"/>
                    </a:lnTo>
                    <a:cubicBezTo>
                      <a:pt x="175633" y="55057"/>
                      <a:pt x="162957" y="69215"/>
                      <a:pt x="176927" y="5524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1" name="Freeform: Shape 210">
                <a:extLst>
                  <a:ext uri="{FF2B5EF4-FFF2-40B4-BE49-F238E27FC236}">
                    <a16:creationId xmlns:a16="http://schemas.microsoft.com/office/drawing/2014/main" id="{728E1756-0F9A-40D0-990E-41AF0795F562}"/>
                  </a:ext>
                </a:extLst>
              </p:cNvPr>
              <p:cNvSpPr/>
              <p:nvPr/>
            </p:nvSpPr>
            <p:spPr>
              <a:xfrm>
                <a:off x="605350" y="5880668"/>
                <a:ext cx="398350" cy="3983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egoe UI Semilight"/>
                  <a:ea typeface="+mn-ea"/>
                  <a:cs typeface="+mn-cs"/>
                </a:endParaRPr>
              </a:p>
            </p:txBody>
          </p:sp>
        </p:grpSp>
      </p:grpSp>
      <p:grpSp>
        <p:nvGrpSpPr>
          <p:cNvPr id="2" name="Group 1">
            <a:extLst>
              <a:ext uri="{FF2B5EF4-FFF2-40B4-BE49-F238E27FC236}">
                <a16:creationId xmlns:a16="http://schemas.microsoft.com/office/drawing/2014/main" id="{5CFC01F8-A943-45A6-B008-45D5384A8276}"/>
              </a:ext>
            </a:extLst>
          </p:cNvPr>
          <p:cNvGrpSpPr/>
          <p:nvPr/>
        </p:nvGrpSpPr>
        <p:grpSpPr>
          <a:xfrm>
            <a:off x="517572" y="1895346"/>
            <a:ext cx="3925145" cy="3488480"/>
            <a:chOff x="517572" y="1895346"/>
            <a:chExt cx="3925145" cy="3488480"/>
          </a:xfrm>
        </p:grpSpPr>
        <p:grpSp>
          <p:nvGrpSpPr>
            <p:cNvPr id="56" name="Group 55">
              <a:extLst>
                <a:ext uri="{FF2B5EF4-FFF2-40B4-BE49-F238E27FC236}">
                  <a16:creationId xmlns:a16="http://schemas.microsoft.com/office/drawing/2014/main" id="{93BBEA34-52D0-4E04-A7F9-7BE56A2EB37A}"/>
                </a:ext>
              </a:extLst>
            </p:cNvPr>
            <p:cNvGrpSpPr/>
            <p:nvPr/>
          </p:nvGrpSpPr>
          <p:grpSpPr>
            <a:xfrm>
              <a:off x="1518020" y="1895346"/>
              <a:ext cx="2467853" cy="1541865"/>
              <a:chOff x="344161" y="3080748"/>
              <a:chExt cx="2694112" cy="1683224"/>
            </a:xfrm>
          </p:grpSpPr>
          <p:grpSp>
            <p:nvGrpSpPr>
              <p:cNvPr id="4" name="Group 3">
                <a:extLst>
                  <a:ext uri="{FF2B5EF4-FFF2-40B4-BE49-F238E27FC236}">
                    <a16:creationId xmlns:a16="http://schemas.microsoft.com/office/drawing/2014/main" id="{D4EDDBFC-693B-464E-B6CE-0521CFCA677A}"/>
                  </a:ext>
                </a:extLst>
              </p:cNvPr>
              <p:cNvGrpSpPr/>
              <p:nvPr/>
            </p:nvGrpSpPr>
            <p:grpSpPr>
              <a:xfrm>
                <a:off x="344161" y="3080748"/>
                <a:ext cx="2694112" cy="1683224"/>
                <a:chOff x="382748" y="1495819"/>
                <a:chExt cx="3221934" cy="2021848"/>
              </a:xfrm>
            </p:grpSpPr>
            <p:grpSp>
              <p:nvGrpSpPr>
                <p:cNvPr id="168" name="Group 167">
                  <a:extLst>
                    <a:ext uri="{FF2B5EF4-FFF2-40B4-BE49-F238E27FC236}">
                      <a16:creationId xmlns:a16="http://schemas.microsoft.com/office/drawing/2014/main" id="{8523FD79-4877-459E-9313-AD9E2CC71B7C}"/>
                    </a:ext>
                  </a:extLst>
                </p:cNvPr>
                <p:cNvGrpSpPr/>
                <p:nvPr/>
              </p:nvGrpSpPr>
              <p:grpSpPr>
                <a:xfrm>
                  <a:off x="382748" y="1495819"/>
                  <a:ext cx="3221934" cy="1731972"/>
                  <a:chOff x="539428" y="2803750"/>
                  <a:chExt cx="3250202" cy="1747170"/>
                </a:xfrm>
              </p:grpSpPr>
              <p:sp>
                <p:nvSpPr>
                  <p:cNvPr id="179" name="Rectangle: Top Corners Rounded 178">
                    <a:extLst>
                      <a:ext uri="{FF2B5EF4-FFF2-40B4-BE49-F238E27FC236}">
                        <a16:creationId xmlns:a16="http://schemas.microsoft.com/office/drawing/2014/main" id="{6F8949AE-A6B3-437A-BAEA-314D21E0B987}"/>
                      </a:ext>
                    </a:extLst>
                  </p:cNvPr>
                  <p:cNvSpPr/>
                  <p:nvPr/>
                </p:nvSpPr>
                <p:spPr bwMode="auto">
                  <a:xfrm>
                    <a:off x="539428" y="2803750"/>
                    <a:ext cx="3250199" cy="532135"/>
                  </a:xfrm>
                  <a:prstGeom prst="round2SameRect">
                    <a:avLst>
                      <a:gd name="adj1" fmla="val 20931"/>
                      <a:gd name="adj2" fmla="val 0"/>
                    </a:avLst>
                  </a:prstGeom>
                  <a:solidFill>
                    <a:schemeClr val="bg1"/>
                  </a:solidFill>
                  <a:ln>
                    <a:noFill/>
                  </a:ln>
                </p:spPr>
                <p:txBody>
                  <a:bodyPr wrap="square" rtlCol="0" anchor="ctr">
                    <a:no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80" name="Rectangle: Rounded Corners 179">
                    <a:extLst>
                      <a:ext uri="{FF2B5EF4-FFF2-40B4-BE49-F238E27FC236}">
                        <a16:creationId xmlns:a16="http://schemas.microsoft.com/office/drawing/2014/main" id="{E3240E69-7B59-49D1-B16C-BEFBAA4CE357}"/>
                      </a:ext>
                    </a:extLst>
                  </p:cNvPr>
                  <p:cNvSpPr/>
                  <p:nvPr/>
                </p:nvSpPr>
                <p:spPr bwMode="auto">
                  <a:xfrm>
                    <a:off x="539428" y="2814123"/>
                    <a:ext cx="3250202" cy="1736797"/>
                  </a:xfrm>
                  <a:custGeom>
                    <a:avLst/>
                    <a:gdLst>
                      <a:gd name="connsiteX0" fmla="*/ 0 w 2467853"/>
                      <a:gd name="connsiteY0" fmla="*/ 51416 h 1312963"/>
                      <a:gd name="connsiteX1" fmla="*/ 51416 w 2467853"/>
                      <a:gd name="connsiteY1" fmla="*/ 0 h 1312963"/>
                      <a:gd name="connsiteX2" fmla="*/ 2416437 w 2467853"/>
                      <a:gd name="connsiteY2" fmla="*/ 0 h 1312963"/>
                      <a:gd name="connsiteX3" fmla="*/ 2467853 w 2467853"/>
                      <a:gd name="connsiteY3" fmla="*/ 51416 h 1312963"/>
                      <a:gd name="connsiteX4" fmla="*/ 2467853 w 2467853"/>
                      <a:gd name="connsiteY4" fmla="*/ 1261547 h 1312963"/>
                      <a:gd name="connsiteX5" fmla="*/ 2416437 w 2467853"/>
                      <a:gd name="connsiteY5" fmla="*/ 1312963 h 1312963"/>
                      <a:gd name="connsiteX6" fmla="*/ 51416 w 2467853"/>
                      <a:gd name="connsiteY6" fmla="*/ 1312963 h 1312963"/>
                      <a:gd name="connsiteX7" fmla="*/ 0 w 2467853"/>
                      <a:gd name="connsiteY7" fmla="*/ 1261547 h 1312963"/>
                      <a:gd name="connsiteX8" fmla="*/ 0 w 2467853"/>
                      <a:gd name="connsiteY8" fmla="*/ 51416 h 1312963"/>
                      <a:gd name="connsiteX0" fmla="*/ 0 w 2467853"/>
                      <a:gd name="connsiteY0" fmla="*/ 51416 h 1312963"/>
                      <a:gd name="connsiteX1" fmla="*/ 51416 w 2467853"/>
                      <a:gd name="connsiteY1" fmla="*/ 0 h 1312963"/>
                      <a:gd name="connsiteX2" fmla="*/ 2416437 w 2467853"/>
                      <a:gd name="connsiteY2" fmla="*/ 0 h 1312963"/>
                      <a:gd name="connsiteX3" fmla="*/ 2467853 w 2467853"/>
                      <a:gd name="connsiteY3" fmla="*/ 51416 h 1312963"/>
                      <a:gd name="connsiteX4" fmla="*/ 2467853 w 2467853"/>
                      <a:gd name="connsiteY4" fmla="*/ 1261547 h 1312963"/>
                      <a:gd name="connsiteX5" fmla="*/ 2416437 w 2467853"/>
                      <a:gd name="connsiteY5" fmla="*/ 1312963 h 1312963"/>
                      <a:gd name="connsiteX6" fmla="*/ 260966 w 2467853"/>
                      <a:gd name="connsiteY6" fmla="*/ 1312963 h 1312963"/>
                      <a:gd name="connsiteX7" fmla="*/ 0 w 2467853"/>
                      <a:gd name="connsiteY7" fmla="*/ 1261547 h 1312963"/>
                      <a:gd name="connsiteX8" fmla="*/ 0 w 2467853"/>
                      <a:gd name="connsiteY8" fmla="*/ 51416 h 1312963"/>
                      <a:gd name="connsiteX0" fmla="*/ 0 w 2467853"/>
                      <a:gd name="connsiteY0" fmla="*/ 51416 h 1312963"/>
                      <a:gd name="connsiteX1" fmla="*/ 51416 w 2467853"/>
                      <a:gd name="connsiteY1" fmla="*/ 0 h 1312963"/>
                      <a:gd name="connsiteX2" fmla="*/ 2416437 w 2467853"/>
                      <a:gd name="connsiteY2" fmla="*/ 0 h 1312963"/>
                      <a:gd name="connsiteX3" fmla="*/ 2467853 w 2467853"/>
                      <a:gd name="connsiteY3" fmla="*/ 51416 h 1312963"/>
                      <a:gd name="connsiteX4" fmla="*/ 2467853 w 2467853"/>
                      <a:gd name="connsiteY4" fmla="*/ 1261547 h 1312963"/>
                      <a:gd name="connsiteX5" fmla="*/ 2416437 w 2467853"/>
                      <a:gd name="connsiteY5" fmla="*/ 1312963 h 1312963"/>
                      <a:gd name="connsiteX6" fmla="*/ 260966 w 2467853"/>
                      <a:gd name="connsiteY6" fmla="*/ 1312963 h 1312963"/>
                      <a:gd name="connsiteX7" fmla="*/ 9525 w 2467853"/>
                      <a:gd name="connsiteY7" fmla="*/ 1071047 h 1312963"/>
                      <a:gd name="connsiteX8" fmla="*/ 0 w 2467853"/>
                      <a:gd name="connsiteY8" fmla="*/ 51416 h 1312963"/>
                      <a:gd name="connsiteX0" fmla="*/ 0 w 2467853"/>
                      <a:gd name="connsiteY0" fmla="*/ 51416 h 1312963"/>
                      <a:gd name="connsiteX1" fmla="*/ 51416 w 2467853"/>
                      <a:gd name="connsiteY1" fmla="*/ 0 h 1312963"/>
                      <a:gd name="connsiteX2" fmla="*/ 2416437 w 2467853"/>
                      <a:gd name="connsiteY2" fmla="*/ 0 h 1312963"/>
                      <a:gd name="connsiteX3" fmla="*/ 2467853 w 2467853"/>
                      <a:gd name="connsiteY3" fmla="*/ 51416 h 1312963"/>
                      <a:gd name="connsiteX4" fmla="*/ 2467853 w 2467853"/>
                      <a:gd name="connsiteY4" fmla="*/ 1261547 h 1312963"/>
                      <a:gd name="connsiteX5" fmla="*/ 2416437 w 2467853"/>
                      <a:gd name="connsiteY5" fmla="*/ 1312963 h 1312963"/>
                      <a:gd name="connsiteX6" fmla="*/ 260966 w 2467853"/>
                      <a:gd name="connsiteY6" fmla="*/ 1312963 h 1312963"/>
                      <a:gd name="connsiteX7" fmla="*/ 9525 w 2467853"/>
                      <a:gd name="connsiteY7" fmla="*/ 1071047 h 1312963"/>
                      <a:gd name="connsiteX8" fmla="*/ 0 w 2467853"/>
                      <a:gd name="connsiteY8" fmla="*/ 51416 h 1312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7853" h="1312963">
                        <a:moveTo>
                          <a:pt x="0" y="51416"/>
                        </a:moveTo>
                        <a:cubicBezTo>
                          <a:pt x="0" y="23020"/>
                          <a:pt x="23020" y="0"/>
                          <a:pt x="51416" y="0"/>
                        </a:cubicBezTo>
                        <a:lnTo>
                          <a:pt x="2416437" y="0"/>
                        </a:lnTo>
                        <a:cubicBezTo>
                          <a:pt x="2444833" y="0"/>
                          <a:pt x="2467853" y="23020"/>
                          <a:pt x="2467853" y="51416"/>
                        </a:cubicBezTo>
                        <a:lnTo>
                          <a:pt x="2467853" y="1261547"/>
                        </a:lnTo>
                        <a:cubicBezTo>
                          <a:pt x="2467853" y="1289943"/>
                          <a:pt x="2444833" y="1312963"/>
                          <a:pt x="2416437" y="1312963"/>
                        </a:cubicBezTo>
                        <a:lnTo>
                          <a:pt x="260966" y="1312963"/>
                        </a:lnTo>
                        <a:cubicBezTo>
                          <a:pt x="232570" y="1312963"/>
                          <a:pt x="225425" y="1175643"/>
                          <a:pt x="9525" y="1071047"/>
                        </a:cubicBezTo>
                        <a:lnTo>
                          <a:pt x="0" y="51416"/>
                        </a:lnTo>
                        <a:close/>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81" name="Rectangle 180">
                    <a:extLst>
                      <a:ext uri="{FF2B5EF4-FFF2-40B4-BE49-F238E27FC236}">
                        <a16:creationId xmlns:a16="http://schemas.microsoft.com/office/drawing/2014/main" id="{82CF8F00-725B-4EE9-B6D3-78B44F70C264}"/>
                      </a:ext>
                    </a:extLst>
                  </p:cNvPr>
                  <p:cNvSpPr/>
                  <p:nvPr/>
                </p:nvSpPr>
                <p:spPr>
                  <a:xfrm>
                    <a:off x="2021365" y="3869155"/>
                    <a:ext cx="577537" cy="31487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599" tIns="45599" rIns="45599" bIns="45599" numCol="1" spcCol="1270" anchor="ctr" anchorCtr="0">
                    <a:noAutofit/>
                  </a:bodyPr>
                  <a:lstStyle/>
                  <a:p>
                    <a:pPr marL="0" marR="0" lvl="0" indent="0" algn="l" defTabSz="40005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Semilight"/>
                        <a:ea typeface="+mn-ea"/>
                        <a:cs typeface="+mn-cs"/>
                      </a:rPr>
                      <a:t>$12.99</a:t>
                    </a:r>
                  </a:p>
                </p:txBody>
              </p:sp>
              <p:sp>
                <p:nvSpPr>
                  <p:cNvPr id="183" name="Rectangle 182">
                    <a:extLst>
                      <a:ext uri="{FF2B5EF4-FFF2-40B4-BE49-F238E27FC236}">
                        <a16:creationId xmlns:a16="http://schemas.microsoft.com/office/drawing/2014/main" id="{72EC975A-8D0A-43FC-99AA-13AEA49E0A90}"/>
                      </a:ext>
                    </a:extLst>
                  </p:cNvPr>
                  <p:cNvSpPr/>
                  <p:nvPr/>
                </p:nvSpPr>
                <p:spPr>
                  <a:xfrm>
                    <a:off x="2021365" y="3495867"/>
                    <a:ext cx="688894" cy="14832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599" tIns="45599" rIns="45599" bIns="45599" numCol="1" spcCol="1270" anchor="ctr" anchorCtr="0">
                    <a:noAutofit/>
                  </a:bodyPr>
                  <a:lstStyle/>
                  <a:p>
                    <a:pPr marL="0" marR="0" lvl="0" indent="0" algn="l" defTabSz="40005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Semilight"/>
                        <a:ea typeface="+mn-ea"/>
                        <a:cs typeface="+mn-cs"/>
                      </a:rPr>
                      <a:t>$59.99</a:t>
                    </a:r>
                  </a:p>
                </p:txBody>
              </p:sp>
              <p:sp>
                <p:nvSpPr>
                  <p:cNvPr id="185" name="Rectangle 184">
                    <a:extLst>
                      <a:ext uri="{FF2B5EF4-FFF2-40B4-BE49-F238E27FC236}">
                        <a16:creationId xmlns:a16="http://schemas.microsoft.com/office/drawing/2014/main" id="{2BF1B6F9-8D7B-410E-8DD8-CF4968159642}"/>
                      </a:ext>
                    </a:extLst>
                  </p:cNvPr>
                  <p:cNvSpPr/>
                  <p:nvPr/>
                </p:nvSpPr>
                <p:spPr>
                  <a:xfrm>
                    <a:off x="2020660" y="4253433"/>
                    <a:ext cx="861120" cy="14832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599" tIns="45599" rIns="45599" bIns="45599" numCol="1" spcCol="1270" anchor="ctr" anchorCtr="0">
                    <a:noAutofit/>
                  </a:bodyPr>
                  <a:lstStyle/>
                  <a:p>
                    <a:pPr marL="0" marR="0" lvl="0" indent="0" algn="l" defTabSz="40005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Semilight"/>
                        <a:ea typeface="+mn-ea"/>
                        <a:cs typeface="+mn-cs"/>
                      </a:rPr>
                      <a:t>$3.99</a:t>
                    </a:r>
                  </a:p>
                </p:txBody>
              </p:sp>
              <p:sp>
                <p:nvSpPr>
                  <p:cNvPr id="186" name="Rectangle: Rounded Corners 185">
                    <a:extLst>
                      <a:ext uri="{FF2B5EF4-FFF2-40B4-BE49-F238E27FC236}">
                        <a16:creationId xmlns:a16="http://schemas.microsoft.com/office/drawing/2014/main" id="{6F9D57E0-B793-4BC0-AAA1-D0B8BB2C64BA}"/>
                      </a:ext>
                    </a:extLst>
                  </p:cNvPr>
                  <p:cNvSpPr/>
                  <p:nvPr/>
                </p:nvSpPr>
                <p:spPr>
                  <a:xfrm>
                    <a:off x="2695231" y="3460744"/>
                    <a:ext cx="937355" cy="313528"/>
                  </a:xfrm>
                  <a:prstGeom prst="roundRect">
                    <a:avLst/>
                  </a:prstGeom>
                  <a:solidFill>
                    <a:srgbClr val="50E7FF"/>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599" tIns="45599" rIns="45599" bIns="45599"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UI Semilight"/>
                        <a:ea typeface="+mn-ea"/>
                        <a:cs typeface="+mn-cs"/>
                      </a:rPr>
                      <a:t>Media Purchase</a:t>
                    </a:r>
                  </a:p>
                </p:txBody>
              </p:sp>
              <p:sp>
                <p:nvSpPr>
                  <p:cNvPr id="189" name="Rectangle 188">
                    <a:extLst>
                      <a:ext uri="{FF2B5EF4-FFF2-40B4-BE49-F238E27FC236}">
                        <a16:creationId xmlns:a16="http://schemas.microsoft.com/office/drawing/2014/main" id="{A6958565-8B1D-4F7F-9A25-DCC280BAE544}"/>
                      </a:ext>
                    </a:extLst>
                  </p:cNvPr>
                  <p:cNvSpPr/>
                  <p:nvPr/>
                </p:nvSpPr>
                <p:spPr>
                  <a:xfrm>
                    <a:off x="1202607" y="3944372"/>
                    <a:ext cx="674521" cy="14832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599" tIns="45599" rIns="45599" bIns="45599" numCol="1" spcCol="1270" anchor="ctr" anchorCtr="0">
                    <a:noAutofit/>
                  </a:bodyPr>
                  <a:lstStyle/>
                  <a:p>
                    <a:pPr marL="0" marR="0" lvl="0" indent="0" algn="l" defTabSz="40005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Semilight"/>
                        <a:ea typeface="+mn-ea"/>
                        <a:cs typeface="+mn-cs"/>
                      </a:rPr>
                      <a:t>Movie</a:t>
                    </a:r>
                  </a:p>
                </p:txBody>
              </p:sp>
              <p:sp>
                <p:nvSpPr>
                  <p:cNvPr id="190" name="Rectangle 189">
                    <a:extLst>
                      <a:ext uri="{FF2B5EF4-FFF2-40B4-BE49-F238E27FC236}">
                        <a16:creationId xmlns:a16="http://schemas.microsoft.com/office/drawing/2014/main" id="{8C547C27-F656-48A7-9755-4E4AC2FB23C4}"/>
                      </a:ext>
                    </a:extLst>
                  </p:cNvPr>
                  <p:cNvSpPr/>
                  <p:nvPr/>
                </p:nvSpPr>
                <p:spPr>
                  <a:xfrm>
                    <a:off x="1172684" y="3495867"/>
                    <a:ext cx="891026" cy="148323"/>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599" tIns="45599" rIns="45599" bIns="45599" numCol="1" spcCol="1270" anchor="ctr" anchorCtr="0">
                    <a:noAutofit/>
                  </a:bodyPr>
                  <a:lstStyle/>
                  <a:p>
                    <a:pPr marL="0" marR="0" lvl="0" indent="0" algn="l" defTabSz="40005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Semilight"/>
                        <a:ea typeface="+mn-ea"/>
                        <a:cs typeface="+mn-cs"/>
                      </a:rPr>
                      <a:t>Video game</a:t>
                    </a:r>
                  </a:p>
                </p:txBody>
              </p:sp>
              <p:sp>
                <p:nvSpPr>
                  <p:cNvPr id="191" name="Rectangle 190">
                    <a:extLst>
                      <a:ext uri="{FF2B5EF4-FFF2-40B4-BE49-F238E27FC236}">
                        <a16:creationId xmlns:a16="http://schemas.microsoft.com/office/drawing/2014/main" id="{0D53E414-9414-4DAF-985B-7780612B56F1}"/>
                      </a:ext>
                    </a:extLst>
                  </p:cNvPr>
                  <p:cNvSpPr/>
                  <p:nvPr/>
                </p:nvSpPr>
                <p:spPr>
                  <a:xfrm>
                    <a:off x="1204178" y="4255068"/>
                    <a:ext cx="861120" cy="14832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599" tIns="45599" rIns="45599" bIns="45599" numCol="1" spcCol="1270" anchor="ctr" anchorCtr="0">
                    <a:noAutofit/>
                  </a:bodyPr>
                  <a:lstStyle/>
                  <a:p>
                    <a:pPr marL="0" marR="0" lvl="0" indent="0" algn="l" defTabSz="40005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Semilight"/>
                        <a:ea typeface="+mn-ea"/>
                        <a:cs typeface="+mn-cs"/>
                      </a:rPr>
                      <a:t>Song</a:t>
                    </a:r>
                  </a:p>
                </p:txBody>
              </p:sp>
              <p:sp>
                <p:nvSpPr>
                  <p:cNvPr id="192" name="Rectangle 191">
                    <a:extLst>
                      <a:ext uri="{FF2B5EF4-FFF2-40B4-BE49-F238E27FC236}">
                        <a16:creationId xmlns:a16="http://schemas.microsoft.com/office/drawing/2014/main" id="{00431CD0-D8E1-43C4-A986-5B42C98BB12A}"/>
                      </a:ext>
                    </a:extLst>
                  </p:cNvPr>
                  <p:cNvSpPr/>
                  <p:nvPr/>
                </p:nvSpPr>
                <p:spPr>
                  <a:xfrm>
                    <a:off x="2881780" y="3869155"/>
                    <a:ext cx="741019" cy="272006"/>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599" tIns="45599" rIns="45599" bIns="45599" numCol="1" spcCol="1270" anchor="ctr" anchorCtr="0">
                    <a:noAutofit/>
                  </a:bodyPr>
                  <a:lstStyle/>
                  <a:p>
                    <a:pPr marL="0" marR="0" lvl="0" indent="0" algn="l" defTabSz="40005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Semilight"/>
                        <a:ea typeface="+mn-ea"/>
                        <a:cs typeface="+mn-cs"/>
                      </a:rPr>
                      <a:t>Quantity</a:t>
                    </a:r>
                  </a:p>
                </p:txBody>
              </p:sp>
              <p:sp>
                <p:nvSpPr>
                  <p:cNvPr id="193" name="Rectangle 192">
                    <a:extLst>
                      <a:ext uri="{FF2B5EF4-FFF2-40B4-BE49-F238E27FC236}">
                        <a16:creationId xmlns:a16="http://schemas.microsoft.com/office/drawing/2014/main" id="{38066813-B7F2-4714-AF9F-7A423E01349B}"/>
                      </a:ext>
                    </a:extLst>
                  </p:cNvPr>
                  <p:cNvSpPr/>
                  <p:nvPr/>
                </p:nvSpPr>
                <p:spPr>
                  <a:xfrm>
                    <a:off x="2881780" y="4203905"/>
                    <a:ext cx="727699" cy="27517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599" tIns="45599" rIns="45599" bIns="45599" numCol="1" spcCol="1270" anchor="ctr" anchorCtr="0">
                    <a:noAutofit/>
                  </a:bodyPr>
                  <a:lstStyle/>
                  <a:p>
                    <a:pPr marL="0" marR="0" lvl="0" indent="0" algn="l" defTabSz="40005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Semilight"/>
                        <a:ea typeface="+mn-ea"/>
                        <a:cs typeface="+mn-cs"/>
                      </a:rPr>
                      <a:t>Quantity</a:t>
                    </a:r>
                  </a:p>
                </p:txBody>
              </p:sp>
            </p:grpSp>
            <p:cxnSp>
              <p:nvCxnSpPr>
                <p:cNvPr id="177" name="Straight Connector 176">
                  <a:extLst>
                    <a:ext uri="{FF2B5EF4-FFF2-40B4-BE49-F238E27FC236}">
                      <a16:creationId xmlns:a16="http://schemas.microsoft.com/office/drawing/2014/main" id="{A7A911B4-73DC-49C1-8509-16E07E2F4859}"/>
                    </a:ext>
                  </a:extLst>
                </p:cNvPr>
                <p:cNvCxnSpPr>
                  <a:cxnSpLocks/>
                </p:cNvCxnSpPr>
                <p:nvPr/>
              </p:nvCxnSpPr>
              <p:spPr>
                <a:xfrm>
                  <a:off x="2002547" y="3238123"/>
                  <a:ext cx="0" cy="279544"/>
                </a:xfrm>
                <a:prstGeom prst="line">
                  <a:avLst/>
                </a:pr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71" name="Group 170">
                  <a:extLst>
                    <a:ext uri="{FF2B5EF4-FFF2-40B4-BE49-F238E27FC236}">
                      <a16:creationId xmlns:a16="http://schemas.microsoft.com/office/drawing/2014/main" id="{9B247E26-0F3C-42C5-A3D6-6C7E462781D1}"/>
                    </a:ext>
                  </a:extLst>
                </p:cNvPr>
                <p:cNvGrpSpPr/>
                <p:nvPr/>
              </p:nvGrpSpPr>
              <p:grpSpPr>
                <a:xfrm>
                  <a:off x="3020155" y="2408147"/>
                  <a:ext cx="183384" cy="183384"/>
                  <a:chOff x="3014283" y="3853604"/>
                  <a:chExt cx="184993" cy="184993"/>
                </a:xfrm>
              </p:grpSpPr>
              <p:sp>
                <p:nvSpPr>
                  <p:cNvPr id="175" name="Freeform: Shape 174">
                    <a:extLst>
                      <a:ext uri="{FF2B5EF4-FFF2-40B4-BE49-F238E27FC236}">
                        <a16:creationId xmlns:a16="http://schemas.microsoft.com/office/drawing/2014/main" id="{FA0E8B5A-B77F-44D2-AA07-FE8718F684C1}"/>
                      </a:ext>
                    </a:extLst>
                  </p:cNvPr>
                  <p:cNvSpPr/>
                  <p:nvPr/>
                </p:nvSpPr>
                <p:spPr>
                  <a:xfrm>
                    <a:off x="3016159" y="3857355"/>
                    <a:ext cx="181240" cy="181242"/>
                  </a:xfrm>
                  <a:custGeom>
                    <a:avLst/>
                    <a:gdLst>
                      <a:gd name="connsiteX0" fmla="*/ 454486 w 457256"/>
                      <a:gd name="connsiteY0" fmla="*/ 399247 h 457261"/>
                      <a:gd name="connsiteX1" fmla="*/ 315135 w 457256"/>
                      <a:gd name="connsiteY1" fmla="*/ 259991 h 457261"/>
                      <a:gd name="connsiteX2" fmla="*/ 412767 w 457256"/>
                      <a:gd name="connsiteY2" fmla="*/ 161979 h 457261"/>
                      <a:gd name="connsiteX3" fmla="*/ 412455 w 457256"/>
                      <a:gd name="connsiteY3" fmla="*/ 148513 h 457261"/>
                      <a:gd name="connsiteX4" fmla="*/ 409623 w 457256"/>
                      <a:gd name="connsiteY4" fmla="*/ 146644 h 457261"/>
                      <a:gd name="connsiteX5" fmla="*/ 12907 w 457256"/>
                      <a:gd name="connsiteY5" fmla="*/ 626 h 457261"/>
                      <a:gd name="connsiteX6" fmla="*/ 620 w 457256"/>
                      <a:gd name="connsiteY6" fmla="*/ 6146 h 457261"/>
                      <a:gd name="connsiteX7" fmla="*/ 620 w 457256"/>
                      <a:gd name="connsiteY7" fmla="*/ 12913 h 457261"/>
                      <a:gd name="connsiteX8" fmla="*/ 146638 w 457256"/>
                      <a:gd name="connsiteY8" fmla="*/ 409629 h 457261"/>
                      <a:gd name="connsiteX9" fmla="*/ 158855 w 457256"/>
                      <a:gd name="connsiteY9" fmla="*/ 415304 h 457261"/>
                      <a:gd name="connsiteX10" fmla="*/ 162354 w 457256"/>
                      <a:gd name="connsiteY10" fmla="*/ 413058 h 457261"/>
                      <a:gd name="connsiteX11" fmla="*/ 259986 w 457256"/>
                      <a:gd name="connsiteY11" fmla="*/ 315141 h 457261"/>
                      <a:gd name="connsiteX12" fmla="*/ 399241 w 457256"/>
                      <a:gd name="connsiteY12" fmla="*/ 454492 h 457261"/>
                      <a:gd name="connsiteX13" fmla="*/ 412671 w 457256"/>
                      <a:gd name="connsiteY13" fmla="*/ 454492 h 457261"/>
                      <a:gd name="connsiteX14" fmla="*/ 454391 w 457256"/>
                      <a:gd name="connsiteY14" fmla="*/ 412772 h 457261"/>
                      <a:gd name="connsiteX15" fmla="*/ 454541 w 457256"/>
                      <a:gd name="connsiteY15" fmla="*/ 399303 h 457261"/>
                      <a:gd name="connsiteX16" fmla="*/ 454486 w 457256"/>
                      <a:gd name="connsiteY16" fmla="*/ 399247 h 457261"/>
                      <a:gd name="connsiteX17" fmla="*/ 406004 w 457256"/>
                      <a:gd name="connsiteY17" fmla="*/ 434204 h 457261"/>
                      <a:gd name="connsiteX18" fmla="*/ 266748 w 457256"/>
                      <a:gd name="connsiteY18" fmla="*/ 295329 h 457261"/>
                      <a:gd name="connsiteX19" fmla="*/ 253318 w 457256"/>
                      <a:gd name="connsiteY19" fmla="*/ 295329 h 457261"/>
                      <a:gd name="connsiteX20" fmla="*/ 159497 w 457256"/>
                      <a:gd name="connsiteY20" fmla="*/ 389150 h 457261"/>
                      <a:gd name="connsiteX21" fmla="*/ 25671 w 457256"/>
                      <a:gd name="connsiteY21" fmla="*/ 25676 h 457261"/>
                      <a:gd name="connsiteX22" fmla="*/ 295323 w 457256"/>
                      <a:gd name="connsiteY22" fmla="*/ 253229 h 457261"/>
                      <a:gd name="connsiteX23" fmla="*/ 295268 w 457256"/>
                      <a:gd name="connsiteY23" fmla="*/ 266699 h 457261"/>
                      <a:gd name="connsiteX24" fmla="*/ 295323 w 457256"/>
                      <a:gd name="connsiteY24" fmla="*/ 266754 h 457261"/>
                      <a:gd name="connsiteX25" fmla="*/ 434293 w 457256"/>
                      <a:gd name="connsiteY25" fmla="*/ 406010 h 457261"/>
                      <a:gd name="connsiteX26" fmla="*/ 406004 w 457256"/>
                      <a:gd name="connsiteY26" fmla="*/ 434204 h 457261"/>
                      <a:gd name="connsiteX0" fmla="*/ 454486 w 457256"/>
                      <a:gd name="connsiteY0" fmla="*/ 399247 h 457261"/>
                      <a:gd name="connsiteX1" fmla="*/ 315135 w 457256"/>
                      <a:gd name="connsiteY1" fmla="*/ 259991 h 457261"/>
                      <a:gd name="connsiteX2" fmla="*/ 412767 w 457256"/>
                      <a:gd name="connsiteY2" fmla="*/ 161979 h 457261"/>
                      <a:gd name="connsiteX3" fmla="*/ 412455 w 457256"/>
                      <a:gd name="connsiteY3" fmla="*/ 148513 h 457261"/>
                      <a:gd name="connsiteX4" fmla="*/ 409623 w 457256"/>
                      <a:gd name="connsiteY4" fmla="*/ 146644 h 457261"/>
                      <a:gd name="connsiteX5" fmla="*/ 12907 w 457256"/>
                      <a:gd name="connsiteY5" fmla="*/ 626 h 457261"/>
                      <a:gd name="connsiteX6" fmla="*/ 620 w 457256"/>
                      <a:gd name="connsiteY6" fmla="*/ 6146 h 457261"/>
                      <a:gd name="connsiteX7" fmla="*/ 620 w 457256"/>
                      <a:gd name="connsiteY7" fmla="*/ 12913 h 457261"/>
                      <a:gd name="connsiteX8" fmla="*/ 146638 w 457256"/>
                      <a:gd name="connsiteY8" fmla="*/ 409629 h 457261"/>
                      <a:gd name="connsiteX9" fmla="*/ 158855 w 457256"/>
                      <a:gd name="connsiteY9" fmla="*/ 415304 h 457261"/>
                      <a:gd name="connsiteX10" fmla="*/ 162354 w 457256"/>
                      <a:gd name="connsiteY10" fmla="*/ 413058 h 457261"/>
                      <a:gd name="connsiteX11" fmla="*/ 259986 w 457256"/>
                      <a:gd name="connsiteY11" fmla="*/ 315141 h 457261"/>
                      <a:gd name="connsiteX12" fmla="*/ 399241 w 457256"/>
                      <a:gd name="connsiteY12" fmla="*/ 454492 h 457261"/>
                      <a:gd name="connsiteX13" fmla="*/ 412671 w 457256"/>
                      <a:gd name="connsiteY13" fmla="*/ 454492 h 457261"/>
                      <a:gd name="connsiteX14" fmla="*/ 454391 w 457256"/>
                      <a:gd name="connsiteY14" fmla="*/ 412772 h 457261"/>
                      <a:gd name="connsiteX15" fmla="*/ 454541 w 457256"/>
                      <a:gd name="connsiteY15" fmla="*/ 399303 h 457261"/>
                      <a:gd name="connsiteX16" fmla="*/ 454486 w 457256"/>
                      <a:gd name="connsiteY16" fmla="*/ 399247 h 457261"/>
                      <a:gd name="connsiteX17" fmla="*/ 406004 w 457256"/>
                      <a:gd name="connsiteY17" fmla="*/ 434204 h 457261"/>
                      <a:gd name="connsiteX18" fmla="*/ 266748 w 457256"/>
                      <a:gd name="connsiteY18" fmla="*/ 295329 h 457261"/>
                      <a:gd name="connsiteX19" fmla="*/ 253318 w 457256"/>
                      <a:gd name="connsiteY19" fmla="*/ 295329 h 457261"/>
                      <a:gd name="connsiteX20" fmla="*/ 159497 w 457256"/>
                      <a:gd name="connsiteY20" fmla="*/ 389150 h 457261"/>
                      <a:gd name="connsiteX21" fmla="*/ 25671 w 457256"/>
                      <a:gd name="connsiteY21" fmla="*/ 25676 h 457261"/>
                      <a:gd name="connsiteX22" fmla="*/ 295268 w 457256"/>
                      <a:gd name="connsiteY22" fmla="*/ 266699 h 457261"/>
                      <a:gd name="connsiteX23" fmla="*/ 295323 w 457256"/>
                      <a:gd name="connsiteY23" fmla="*/ 266754 h 457261"/>
                      <a:gd name="connsiteX24" fmla="*/ 434293 w 457256"/>
                      <a:gd name="connsiteY24" fmla="*/ 406010 h 457261"/>
                      <a:gd name="connsiteX25" fmla="*/ 406004 w 457256"/>
                      <a:gd name="connsiteY25" fmla="*/ 434204 h 457261"/>
                      <a:gd name="connsiteX0" fmla="*/ 454486 w 457256"/>
                      <a:gd name="connsiteY0" fmla="*/ 399247 h 457261"/>
                      <a:gd name="connsiteX1" fmla="*/ 315135 w 457256"/>
                      <a:gd name="connsiteY1" fmla="*/ 259991 h 457261"/>
                      <a:gd name="connsiteX2" fmla="*/ 412767 w 457256"/>
                      <a:gd name="connsiteY2" fmla="*/ 161979 h 457261"/>
                      <a:gd name="connsiteX3" fmla="*/ 412455 w 457256"/>
                      <a:gd name="connsiteY3" fmla="*/ 148513 h 457261"/>
                      <a:gd name="connsiteX4" fmla="*/ 409623 w 457256"/>
                      <a:gd name="connsiteY4" fmla="*/ 146644 h 457261"/>
                      <a:gd name="connsiteX5" fmla="*/ 12907 w 457256"/>
                      <a:gd name="connsiteY5" fmla="*/ 626 h 457261"/>
                      <a:gd name="connsiteX6" fmla="*/ 620 w 457256"/>
                      <a:gd name="connsiteY6" fmla="*/ 6146 h 457261"/>
                      <a:gd name="connsiteX7" fmla="*/ 620 w 457256"/>
                      <a:gd name="connsiteY7" fmla="*/ 12913 h 457261"/>
                      <a:gd name="connsiteX8" fmla="*/ 146638 w 457256"/>
                      <a:gd name="connsiteY8" fmla="*/ 409629 h 457261"/>
                      <a:gd name="connsiteX9" fmla="*/ 158855 w 457256"/>
                      <a:gd name="connsiteY9" fmla="*/ 415304 h 457261"/>
                      <a:gd name="connsiteX10" fmla="*/ 162354 w 457256"/>
                      <a:gd name="connsiteY10" fmla="*/ 413058 h 457261"/>
                      <a:gd name="connsiteX11" fmla="*/ 259986 w 457256"/>
                      <a:gd name="connsiteY11" fmla="*/ 315141 h 457261"/>
                      <a:gd name="connsiteX12" fmla="*/ 399241 w 457256"/>
                      <a:gd name="connsiteY12" fmla="*/ 454492 h 457261"/>
                      <a:gd name="connsiteX13" fmla="*/ 412671 w 457256"/>
                      <a:gd name="connsiteY13" fmla="*/ 454492 h 457261"/>
                      <a:gd name="connsiteX14" fmla="*/ 454391 w 457256"/>
                      <a:gd name="connsiteY14" fmla="*/ 412772 h 457261"/>
                      <a:gd name="connsiteX15" fmla="*/ 454541 w 457256"/>
                      <a:gd name="connsiteY15" fmla="*/ 399303 h 457261"/>
                      <a:gd name="connsiteX16" fmla="*/ 454486 w 457256"/>
                      <a:gd name="connsiteY16" fmla="*/ 399247 h 457261"/>
                      <a:gd name="connsiteX17" fmla="*/ 406004 w 457256"/>
                      <a:gd name="connsiteY17" fmla="*/ 434204 h 457261"/>
                      <a:gd name="connsiteX18" fmla="*/ 266748 w 457256"/>
                      <a:gd name="connsiteY18" fmla="*/ 295329 h 457261"/>
                      <a:gd name="connsiteX19" fmla="*/ 253318 w 457256"/>
                      <a:gd name="connsiteY19" fmla="*/ 295329 h 457261"/>
                      <a:gd name="connsiteX20" fmla="*/ 159497 w 457256"/>
                      <a:gd name="connsiteY20" fmla="*/ 389150 h 457261"/>
                      <a:gd name="connsiteX21" fmla="*/ 25671 w 457256"/>
                      <a:gd name="connsiteY21" fmla="*/ 25676 h 457261"/>
                      <a:gd name="connsiteX22" fmla="*/ 295268 w 457256"/>
                      <a:gd name="connsiteY22" fmla="*/ 266699 h 457261"/>
                      <a:gd name="connsiteX23" fmla="*/ 434293 w 457256"/>
                      <a:gd name="connsiteY23" fmla="*/ 406010 h 457261"/>
                      <a:gd name="connsiteX24" fmla="*/ 406004 w 457256"/>
                      <a:gd name="connsiteY24" fmla="*/ 434204 h 457261"/>
                      <a:gd name="connsiteX0" fmla="*/ 454486 w 457256"/>
                      <a:gd name="connsiteY0" fmla="*/ 399247 h 457261"/>
                      <a:gd name="connsiteX1" fmla="*/ 315135 w 457256"/>
                      <a:gd name="connsiteY1" fmla="*/ 259991 h 457261"/>
                      <a:gd name="connsiteX2" fmla="*/ 412767 w 457256"/>
                      <a:gd name="connsiteY2" fmla="*/ 161979 h 457261"/>
                      <a:gd name="connsiteX3" fmla="*/ 412455 w 457256"/>
                      <a:gd name="connsiteY3" fmla="*/ 148513 h 457261"/>
                      <a:gd name="connsiteX4" fmla="*/ 409623 w 457256"/>
                      <a:gd name="connsiteY4" fmla="*/ 146644 h 457261"/>
                      <a:gd name="connsiteX5" fmla="*/ 12907 w 457256"/>
                      <a:gd name="connsiteY5" fmla="*/ 626 h 457261"/>
                      <a:gd name="connsiteX6" fmla="*/ 620 w 457256"/>
                      <a:gd name="connsiteY6" fmla="*/ 6146 h 457261"/>
                      <a:gd name="connsiteX7" fmla="*/ 620 w 457256"/>
                      <a:gd name="connsiteY7" fmla="*/ 12913 h 457261"/>
                      <a:gd name="connsiteX8" fmla="*/ 146638 w 457256"/>
                      <a:gd name="connsiteY8" fmla="*/ 409629 h 457261"/>
                      <a:gd name="connsiteX9" fmla="*/ 158855 w 457256"/>
                      <a:gd name="connsiteY9" fmla="*/ 415304 h 457261"/>
                      <a:gd name="connsiteX10" fmla="*/ 162354 w 457256"/>
                      <a:gd name="connsiteY10" fmla="*/ 413058 h 457261"/>
                      <a:gd name="connsiteX11" fmla="*/ 259986 w 457256"/>
                      <a:gd name="connsiteY11" fmla="*/ 315141 h 457261"/>
                      <a:gd name="connsiteX12" fmla="*/ 399241 w 457256"/>
                      <a:gd name="connsiteY12" fmla="*/ 454492 h 457261"/>
                      <a:gd name="connsiteX13" fmla="*/ 412671 w 457256"/>
                      <a:gd name="connsiteY13" fmla="*/ 454492 h 457261"/>
                      <a:gd name="connsiteX14" fmla="*/ 454391 w 457256"/>
                      <a:gd name="connsiteY14" fmla="*/ 412772 h 457261"/>
                      <a:gd name="connsiteX15" fmla="*/ 454541 w 457256"/>
                      <a:gd name="connsiteY15" fmla="*/ 399303 h 457261"/>
                      <a:gd name="connsiteX16" fmla="*/ 454486 w 457256"/>
                      <a:gd name="connsiteY16" fmla="*/ 399247 h 457261"/>
                      <a:gd name="connsiteX17" fmla="*/ 406004 w 457256"/>
                      <a:gd name="connsiteY17" fmla="*/ 434204 h 457261"/>
                      <a:gd name="connsiteX18" fmla="*/ 266748 w 457256"/>
                      <a:gd name="connsiteY18" fmla="*/ 295329 h 457261"/>
                      <a:gd name="connsiteX19" fmla="*/ 253318 w 457256"/>
                      <a:gd name="connsiteY19" fmla="*/ 295329 h 457261"/>
                      <a:gd name="connsiteX20" fmla="*/ 159497 w 457256"/>
                      <a:gd name="connsiteY20" fmla="*/ 389150 h 457261"/>
                      <a:gd name="connsiteX21" fmla="*/ 25671 w 457256"/>
                      <a:gd name="connsiteY21" fmla="*/ 25676 h 457261"/>
                      <a:gd name="connsiteX22" fmla="*/ 434293 w 457256"/>
                      <a:gd name="connsiteY22" fmla="*/ 406010 h 457261"/>
                      <a:gd name="connsiteX23" fmla="*/ 406004 w 457256"/>
                      <a:gd name="connsiteY23" fmla="*/ 434204 h 457261"/>
                      <a:gd name="connsiteX0" fmla="*/ 454486 w 457256"/>
                      <a:gd name="connsiteY0" fmla="*/ 399247 h 457261"/>
                      <a:gd name="connsiteX1" fmla="*/ 315135 w 457256"/>
                      <a:gd name="connsiteY1" fmla="*/ 259991 h 457261"/>
                      <a:gd name="connsiteX2" fmla="*/ 412767 w 457256"/>
                      <a:gd name="connsiteY2" fmla="*/ 161979 h 457261"/>
                      <a:gd name="connsiteX3" fmla="*/ 412455 w 457256"/>
                      <a:gd name="connsiteY3" fmla="*/ 148513 h 457261"/>
                      <a:gd name="connsiteX4" fmla="*/ 409623 w 457256"/>
                      <a:gd name="connsiteY4" fmla="*/ 146644 h 457261"/>
                      <a:gd name="connsiteX5" fmla="*/ 12907 w 457256"/>
                      <a:gd name="connsiteY5" fmla="*/ 626 h 457261"/>
                      <a:gd name="connsiteX6" fmla="*/ 620 w 457256"/>
                      <a:gd name="connsiteY6" fmla="*/ 6146 h 457261"/>
                      <a:gd name="connsiteX7" fmla="*/ 620 w 457256"/>
                      <a:gd name="connsiteY7" fmla="*/ 12913 h 457261"/>
                      <a:gd name="connsiteX8" fmla="*/ 146638 w 457256"/>
                      <a:gd name="connsiteY8" fmla="*/ 409629 h 457261"/>
                      <a:gd name="connsiteX9" fmla="*/ 158855 w 457256"/>
                      <a:gd name="connsiteY9" fmla="*/ 415304 h 457261"/>
                      <a:gd name="connsiteX10" fmla="*/ 162354 w 457256"/>
                      <a:gd name="connsiteY10" fmla="*/ 413058 h 457261"/>
                      <a:gd name="connsiteX11" fmla="*/ 259986 w 457256"/>
                      <a:gd name="connsiteY11" fmla="*/ 315141 h 457261"/>
                      <a:gd name="connsiteX12" fmla="*/ 399241 w 457256"/>
                      <a:gd name="connsiteY12" fmla="*/ 454492 h 457261"/>
                      <a:gd name="connsiteX13" fmla="*/ 412671 w 457256"/>
                      <a:gd name="connsiteY13" fmla="*/ 454492 h 457261"/>
                      <a:gd name="connsiteX14" fmla="*/ 454391 w 457256"/>
                      <a:gd name="connsiteY14" fmla="*/ 412772 h 457261"/>
                      <a:gd name="connsiteX15" fmla="*/ 454541 w 457256"/>
                      <a:gd name="connsiteY15" fmla="*/ 399303 h 457261"/>
                      <a:gd name="connsiteX16" fmla="*/ 454486 w 457256"/>
                      <a:gd name="connsiteY16" fmla="*/ 399247 h 457261"/>
                      <a:gd name="connsiteX17" fmla="*/ 434293 w 457256"/>
                      <a:gd name="connsiteY17" fmla="*/ 406010 h 457261"/>
                      <a:gd name="connsiteX18" fmla="*/ 266748 w 457256"/>
                      <a:gd name="connsiteY18" fmla="*/ 295329 h 457261"/>
                      <a:gd name="connsiteX19" fmla="*/ 253318 w 457256"/>
                      <a:gd name="connsiteY19" fmla="*/ 295329 h 457261"/>
                      <a:gd name="connsiteX20" fmla="*/ 159497 w 457256"/>
                      <a:gd name="connsiteY20" fmla="*/ 389150 h 457261"/>
                      <a:gd name="connsiteX21" fmla="*/ 25671 w 457256"/>
                      <a:gd name="connsiteY21" fmla="*/ 25676 h 457261"/>
                      <a:gd name="connsiteX22" fmla="*/ 434293 w 457256"/>
                      <a:gd name="connsiteY22" fmla="*/ 406010 h 457261"/>
                      <a:gd name="connsiteX0" fmla="*/ 454486 w 457256"/>
                      <a:gd name="connsiteY0" fmla="*/ 399247 h 457261"/>
                      <a:gd name="connsiteX1" fmla="*/ 315135 w 457256"/>
                      <a:gd name="connsiteY1" fmla="*/ 259991 h 457261"/>
                      <a:gd name="connsiteX2" fmla="*/ 412767 w 457256"/>
                      <a:gd name="connsiteY2" fmla="*/ 161979 h 457261"/>
                      <a:gd name="connsiteX3" fmla="*/ 412455 w 457256"/>
                      <a:gd name="connsiteY3" fmla="*/ 148513 h 457261"/>
                      <a:gd name="connsiteX4" fmla="*/ 409623 w 457256"/>
                      <a:gd name="connsiteY4" fmla="*/ 146644 h 457261"/>
                      <a:gd name="connsiteX5" fmla="*/ 12907 w 457256"/>
                      <a:gd name="connsiteY5" fmla="*/ 626 h 457261"/>
                      <a:gd name="connsiteX6" fmla="*/ 620 w 457256"/>
                      <a:gd name="connsiteY6" fmla="*/ 6146 h 457261"/>
                      <a:gd name="connsiteX7" fmla="*/ 620 w 457256"/>
                      <a:gd name="connsiteY7" fmla="*/ 12913 h 457261"/>
                      <a:gd name="connsiteX8" fmla="*/ 146638 w 457256"/>
                      <a:gd name="connsiteY8" fmla="*/ 409629 h 457261"/>
                      <a:gd name="connsiteX9" fmla="*/ 158855 w 457256"/>
                      <a:gd name="connsiteY9" fmla="*/ 415304 h 457261"/>
                      <a:gd name="connsiteX10" fmla="*/ 162354 w 457256"/>
                      <a:gd name="connsiteY10" fmla="*/ 413058 h 457261"/>
                      <a:gd name="connsiteX11" fmla="*/ 259986 w 457256"/>
                      <a:gd name="connsiteY11" fmla="*/ 315141 h 457261"/>
                      <a:gd name="connsiteX12" fmla="*/ 399241 w 457256"/>
                      <a:gd name="connsiteY12" fmla="*/ 454492 h 457261"/>
                      <a:gd name="connsiteX13" fmla="*/ 412671 w 457256"/>
                      <a:gd name="connsiteY13" fmla="*/ 454492 h 457261"/>
                      <a:gd name="connsiteX14" fmla="*/ 454391 w 457256"/>
                      <a:gd name="connsiteY14" fmla="*/ 412772 h 457261"/>
                      <a:gd name="connsiteX15" fmla="*/ 454541 w 457256"/>
                      <a:gd name="connsiteY15" fmla="*/ 399303 h 457261"/>
                      <a:gd name="connsiteX16" fmla="*/ 454486 w 457256"/>
                      <a:gd name="connsiteY16" fmla="*/ 399247 h 457261"/>
                      <a:gd name="connsiteX17" fmla="*/ 25671 w 457256"/>
                      <a:gd name="connsiteY17" fmla="*/ 25676 h 457261"/>
                      <a:gd name="connsiteX18" fmla="*/ 266748 w 457256"/>
                      <a:gd name="connsiteY18" fmla="*/ 295329 h 457261"/>
                      <a:gd name="connsiteX19" fmla="*/ 253318 w 457256"/>
                      <a:gd name="connsiteY19" fmla="*/ 295329 h 457261"/>
                      <a:gd name="connsiteX20" fmla="*/ 159497 w 457256"/>
                      <a:gd name="connsiteY20" fmla="*/ 389150 h 457261"/>
                      <a:gd name="connsiteX21" fmla="*/ 25671 w 457256"/>
                      <a:gd name="connsiteY21" fmla="*/ 25676 h 457261"/>
                      <a:gd name="connsiteX0" fmla="*/ 454486 w 457256"/>
                      <a:gd name="connsiteY0" fmla="*/ 399247 h 457261"/>
                      <a:gd name="connsiteX1" fmla="*/ 315135 w 457256"/>
                      <a:gd name="connsiteY1" fmla="*/ 259991 h 457261"/>
                      <a:gd name="connsiteX2" fmla="*/ 412767 w 457256"/>
                      <a:gd name="connsiteY2" fmla="*/ 161979 h 457261"/>
                      <a:gd name="connsiteX3" fmla="*/ 412455 w 457256"/>
                      <a:gd name="connsiteY3" fmla="*/ 148513 h 457261"/>
                      <a:gd name="connsiteX4" fmla="*/ 409623 w 457256"/>
                      <a:gd name="connsiteY4" fmla="*/ 146644 h 457261"/>
                      <a:gd name="connsiteX5" fmla="*/ 12907 w 457256"/>
                      <a:gd name="connsiteY5" fmla="*/ 626 h 457261"/>
                      <a:gd name="connsiteX6" fmla="*/ 620 w 457256"/>
                      <a:gd name="connsiteY6" fmla="*/ 6146 h 457261"/>
                      <a:gd name="connsiteX7" fmla="*/ 620 w 457256"/>
                      <a:gd name="connsiteY7" fmla="*/ 12913 h 457261"/>
                      <a:gd name="connsiteX8" fmla="*/ 146638 w 457256"/>
                      <a:gd name="connsiteY8" fmla="*/ 409629 h 457261"/>
                      <a:gd name="connsiteX9" fmla="*/ 158855 w 457256"/>
                      <a:gd name="connsiteY9" fmla="*/ 415304 h 457261"/>
                      <a:gd name="connsiteX10" fmla="*/ 162354 w 457256"/>
                      <a:gd name="connsiteY10" fmla="*/ 413058 h 457261"/>
                      <a:gd name="connsiteX11" fmla="*/ 259986 w 457256"/>
                      <a:gd name="connsiteY11" fmla="*/ 315141 h 457261"/>
                      <a:gd name="connsiteX12" fmla="*/ 399241 w 457256"/>
                      <a:gd name="connsiteY12" fmla="*/ 454492 h 457261"/>
                      <a:gd name="connsiteX13" fmla="*/ 412671 w 457256"/>
                      <a:gd name="connsiteY13" fmla="*/ 454492 h 457261"/>
                      <a:gd name="connsiteX14" fmla="*/ 454391 w 457256"/>
                      <a:gd name="connsiteY14" fmla="*/ 412772 h 457261"/>
                      <a:gd name="connsiteX15" fmla="*/ 454541 w 457256"/>
                      <a:gd name="connsiteY15" fmla="*/ 399303 h 457261"/>
                      <a:gd name="connsiteX16" fmla="*/ 454486 w 457256"/>
                      <a:gd name="connsiteY16" fmla="*/ 399247 h 457261"/>
                      <a:gd name="connsiteX17" fmla="*/ 25671 w 457256"/>
                      <a:gd name="connsiteY17" fmla="*/ 25676 h 457261"/>
                      <a:gd name="connsiteX18" fmla="*/ 266748 w 457256"/>
                      <a:gd name="connsiteY18" fmla="*/ 295329 h 457261"/>
                      <a:gd name="connsiteX19" fmla="*/ 159497 w 457256"/>
                      <a:gd name="connsiteY19" fmla="*/ 389150 h 457261"/>
                      <a:gd name="connsiteX20" fmla="*/ 25671 w 457256"/>
                      <a:gd name="connsiteY20" fmla="*/ 25676 h 457261"/>
                      <a:gd name="connsiteX0" fmla="*/ 454486 w 457256"/>
                      <a:gd name="connsiteY0" fmla="*/ 399247 h 457261"/>
                      <a:gd name="connsiteX1" fmla="*/ 315135 w 457256"/>
                      <a:gd name="connsiteY1" fmla="*/ 259991 h 457261"/>
                      <a:gd name="connsiteX2" fmla="*/ 412767 w 457256"/>
                      <a:gd name="connsiteY2" fmla="*/ 161979 h 457261"/>
                      <a:gd name="connsiteX3" fmla="*/ 412455 w 457256"/>
                      <a:gd name="connsiteY3" fmla="*/ 148513 h 457261"/>
                      <a:gd name="connsiteX4" fmla="*/ 409623 w 457256"/>
                      <a:gd name="connsiteY4" fmla="*/ 146644 h 457261"/>
                      <a:gd name="connsiteX5" fmla="*/ 12907 w 457256"/>
                      <a:gd name="connsiteY5" fmla="*/ 626 h 457261"/>
                      <a:gd name="connsiteX6" fmla="*/ 620 w 457256"/>
                      <a:gd name="connsiteY6" fmla="*/ 6146 h 457261"/>
                      <a:gd name="connsiteX7" fmla="*/ 620 w 457256"/>
                      <a:gd name="connsiteY7" fmla="*/ 12913 h 457261"/>
                      <a:gd name="connsiteX8" fmla="*/ 146638 w 457256"/>
                      <a:gd name="connsiteY8" fmla="*/ 409629 h 457261"/>
                      <a:gd name="connsiteX9" fmla="*/ 158855 w 457256"/>
                      <a:gd name="connsiteY9" fmla="*/ 415304 h 457261"/>
                      <a:gd name="connsiteX10" fmla="*/ 162354 w 457256"/>
                      <a:gd name="connsiteY10" fmla="*/ 413058 h 457261"/>
                      <a:gd name="connsiteX11" fmla="*/ 259986 w 457256"/>
                      <a:gd name="connsiteY11" fmla="*/ 315141 h 457261"/>
                      <a:gd name="connsiteX12" fmla="*/ 399241 w 457256"/>
                      <a:gd name="connsiteY12" fmla="*/ 454492 h 457261"/>
                      <a:gd name="connsiteX13" fmla="*/ 412671 w 457256"/>
                      <a:gd name="connsiteY13" fmla="*/ 454492 h 457261"/>
                      <a:gd name="connsiteX14" fmla="*/ 454391 w 457256"/>
                      <a:gd name="connsiteY14" fmla="*/ 412772 h 457261"/>
                      <a:gd name="connsiteX15" fmla="*/ 454541 w 457256"/>
                      <a:gd name="connsiteY15" fmla="*/ 399303 h 457261"/>
                      <a:gd name="connsiteX16" fmla="*/ 454486 w 457256"/>
                      <a:gd name="connsiteY16" fmla="*/ 399247 h 457261"/>
                      <a:gd name="connsiteX17" fmla="*/ 25671 w 457256"/>
                      <a:gd name="connsiteY17" fmla="*/ 25676 h 457261"/>
                      <a:gd name="connsiteX18" fmla="*/ 159497 w 457256"/>
                      <a:gd name="connsiteY18" fmla="*/ 389150 h 457261"/>
                      <a:gd name="connsiteX19" fmla="*/ 25671 w 457256"/>
                      <a:gd name="connsiteY19" fmla="*/ 25676 h 457261"/>
                      <a:gd name="connsiteX0" fmla="*/ 454486 w 457256"/>
                      <a:gd name="connsiteY0" fmla="*/ 399247 h 457261"/>
                      <a:gd name="connsiteX1" fmla="*/ 315135 w 457256"/>
                      <a:gd name="connsiteY1" fmla="*/ 259991 h 457261"/>
                      <a:gd name="connsiteX2" fmla="*/ 412767 w 457256"/>
                      <a:gd name="connsiteY2" fmla="*/ 161979 h 457261"/>
                      <a:gd name="connsiteX3" fmla="*/ 412455 w 457256"/>
                      <a:gd name="connsiteY3" fmla="*/ 148513 h 457261"/>
                      <a:gd name="connsiteX4" fmla="*/ 409623 w 457256"/>
                      <a:gd name="connsiteY4" fmla="*/ 146644 h 457261"/>
                      <a:gd name="connsiteX5" fmla="*/ 12907 w 457256"/>
                      <a:gd name="connsiteY5" fmla="*/ 626 h 457261"/>
                      <a:gd name="connsiteX6" fmla="*/ 620 w 457256"/>
                      <a:gd name="connsiteY6" fmla="*/ 6146 h 457261"/>
                      <a:gd name="connsiteX7" fmla="*/ 620 w 457256"/>
                      <a:gd name="connsiteY7" fmla="*/ 12913 h 457261"/>
                      <a:gd name="connsiteX8" fmla="*/ 146638 w 457256"/>
                      <a:gd name="connsiteY8" fmla="*/ 409629 h 457261"/>
                      <a:gd name="connsiteX9" fmla="*/ 158855 w 457256"/>
                      <a:gd name="connsiteY9" fmla="*/ 415304 h 457261"/>
                      <a:gd name="connsiteX10" fmla="*/ 162354 w 457256"/>
                      <a:gd name="connsiteY10" fmla="*/ 413058 h 457261"/>
                      <a:gd name="connsiteX11" fmla="*/ 259986 w 457256"/>
                      <a:gd name="connsiteY11" fmla="*/ 315141 h 457261"/>
                      <a:gd name="connsiteX12" fmla="*/ 399241 w 457256"/>
                      <a:gd name="connsiteY12" fmla="*/ 454492 h 457261"/>
                      <a:gd name="connsiteX13" fmla="*/ 412671 w 457256"/>
                      <a:gd name="connsiteY13" fmla="*/ 454492 h 457261"/>
                      <a:gd name="connsiteX14" fmla="*/ 454391 w 457256"/>
                      <a:gd name="connsiteY14" fmla="*/ 412772 h 457261"/>
                      <a:gd name="connsiteX15" fmla="*/ 454541 w 457256"/>
                      <a:gd name="connsiteY15" fmla="*/ 399303 h 457261"/>
                      <a:gd name="connsiteX16" fmla="*/ 454486 w 457256"/>
                      <a:gd name="connsiteY16" fmla="*/ 399247 h 457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56" h="457261">
                        <a:moveTo>
                          <a:pt x="454486" y="399247"/>
                        </a:moveTo>
                        <a:lnTo>
                          <a:pt x="315135" y="259991"/>
                        </a:lnTo>
                        <a:lnTo>
                          <a:pt x="412767" y="161979"/>
                        </a:lnTo>
                        <a:cubicBezTo>
                          <a:pt x="416400" y="158175"/>
                          <a:pt x="416260" y="152145"/>
                          <a:pt x="412455" y="148513"/>
                        </a:cubicBezTo>
                        <a:cubicBezTo>
                          <a:pt x="411630" y="147725"/>
                          <a:pt x="410671" y="147092"/>
                          <a:pt x="409623" y="146644"/>
                        </a:cubicBezTo>
                        <a:lnTo>
                          <a:pt x="12907" y="626"/>
                        </a:lnTo>
                        <a:cubicBezTo>
                          <a:pt x="7990" y="-1243"/>
                          <a:pt x="2489" y="1228"/>
                          <a:pt x="620" y="6146"/>
                        </a:cubicBezTo>
                        <a:cubicBezTo>
                          <a:pt x="-208" y="8326"/>
                          <a:pt x="-208" y="10733"/>
                          <a:pt x="620" y="12913"/>
                        </a:cubicBezTo>
                        <a:lnTo>
                          <a:pt x="146638" y="409629"/>
                        </a:lnTo>
                        <a:cubicBezTo>
                          <a:pt x="148444" y="414570"/>
                          <a:pt x="153914" y="417111"/>
                          <a:pt x="158855" y="415304"/>
                        </a:cubicBezTo>
                        <a:cubicBezTo>
                          <a:pt x="160172" y="414822"/>
                          <a:pt x="161368" y="414055"/>
                          <a:pt x="162354" y="413058"/>
                        </a:cubicBezTo>
                        <a:lnTo>
                          <a:pt x="259986" y="315141"/>
                        </a:lnTo>
                        <a:lnTo>
                          <a:pt x="399241" y="454492"/>
                        </a:lnTo>
                        <a:cubicBezTo>
                          <a:pt x="402956" y="458185"/>
                          <a:pt x="408957" y="458185"/>
                          <a:pt x="412671" y="454492"/>
                        </a:cubicBezTo>
                        <a:lnTo>
                          <a:pt x="454391" y="412772"/>
                        </a:lnTo>
                        <a:cubicBezTo>
                          <a:pt x="458152" y="409095"/>
                          <a:pt x="458219" y="403063"/>
                          <a:pt x="454541" y="399303"/>
                        </a:cubicBezTo>
                        <a:cubicBezTo>
                          <a:pt x="454523" y="399284"/>
                          <a:pt x="454504" y="399266"/>
                          <a:pt x="454486" y="399247"/>
                        </a:cubicBezTo>
                        <a:close/>
                      </a:path>
                    </a:pathLst>
                  </a:custGeom>
                  <a:solidFill>
                    <a:schemeClr val="bg1"/>
                  </a:solidFill>
                  <a:ln w="9525" cap="flat">
                    <a:solidFill>
                      <a:srgbClr val="50E6FF"/>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6" name="Freeform: Shape 175">
                    <a:extLst>
                      <a:ext uri="{FF2B5EF4-FFF2-40B4-BE49-F238E27FC236}">
                        <a16:creationId xmlns:a16="http://schemas.microsoft.com/office/drawing/2014/main" id="{17803C98-2229-4FAD-B068-8279C8B45D74}"/>
                      </a:ext>
                    </a:extLst>
                  </p:cNvPr>
                  <p:cNvSpPr/>
                  <p:nvPr/>
                </p:nvSpPr>
                <p:spPr>
                  <a:xfrm>
                    <a:off x="3014283" y="3853604"/>
                    <a:ext cx="184993" cy="184993"/>
                  </a:xfrm>
                  <a:custGeom>
                    <a:avLst/>
                    <a:gdLst/>
                    <a:ahLst/>
                    <a:cxnLst/>
                    <a:rect l="0" t="0" r="0" b="0"/>
                    <a:pathLst>
                      <a:path w="466725" h="466725">
                        <a:moveTo>
                          <a:pt x="461631" y="406389"/>
                        </a:moveTo>
                        <a:lnTo>
                          <a:pt x="322280" y="267133"/>
                        </a:lnTo>
                        <a:lnTo>
                          <a:pt x="419912" y="169121"/>
                        </a:lnTo>
                        <a:cubicBezTo>
                          <a:pt x="423545" y="165317"/>
                          <a:pt x="423405" y="159287"/>
                          <a:pt x="419600" y="155655"/>
                        </a:cubicBezTo>
                        <a:cubicBezTo>
                          <a:pt x="418775" y="154867"/>
                          <a:pt x="417816" y="154234"/>
                          <a:pt x="416768" y="153786"/>
                        </a:cubicBezTo>
                        <a:lnTo>
                          <a:pt x="20052" y="7768"/>
                        </a:lnTo>
                        <a:cubicBezTo>
                          <a:pt x="15135" y="5899"/>
                          <a:pt x="9634" y="8370"/>
                          <a:pt x="7765" y="13288"/>
                        </a:cubicBezTo>
                        <a:cubicBezTo>
                          <a:pt x="6937" y="15468"/>
                          <a:pt x="6937" y="17875"/>
                          <a:pt x="7765" y="20055"/>
                        </a:cubicBezTo>
                        <a:lnTo>
                          <a:pt x="153783" y="416771"/>
                        </a:lnTo>
                        <a:cubicBezTo>
                          <a:pt x="155589" y="421712"/>
                          <a:pt x="161059" y="424253"/>
                          <a:pt x="166000" y="422446"/>
                        </a:cubicBezTo>
                        <a:cubicBezTo>
                          <a:pt x="167317" y="421964"/>
                          <a:pt x="168513" y="421197"/>
                          <a:pt x="169499" y="420200"/>
                        </a:cubicBezTo>
                        <a:lnTo>
                          <a:pt x="267131" y="322283"/>
                        </a:lnTo>
                        <a:lnTo>
                          <a:pt x="406386" y="461634"/>
                        </a:lnTo>
                        <a:cubicBezTo>
                          <a:pt x="410101" y="465327"/>
                          <a:pt x="416102" y="465327"/>
                          <a:pt x="419816" y="461634"/>
                        </a:cubicBezTo>
                        <a:lnTo>
                          <a:pt x="461536" y="419914"/>
                        </a:lnTo>
                        <a:cubicBezTo>
                          <a:pt x="465297" y="416237"/>
                          <a:pt x="465364" y="410205"/>
                          <a:pt x="461686" y="406445"/>
                        </a:cubicBezTo>
                        <a:cubicBezTo>
                          <a:pt x="461668" y="406426"/>
                          <a:pt x="461649" y="406408"/>
                          <a:pt x="461631" y="406389"/>
                        </a:cubicBezTo>
                        <a:close/>
                        <a:moveTo>
                          <a:pt x="413149" y="441346"/>
                        </a:moveTo>
                        <a:lnTo>
                          <a:pt x="273893" y="302471"/>
                        </a:lnTo>
                        <a:cubicBezTo>
                          <a:pt x="270179" y="298778"/>
                          <a:pt x="264178" y="298778"/>
                          <a:pt x="260463" y="302471"/>
                        </a:cubicBezTo>
                        <a:lnTo>
                          <a:pt x="166642" y="396292"/>
                        </a:lnTo>
                        <a:lnTo>
                          <a:pt x="32816" y="32818"/>
                        </a:lnTo>
                        <a:lnTo>
                          <a:pt x="395909" y="166168"/>
                        </a:lnTo>
                        <a:lnTo>
                          <a:pt x="302468" y="260371"/>
                        </a:lnTo>
                        <a:cubicBezTo>
                          <a:pt x="298734" y="264075"/>
                          <a:pt x="298709" y="270106"/>
                          <a:pt x="302413" y="273841"/>
                        </a:cubicBezTo>
                        <a:cubicBezTo>
                          <a:pt x="302431" y="273859"/>
                          <a:pt x="302450" y="273878"/>
                          <a:pt x="302468" y="273896"/>
                        </a:cubicBezTo>
                        <a:lnTo>
                          <a:pt x="441438" y="413152"/>
                        </a:lnTo>
                        <a:close/>
                      </a:path>
                    </a:pathLst>
                  </a:custGeom>
                  <a:solidFill>
                    <a:schemeClr val="tx2"/>
                  </a:solidFill>
                  <a:ln w="9525" cap="flat">
                    <a:solidFill>
                      <a:srgbClr val="50E6FF"/>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72" name="Picture 8" descr="Image result for xbox logo transparent">
                  <a:extLst>
                    <a:ext uri="{FF2B5EF4-FFF2-40B4-BE49-F238E27FC236}">
                      <a16:creationId xmlns:a16="http://schemas.microsoft.com/office/drawing/2014/main" id="{F263390A-7486-4E41-8846-9FFF6CBBC25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7876" y="1621347"/>
                  <a:ext cx="1083843" cy="329387"/>
                </a:xfrm>
                <a:prstGeom prst="rect">
                  <a:avLst/>
                </a:prstGeom>
                <a:noFill/>
                <a:ln>
                  <a:noFill/>
                </a:ln>
                <a:extLst>
                  <a:ext uri="{909E8E84-426E-40DD-AFC4-6F175D3DCCD1}">
                    <a14:hiddenFill xmlns:a14="http://schemas.microsoft.com/office/drawing/2010/main">
                      <a:solidFill>
                        <a:srgbClr val="FFFFFF"/>
                      </a:solidFill>
                    </a14:hiddenFill>
                  </a:ext>
                </a:extLst>
              </p:spPr>
            </p:pic>
          </p:grpSp>
          <p:pic>
            <p:nvPicPr>
              <p:cNvPr id="122" name="Graphic 121" descr="Game controller">
                <a:extLst>
                  <a:ext uri="{FF2B5EF4-FFF2-40B4-BE49-F238E27FC236}">
                    <a16:creationId xmlns:a16="http://schemas.microsoft.com/office/drawing/2014/main" id="{A5B80A58-16B0-470D-A97B-6C026478EA88}"/>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30313" y="3522233"/>
                <a:ext cx="377545" cy="377544"/>
              </a:xfrm>
              <a:prstGeom prst="rect">
                <a:avLst/>
              </a:prstGeom>
            </p:spPr>
          </p:pic>
          <p:pic>
            <p:nvPicPr>
              <p:cNvPr id="5" name="Graphic 4" descr="Video camera">
                <a:extLst>
                  <a:ext uri="{FF2B5EF4-FFF2-40B4-BE49-F238E27FC236}">
                    <a16:creationId xmlns:a16="http://schemas.microsoft.com/office/drawing/2014/main" id="{1B02D386-494B-43F8-A8EA-B5EE5117E41B}"/>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25728" y="3829638"/>
                <a:ext cx="411467" cy="411466"/>
              </a:xfrm>
              <a:prstGeom prst="rect">
                <a:avLst/>
              </a:prstGeom>
            </p:spPr>
          </p:pic>
          <p:pic>
            <p:nvPicPr>
              <p:cNvPr id="8" name="Graphic 7" descr="Guitar">
                <a:extLst>
                  <a:ext uri="{FF2B5EF4-FFF2-40B4-BE49-F238E27FC236}">
                    <a16:creationId xmlns:a16="http://schemas.microsoft.com/office/drawing/2014/main" id="{55224A23-68DB-4902-AF1A-318CEDCFD0D9}"/>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0078" t="2" r="10748" b="18223"/>
              <a:stretch/>
            </p:blipFill>
            <p:spPr>
              <a:xfrm rot="1242478">
                <a:off x="498111" y="4146994"/>
                <a:ext cx="282738" cy="292027"/>
              </a:xfrm>
              <a:prstGeom prst="rect">
                <a:avLst/>
              </a:prstGeom>
            </p:spPr>
          </p:pic>
        </p:grpSp>
        <p:sp>
          <p:nvSpPr>
            <p:cNvPr id="257" name="TextBox 256">
              <a:extLst>
                <a:ext uri="{FF2B5EF4-FFF2-40B4-BE49-F238E27FC236}">
                  <a16:creationId xmlns:a16="http://schemas.microsoft.com/office/drawing/2014/main" id="{A26F1F50-4D78-4EFC-BD06-BEF1A6A26460}"/>
                </a:ext>
              </a:extLst>
            </p:cNvPr>
            <p:cNvSpPr txBox="1"/>
            <p:nvPr/>
          </p:nvSpPr>
          <p:spPr>
            <a:xfrm>
              <a:off x="630769" y="4183497"/>
              <a:ext cx="2167228" cy="1200329"/>
            </a:xfrm>
            <a:prstGeom prst="rect">
              <a:avLst/>
            </a:prstGeom>
            <a:noFill/>
            <a:ln>
              <a:noFill/>
            </a:ln>
          </p:spPr>
          <p:txBody>
            <a:bodyPr wrap="square" lIns="0" tIns="0" rIns="0" bIns="0" rtlCol="0" anchor="ctr">
              <a:spAutoFit/>
            </a:bodyPr>
            <a:lstStyle/>
            <a:p>
              <a:pPr marL="0" marR="0" lvl="0" indent="0" algn="ctr"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XBOX Platform</a:t>
              </a:r>
            </a:p>
            <a:p>
              <a:pPr marL="0" marR="0" lvl="0" indent="0" algn="ctr" defTabSz="93257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Consumers purchase digital content through the XBOX platform. The data then is written to the shared ledger. This automatically makes royalty data visible to the XBOX publishers.</a:t>
              </a:r>
            </a:p>
          </p:txBody>
        </p:sp>
        <p:cxnSp>
          <p:nvCxnSpPr>
            <p:cNvPr id="16" name="Straight Arrow Connector 15">
              <a:extLst>
                <a:ext uri="{FF2B5EF4-FFF2-40B4-BE49-F238E27FC236}">
                  <a16:creationId xmlns:a16="http://schemas.microsoft.com/office/drawing/2014/main" id="{D3BBC36D-2F3C-4118-B322-77D471B29CC2}"/>
                </a:ext>
              </a:extLst>
            </p:cNvPr>
            <p:cNvCxnSpPr>
              <a:cxnSpLocks/>
              <a:stCxn id="121" idx="1"/>
            </p:cNvCxnSpPr>
            <p:nvPr/>
          </p:nvCxnSpPr>
          <p:spPr>
            <a:xfrm>
              <a:off x="3388705" y="3794147"/>
              <a:ext cx="1054012" cy="0"/>
            </a:xfrm>
            <a:prstGeom prst="straightConnector1">
              <a:avLst/>
            </a:prstGeom>
            <a:ln>
              <a:solidFill>
                <a:srgbClr val="50E6FF"/>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1" name="TextBox 120">
              <a:extLst>
                <a:ext uri="{FF2B5EF4-FFF2-40B4-BE49-F238E27FC236}">
                  <a16:creationId xmlns:a16="http://schemas.microsoft.com/office/drawing/2014/main" id="{88270802-85B2-4BFD-8942-F23DDA386901}"/>
                </a:ext>
              </a:extLst>
            </p:cNvPr>
            <p:cNvSpPr txBox="1"/>
            <p:nvPr/>
          </p:nvSpPr>
          <p:spPr>
            <a:xfrm>
              <a:off x="3388705" y="3594092"/>
              <a:ext cx="783245" cy="400110"/>
            </a:xfrm>
            <a:prstGeom prst="rect">
              <a:avLst/>
            </a:prstGeom>
            <a:solidFill>
              <a:schemeClr val="bg1"/>
            </a:solidFill>
            <a:ln>
              <a:solidFill>
                <a:srgbClr val="50E6FF"/>
              </a:solidFill>
            </a:ln>
          </p:spPr>
          <p:txBody>
            <a:bodyPr wrap="square" lIns="45720" tIns="45720" rIns="45720" bIns="45720" rtlCol="0" anchor="ctr">
              <a:spAutoFit/>
            </a:bodyPr>
            <a:lstStyle/>
            <a:p>
              <a:pPr marL="0" marR="0" lvl="0" indent="0" algn="ctr" defTabSz="93257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BCF2"/>
                  </a:solidFill>
                  <a:effectLst/>
                  <a:uLnTx/>
                  <a:uFillTx/>
                  <a:latin typeface="Segoe UI Semibold" panose="020B0702040204020203" pitchFamily="34" charset="0"/>
                  <a:ea typeface="+mn-ea"/>
                  <a:cs typeface="Segoe UI Semibold" panose="020B0702040204020203" pitchFamily="34" charset="0"/>
                </a:rPr>
                <a:t>XBOX PAYS ROYALTIES</a:t>
              </a:r>
            </a:p>
          </p:txBody>
        </p:sp>
        <p:sp>
          <p:nvSpPr>
            <p:cNvPr id="162" name="Rectangle 161">
              <a:extLst>
                <a:ext uri="{FF2B5EF4-FFF2-40B4-BE49-F238E27FC236}">
                  <a16:creationId xmlns:a16="http://schemas.microsoft.com/office/drawing/2014/main" id="{1E248A31-9415-4102-97DD-2326C3FEB0B4}"/>
                </a:ext>
              </a:extLst>
            </p:cNvPr>
            <p:cNvSpPr/>
            <p:nvPr/>
          </p:nvSpPr>
          <p:spPr>
            <a:xfrm>
              <a:off x="2402180" y="2042075"/>
              <a:ext cx="1526225" cy="174551"/>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dirty="0">
                  <a:ln>
                    <a:noFill/>
                  </a:ln>
                  <a:solidFill>
                    <a:srgbClr val="00BCF2"/>
                  </a:solidFill>
                  <a:effectLst/>
                  <a:uLnTx/>
                  <a:uFillTx/>
                  <a:latin typeface="Segoe UI Semilight"/>
                  <a:ea typeface="+mn-ea"/>
                  <a:cs typeface="+mn-cs"/>
                </a:rPr>
                <a:t>Media Sale: July 13</a:t>
              </a:r>
              <a:r>
                <a:rPr kumimoji="0" lang="en-US" sz="1100" b="1" i="0" u="none" strike="noStrike" kern="1200" cap="none" spc="0" normalizeH="0" baseline="30000" noProof="0" dirty="0">
                  <a:ln>
                    <a:noFill/>
                  </a:ln>
                  <a:solidFill>
                    <a:srgbClr val="00BCF2"/>
                  </a:solidFill>
                  <a:effectLst/>
                  <a:uLnTx/>
                  <a:uFillTx/>
                  <a:latin typeface="Segoe UI Semilight"/>
                  <a:ea typeface="+mn-ea"/>
                  <a:cs typeface="+mn-cs"/>
                </a:rPr>
                <a:t>th</a:t>
              </a:r>
              <a:endParaRPr kumimoji="0" lang="en-US" sz="1100" b="1" i="0" u="none" strike="noStrike" kern="1200" cap="none" spc="0" normalizeH="0" baseline="0" noProof="0" dirty="0">
                <a:ln>
                  <a:noFill/>
                </a:ln>
                <a:solidFill>
                  <a:srgbClr val="00BCF2"/>
                </a:solidFill>
                <a:effectLst/>
                <a:uLnTx/>
                <a:uFillTx/>
                <a:latin typeface="Segoe UI Semilight"/>
                <a:ea typeface="+mn-ea"/>
                <a:cs typeface="+mn-cs"/>
              </a:endParaRPr>
            </a:p>
          </p:txBody>
        </p:sp>
        <p:sp>
          <p:nvSpPr>
            <p:cNvPr id="12" name="Oval 11">
              <a:extLst>
                <a:ext uri="{FF2B5EF4-FFF2-40B4-BE49-F238E27FC236}">
                  <a16:creationId xmlns:a16="http://schemas.microsoft.com/office/drawing/2014/main" id="{B67004D5-5BCB-4540-BF21-32BCA15D2CFA}"/>
                </a:ext>
              </a:extLst>
            </p:cNvPr>
            <p:cNvSpPr/>
            <p:nvPr/>
          </p:nvSpPr>
          <p:spPr bwMode="auto">
            <a:xfrm>
              <a:off x="1424304" y="3044506"/>
              <a:ext cx="169878" cy="277853"/>
            </a:xfrm>
            <a:prstGeom prst="ellipse">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9" name="Graphic 16">
              <a:extLst>
                <a:ext uri="{FF2B5EF4-FFF2-40B4-BE49-F238E27FC236}">
                  <a16:creationId xmlns:a16="http://schemas.microsoft.com/office/drawing/2014/main" id="{6A213230-6402-4BEF-9291-4997DDA645CE}"/>
                </a:ext>
              </a:extLst>
            </p:cNvPr>
            <p:cNvSpPr/>
            <p:nvPr/>
          </p:nvSpPr>
          <p:spPr>
            <a:xfrm>
              <a:off x="517572" y="2935238"/>
              <a:ext cx="2649957" cy="1983210"/>
            </a:xfrm>
            <a:custGeom>
              <a:avLst/>
              <a:gdLst>
                <a:gd name="connsiteX0" fmla="*/ 189071 w 523875"/>
                <a:gd name="connsiteY0" fmla="*/ 133826 h 495300"/>
                <a:gd name="connsiteX1" fmla="*/ 189071 w 523875"/>
                <a:gd name="connsiteY1" fmla="*/ 17621 h 495300"/>
                <a:gd name="connsiteX2" fmla="*/ 199549 w 523875"/>
                <a:gd name="connsiteY2" fmla="*/ 7144 h 495300"/>
                <a:gd name="connsiteX3" fmla="*/ 455771 w 523875"/>
                <a:gd name="connsiteY3" fmla="*/ 7144 h 495300"/>
                <a:gd name="connsiteX4" fmla="*/ 466249 w 523875"/>
                <a:gd name="connsiteY4" fmla="*/ 17621 h 495300"/>
                <a:gd name="connsiteX5" fmla="*/ 466249 w 523875"/>
                <a:gd name="connsiteY5" fmla="*/ 178594 h 495300"/>
                <a:gd name="connsiteX6" fmla="*/ 455771 w 523875"/>
                <a:gd name="connsiteY6" fmla="*/ 189071 h 495300"/>
                <a:gd name="connsiteX7" fmla="*/ 251936 w 523875"/>
                <a:gd name="connsiteY7" fmla="*/ 189071 h 495300"/>
                <a:gd name="connsiteX8" fmla="*/ 328136 w 523875"/>
                <a:gd name="connsiteY8" fmla="*/ 216694 h 495300"/>
                <a:gd name="connsiteX9" fmla="*/ 328136 w 523875"/>
                <a:gd name="connsiteY9" fmla="*/ 190024 h 495300"/>
                <a:gd name="connsiteX10" fmla="*/ 170021 w 523875"/>
                <a:gd name="connsiteY10" fmla="*/ 131921 h 495300"/>
                <a:gd name="connsiteX11" fmla="*/ 82391 w 523875"/>
                <a:gd name="connsiteY11" fmla="*/ 219551 h 495300"/>
                <a:gd name="connsiteX12" fmla="*/ 170021 w 523875"/>
                <a:gd name="connsiteY12" fmla="*/ 307181 h 495300"/>
                <a:gd name="connsiteX13" fmla="*/ 257651 w 523875"/>
                <a:gd name="connsiteY13" fmla="*/ 219551 h 495300"/>
                <a:gd name="connsiteX14" fmla="*/ 170021 w 523875"/>
                <a:gd name="connsiteY14" fmla="*/ 131921 h 495300"/>
                <a:gd name="connsiteX15" fmla="*/ 395764 w 523875"/>
                <a:gd name="connsiteY15" fmla="*/ 257651 h 495300"/>
                <a:gd name="connsiteX16" fmla="*/ 401479 w 523875"/>
                <a:gd name="connsiteY16" fmla="*/ 251936 h 495300"/>
                <a:gd name="connsiteX17" fmla="*/ 395764 w 523875"/>
                <a:gd name="connsiteY17" fmla="*/ 246221 h 495300"/>
                <a:gd name="connsiteX18" fmla="*/ 390049 w 523875"/>
                <a:gd name="connsiteY18" fmla="*/ 251936 h 495300"/>
                <a:gd name="connsiteX19" fmla="*/ 395764 w 523875"/>
                <a:gd name="connsiteY19" fmla="*/ 257651 h 495300"/>
                <a:gd name="connsiteX20" fmla="*/ 395764 w 523875"/>
                <a:gd name="connsiteY20" fmla="*/ 257651 h 495300"/>
                <a:gd name="connsiteX21" fmla="*/ 383381 w 523875"/>
                <a:gd name="connsiteY21" fmla="*/ 270034 h 495300"/>
                <a:gd name="connsiteX22" fmla="*/ 389096 w 523875"/>
                <a:gd name="connsiteY22" fmla="*/ 264319 h 495300"/>
                <a:gd name="connsiteX23" fmla="*/ 383381 w 523875"/>
                <a:gd name="connsiteY23" fmla="*/ 258604 h 495300"/>
                <a:gd name="connsiteX24" fmla="*/ 377666 w 523875"/>
                <a:gd name="connsiteY24" fmla="*/ 264319 h 495300"/>
                <a:gd name="connsiteX25" fmla="*/ 383381 w 523875"/>
                <a:gd name="connsiteY25" fmla="*/ 270034 h 495300"/>
                <a:gd name="connsiteX26" fmla="*/ 383381 w 523875"/>
                <a:gd name="connsiteY26" fmla="*/ 270034 h 495300"/>
                <a:gd name="connsiteX27" fmla="*/ 371951 w 523875"/>
                <a:gd name="connsiteY27" fmla="*/ 257651 h 495300"/>
                <a:gd name="connsiteX28" fmla="*/ 377666 w 523875"/>
                <a:gd name="connsiteY28" fmla="*/ 251936 h 495300"/>
                <a:gd name="connsiteX29" fmla="*/ 371951 w 523875"/>
                <a:gd name="connsiteY29" fmla="*/ 246221 h 495300"/>
                <a:gd name="connsiteX30" fmla="*/ 366236 w 523875"/>
                <a:gd name="connsiteY30" fmla="*/ 251936 h 495300"/>
                <a:gd name="connsiteX31" fmla="*/ 371951 w 523875"/>
                <a:gd name="connsiteY31" fmla="*/ 257651 h 495300"/>
                <a:gd name="connsiteX32" fmla="*/ 371951 w 523875"/>
                <a:gd name="connsiteY32" fmla="*/ 257651 h 495300"/>
                <a:gd name="connsiteX33" fmla="*/ 383381 w 523875"/>
                <a:gd name="connsiteY33" fmla="*/ 233839 h 495300"/>
                <a:gd name="connsiteX34" fmla="*/ 377666 w 523875"/>
                <a:gd name="connsiteY34" fmla="*/ 239554 h 495300"/>
                <a:gd name="connsiteX35" fmla="*/ 383381 w 523875"/>
                <a:gd name="connsiteY35" fmla="*/ 245269 h 495300"/>
                <a:gd name="connsiteX36" fmla="*/ 389096 w 523875"/>
                <a:gd name="connsiteY36" fmla="*/ 239554 h 495300"/>
                <a:gd name="connsiteX37" fmla="*/ 383381 w 523875"/>
                <a:gd name="connsiteY37" fmla="*/ 233839 h 495300"/>
                <a:gd name="connsiteX38" fmla="*/ 383381 w 523875"/>
                <a:gd name="connsiteY38" fmla="*/ 233839 h 495300"/>
                <a:gd name="connsiteX39" fmla="*/ 319564 w 523875"/>
                <a:gd name="connsiteY39" fmla="*/ 255746 h 495300"/>
                <a:gd name="connsiteX40" fmla="*/ 323374 w 523875"/>
                <a:gd name="connsiteY40" fmla="*/ 251936 h 495300"/>
                <a:gd name="connsiteX41" fmla="*/ 319564 w 523875"/>
                <a:gd name="connsiteY41" fmla="*/ 248126 h 495300"/>
                <a:gd name="connsiteX42" fmla="*/ 311944 w 523875"/>
                <a:gd name="connsiteY42" fmla="*/ 248126 h 495300"/>
                <a:gd name="connsiteX43" fmla="*/ 311944 w 523875"/>
                <a:gd name="connsiteY43" fmla="*/ 240506 h 495300"/>
                <a:gd name="connsiteX44" fmla="*/ 308134 w 523875"/>
                <a:gd name="connsiteY44" fmla="*/ 236696 h 495300"/>
                <a:gd name="connsiteX45" fmla="*/ 304324 w 523875"/>
                <a:gd name="connsiteY45" fmla="*/ 240506 h 495300"/>
                <a:gd name="connsiteX46" fmla="*/ 304324 w 523875"/>
                <a:gd name="connsiteY46" fmla="*/ 248126 h 495300"/>
                <a:gd name="connsiteX47" fmla="*/ 296704 w 523875"/>
                <a:gd name="connsiteY47" fmla="*/ 248126 h 495300"/>
                <a:gd name="connsiteX48" fmla="*/ 292894 w 523875"/>
                <a:gd name="connsiteY48" fmla="*/ 251936 h 495300"/>
                <a:gd name="connsiteX49" fmla="*/ 296704 w 523875"/>
                <a:gd name="connsiteY49" fmla="*/ 255746 h 495300"/>
                <a:gd name="connsiteX50" fmla="*/ 304324 w 523875"/>
                <a:gd name="connsiteY50" fmla="*/ 255746 h 495300"/>
                <a:gd name="connsiteX51" fmla="*/ 304324 w 523875"/>
                <a:gd name="connsiteY51" fmla="*/ 263366 h 495300"/>
                <a:gd name="connsiteX52" fmla="*/ 308134 w 523875"/>
                <a:gd name="connsiteY52" fmla="*/ 267176 h 495300"/>
                <a:gd name="connsiteX53" fmla="*/ 311944 w 523875"/>
                <a:gd name="connsiteY53" fmla="*/ 263366 h 495300"/>
                <a:gd name="connsiteX54" fmla="*/ 311944 w 523875"/>
                <a:gd name="connsiteY54" fmla="*/ 255746 h 495300"/>
                <a:gd name="connsiteX55" fmla="*/ 319564 w 523875"/>
                <a:gd name="connsiteY55" fmla="*/ 255746 h 495300"/>
                <a:gd name="connsiteX56" fmla="*/ 319564 w 523875"/>
                <a:gd name="connsiteY56" fmla="*/ 255746 h 495300"/>
                <a:gd name="connsiteX57" fmla="*/ 378619 w 523875"/>
                <a:gd name="connsiteY57" fmla="*/ 293846 h 495300"/>
                <a:gd name="connsiteX58" fmla="*/ 346234 w 523875"/>
                <a:gd name="connsiteY58" fmla="*/ 287179 h 495300"/>
                <a:gd name="connsiteX59" fmla="*/ 276701 w 523875"/>
                <a:gd name="connsiteY59" fmla="*/ 314801 h 495300"/>
                <a:gd name="connsiteX60" fmla="*/ 300514 w 523875"/>
                <a:gd name="connsiteY60" fmla="*/ 203359 h 495300"/>
                <a:gd name="connsiteX61" fmla="*/ 346234 w 523875"/>
                <a:gd name="connsiteY61" fmla="*/ 215741 h 495300"/>
                <a:gd name="connsiteX62" fmla="*/ 391954 w 523875"/>
                <a:gd name="connsiteY62" fmla="*/ 203359 h 495300"/>
                <a:gd name="connsiteX63" fmla="*/ 391954 w 523875"/>
                <a:gd name="connsiteY63" fmla="*/ 203359 h 495300"/>
                <a:gd name="connsiteX64" fmla="*/ 427196 w 523875"/>
                <a:gd name="connsiteY64" fmla="*/ 307181 h 495300"/>
                <a:gd name="connsiteX65" fmla="*/ 476726 w 523875"/>
                <a:gd name="connsiteY65" fmla="*/ 491966 h 495300"/>
                <a:gd name="connsiteX66" fmla="*/ 476726 w 523875"/>
                <a:gd name="connsiteY66" fmla="*/ 406241 h 495300"/>
                <a:gd name="connsiteX67" fmla="*/ 413861 w 523875"/>
                <a:gd name="connsiteY67" fmla="*/ 343376 h 495300"/>
                <a:gd name="connsiteX68" fmla="*/ 70009 w 523875"/>
                <a:gd name="connsiteY68" fmla="*/ 343376 h 495300"/>
                <a:gd name="connsiteX69" fmla="*/ 7144 w 523875"/>
                <a:gd name="connsiteY69" fmla="*/ 406241 h 495300"/>
                <a:gd name="connsiteX70" fmla="*/ 7144 w 523875"/>
                <a:gd name="connsiteY70" fmla="*/ 491966 h 495300"/>
                <a:gd name="connsiteX71" fmla="*/ 260509 w 523875"/>
                <a:gd name="connsiteY71" fmla="*/ 321469 h 495300"/>
                <a:gd name="connsiteX72" fmla="*/ 73819 w 523875"/>
                <a:gd name="connsiteY72" fmla="*/ 321469 h 495300"/>
                <a:gd name="connsiteX73" fmla="*/ 51911 w 523875"/>
                <a:gd name="connsiteY73" fmla="*/ 343376 h 495300"/>
                <a:gd name="connsiteX74" fmla="*/ 51911 w 523875"/>
                <a:gd name="connsiteY74" fmla="*/ 343376 h 495300"/>
                <a:gd name="connsiteX75" fmla="*/ 282416 w 523875"/>
                <a:gd name="connsiteY75" fmla="*/ 343376 h 495300"/>
                <a:gd name="connsiteX76" fmla="*/ 282416 w 523875"/>
                <a:gd name="connsiteY76" fmla="*/ 343376 h 495300"/>
                <a:gd name="connsiteX77" fmla="*/ 260509 w 523875"/>
                <a:gd name="connsiteY77" fmla="*/ 321469 h 495300"/>
                <a:gd name="connsiteX78" fmla="*/ 412909 w 523875"/>
                <a:gd name="connsiteY78" fmla="*/ 343376 h 495300"/>
                <a:gd name="connsiteX79" fmla="*/ 419576 w 523875"/>
                <a:gd name="connsiteY79" fmla="*/ 335756 h 495300"/>
                <a:gd name="connsiteX80" fmla="*/ 406241 w 523875"/>
                <a:gd name="connsiteY80" fmla="*/ 288131 h 495300"/>
                <a:gd name="connsiteX81" fmla="*/ 406241 w 523875"/>
                <a:gd name="connsiteY81" fmla="*/ 288131 h 495300"/>
                <a:gd name="connsiteX82" fmla="*/ 376714 w 523875"/>
                <a:gd name="connsiteY82" fmla="*/ 295751 h 495300"/>
                <a:gd name="connsiteX83" fmla="*/ 332899 w 523875"/>
                <a:gd name="connsiteY83" fmla="*/ 342424 h 495300"/>
                <a:gd name="connsiteX84" fmla="*/ 412909 w 523875"/>
                <a:gd name="connsiteY84" fmla="*/ 343376 h 495300"/>
                <a:gd name="connsiteX85" fmla="*/ 523399 w 523875"/>
                <a:gd name="connsiteY85" fmla="*/ 343376 h 495300"/>
                <a:gd name="connsiteX86" fmla="*/ 523399 w 523875"/>
                <a:gd name="connsiteY86" fmla="*/ 226219 h 495300"/>
                <a:gd name="connsiteX87" fmla="*/ 412909 w 523875"/>
                <a:gd name="connsiteY87" fmla="*/ 226219 h 495300"/>
                <a:gd name="connsiteX88" fmla="*/ 275749 w 523875"/>
                <a:gd name="connsiteY88" fmla="*/ 226219 h 495300"/>
                <a:gd name="connsiteX89" fmla="*/ 257651 w 523875"/>
                <a:gd name="connsiteY89" fmla="*/ 226219 h 495300"/>
                <a:gd name="connsiteX0" fmla="*/ 181927 w 516255"/>
                <a:gd name="connsiteY0" fmla="*/ 129362 h 487502"/>
                <a:gd name="connsiteX1" fmla="*/ 181927 w 516255"/>
                <a:gd name="connsiteY1" fmla="*/ 13157 h 487502"/>
                <a:gd name="connsiteX2" fmla="*/ 448627 w 516255"/>
                <a:gd name="connsiteY2" fmla="*/ 2680 h 487502"/>
                <a:gd name="connsiteX3" fmla="*/ 459105 w 516255"/>
                <a:gd name="connsiteY3" fmla="*/ 13157 h 487502"/>
                <a:gd name="connsiteX4" fmla="*/ 459105 w 516255"/>
                <a:gd name="connsiteY4" fmla="*/ 174130 h 487502"/>
                <a:gd name="connsiteX5" fmla="*/ 448627 w 516255"/>
                <a:gd name="connsiteY5" fmla="*/ 184607 h 487502"/>
                <a:gd name="connsiteX6" fmla="*/ 244792 w 516255"/>
                <a:gd name="connsiteY6" fmla="*/ 184607 h 487502"/>
                <a:gd name="connsiteX7" fmla="*/ 320992 w 516255"/>
                <a:gd name="connsiteY7" fmla="*/ 212230 h 487502"/>
                <a:gd name="connsiteX8" fmla="*/ 320992 w 516255"/>
                <a:gd name="connsiteY8" fmla="*/ 185560 h 487502"/>
                <a:gd name="connsiteX9" fmla="*/ 162877 w 516255"/>
                <a:gd name="connsiteY9" fmla="*/ 127457 h 487502"/>
                <a:gd name="connsiteX10" fmla="*/ 75247 w 516255"/>
                <a:gd name="connsiteY10" fmla="*/ 215087 h 487502"/>
                <a:gd name="connsiteX11" fmla="*/ 162877 w 516255"/>
                <a:gd name="connsiteY11" fmla="*/ 302717 h 487502"/>
                <a:gd name="connsiteX12" fmla="*/ 250507 w 516255"/>
                <a:gd name="connsiteY12" fmla="*/ 215087 h 487502"/>
                <a:gd name="connsiteX13" fmla="*/ 162877 w 516255"/>
                <a:gd name="connsiteY13" fmla="*/ 127457 h 487502"/>
                <a:gd name="connsiteX14" fmla="*/ 388620 w 516255"/>
                <a:gd name="connsiteY14" fmla="*/ 253187 h 487502"/>
                <a:gd name="connsiteX15" fmla="*/ 394335 w 516255"/>
                <a:gd name="connsiteY15" fmla="*/ 247472 h 487502"/>
                <a:gd name="connsiteX16" fmla="*/ 388620 w 516255"/>
                <a:gd name="connsiteY16" fmla="*/ 241757 h 487502"/>
                <a:gd name="connsiteX17" fmla="*/ 382905 w 516255"/>
                <a:gd name="connsiteY17" fmla="*/ 247472 h 487502"/>
                <a:gd name="connsiteX18" fmla="*/ 388620 w 516255"/>
                <a:gd name="connsiteY18" fmla="*/ 253187 h 487502"/>
                <a:gd name="connsiteX19" fmla="*/ 388620 w 516255"/>
                <a:gd name="connsiteY19" fmla="*/ 253187 h 487502"/>
                <a:gd name="connsiteX20" fmla="*/ 376237 w 516255"/>
                <a:gd name="connsiteY20" fmla="*/ 265570 h 487502"/>
                <a:gd name="connsiteX21" fmla="*/ 381952 w 516255"/>
                <a:gd name="connsiteY21" fmla="*/ 259855 h 487502"/>
                <a:gd name="connsiteX22" fmla="*/ 376237 w 516255"/>
                <a:gd name="connsiteY22" fmla="*/ 254140 h 487502"/>
                <a:gd name="connsiteX23" fmla="*/ 370522 w 516255"/>
                <a:gd name="connsiteY23" fmla="*/ 259855 h 487502"/>
                <a:gd name="connsiteX24" fmla="*/ 376237 w 516255"/>
                <a:gd name="connsiteY24" fmla="*/ 265570 h 487502"/>
                <a:gd name="connsiteX25" fmla="*/ 376237 w 516255"/>
                <a:gd name="connsiteY25" fmla="*/ 265570 h 487502"/>
                <a:gd name="connsiteX26" fmla="*/ 364807 w 516255"/>
                <a:gd name="connsiteY26" fmla="*/ 253187 h 487502"/>
                <a:gd name="connsiteX27" fmla="*/ 370522 w 516255"/>
                <a:gd name="connsiteY27" fmla="*/ 247472 h 487502"/>
                <a:gd name="connsiteX28" fmla="*/ 364807 w 516255"/>
                <a:gd name="connsiteY28" fmla="*/ 241757 h 487502"/>
                <a:gd name="connsiteX29" fmla="*/ 359092 w 516255"/>
                <a:gd name="connsiteY29" fmla="*/ 247472 h 487502"/>
                <a:gd name="connsiteX30" fmla="*/ 364807 w 516255"/>
                <a:gd name="connsiteY30" fmla="*/ 253187 h 487502"/>
                <a:gd name="connsiteX31" fmla="*/ 364807 w 516255"/>
                <a:gd name="connsiteY31" fmla="*/ 253187 h 487502"/>
                <a:gd name="connsiteX32" fmla="*/ 376237 w 516255"/>
                <a:gd name="connsiteY32" fmla="*/ 229375 h 487502"/>
                <a:gd name="connsiteX33" fmla="*/ 370522 w 516255"/>
                <a:gd name="connsiteY33" fmla="*/ 235090 h 487502"/>
                <a:gd name="connsiteX34" fmla="*/ 376237 w 516255"/>
                <a:gd name="connsiteY34" fmla="*/ 240805 h 487502"/>
                <a:gd name="connsiteX35" fmla="*/ 381952 w 516255"/>
                <a:gd name="connsiteY35" fmla="*/ 235090 h 487502"/>
                <a:gd name="connsiteX36" fmla="*/ 376237 w 516255"/>
                <a:gd name="connsiteY36" fmla="*/ 229375 h 487502"/>
                <a:gd name="connsiteX37" fmla="*/ 376237 w 516255"/>
                <a:gd name="connsiteY37" fmla="*/ 229375 h 487502"/>
                <a:gd name="connsiteX38" fmla="*/ 312420 w 516255"/>
                <a:gd name="connsiteY38" fmla="*/ 251282 h 487502"/>
                <a:gd name="connsiteX39" fmla="*/ 316230 w 516255"/>
                <a:gd name="connsiteY39" fmla="*/ 247472 h 487502"/>
                <a:gd name="connsiteX40" fmla="*/ 312420 w 516255"/>
                <a:gd name="connsiteY40" fmla="*/ 243662 h 487502"/>
                <a:gd name="connsiteX41" fmla="*/ 304800 w 516255"/>
                <a:gd name="connsiteY41" fmla="*/ 243662 h 487502"/>
                <a:gd name="connsiteX42" fmla="*/ 304800 w 516255"/>
                <a:gd name="connsiteY42" fmla="*/ 236042 h 487502"/>
                <a:gd name="connsiteX43" fmla="*/ 300990 w 516255"/>
                <a:gd name="connsiteY43" fmla="*/ 232232 h 487502"/>
                <a:gd name="connsiteX44" fmla="*/ 297180 w 516255"/>
                <a:gd name="connsiteY44" fmla="*/ 236042 h 487502"/>
                <a:gd name="connsiteX45" fmla="*/ 297180 w 516255"/>
                <a:gd name="connsiteY45" fmla="*/ 243662 h 487502"/>
                <a:gd name="connsiteX46" fmla="*/ 289560 w 516255"/>
                <a:gd name="connsiteY46" fmla="*/ 243662 h 487502"/>
                <a:gd name="connsiteX47" fmla="*/ 285750 w 516255"/>
                <a:gd name="connsiteY47" fmla="*/ 247472 h 487502"/>
                <a:gd name="connsiteX48" fmla="*/ 289560 w 516255"/>
                <a:gd name="connsiteY48" fmla="*/ 251282 h 487502"/>
                <a:gd name="connsiteX49" fmla="*/ 297180 w 516255"/>
                <a:gd name="connsiteY49" fmla="*/ 251282 h 487502"/>
                <a:gd name="connsiteX50" fmla="*/ 297180 w 516255"/>
                <a:gd name="connsiteY50" fmla="*/ 258902 h 487502"/>
                <a:gd name="connsiteX51" fmla="*/ 300990 w 516255"/>
                <a:gd name="connsiteY51" fmla="*/ 262712 h 487502"/>
                <a:gd name="connsiteX52" fmla="*/ 304800 w 516255"/>
                <a:gd name="connsiteY52" fmla="*/ 258902 h 487502"/>
                <a:gd name="connsiteX53" fmla="*/ 304800 w 516255"/>
                <a:gd name="connsiteY53" fmla="*/ 251282 h 487502"/>
                <a:gd name="connsiteX54" fmla="*/ 312420 w 516255"/>
                <a:gd name="connsiteY54" fmla="*/ 251282 h 487502"/>
                <a:gd name="connsiteX55" fmla="*/ 312420 w 516255"/>
                <a:gd name="connsiteY55" fmla="*/ 251282 h 487502"/>
                <a:gd name="connsiteX56" fmla="*/ 371475 w 516255"/>
                <a:gd name="connsiteY56" fmla="*/ 289382 h 487502"/>
                <a:gd name="connsiteX57" fmla="*/ 339090 w 516255"/>
                <a:gd name="connsiteY57" fmla="*/ 282715 h 487502"/>
                <a:gd name="connsiteX58" fmla="*/ 269557 w 516255"/>
                <a:gd name="connsiteY58" fmla="*/ 310337 h 487502"/>
                <a:gd name="connsiteX59" fmla="*/ 293370 w 516255"/>
                <a:gd name="connsiteY59" fmla="*/ 198895 h 487502"/>
                <a:gd name="connsiteX60" fmla="*/ 339090 w 516255"/>
                <a:gd name="connsiteY60" fmla="*/ 211277 h 487502"/>
                <a:gd name="connsiteX61" fmla="*/ 384810 w 516255"/>
                <a:gd name="connsiteY61" fmla="*/ 198895 h 487502"/>
                <a:gd name="connsiteX62" fmla="*/ 384810 w 516255"/>
                <a:gd name="connsiteY62" fmla="*/ 198895 h 487502"/>
                <a:gd name="connsiteX63" fmla="*/ 420052 w 516255"/>
                <a:gd name="connsiteY63" fmla="*/ 302717 h 487502"/>
                <a:gd name="connsiteX64" fmla="*/ 469582 w 516255"/>
                <a:gd name="connsiteY64" fmla="*/ 487502 h 487502"/>
                <a:gd name="connsiteX65" fmla="*/ 469582 w 516255"/>
                <a:gd name="connsiteY65" fmla="*/ 401777 h 487502"/>
                <a:gd name="connsiteX66" fmla="*/ 406717 w 516255"/>
                <a:gd name="connsiteY66" fmla="*/ 338912 h 487502"/>
                <a:gd name="connsiteX67" fmla="*/ 62865 w 516255"/>
                <a:gd name="connsiteY67" fmla="*/ 338912 h 487502"/>
                <a:gd name="connsiteX68" fmla="*/ 0 w 516255"/>
                <a:gd name="connsiteY68" fmla="*/ 401777 h 487502"/>
                <a:gd name="connsiteX69" fmla="*/ 0 w 516255"/>
                <a:gd name="connsiteY69" fmla="*/ 487502 h 487502"/>
                <a:gd name="connsiteX70" fmla="*/ 253365 w 516255"/>
                <a:gd name="connsiteY70" fmla="*/ 317005 h 487502"/>
                <a:gd name="connsiteX71" fmla="*/ 66675 w 516255"/>
                <a:gd name="connsiteY71" fmla="*/ 317005 h 487502"/>
                <a:gd name="connsiteX72" fmla="*/ 44767 w 516255"/>
                <a:gd name="connsiteY72" fmla="*/ 338912 h 487502"/>
                <a:gd name="connsiteX73" fmla="*/ 44767 w 516255"/>
                <a:gd name="connsiteY73" fmla="*/ 338912 h 487502"/>
                <a:gd name="connsiteX74" fmla="*/ 275272 w 516255"/>
                <a:gd name="connsiteY74" fmla="*/ 338912 h 487502"/>
                <a:gd name="connsiteX75" fmla="*/ 275272 w 516255"/>
                <a:gd name="connsiteY75" fmla="*/ 338912 h 487502"/>
                <a:gd name="connsiteX76" fmla="*/ 253365 w 516255"/>
                <a:gd name="connsiteY76" fmla="*/ 317005 h 487502"/>
                <a:gd name="connsiteX77" fmla="*/ 405765 w 516255"/>
                <a:gd name="connsiteY77" fmla="*/ 338912 h 487502"/>
                <a:gd name="connsiteX78" fmla="*/ 412432 w 516255"/>
                <a:gd name="connsiteY78" fmla="*/ 331292 h 487502"/>
                <a:gd name="connsiteX79" fmla="*/ 399097 w 516255"/>
                <a:gd name="connsiteY79" fmla="*/ 283667 h 487502"/>
                <a:gd name="connsiteX80" fmla="*/ 399097 w 516255"/>
                <a:gd name="connsiteY80" fmla="*/ 283667 h 487502"/>
                <a:gd name="connsiteX81" fmla="*/ 369570 w 516255"/>
                <a:gd name="connsiteY81" fmla="*/ 291287 h 487502"/>
                <a:gd name="connsiteX82" fmla="*/ 325755 w 516255"/>
                <a:gd name="connsiteY82" fmla="*/ 337960 h 487502"/>
                <a:gd name="connsiteX83" fmla="*/ 405765 w 516255"/>
                <a:gd name="connsiteY83" fmla="*/ 338912 h 487502"/>
                <a:gd name="connsiteX84" fmla="*/ 516255 w 516255"/>
                <a:gd name="connsiteY84" fmla="*/ 338912 h 487502"/>
                <a:gd name="connsiteX85" fmla="*/ 516255 w 516255"/>
                <a:gd name="connsiteY85" fmla="*/ 221755 h 487502"/>
                <a:gd name="connsiteX86" fmla="*/ 405765 w 516255"/>
                <a:gd name="connsiteY86" fmla="*/ 221755 h 487502"/>
                <a:gd name="connsiteX87" fmla="*/ 268605 w 516255"/>
                <a:gd name="connsiteY87" fmla="*/ 221755 h 487502"/>
                <a:gd name="connsiteX88" fmla="*/ 250507 w 516255"/>
                <a:gd name="connsiteY88" fmla="*/ 221755 h 487502"/>
                <a:gd name="connsiteX0" fmla="*/ 181927 w 516255"/>
                <a:gd name="connsiteY0" fmla="*/ 129362 h 487502"/>
                <a:gd name="connsiteX1" fmla="*/ 181927 w 516255"/>
                <a:gd name="connsiteY1" fmla="*/ 13157 h 487502"/>
                <a:gd name="connsiteX2" fmla="*/ 448627 w 516255"/>
                <a:gd name="connsiteY2" fmla="*/ 2680 h 487502"/>
                <a:gd name="connsiteX3" fmla="*/ 459105 w 516255"/>
                <a:gd name="connsiteY3" fmla="*/ 174130 h 487502"/>
                <a:gd name="connsiteX4" fmla="*/ 448627 w 516255"/>
                <a:gd name="connsiteY4" fmla="*/ 184607 h 487502"/>
                <a:gd name="connsiteX5" fmla="*/ 244792 w 516255"/>
                <a:gd name="connsiteY5" fmla="*/ 184607 h 487502"/>
                <a:gd name="connsiteX6" fmla="*/ 320992 w 516255"/>
                <a:gd name="connsiteY6" fmla="*/ 212230 h 487502"/>
                <a:gd name="connsiteX7" fmla="*/ 320992 w 516255"/>
                <a:gd name="connsiteY7" fmla="*/ 185560 h 487502"/>
                <a:gd name="connsiteX8" fmla="*/ 162877 w 516255"/>
                <a:gd name="connsiteY8" fmla="*/ 127457 h 487502"/>
                <a:gd name="connsiteX9" fmla="*/ 75247 w 516255"/>
                <a:gd name="connsiteY9" fmla="*/ 215087 h 487502"/>
                <a:gd name="connsiteX10" fmla="*/ 162877 w 516255"/>
                <a:gd name="connsiteY10" fmla="*/ 302717 h 487502"/>
                <a:gd name="connsiteX11" fmla="*/ 250507 w 516255"/>
                <a:gd name="connsiteY11" fmla="*/ 215087 h 487502"/>
                <a:gd name="connsiteX12" fmla="*/ 162877 w 516255"/>
                <a:gd name="connsiteY12" fmla="*/ 127457 h 487502"/>
                <a:gd name="connsiteX13" fmla="*/ 388620 w 516255"/>
                <a:gd name="connsiteY13" fmla="*/ 253187 h 487502"/>
                <a:gd name="connsiteX14" fmla="*/ 394335 w 516255"/>
                <a:gd name="connsiteY14" fmla="*/ 247472 h 487502"/>
                <a:gd name="connsiteX15" fmla="*/ 388620 w 516255"/>
                <a:gd name="connsiteY15" fmla="*/ 241757 h 487502"/>
                <a:gd name="connsiteX16" fmla="*/ 382905 w 516255"/>
                <a:gd name="connsiteY16" fmla="*/ 247472 h 487502"/>
                <a:gd name="connsiteX17" fmla="*/ 388620 w 516255"/>
                <a:gd name="connsiteY17" fmla="*/ 253187 h 487502"/>
                <a:gd name="connsiteX18" fmla="*/ 388620 w 516255"/>
                <a:gd name="connsiteY18" fmla="*/ 253187 h 487502"/>
                <a:gd name="connsiteX19" fmla="*/ 376237 w 516255"/>
                <a:gd name="connsiteY19" fmla="*/ 265570 h 487502"/>
                <a:gd name="connsiteX20" fmla="*/ 381952 w 516255"/>
                <a:gd name="connsiteY20" fmla="*/ 259855 h 487502"/>
                <a:gd name="connsiteX21" fmla="*/ 376237 w 516255"/>
                <a:gd name="connsiteY21" fmla="*/ 254140 h 487502"/>
                <a:gd name="connsiteX22" fmla="*/ 370522 w 516255"/>
                <a:gd name="connsiteY22" fmla="*/ 259855 h 487502"/>
                <a:gd name="connsiteX23" fmla="*/ 376237 w 516255"/>
                <a:gd name="connsiteY23" fmla="*/ 265570 h 487502"/>
                <a:gd name="connsiteX24" fmla="*/ 376237 w 516255"/>
                <a:gd name="connsiteY24" fmla="*/ 265570 h 487502"/>
                <a:gd name="connsiteX25" fmla="*/ 364807 w 516255"/>
                <a:gd name="connsiteY25" fmla="*/ 253187 h 487502"/>
                <a:gd name="connsiteX26" fmla="*/ 370522 w 516255"/>
                <a:gd name="connsiteY26" fmla="*/ 247472 h 487502"/>
                <a:gd name="connsiteX27" fmla="*/ 364807 w 516255"/>
                <a:gd name="connsiteY27" fmla="*/ 241757 h 487502"/>
                <a:gd name="connsiteX28" fmla="*/ 359092 w 516255"/>
                <a:gd name="connsiteY28" fmla="*/ 247472 h 487502"/>
                <a:gd name="connsiteX29" fmla="*/ 364807 w 516255"/>
                <a:gd name="connsiteY29" fmla="*/ 253187 h 487502"/>
                <a:gd name="connsiteX30" fmla="*/ 364807 w 516255"/>
                <a:gd name="connsiteY30" fmla="*/ 253187 h 487502"/>
                <a:gd name="connsiteX31" fmla="*/ 376237 w 516255"/>
                <a:gd name="connsiteY31" fmla="*/ 229375 h 487502"/>
                <a:gd name="connsiteX32" fmla="*/ 370522 w 516255"/>
                <a:gd name="connsiteY32" fmla="*/ 235090 h 487502"/>
                <a:gd name="connsiteX33" fmla="*/ 376237 w 516255"/>
                <a:gd name="connsiteY33" fmla="*/ 240805 h 487502"/>
                <a:gd name="connsiteX34" fmla="*/ 381952 w 516255"/>
                <a:gd name="connsiteY34" fmla="*/ 235090 h 487502"/>
                <a:gd name="connsiteX35" fmla="*/ 376237 w 516255"/>
                <a:gd name="connsiteY35" fmla="*/ 229375 h 487502"/>
                <a:gd name="connsiteX36" fmla="*/ 376237 w 516255"/>
                <a:gd name="connsiteY36" fmla="*/ 229375 h 487502"/>
                <a:gd name="connsiteX37" fmla="*/ 312420 w 516255"/>
                <a:gd name="connsiteY37" fmla="*/ 251282 h 487502"/>
                <a:gd name="connsiteX38" fmla="*/ 316230 w 516255"/>
                <a:gd name="connsiteY38" fmla="*/ 247472 h 487502"/>
                <a:gd name="connsiteX39" fmla="*/ 312420 w 516255"/>
                <a:gd name="connsiteY39" fmla="*/ 243662 h 487502"/>
                <a:gd name="connsiteX40" fmla="*/ 304800 w 516255"/>
                <a:gd name="connsiteY40" fmla="*/ 243662 h 487502"/>
                <a:gd name="connsiteX41" fmla="*/ 304800 w 516255"/>
                <a:gd name="connsiteY41" fmla="*/ 236042 h 487502"/>
                <a:gd name="connsiteX42" fmla="*/ 300990 w 516255"/>
                <a:gd name="connsiteY42" fmla="*/ 232232 h 487502"/>
                <a:gd name="connsiteX43" fmla="*/ 297180 w 516255"/>
                <a:gd name="connsiteY43" fmla="*/ 236042 h 487502"/>
                <a:gd name="connsiteX44" fmla="*/ 297180 w 516255"/>
                <a:gd name="connsiteY44" fmla="*/ 243662 h 487502"/>
                <a:gd name="connsiteX45" fmla="*/ 289560 w 516255"/>
                <a:gd name="connsiteY45" fmla="*/ 243662 h 487502"/>
                <a:gd name="connsiteX46" fmla="*/ 285750 w 516255"/>
                <a:gd name="connsiteY46" fmla="*/ 247472 h 487502"/>
                <a:gd name="connsiteX47" fmla="*/ 289560 w 516255"/>
                <a:gd name="connsiteY47" fmla="*/ 251282 h 487502"/>
                <a:gd name="connsiteX48" fmla="*/ 297180 w 516255"/>
                <a:gd name="connsiteY48" fmla="*/ 251282 h 487502"/>
                <a:gd name="connsiteX49" fmla="*/ 297180 w 516255"/>
                <a:gd name="connsiteY49" fmla="*/ 258902 h 487502"/>
                <a:gd name="connsiteX50" fmla="*/ 300990 w 516255"/>
                <a:gd name="connsiteY50" fmla="*/ 262712 h 487502"/>
                <a:gd name="connsiteX51" fmla="*/ 304800 w 516255"/>
                <a:gd name="connsiteY51" fmla="*/ 258902 h 487502"/>
                <a:gd name="connsiteX52" fmla="*/ 304800 w 516255"/>
                <a:gd name="connsiteY52" fmla="*/ 251282 h 487502"/>
                <a:gd name="connsiteX53" fmla="*/ 312420 w 516255"/>
                <a:gd name="connsiteY53" fmla="*/ 251282 h 487502"/>
                <a:gd name="connsiteX54" fmla="*/ 312420 w 516255"/>
                <a:gd name="connsiteY54" fmla="*/ 251282 h 487502"/>
                <a:gd name="connsiteX55" fmla="*/ 371475 w 516255"/>
                <a:gd name="connsiteY55" fmla="*/ 289382 h 487502"/>
                <a:gd name="connsiteX56" fmla="*/ 339090 w 516255"/>
                <a:gd name="connsiteY56" fmla="*/ 282715 h 487502"/>
                <a:gd name="connsiteX57" fmla="*/ 269557 w 516255"/>
                <a:gd name="connsiteY57" fmla="*/ 310337 h 487502"/>
                <a:gd name="connsiteX58" fmla="*/ 293370 w 516255"/>
                <a:gd name="connsiteY58" fmla="*/ 198895 h 487502"/>
                <a:gd name="connsiteX59" fmla="*/ 339090 w 516255"/>
                <a:gd name="connsiteY59" fmla="*/ 211277 h 487502"/>
                <a:gd name="connsiteX60" fmla="*/ 384810 w 516255"/>
                <a:gd name="connsiteY60" fmla="*/ 198895 h 487502"/>
                <a:gd name="connsiteX61" fmla="*/ 384810 w 516255"/>
                <a:gd name="connsiteY61" fmla="*/ 198895 h 487502"/>
                <a:gd name="connsiteX62" fmla="*/ 420052 w 516255"/>
                <a:gd name="connsiteY62" fmla="*/ 302717 h 487502"/>
                <a:gd name="connsiteX63" fmla="*/ 469582 w 516255"/>
                <a:gd name="connsiteY63" fmla="*/ 487502 h 487502"/>
                <a:gd name="connsiteX64" fmla="*/ 469582 w 516255"/>
                <a:gd name="connsiteY64" fmla="*/ 401777 h 487502"/>
                <a:gd name="connsiteX65" fmla="*/ 406717 w 516255"/>
                <a:gd name="connsiteY65" fmla="*/ 338912 h 487502"/>
                <a:gd name="connsiteX66" fmla="*/ 62865 w 516255"/>
                <a:gd name="connsiteY66" fmla="*/ 338912 h 487502"/>
                <a:gd name="connsiteX67" fmla="*/ 0 w 516255"/>
                <a:gd name="connsiteY67" fmla="*/ 401777 h 487502"/>
                <a:gd name="connsiteX68" fmla="*/ 0 w 516255"/>
                <a:gd name="connsiteY68" fmla="*/ 487502 h 487502"/>
                <a:gd name="connsiteX69" fmla="*/ 253365 w 516255"/>
                <a:gd name="connsiteY69" fmla="*/ 317005 h 487502"/>
                <a:gd name="connsiteX70" fmla="*/ 66675 w 516255"/>
                <a:gd name="connsiteY70" fmla="*/ 317005 h 487502"/>
                <a:gd name="connsiteX71" fmla="*/ 44767 w 516255"/>
                <a:gd name="connsiteY71" fmla="*/ 338912 h 487502"/>
                <a:gd name="connsiteX72" fmla="*/ 44767 w 516255"/>
                <a:gd name="connsiteY72" fmla="*/ 338912 h 487502"/>
                <a:gd name="connsiteX73" fmla="*/ 275272 w 516255"/>
                <a:gd name="connsiteY73" fmla="*/ 338912 h 487502"/>
                <a:gd name="connsiteX74" fmla="*/ 275272 w 516255"/>
                <a:gd name="connsiteY74" fmla="*/ 338912 h 487502"/>
                <a:gd name="connsiteX75" fmla="*/ 253365 w 516255"/>
                <a:gd name="connsiteY75" fmla="*/ 317005 h 487502"/>
                <a:gd name="connsiteX76" fmla="*/ 405765 w 516255"/>
                <a:gd name="connsiteY76" fmla="*/ 338912 h 487502"/>
                <a:gd name="connsiteX77" fmla="*/ 412432 w 516255"/>
                <a:gd name="connsiteY77" fmla="*/ 331292 h 487502"/>
                <a:gd name="connsiteX78" fmla="*/ 399097 w 516255"/>
                <a:gd name="connsiteY78" fmla="*/ 283667 h 487502"/>
                <a:gd name="connsiteX79" fmla="*/ 399097 w 516255"/>
                <a:gd name="connsiteY79" fmla="*/ 283667 h 487502"/>
                <a:gd name="connsiteX80" fmla="*/ 369570 w 516255"/>
                <a:gd name="connsiteY80" fmla="*/ 291287 h 487502"/>
                <a:gd name="connsiteX81" fmla="*/ 325755 w 516255"/>
                <a:gd name="connsiteY81" fmla="*/ 337960 h 487502"/>
                <a:gd name="connsiteX82" fmla="*/ 405765 w 516255"/>
                <a:gd name="connsiteY82" fmla="*/ 338912 h 487502"/>
                <a:gd name="connsiteX83" fmla="*/ 516255 w 516255"/>
                <a:gd name="connsiteY83" fmla="*/ 338912 h 487502"/>
                <a:gd name="connsiteX84" fmla="*/ 516255 w 516255"/>
                <a:gd name="connsiteY84" fmla="*/ 221755 h 487502"/>
                <a:gd name="connsiteX85" fmla="*/ 405765 w 516255"/>
                <a:gd name="connsiteY85" fmla="*/ 221755 h 487502"/>
                <a:gd name="connsiteX86" fmla="*/ 268605 w 516255"/>
                <a:gd name="connsiteY86" fmla="*/ 221755 h 487502"/>
                <a:gd name="connsiteX87" fmla="*/ 250507 w 516255"/>
                <a:gd name="connsiteY87" fmla="*/ 221755 h 487502"/>
                <a:gd name="connsiteX0" fmla="*/ 181927 w 516255"/>
                <a:gd name="connsiteY0" fmla="*/ 116205 h 474345"/>
                <a:gd name="connsiteX1" fmla="*/ 181927 w 516255"/>
                <a:gd name="connsiteY1" fmla="*/ 0 h 474345"/>
                <a:gd name="connsiteX2" fmla="*/ 459105 w 516255"/>
                <a:gd name="connsiteY2" fmla="*/ 160973 h 474345"/>
                <a:gd name="connsiteX3" fmla="*/ 448627 w 516255"/>
                <a:gd name="connsiteY3" fmla="*/ 171450 h 474345"/>
                <a:gd name="connsiteX4" fmla="*/ 244792 w 516255"/>
                <a:gd name="connsiteY4" fmla="*/ 171450 h 474345"/>
                <a:gd name="connsiteX5" fmla="*/ 320992 w 516255"/>
                <a:gd name="connsiteY5" fmla="*/ 199073 h 474345"/>
                <a:gd name="connsiteX6" fmla="*/ 320992 w 516255"/>
                <a:gd name="connsiteY6" fmla="*/ 172403 h 474345"/>
                <a:gd name="connsiteX7" fmla="*/ 162877 w 516255"/>
                <a:gd name="connsiteY7" fmla="*/ 114300 h 474345"/>
                <a:gd name="connsiteX8" fmla="*/ 75247 w 516255"/>
                <a:gd name="connsiteY8" fmla="*/ 201930 h 474345"/>
                <a:gd name="connsiteX9" fmla="*/ 162877 w 516255"/>
                <a:gd name="connsiteY9" fmla="*/ 289560 h 474345"/>
                <a:gd name="connsiteX10" fmla="*/ 250507 w 516255"/>
                <a:gd name="connsiteY10" fmla="*/ 201930 h 474345"/>
                <a:gd name="connsiteX11" fmla="*/ 162877 w 516255"/>
                <a:gd name="connsiteY11" fmla="*/ 114300 h 474345"/>
                <a:gd name="connsiteX12" fmla="*/ 388620 w 516255"/>
                <a:gd name="connsiteY12" fmla="*/ 240030 h 474345"/>
                <a:gd name="connsiteX13" fmla="*/ 394335 w 516255"/>
                <a:gd name="connsiteY13" fmla="*/ 234315 h 474345"/>
                <a:gd name="connsiteX14" fmla="*/ 388620 w 516255"/>
                <a:gd name="connsiteY14" fmla="*/ 228600 h 474345"/>
                <a:gd name="connsiteX15" fmla="*/ 382905 w 516255"/>
                <a:gd name="connsiteY15" fmla="*/ 234315 h 474345"/>
                <a:gd name="connsiteX16" fmla="*/ 388620 w 516255"/>
                <a:gd name="connsiteY16" fmla="*/ 240030 h 474345"/>
                <a:gd name="connsiteX17" fmla="*/ 388620 w 516255"/>
                <a:gd name="connsiteY17" fmla="*/ 240030 h 474345"/>
                <a:gd name="connsiteX18" fmla="*/ 376237 w 516255"/>
                <a:gd name="connsiteY18" fmla="*/ 252413 h 474345"/>
                <a:gd name="connsiteX19" fmla="*/ 381952 w 516255"/>
                <a:gd name="connsiteY19" fmla="*/ 246698 h 474345"/>
                <a:gd name="connsiteX20" fmla="*/ 376237 w 516255"/>
                <a:gd name="connsiteY20" fmla="*/ 240983 h 474345"/>
                <a:gd name="connsiteX21" fmla="*/ 370522 w 516255"/>
                <a:gd name="connsiteY21" fmla="*/ 246698 h 474345"/>
                <a:gd name="connsiteX22" fmla="*/ 376237 w 516255"/>
                <a:gd name="connsiteY22" fmla="*/ 252413 h 474345"/>
                <a:gd name="connsiteX23" fmla="*/ 376237 w 516255"/>
                <a:gd name="connsiteY23" fmla="*/ 252413 h 474345"/>
                <a:gd name="connsiteX24" fmla="*/ 364807 w 516255"/>
                <a:gd name="connsiteY24" fmla="*/ 240030 h 474345"/>
                <a:gd name="connsiteX25" fmla="*/ 370522 w 516255"/>
                <a:gd name="connsiteY25" fmla="*/ 234315 h 474345"/>
                <a:gd name="connsiteX26" fmla="*/ 364807 w 516255"/>
                <a:gd name="connsiteY26" fmla="*/ 228600 h 474345"/>
                <a:gd name="connsiteX27" fmla="*/ 359092 w 516255"/>
                <a:gd name="connsiteY27" fmla="*/ 234315 h 474345"/>
                <a:gd name="connsiteX28" fmla="*/ 364807 w 516255"/>
                <a:gd name="connsiteY28" fmla="*/ 240030 h 474345"/>
                <a:gd name="connsiteX29" fmla="*/ 364807 w 516255"/>
                <a:gd name="connsiteY29" fmla="*/ 240030 h 474345"/>
                <a:gd name="connsiteX30" fmla="*/ 376237 w 516255"/>
                <a:gd name="connsiteY30" fmla="*/ 216218 h 474345"/>
                <a:gd name="connsiteX31" fmla="*/ 370522 w 516255"/>
                <a:gd name="connsiteY31" fmla="*/ 221933 h 474345"/>
                <a:gd name="connsiteX32" fmla="*/ 376237 w 516255"/>
                <a:gd name="connsiteY32" fmla="*/ 227648 h 474345"/>
                <a:gd name="connsiteX33" fmla="*/ 381952 w 516255"/>
                <a:gd name="connsiteY33" fmla="*/ 221933 h 474345"/>
                <a:gd name="connsiteX34" fmla="*/ 376237 w 516255"/>
                <a:gd name="connsiteY34" fmla="*/ 216218 h 474345"/>
                <a:gd name="connsiteX35" fmla="*/ 376237 w 516255"/>
                <a:gd name="connsiteY35" fmla="*/ 216218 h 474345"/>
                <a:gd name="connsiteX36" fmla="*/ 312420 w 516255"/>
                <a:gd name="connsiteY36" fmla="*/ 238125 h 474345"/>
                <a:gd name="connsiteX37" fmla="*/ 316230 w 516255"/>
                <a:gd name="connsiteY37" fmla="*/ 234315 h 474345"/>
                <a:gd name="connsiteX38" fmla="*/ 312420 w 516255"/>
                <a:gd name="connsiteY38" fmla="*/ 230505 h 474345"/>
                <a:gd name="connsiteX39" fmla="*/ 304800 w 516255"/>
                <a:gd name="connsiteY39" fmla="*/ 230505 h 474345"/>
                <a:gd name="connsiteX40" fmla="*/ 304800 w 516255"/>
                <a:gd name="connsiteY40" fmla="*/ 222885 h 474345"/>
                <a:gd name="connsiteX41" fmla="*/ 300990 w 516255"/>
                <a:gd name="connsiteY41" fmla="*/ 219075 h 474345"/>
                <a:gd name="connsiteX42" fmla="*/ 297180 w 516255"/>
                <a:gd name="connsiteY42" fmla="*/ 222885 h 474345"/>
                <a:gd name="connsiteX43" fmla="*/ 297180 w 516255"/>
                <a:gd name="connsiteY43" fmla="*/ 230505 h 474345"/>
                <a:gd name="connsiteX44" fmla="*/ 289560 w 516255"/>
                <a:gd name="connsiteY44" fmla="*/ 230505 h 474345"/>
                <a:gd name="connsiteX45" fmla="*/ 285750 w 516255"/>
                <a:gd name="connsiteY45" fmla="*/ 234315 h 474345"/>
                <a:gd name="connsiteX46" fmla="*/ 289560 w 516255"/>
                <a:gd name="connsiteY46" fmla="*/ 238125 h 474345"/>
                <a:gd name="connsiteX47" fmla="*/ 297180 w 516255"/>
                <a:gd name="connsiteY47" fmla="*/ 238125 h 474345"/>
                <a:gd name="connsiteX48" fmla="*/ 297180 w 516255"/>
                <a:gd name="connsiteY48" fmla="*/ 245745 h 474345"/>
                <a:gd name="connsiteX49" fmla="*/ 300990 w 516255"/>
                <a:gd name="connsiteY49" fmla="*/ 249555 h 474345"/>
                <a:gd name="connsiteX50" fmla="*/ 304800 w 516255"/>
                <a:gd name="connsiteY50" fmla="*/ 245745 h 474345"/>
                <a:gd name="connsiteX51" fmla="*/ 304800 w 516255"/>
                <a:gd name="connsiteY51" fmla="*/ 238125 h 474345"/>
                <a:gd name="connsiteX52" fmla="*/ 312420 w 516255"/>
                <a:gd name="connsiteY52" fmla="*/ 238125 h 474345"/>
                <a:gd name="connsiteX53" fmla="*/ 312420 w 516255"/>
                <a:gd name="connsiteY53" fmla="*/ 238125 h 474345"/>
                <a:gd name="connsiteX54" fmla="*/ 371475 w 516255"/>
                <a:gd name="connsiteY54" fmla="*/ 276225 h 474345"/>
                <a:gd name="connsiteX55" fmla="*/ 339090 w 516255"/>
                <a:gd name="connsiteY55" fmla="*/ 269558 h 474345"/>
                <a:gd name="connsiteX56" fmla="*/ 269557 w 516255"/>
                <a:gd name="connsiteY56" fmla="*/ 297180 h 474345"/>
                <a:gd name="connsiteX57" fmla="*/ 293370 w 516255"/>
                <a:gd name="connsiteY57" fmla="*/ 185738 h 474345"/>
                <a:gd name="connsiteX58" fmla="*/ 339090 w 516255"/>
                <a:gd name="connsiteY58" fmla="*/ 198120 h 474345"/>
                <a:gd name="connsiteX59" fmla="*/ 384810 w 516255"/>
                <a:gd name="connsiteY59" fmla="*/ 185738 h 474345"/>
                <a:gd name="connsiteX60" fmla="*/ 384810 w 516255"/>
                <a:gd name="connsiteY60" fmla="*/ 185738 h 474345"/>
                <a:gd name="connsiteX61" fmla="*/ 420052 w 516255"/>
                <a:gd name="connsiteY61" fmla="*/ 289560 h 474345"/>
                <a:gd name="connsiteX62" fmla="*/ 469582 w 516255"/>
                <a:gd name="connsiteY62" fmla="*/ 474345 h 474345"/>
                <a:gd name="connsiteX63" fmla="*/ 469582 w 516255"/>
                <a:gd name="connsiteY63" fmla="*/ 388620 h 474345"/>
                <a:gd name="connsiteX64" fmla="*/ 406717 w 516255"/>
                <a:gd name="connsiteY64" fmla="*/ 325755 h 474345"/>
                <a:gd name="connsiteX65" fmla="*/ 62865 w 516255"/>
                <a:gd name="connsiteY65" fmla="*/ 325755 h 474345"/>
                <a:gd name="connsiteX66" fmla="*/ 0 w 516255"/>
                <a:gd name="connsiteY66" fmla="*/ 388620 h 474345"/>
                <a:gd name="connsiteX67" fmla="*/ 0 w 516255"/>
                <a:gd name="connsiteY67" fmla="*/ 474345 h 474345"/>
                <a:gd name="connsiteX68" fmla="*/ 253365 w 516255"/>
                <a:gd name="connsiteY68" fmla="*/ 303848 h 474345"/>
                <a:gd name="connsiteX69" fmla="*/ 66675 w 516255"/>
                <a:gd name="connsiteY69" fmla="*/ 303848 h 474345"/>
                <a:gd name="connsiteX70" fmla="*/ 44767 w 516255"/>
                <a:gd name="connsiteY70" fmla="*/ 325755 h 474345"/>
                <a:gd name="connsiteX71" fmla="*/ 44767 w 516255"/>
                <a:gd name="connsiteY71" fmla="*/ 325755 h 474345"/>
                <a:gd name="connsiteX72" fmla="*/ 275272 w 516255"/>
                <a:gd name="connsiteY72" fmla="*/ 325755 h 474345"/>
                <a:gd name="connsiteX73" fmla="*/ 275272 w 516255"/>
                <a:gd name="connsiteY73" fmla="*/ 325755 h 474345"/>
                <a:gd name="connsiteX74" fmla="*/ 253365 w 516255"/>
                <a:gd name="connsiteY74" fmla="*/ 303848 h 474345"/>
                <a:gd name="connsiteX75" fmla="*/ 405765 w 516255"/>
                <a:gd name="connsiteY75" fmla="*/ 325755 h 474345"/>
                <a:gd name="connsiteX76" fmla="*/ 412432 w 516255"/>
                <a:gd name="connsiteY76" fmla="*/ 318135 h 474345"/>
                <a:gd name="connsiteX77" fmla="*/ 399097 w 516255"/>
                <a:gd name="connsiteY77" fmla="*/ 270510 h 474345"/>
                <a:gd name="connsiteX78" fmla="*/ 399097 w 516255"/>
                <a:gd name="connsiteY78" fmla="*/ 270510 h 474345"/>
                <a:gd name="connsiteX79" fmla="*/ 369570 w 516255"/>
                <a:gd name="connsiteY79" fmla="*/ 278130 h 474345"/>
                <a:gd name="connsiteX80" fmla="*/ 325755 w 516255"/>
                <a:gd name="connsiteY80" fmla="*/ 324803 h 474345"/>
                <a:gd name="connsiteX81" fmla="*/ 405765 w 516255"/>
                <a:gd name="connsiteY81" fmla="*/ 325755 h 474345"/>
                <a:gd name="connsiteX82" fmla="*/ 516255 w 516255"/>
                <a:gd name="connsiteY82" fmla="*/ 325755 h 474345"/>
                <a:gd name="connsiteX83" fmla="*/ 516255 w 516255"/>
                <a:gd name="connsiteY83" fmla="*/ 208598 h 474345"/>
                <a:gd name="connsiteX84" fmla="*/ 405765 w 516255"/>
                <a:gd name="connsiteY84" fmla="*/ 208598 h 474345"/>
                <a:gd name="connsiteX85" fmla="*/ 268605 w 516255"/>
                <a:gd name="connsiteY85" fmla="*/ 208598 h 474345"/>
                <a:gd name="connsiteX86" fmla="*/ 250507 w 516255"/>
                <a:gd name="connsiteY86" fmla="*/ 208598 h 474345"/>
                <a:gd name="connsiteX0" fmla="*/ 181927 w 516255"/>
                <a:gd name="connsiteY0" fmla="*/ 1905 h 360045"/>
                <a:gd name="connsiteX1" fmla="*/ 459105 w 516255"/>
                <a:gd name="connsiteY1" fmla="*/ 46673 h 360045"/>
                <a:gd name="connsiteX2" fmla="*/ 448627 w 516255"/>
                <a:gd name="connsiteY2" fmla="*/ 57150 h 360045"/>
                <a:gd name="connsiteX3" fmla="*/ 244792 w 516255"/>
                <a:gd name="connsiteY3" fmla="*/ 57150 h 360045"/>
                <a:gd name="connsiteX4" fmla="*/ 320992 w 516255"/>
                <a:gd name="connsiteY4" fmla="*/ 84773 h 360045"/>
                <a:gd name="connsiteX5" fmla="*/ 320992 w 516255"/>
                <a:gd name="connsiteY5" fmla="*/ 58103 h 360045"/>
                <a:gd name="connsiteX6" fmla="*/ 162877 w 516255"/>
                <a:gd name="connsiteY6" fmla="*/ 0 h 360045"/>
                <a:gd name="connsiteX7" fmla="*/ 75247 w 516255"/>
                <a:gd name="connsiteY7" fmla="*/ 87630 h 360045"/>
                <a:gd name="connsiteX8" fmla="*/ 162877 w 516255"/>
                <a:gd name="connsiteY8" fmla="*/ 175260 h 360045"/>
                <a:gd name="connsiteX9" fmla="*/ 250507 w 516255"/>
                <a:gd name="connsiteY9" fmla="*/ 87630 h 360045"/>
                <a:gd name="connsiteX10" fmla="*/ 162877 w 516255"/>
                <a:gd name="connsiteY10" fmla="*/ 0 h 360045"/>
                <a:gd name="connsiteX11" fmla="*/ 388620 w 516255"/>
                <a:gd name="connsiteY11" fmla="*/ 125730 h 360045"/>
                <a:gd name="connsiteX12" fmla="*/ 394335 w 516255"/>
                <a:gd name="connsiteY12" fmla="*/ 120015 h 360045"/>
                <a:gd name="connsiteX13" fmla="*/ 388620 w 516255"/>
                <a:gd name="connsiteY13" fmla="*/ 114300 h 360045"/>
                <a:gd name="connsiteX14" fmla="*/ 382905 w 516255"/>
                <a:gd name="connsiteY14" fmla="*/ 120015 h 360045"/>
                <a:gd name="connsiteX15" fmla="*/ 388620 w 516255"/>
                <a:gd name="connsiteY15" fmla="*/ 125730 h 360045"/>
                <a:gd name="connsiteX16" fmla="*/ 388620 w 516255"/>
                <a:gd name="connsiteY16" fmla="*/ 125730 h 360045"/>
                <a:gd name="connsiteX17" fmla="*/ 376237 w 516255"/>
                <a:gd name="connsiteY17" fmla="*/ 138113 h 360045"/>
                <a:gd name="connsiteX18" fmla="*/ 381952 w 516255"/>
                <a:gd name="connsiteY18" fmla="*/ 132398 h 360045"/>
                <a:gd name="connsiteX19" fmla="*/ 376237 w 516255"/>
                <a:gd name="connsiteY19" fmla="*/ 126683 h 360045"/>
                <a:gd name="connsiteX20" fmla="*/ 370522 w 516255"/>
                <a:gd name="connsiteY20" fmla="*/ 132398 h 360045"/>
                <a:gd name="connsiteX21" fmla="*/ 376237 w 516255"/>
                <a:gd name="connsiteY21" fmla="*/ 138113 h 360045"/>
                <a:gd name="connsiteX22" fmla="*/ 376237 w 516255"/>
                <a:gd name="connsiteY22" fmla="*/ 138113 h 360045"/>
                <a:gd name="connsiteX23" fmla="*/ 364807 w 516255"/>
                <a:gd name="connsiteY23" fmla="*/ 125730 h 360045"/>
                <a:gd name="connsiteX24" fmla="*/ 370522 w 516255"/>
                <a:gd name="connsiteY24" fmla="*/ 120015 h 360045"/>
                <a:gd name="connsiteX25" fmla="*/ 364807 w 516255"/>
                <a:gd name="connsiteY25" fmla="*/ 114300 h 360045"/>
                <a:gd name="connsiteX26" fmla="*/ 359092 w 516255"/>
                <a:gd name="connsiteY26" fmla="*/ 120015 h 360045"/>
                <a:gd name="connsiteX27" fmla="*/ 364807 w 516255"/>
                <a:gd name="connsiteY27" fmla="*/ 125730 h 360045"/>
                <a:gd name="connsiteX28" fmla="*/ 364807 w 516255"/>
                <a:gd name="connsiteY28" fmla="*/ 125730 h 360045"/>
                <a:gd name="connsiteX29" fmla="*/ 376237 w 516255"/>
                <a:gd name="connsiteY29" fmla="*/ 101918 h 360045"/>
                <a:gd name="connsiteX30" fmla="*/ 370522 w 516255"/>
                <a:gd name="connsiteY30" fmla="*/ 107633 h 360045"/>
                <a:gd name="connsiteX31" fmla="*/ 376237 w 516255"/>
                <a:gd name="connsiteY31" fmla="*/ 113348 h 360045"/>
                <a:gd name="connsiteX32" fmla="*/ 381952 w 516255"/>
                <a:gd name="connsiteY32" fmla="*/ 107633 h 360045"/>
                <a:gd name="connsiteX33" fmla="*/ 376237 w 516255"/>
                <a:gd name="connsiteY33" fmla="*/ 101918 h 360045"/>
                <a:gd name="connsiteX34" fmla="*/ 376237 w 516255"/>
                <a:gd name="connsiteY34" fmla="*/ 101918 h 360045"/>
                <a:gd name="connsiteX35" fmla="*/ 312420 w 516255"/>
                <a:gd name="connsiteY35" fmla="*/ 123825 h 360045"/>
                <a:gd name="connsiteX36" fmla="*/ 316230 w 516255"/>
                <a:gd name="connsiteY36" fmla="*/ 120015 h 360045"/>
                <a:gd name="connsiteX37" fmla="*/ 312420 w 516255"/>
                <a:gd name="connsiteY37" fmla="*/ 116205 h 360045"/>
                <a:gd name="connsiteX38" fmla="*/ 304800 w 516255"/>
                <a:gd name="connsiteY38" fmla="*/ 116205 h 360045"/>
                <a:gd name="connsiteX39" fmla="*/ 304800 w 516255"/>
                <a:gd name="connsiteY39" fmla="*/ 108585 h 360045"/>
                <a:gd name="connsiteX40" fmla="*/ 300990 w 516255"/>
                <a:gd name="connsiteY40" fmla="*/ 104775 h 360045"/>
                <a:gd name="connsiteX41" fmla="*/ 297180 w 516255"/>
                <a:gd name="connsiteY41" fmla="*/ 108585 h 360045"/>
                <a:gd name="connsiteX42" fmla="*/ 297180 w 516255"/>
                <a:gd name="connsiteY42" fmla="*/ 116205 h 360045"/>
                <a:gd name="connsiteX43" fmla="*/ 289560 w 516255"/>
                <a:gd name="connsiteY43" fmla="*/ 116205 h 360045"/>
                <a:gd name="connsiteX44" fmla="*/ 285750 w 516255"/>
                <a:gd name="connsiteY44" fmla="*/ 120015 h 360045"/>
                <a:gd name="connsiteX45" fmla="*/ 289560 w 516255"/>
                <a:gd name="connsiteY45" fmla="*/ 123825 h 360045"/>
                <a:gd name="connsiteX46" fmla="*/ 297180 w 516255"/>
                <a:gd name="connsiteY46" fmla="*/ 123825 h 360045"/>
                <a:gd name="connsiteX47" fmla="*/ 297180 w 516255"/>
                <a:gd name="connsiteY47" fmla="*/ 131445 h 360045"/>
                <a:gd name="connsiteX48" fmla="*/ 300990 w 516255"/>
                <a:gd name="connsiteY48" fmla="*/ 135255 h 360045"/>
                <a:gd name="connsiteX49" fmla="*/ 304800 w 516255"/>
                <a:gd name="connsiteY49" fmla="*/ 131445 h 360045"/>
                <a:gd name="connsiteX50" fmla="*/ 304800 w 516255"/>
                <a:gd name="connsiteY50" fmla="*/ 123825 h 360045"/>
                <a:gd name="connsiteX51" fmla="*/ 312420 w 516255"/>
                <a:gd name="connsiteY51" fmla="*/ 123825 h 360045"/>
                <a:gd name="connsiteX52" fmla="*/ 312420 w 516255"/>
                <a:gd name="connsiteY52" fmla="*/ 123825 h 360045"/>
                <a:gd name="connsiteX53" fmla="*/ 371475 w 516255"/>
                <a:gd name="connsiteY53" fmla="*/ 161925 h 360045"/>
                <a:gd name="connsiteX54" fmla="*/ 339090 w 516255"/>
                <a:gd name="connsiteY54" fmla="*/ 155258 h 360045"/>
                <a:gd name="connsiteX55" fmla="*/ 269557 w 516255"/>
                <a:gd name="connsiteY55" fmla="*/ 182880 h 360045"/>
                <a:gd name="connsiteX56" fmla="*/ 293370 w 516255"/>
                <a:gd name="connsiteY56" fmla="*/ 71438 h 360045"/>
                <a:gd name="connsiteX57" fmla="*/ 339090 w 516255"/>
                <a:gd name="connsiteY57" fmla="*/ 83820 h 360045"/>
                <a:gd name="connsiteX58" fmla="*/ 384810 w 516255"/>
                <a:gd name="connsiteY58" fmla="*/ 71438 h 360045"/>
                <a:gd name="connsiteX59" fmla="*/ 384810 w 516255"/>
                <a:gd name="connsiteY59" fmla="*/ 71438 h 360045"/>
                <a:gd name="connsiteX60" fmla="*/ 420052 w 516255"/>
                <a:gd name="connsiteY60" fmla="*/ 175260 h 360045"/>
                <a:gd name="connsiteX61" fmla="*/ 469582 w 516255"/>
                <a:gd name="connsiteY61" fmla="*/ 360045 h 360045"/>
                <a:gd name="connsiteX62" fmla="*/ 469582 w 516255"/>
                <a:gd name="connsiteY62" fmla="*/ 274320 h 360045"/>
                <a:gd name="connsiteX63" fmla="*/ 406717 w 516255"/>
                <a:gd name="connsiteY63" fmla="*/ 211455 h 360045"/>
                <a:gd name="connsiteX64" fmla="*/ 62865 w 516255"/>
                <a:gd name="connsiteY64" fmla="*/ 211455 h 360045"/>
                <a:gd name="connsiteX65" fmla="*/ 0 w 516255"/>
                <a:gd name="connsiteY65" fmla="*/ 274320 h 360045"/>
                <a:gd name="connsiteX66" fmla="*/ 0 w 516255"/>
                <a:gd name="connsiteY66" fmla="*/ 360045 h 360045"/>
                <a:gd name="connsiteX67" fmla="*/ 253365 w 516255"/>
                <a:gd name="connsiteY67" fmla="*/ 189548 h 360045"/>
                <a:gd name="connsiteX68" fmla="*/ 66675 w 516255"/>
                <a:gd name="connsiteY68" fmla="*/ 189548 h 360045"/>
                <a:gd name="connsiteX69" fmla="*/ 44767 w 516255"/>
                <a:gd name="connsiteY69" fmla="*/ 211455 h 360045"/>
                <a:gd name="connsiteX70" fmla="*/ 44767 w 516255"/>
                <a:gd name="connsiteY70" fmla="*/ 211455 h 360045"/>
                <a:gd name="connsiteX71" fmla="*/ 275272 w 516255"/>
                <a:gd name="connsiteY71" fmla="*/ 211455 h 360045"/>
                <a:gd name="connsiteX72" fmla="*/ 275272 w 516255"/>
                <a:gd name="connsiteY72" fmla="*/ 211455 h 360045"/>
                <a:gd name="connsiteX73" fmla="*/ 253365 w 516255"/>
                <a:gd name="connsiteY73" fmla="*/ 189548 h 360045"/>
                <a:gd name="connsiteX74" fmla="*/ 405765 w 516255"/>
                <a:gd name="connsiteY74" fmla="*/ 211455 h 360045"/>
                <a:gd name="connsiteX75" fmla="*/ 412432 w 516255"/>
                <a:gd name="connsiteY75" fmla="*/ 203835 h 360045"/>
                <a:gd name="connsiteX76" fmla="*/ 399097 w 516255"/>
                <a:gd name="connsiteY76" fmla="*/ 156210 h 360045"/>
                <a:gd name="connsiteX77" fmla="*/ 399097 w 516255"/>
                <a:gd name="connsiteY77" fmla="*/ 156210 h 360045"/>
                <a:gd name="connsiteX78" fmla="*/ 369570 w 516255"/>
                <a:gd name="connsiteY78" fmla="*/ 163830 h 360045"/>
                <a:gd name="connsiteX79" fmla="*/ 325755 w 516255"/>
                <a:gd name="connsiteY79" fmla="*/ 210503 h 360045"/>
                <a:gd name="connsiteX80" fmla="*/ 405765 w 516255"/>
                <a:gd name="connsiteY80" fmla="*/ 211455 h 360045"/>
                <a:gd name="connsiteX81" fmla="*/ 516255 w 516255"/>
                <a:gd name="connsiteY81" fmla="*/ 211455 h 360045"/>
                <a:gd name="connsiteX82" fmla="*/ 516255 w 516255"/>
                <a:gd name="connsiteY82" fmla="*/ 94298 h 360045"/>
                <a:gd name="connsiteX83" fmla="*/ 405765 w 516255"/>
                <a:gd name="connsiteY83" fmla="*/ 94298 h 360045"/>
                <a:gd name="connsiteX84" fmla="*/ 268605 w 516255"/>
                <a:gd name="connsiteY84" fmla="*/ 94298 h 360045"/>
                <a:gd name="connsiteX85" fmla="*/ 250507 w 516255"/>
                <a:gd name="connsiteY85" fmla="*/ 94298 h 360045"/>
                <a:gd name="connsiteX0" fmla="*/ 181927 w 516255"/>
                <a:gd name="connsiteY0" fmla="*/ 1905 h 360045"/>
                <a:gd name="connsiteX1" fmla="*/ 448627 w 516255"/>
                <a:gd name="connsiteY1" fmla="*/ 57150 h 360045"/>
                <a:gd name="connsiteX2" fmla="*/ 244792 w 516255"/>
                <a:gd name="connsiteY2" fmla="*/ 57150 h 360045"/>
                <a:gd name="connsiteX3" fmla="*/ 320992 w 516255"/>
                <a:gd name="connsiteY3" fmla="*/ 84773 h 360045"/>
                <a:gd name="connsiteX4" fmla="*/ 320992 w 516255"/>
                <a:gd name="connsiteY4" fmla="*/ 58103 h 360045"/>
                <a:gd name="connsiteX5" fmla="*/ 162877 w 516255"/>
                <a:gd name="connsiteY5" fmla="*/ 0 h 360045"/>
                <a:gd name="connsiteX6" fmla="*/ 75247 w 516255"/>
                <a:gd name="connsiteY6" fmla="*/ 87630 h 360045"/>
                <a:gd name="connsiteX7" fmla="*/ 162877 w 516255"/>
                <a:gd name="connsiteY7" fmla="*/ 175260 h 360045"/>
                <a:gd name="connsiteX8" fmla="*/ 250507 w 516255"/>
                <a:gd name="connsiteY8" fmla="*/ 87630 h 360045"/>
                <a:gd name="connsiteX9" fmla="*/ 162877 w 516255"/>
                <a:gd name="connsiteY9" fmla="*/ 0 h 360045"/>
                <a:gd name="connsiteX10" fmla="*/ 388620 w 516255"/>
                <a:gd name="connsiteY10" fmla="*/ 125730 h 360045"/>
                <a:gd name="connsiteX11" fmla="*/ 394335 w 516255"/>
                <a:gd name="connsiteY11" fmla="*/ 120015 h 360045"/>
                <a:gd name="connsiteX12" fmla="*/ 388620 w 516255"/>
                <a:gd name="connsiteY12" fmla="*/ 114300 h 360045"/>
                <a:gd name="connsiteX13" fmla="*/ 382905 w 516255"/>
                <a:gd name="connsiteY13" fmla="*/ 120015 h 360045"/>
                <a:gd name="connsiteX14" fmla="*/ 388620 w 516255"/>
                <a:gd name="connsiteY14" fmla="*/ 125730 h 360045"/>
                <a:gd name="connsiteX15" fmla="*/ 388620 w 516255"/>
                <a:gd name="connsiteY15" fmla="*/ 125730 h 360045"/>
                <a:gd name="connsiteX16" fmla="*/ 376237 w 516255"/>
                <a:gd name="connsiteY16" fmla="*/ 138113 h 360045"/>
                <a:gd name="connsiteX17" fmla="*/ 381952 w 516255"/>
                <a:gd name="connsiteY17" fmla="*/ 132398 h 360045"/>
                <a:gd name="connsiteX18" fmla="*/ 376237 w 516255"/>
                <a:gd name="connsiteY18" fmla="*/ 126683 h 360045"/>
                <a:gd name="connsiteX19" fmla="*/ 370522 w 516255"/>
                <a:gd name="connsiteY19" fmla="*/ 132398 h 360045"/>
                <a:gd name="connsiteX20" fmla="*/ 376237 w 516255"/>
                <a:gd name="connsiteY20" fmla="*/ 138113 h 360045"/>
                <a:gd name="connsiteX21" fmla="*/ 376237 w 516255"/>
                <a:gd name="connsiteY21" fmla="*/ 138113 h 360045"/>
                <a:gd name="connsiteX22" fmla="*/ 364807 w 516255"/>
                <a:gd name="connsiteY22" fmla="*/ 125730 h 360045"/>
                <a:gd name="connsiteX23" fmla="*/ 370522 w 516255"/>
                <a:gd name="connsiteY23" fmla="*/ 120015 h 360045"/>
                <a:gd name="connsiteX24" fmla="*/ 364807 w 516255"/>
                <a:gd name="connsiteY24" fmla="*/ 114300 h 360045"/>
                <a:gd name="connsiteX25" fmla="*/ 359092 w 516255"/>
                <a:gd name="connsiteY25" fmla="*/ 120015 h 360045"/>
                <a:gd name="connsiteX26" fmla="*/ 364807 w 516255"/>
                <a:gd name="connsiteY26" fmla="*/ 125730 h 360045"/>
                <a:gd name="connsiteX27" fmla="*/ 364807 w 516255"/>
                <a:gd name="connsiteY27" fmla="*/ 125730 h 360045"/>
                <a:gd name="connsiteX28" fmla="*/ 376237 w 516255"/>
                <a:gd name="connsiteY28" fmla="*/ 101918 h 360045"/>
                <a:gd name="connsiteX29" fmla="*/ 370522 w 516255"/>
                <a:gd name="connsiteY29" fmla="*/ 107633 h 360045"/>
                <a:gd name="connsiteX30" fmla="*/ 376237 w 516255"/>
                <a:gd name="connsiteY30" fmla="*/ 113348 h 360045"/>
                <a:gd name="connsiteX31" fmla="*/ 381952 w 516255"/>
                <a:gd name="connsiteY31" fmla="*/ 107633 h 360045"/>
                <a:gd name="connsiteX32" fmla="*/ 376237 w 516255"/>
                <a:gd name="connsiteY32" fmla="*/ 101918 h 360045"/>
                <a:gd name="connsiteX33" fmla="*/ 376237 w 516255"/>
                <a:gd name="connsiteY33" fmla="*/ 101918 h 360045"/>
                <a:gd name="connsiteX34" fmla="*/ 312420 w 516255"/>
                <a:gd name="connsiteY34" fmla="*/ 123825 h 360045"/>
                <a:gd name="connsiteX35" fmla="*/ 316230 w 516255"/>
                <a:gd name="connsiteY35" fmla="*/ 120015 h 360045"/>
                <a:gd name="connsiteX36" fmla="*/ 312420 w 516255"/>
                <a:gd name="connsiteY36" fmla="*/ 116205 h 360045"/>
                <a:gd name="connsiteX37" fmla="*/ 304800 w 516255"/>
                <a:gd name="connsiteY37" fmla="*/ 116205 h 360045"/>
                <a:gd name="connsiteX38" fmla="*/ 304800 w 516255"/>
                <a:gd name="connsiteY38" fmla="*/ 108585 h 360045"/>
                <a:gd name="connsiteX39" fmla="*/ 300990 w 516255"/>
                <a:gd name="connsiteY39" fmla="*/ 104775 h 360045"/>
                <a:gd name="connsiteX40" fmla="*/ 297180 w 516255"/>
                <a:gd name="connsiteY40" fmla="*/ 108585 h 360045"/>
                <a:gd name="connsiteX41" fmla="*/ 297180 w 516255"/>
                <a:gd name="connsiteY41" fmla="*/ 116205 h 360045"/>
                <a:gd name="connsiteX42" fmla="*/ 289560 w 516255"/>
                <a:gd name="connsiteY42" fmla="*/ 116205 h 360045"/>
                <a:gd name="connsiteX43" fmla="*/ 285750 w 516255"/>
                <a:gd name="connsiteY43" fmla="*/ 120015 h 360045"/>
                <a:gd name="connsiteX44" fmla="*/ 289560 w 516255"/>
                <a:gd name="connsiteY44" fmla="*/ 123825 h 360045"/>
                <a:gd name="connsiteX45" fmla="*/ 297180 w 516255"/>
                <a:gd name="connsiteY45" fmla="*/ 123825 h 360045"/>
                <a:gd name="connsiteX46" fmla="*/ 297180 w 516255"/>
                <a:gd name="connsiteY46" fmla="*/ 131445 h 360045"/>
                <a:gd name="connsiteX47" fmla="*/ 300990 w 516255"/>
                <a:gd name="connsiteY47" fmla="*/ 135255 h 360045"/>
                <a:gd name="connsiteX48" fmla="*/ 304800 w 516255"/>
                <a:gd name="connsiteY48" fmla="*/ 131445 h 360045"/>
                <a:gd name="connsiteX49" fmla="*/ 304800 w 516255"/>
                <a:gd name="connsiteY49" fmla="*/ 123825 h 360045"/>
                <a:gd name="connsiteX50" fmla="*/ 312420 w 516255"/>
                <a:gd name="connsiteY50" fmla="*/ 123825 h 360045"/>
                <a:gd name="connsiteX51" fmla="*/ 312420 w 516255"/>
                <a:gd name="connsiteY51" fmla="*/ 123825 h 360045"/>
                <a:gd name="connsiteX52" fmla="*/ 371475 w 516255"/>
                <a:gd name="connsiteY52" fmla="*/ 161925 h 360045"/>
                <a:gd name="connsiteX53" fmla="*/ 339090 w 516255"/>
                <a:gd name="connsiteY53" fmla="*/ 155258 h 360045"/>
                <a:gd name="connsiteX54" fmla="*/ 269557 w 516255"/>
                <a:gd name="connsiteY54" fmla="*/ 182880 h 360045"/>
                <a:gd name="connsiteX55" fmla="*/ 293370 w 516255"/>
                <a:gd name="connsiteY55" fmla="*/ 71438 h 360045"/>
                <a:gd name="connsiteX56" fmla="*/ 339090 w 516255"/>
                <a:gd name="connsiteY56" fmla="*/ 83820 h 360045"/>
                <a:gd name="connsiteX57" fmla="*/ 384810 w 516255"/>
                <a:gd name="connsiteY57" fmla="*/ 71438 h 360045"/>
                <a:gd name="connsiteX58" fmla="*/ 384810 w 516255"/>
                <a:gd name="connsiteY58" fmla="*/ 71438 h 360045"/>
                <a:gd name="connsiteX59" fmla="*/ 420052 w 516255"/>
                <a:gd name="connsiteY59" fmla="*/ 175260 h 360045"/>
                <a:gd name="connsiteX60" fmla="*/ 469582 w 516255"/>
                <a:gd name="connsiteY60" fmla="*/ 360045 h 360045"/>
                <a:gd name="connsiteX61" fmla="*/ 469582 w 516255"/>
                <a:gd name="connsiteY61" fmla="*/ 274320 h 360045"/>
                <a:gd name="connsiteX62" fmla="*/ 406717 w 516255"/>
                <a:gd name="connsiteY62" fmla="*/ 211455 h 360045"/>
                <a:gd name="connsiteX63" fmla="*/ 62865 w 516255"/>
                <a:gd name="connsiteY63" fmla="*/ 211455 h 360045"/>
                <a:gd name="connsiteX64" fmla="*/ 0 w 516255"/>
                <a:gd name="connsiteY64" fmla="*/ 274320 h 360045"/>
                <a:gd name="connsiteX65" fmla="*/ 0 w 516255"/>
                <a:gd name="connsiteY65" fmla="*/ 360045 h 360045"/>
                <a:gd name="connsiteX66" fmla="*/ 253365 w 516255"/>
                <a:gd name="connsiteY66" fmla="*/ 189548 h 360045"/>
                <a:gd name="connsiteX67" fmla="*/ 66675 w 516255"/>
                <a:gd name="connsiteY67" fmla="*/ 189548 h 360045"/>
                <a:gd name="connsiteX68" fmla="*/ 44767 w 516255"/>
                <a:gd name="connsiteY68" fmla="*/ 211455 h 360045"/>
                <a:gd name="connsiteX69" fmla="*/ 44767 w 516255"/>
                <a:gd name="connsiteY69" fmla="*/ 211455 h 360045"/>
                <a:gd name="connsiteX70" fmla="*/ 275272 w 516255"/>
                <a:gd name="connsiteY70" fmla="*/ 211455 h 360045"/>
                <a:gd name="connsiteX71" fmla="*/ 275272 w 516255"/>
                <a:gd name="connsiteY71" fmla="*/ 211455 h 360045"/>
                <a:gd name="connsiteX72" fmla="*/ 253365 w 516255"/>
                <a:gd name="connsiteY72" fmla="*/ 189548 h 360045"/>
                <a:gd name="connsiteX73" fmla="*/ 405765 w 516255"/>
                <a:gd name="connsiteY73" fmla="*/ 211455 h 360045"/>
                <a:gd name="connsiteX74" fmla="*/ 412432 w 516255"/>
                <a:gd name="connsiteY74" fmla="*/ 203835 h 360045"/>
                <a:gd name="connsiteX75" fmla="*/ 399097 w 516255"/>
                <a:gd name="connsiteY75" fmla="*/ 156210 h 360045"/>
                <a:gd name="connsiteX76" fmla="*/ 399097 w 516255"/>
                <a:gd name="connsiteY76" fmla="*/ 156210 h 360045"/>
                <a:gd name="connsiteX77" fmla="*/ 369570 w 516255"/>
                <a:gd name="connsiteY77" fmla="*/ 163830 h 360045"/>
                <a:gd name="connsiteX78" fmla="*/ 325755 w 516255"/>
                <a:gd name="connsiteY78" fmla="*/ 210503 h 360045"/>
                <a:gd name="connsiteX79" fmla="*/ 405765 w 516255"/>
                <a:gd name="connsiteY79" fmla="*/ 211455 h 360045"/>
                <a:gd name="connsiteX80" fmla="*/ 516255 w 516255"/>
                <a:gd name="connsiteY80" fmla="*/ 211455 h 360045"/>
                <a:gd name="connsiteX81" fmla="*/ 516255 w 516255"/>
                <a:gd name="connsiteY81" fmla="*/ 94298 h 360045"/>
                <a:gd name="connsiteX82" fmla="*/ 405765 w 516255"/>
                <a:gd name="connsiteY82" fmla="*/ 94298 h 360045"/>
                <a:gd name="connsiteX83" fmla="*/ 268605 w 516255"/>
                <a:gd name="connsiteY83" fmla="*/ 94298 h 360045"/>
                <a:gd name="connsiteX84" fmla="*/ 250507 w 516255"/>
                <a:gd name="connsiteY84" fmla="*/ 94298 h 360045"/>
                <a:gd name="connsiteX0" fmla="*/ 181927 w 516255"/>
                <a:gd name="connsiteY0" fmla="*/ 1905 h 360045"/>
                <a:gd name="connsiteX1" fmla="*/ 244792 w 516255"/>
                <a:gd name="connsiteY1" fmla="*/ 57150 h 360045"/>
                <a:gd name="connsiteX2" fmla="*/ 320992 w 516255"/>
                <a:gd name="connsiteY2" fmla="*/ 84773 h 360045"/>
                <a:gd name="connsiteX3" fmla="*/ 320992 w 516255"/>
                <a:gd name="connsiteY3" fmla="*/ 58103 h 360045"/>
                <a:gd name="connsiteX4" fmla="*/ 162877 w 516255"/>
                <a:gd name="connsiteY4" fmla="*/ 0 h 360045"/>
                <a:gd name="connsiteX5" fmla="*/ 75247 w 516255"/>
                <a:gd name="connsiteY5" fmla="*/ 87630 h 360045"/>
                <a:gd name="connsiteX6" fmla="*/ 162877 w 516255"/>
                <a:gd name="connsiteY6" fmla="*/ 175260 h 360045"/>
                <a:gd name="connsiteX7" fmla="*/ 250507 w 516255"/>
                <a:gd name="connsiteY7" fmla="*/ 87630 h 360045"/>
                <a:gd name="connsiteX8" fmla="*/ 162877 w 516255"/>
                <a:gd name="connsiteY8" fmla="*/ 0 h 360045"/>
                <a:gd name="connsiteX9" fmla="*/ 388620 w 516255"/>
                <a:gd name="connsiteY9" fmla="*/ 125730 h 360045"/>
                <a:gd name="connsiteX10" fmla="*/ 394335 w 516255"/>
                <a:gd name="connsiteY10" fmla="*/ 120015 h 360045"/>
                <a:gd name="connsiteX11" fmla="*/ 388620 w 516255"/>
                <a:gd name="connsiteY11" fmla="*/ 114300 h 360045"/>
                <a:gd name="connsiteX12" fmla="*/ 382905 w 516255"/>
                <a:gd name="connsiteY12" fmla="*/ 120015 h 360045"/>
                <a:gd name="connsiteX13" fmla="*/ 388620 w 516255"/>
                <a:gd name="connsiteY13" fmla="*/ 125730 h 360045"/>
                <a:gd name="connsiteX14" fmla="*/ 388620 w 516255"/>
                <a:gd name="connsiteY14" fmla="*/ 125730 h 360045"/>
                <a:gd name="connsiteX15" fmla="*/ 376237 w 516255"/>
                <a:gd name="connsiteY15" fmla="*/ 138113 h 360045"/>
                <a:gd name="connsiteX16" fmla="*/ 381952 w 516255"/>
                <a:gd name="connsiteY16" fmla="*/ 132398 h 360045"/>
                <a:gd name="connsiteX17" fmla="*/ 376237 w 516255"/>
                <a:gd name="connsiteY17" fmla="*/ 126683 h 360045"/>
                <a:gd name="connsiteX18" fmla="*/ 370522 w 516255"/>
                <a:gd name="connsiteY18" fmla="*/ 132398 h 360045"/>
                <a:gd name="connsiteX19" fmla="*/ 376237 w 516255"/>
                <a:gd name="connsiteY19" fmla="*/ 138113 h 360045"/>
                <a:gd name="connsiteX20" fmla="*/ 376237 w 516255"/>
                <a:gd name="connsiteY20" fmla="*/ 138113 h 360045"/>
                <a:gd name="connsiteX21" fmla="*/ 364807 w 516255"/>
                <a:gd name="connsiteY21" fmla="*/ 125730 h 360045"/>
                <a:gd name="connsiteX22" fmla="*/ 370522 w 516255"/>
                <a:gd name="connsiteY22" fmla="*/ 120015 h 360045"/>
                <a:gd name="connsiteX23" fmla="*/ 364807 w 516255"/>
                <a:gd name="connsiteY23" fmla="*/ 114300 h 360045"/>
                <a:gd name="connsiteX24" fmla="*/ 359092 w 516255"/>
                <a:gd name="connsiteY24" fmla="*/ 120015 h 360045"/>
                <a:gd name="connsiteX25" fmla="*/ 364807 w 516255"/>
                <a:gd name="connsiteY25" fmla="*/ 125730 h 360045"/>
                <a:gd name="connsiteX26" fmla="*/ 364807 w 516255"/>
                <a:gd name="connsiteY26" fmla="*/ 125730 h 360045"/>
                <a:gd name="connsiteX27" fmla="*/ 376237 w 516255"/>
                <a:gd name="connsiteY27" fmla="*/ 101918 h 360045"/>
                <a:gd name="connsiteX28" fmla="*/ 370522 w 516255"/>
                <a:gd name="connsiteY28" fmla="*/ 107633 h 360045"/>
                <a:gd name="connsiteX29" fmla="*/ 376237 w 516255"/>
                <a:gd name="connsiteY29" fmla="*/ 113348 h 360045"/>
                <a:gd name="connsiteX30" fmla="*/ 381952 w 516255"/>
                <a:gd name="connsiteY30" fmla="*/ 107633 h 360045"/>
                <a:gd name="connsiteX31" fmla="*/ 376237 w 516255"/>
                <a:gd name="connsiteY31" fmla="*/ 101918 h 360045"/>
                <a:gd name="connsiteX32" fmla="*/ 376237 w 516255"/>
                <a:gd name="connsiteY32" fmla="*/ 101918 h 360045"/>
                <a:gd name="connsiteX33" fmla="*/ 312420 w 516255"/>
                <a:gd name="connsiteY33" fmla="*/ 123825 h 360045"/>
                <a:gd name="connsiteX34" fmla="*/ 316230 w 516255"/>
                <a:gd name="connsiteY34" fmla="*/ 120015 h 360045"/>
                <a:gd name="connsiteX35" fmla="*/ 312420 w 516255"/>
                <a:gd name="connsiteY35" fmla="*/ 116205 h 360045"/>
                <a:gd name="connsiteX36" fmla="*/ 304800 w 516255"/>
                <a:gd name="connsiteY36" fmla="*/ 116205 h 360045"/>
                <a:gd name="connsiteX37" fmla="*/ 304800 w 516255"/>
                <a:gd name="connsiteY37" fmla="*/ 108585 h 360045"/>
                <a:gd name="connsiteX38" fmla="*/ 300990 w 516255"/>
                <a:gd name="connsiteY38" fmla="*/ 104775 h 360045"/>
                <a:gd name="connsiteX39" fmla="*/ 297180 w 516255"/>
                <a:gd name="connsiteY39" fmla="*/ 108585 h 360045"/>
                <a:gd name="connsiteX40" fmla="*/ 297180 w 516255"/>
                <a:gd name="connsiteY40" fmla="*/ 116205 h 360045"/>
                <a:gd name="connsiteX41" fmla="*/ 289560 w 516255"/>
                <a:gd name="connsiteY41" fmla="*/ 116205 h 360045"/>
                <a:gd name="connsiteX42" fmla="*/ 285750 w 516255"/>
                <a:gd name="connsiteY42" fmla="*/ 120015 h 360045"/>
                <a:gd name="connsiteX43" fmla="*/ 289560 w 516255"/>
                <a:gd name="connsiteY43" fmla="*/ 123825 h 360045"/>
                <a:gd name="connsiteX44" fmla="*/ 297180 w 516255"/>
                <a:gd name="connsiteY44" fmla="*/ 123825 h 360045"/>
                <a:gd name="connsiteX45" fmla="*/ 297180 w 516255"/>
                <a:gd name="connsiteY45" fmla="*/ 131445 h 360045"/>
                <a:gd name="connsiteX46" fmla="*/ 300990 w 516255"/>
                <a:gd name="connsiteY46" fmla="*/ 135255 h 360045"/>
                <a:gd name="connsiteX47" fmla="*/ 304800 w 516255"/>
                <a:gd name="connsiteY47" fmla="*/ 131445 h 360045"/>
                <a:gd name="connsiteX48" fmla="*/ 304800 w 516255"/>
                <a:gd name="connsiteY48" fmla="*/ 123825 h 360045"/>
                <a:gd name="connsiteX49" fmla="*/ 312420 w 516255"/>
                <a:gd name="connsiteY49" fmla="*/ 123825 h 360045"/>
                <a:gd name="connsiteX50" fmla="*/ 312420 w 516255"/>
                <a:gd name="connsiteY50" fmla="*/ 123825 h 360045"/>
                <a:gd name="connsiteX51" fmla="*/ 371475 w 516255"/>
                <a:gd name="connsiteY51" fmla="*/ 161925 h 360045"/>
                <a:gd name="connsiteX52" fmla="*/ 339090 w 516255"/>
                <a:gd name="connsiteY52" fmla="*/ 155258 h 360045"/>
                <a:gd name="connsiteX53" fmla="*/ 269557 w 516255"/>
                <a:gd name="connsiteY53" fmla="*/ 182880 h 360045"/>
                <a:gd name="connsiteX54" fmla="*/ 293370 w 516255"/>
                <a:gd name="connsiteY54" fmla="*/ 71438 h 360045"/>
                <a:gd name="connsiteX55" fmla="*/ 339090 w 516255"/>
                <a:gd name="connsiteY55" fmla="*/ 83820 h 360045"/>
                <a:gd name="connsiteX56" fmla="*/ 384810 w 516255"/>
                <a:gd name="connsiteY56" fmla="*/ 71438 h 360045"/>
                <a:gd name="connsiteX57" fmla="*/ 384810 w 516255"/>
                <a:gd name="connsiteY57" fmla="*/ 71438 h 360045"/>
                <a:gd name="connsiteX58" fmla="*/ 420052 w 516255"/>
                <a:gd name="connsiteY58" fmla="*/ 175260 h 360045"/>
                <a:gd name="connsiteX59" fmla="*/ 469582 w 516255"/>
                <a:gd name="connsiteY59" fmla="*/ 360045 h 360045"/>
                <a:gd name="connsiteX60" fmla="*/ 469582 w 516255"/>
                <a:gd name="connsiteY60" fmla="*/ 274320 h 360045"/>
                <a:gd name="connsiteX61" fmla="*/ 406717 w 516255"/>
                <a:gd name="connsiteY61" fmla="*/ 211455 h 360045"/>
                <a:gd name="connsiteX62" fmla="*/ 62865 w 516255"/>
                <a:gd name="connsiteY62" fmla="*/ 211455 h 360045"/>
                <a:gd name="connsiteX63" fmla="*/ 0 w 516255"/>
                <a:gd name="connsiteY63" fmla="*/ 274320 h 360045"/>
                <a:gd name="connsiteX64" fmla="*/ 0 w 516255"/>
                <a:gd name="connsiteY64" fmla="*/ 360045 h 360045"/>
                <a:gd name="connsiteX65" fmla="*/ 253365 w 516255"/>
                <a:gd name="connsiteY65" fmla="*/ 189548 h 360045"/>
                <a:gd name="connsiteX66" fmla="*/ 66675 w 516255"/>
                <a:gd name="connsiteY66" fmla="*/ 189548 h 360045"/>
                <a:gd name="connsiteX67" fmla="*/ 44767 w 516255"/>
                <a:gd name="connsiteY67" fmla="*/ 211455 h 360045"/>
                <a:gd name="connsiteX68" fmla="*/ 44767 w 516255"/>
                <a:gd name="connsiteY68" fmla="*/ 211455 h 360045"/>
                <a:gd name="connsiteX69" fmla="*/ 275272 w 516255"/>
                <a:gd name="connsiteY69" fmla="*/ 211455 h 360045"/>
                <a:gd name="connsiteX70" fmla="*/ 275272 w 516255"/>
                <a:gd name="connsiteY70" fmla="*/ 211455 h 360045"/>
                <a:gd name="connsiteX71" fmla="*/ 253365 w 516255"/>
                <a:gd name="connsiteY71" fmla="*/ 189548 h 360045"/>
                <a:gd name="connsiteX72" fmla="*/ 405765 w 516255"/>
                <a:gd name="connsiteY72" fmla="*/ 211455 h 360045"/>
                <a:gd name="connsiteX73" fmla="*/ 412432 w 516255"/>
                <a:gd name="connsiteY73" fmla="*/ 203835 h 360045"/>
                <a:gd name="connsiteX74" fmla="*/ 399097 w 516255"/>
                <a:gd name="connsiteY74" fmla="*/ 156210 h 360045"/>
                <a:gd name="connsiteX75" fmla="*/ 399097 w 516255"/>
                <a:gd name="connsiteY75" fmla="*/ 156210 h 360045"/>
                <a:gd name="connsiteX76" fmla="*/ 369570 w 516255"/>
                <a:gd name="connsiteY76" fmla="*/ 163830 h 360045"/>
                <a:gd name="connsiteX77" fmla="*/ 325755 w 516255"/>
                <a:gd name="connsiteY77" fmla="*/ 210503 h 360045"/>
                <a:gd name="connsiteX78" fmla="*/ 405765 w 516255"/>
                <a:gd name="connsiteY78" fmla="*/ 211455 h 360045"/>
                <a:gd name="connsiteX79" fmla="*/ 516255 w 516255"/>
                <a:gd name="connsiteY79" fmla="*/ 211455 h 360045"/>
                <a:gd name="connsiteX80" fmla="*/ 516255 w 516255"/>
                <a:gd name="connsiteY80" fmla="*/ 94298 h 360045"/>
                <a:gd name="connsiteX81" fmla="*/ 405765 w 516255"/>
                <a:gd name="connsiteY81" fmla="*/ 94298 h 360045"/>
                <a:gd name="connsiteX82" fmla="*/ 268605 w 516255"/>
                <a:gd name="connsiteY82" fmla="*/ 94298 h 360045"/>
                <a:gd name="connsiteX83" fmla="*/ 250507 w 516255"/>
                <a:gd name="connsiteY83" fmla="*/ 94298 h 360045"/>
                <a:gd name="connsiteX0" fmla="*/ 320992 w 516255"/>
                <a:gd name="connsiteY0" fmla="*/ 84773 h 360045"/>
                <a:gd name="connsiteX1" fmla="*/ 320992 w 516255"/>
                <a:gd name="connsiteY1" fmla="*/ 58103 h 360045"/>
                <a:gd name="connsiteX2" fmla="*/ 162877 w 516255"/>
                <a:gd name="connsiteY2" fmla="*/ 0 h 360045"/>
                <a:gd name="connsiteX3" fmla="*/ 75247 w 516255"/>
                <a:gd name="connsiteY3" fmla="*/ 87630 h 360045"/>
                <a:gd name="connsiteX4" fmla="*/ 162877 w 516255"/>
                <a:gd name="connsiteY4" fmla="*/ 175260 h 360045"/>
                <a:gd name="connsiteX5" fmla="*/ 250507 w 516255"/>
                <a:gd name="connsiteY5" fmla="*/ 87630 h 360045"/>
                <a:gd name="connsiteX6" fmla="*/ 162877 w 516255"/>
                <a:gd name="connsiteY6" fmla="*/ 0 h 360045"/>
                <a:gd name="connsiteX7" fmla="*/ 388620 w 516255"/>
                <a:gd name="connsiteY7" fmla="*/ 125730 h 360045"/>
                <a:gd name="connsiteX8" fmla="*/ 394335 w 516255"/>
                <a:gd name="connsiteY8" fmla="*/ 120015 h 360045"/>
                <a:gd name="connsiteX9" fmla="*/ 388620 w 516255"/>
                <a:gd name="connsiteY9" fmla="*/ 114300 h 360045"/>
                <a:gd name="connsiteX10" fmla="*/ 382905 w 516255"/>
                <a:gd name="connsiteY10" fmla="*/ 120015 h 360045"/>
                <a:gd name="connsiteX11" fmla="*/ 388620 w 516255"/>
                <a:gd name="connsiteY11" fmla="*/ 125730 h 360045"/>
                <a:gd name="connsiteX12" fmla="*/ 388620 w 516255"/>
                <a:gd name="connsiteY12" fmla="*/ 125730 h 360045"/>
                <a:gd name="connsiteX13" fmla="*/ 376237 w 516255"/>
                <a:gd name="connsiteY13" fmla="*/ 138113 h 360045"/>
                <a:gd name="connsiteX14" fmla="*/ 381952 w 516255"/>
                <a:gd name="connsiteY14" fmla="*/ 132398 h 360045"/>
                <a:gd name="connsiteX15" fmla="*/ 376237 w 516255"/>
                <a:gd name="connsiteY15" fmla="*/ 126683 h 360045"/>
                <a:gd name="connsiteX16" fmla="*/ 370522 w 516255"/>
                <a:gd name="connsiteY16" fmla="*/ 132398 h 360045"/>
                <a:gd name="connsiteX17" fmla="*/ 376237 w 516255"/>
                <a:gd name="connsiteY17" fmla="*/ 138113 h 360045"/>
                <a:gd name="connsiteX18" fmla="*/ 376237 w 516255"/>
                <a:gd name="connsiteY18" fmla="*/ 138113 h 360045"/>
                <a:gd name="connsiteX19" fmla="*/ 364807 w 516255"/>
                <a:gd name="connsiteY19" fmla="*/ 125730 h 360045"/>
                <a:gd name="connsiteX20" fmla="*/ 370522 w 516255"/>
                <a:gd name="connsiteY20" fmla="*/ 120015 h 360045"/>
                <a:gd name="connsiteX21" fmla="*/ 364807 w 516255"/>
                <a:gd name="connsiteY21" fmla="*/ 114300 h 360045"/>
                <a:gd name="connsiteX22" fmla="*/ 359092 w 516255"/>
                <a:gd name="connsiteY22" fmla="*/ 120015 h 360045"/>
                <a:gd name="connsiteX23" fmla="*/ 364807 w 516255"/>
                <a:gd name="connsiteY23" fmla="*/ 125730 h 360045"/>
                <a:gd name="connsiteX24" fmla="*/ 364807 w 516255"/>
                <a:gd name="connsiteY24" fmla="*/ 125730 h 360045"/>
                <a:gd name="connsiteX25" fmla="*/ 376237 w 516255"/>
                <a:gd name="connsiteY25" fmla="*/ 101918 h 360045"/>
                <a:gd name="connsiteX26" fmla="*/ 370522 w 516255"/>
                <a:gd name="connsiteY26" fmla="*/ 107633 h 360045"/>
                <a:gd name="connsiteX27" fmla="*/ 376237 w 516255"/>
                <a:gd name="connsiteY27" fmla="*/ 113348 h 360045"/>
                <a:gd name="connsiteX28" fmla="*/ 381952 w 516255"/>
                <a:gd name="connsiteY28" fmla="*/ 107633 h 360045"/>
                <a:gd name="connsiteX29" fmla="*/ 376237 w 516255"/>
                <a:gd name="connsiteY29" fmla="*/ 101918 h 360045"/>
                <a:gd name="connsiteX30" fmla="*/ 376237 w 516255"/>
                <a:gd name="connsiteY30" fmla="*/ 101918 h 360045"/>
                <a:gd name="connsiteX31" fmla="*/ 312420 w 516255"/>
                <a:gd name="connsiteY31" fmla="*/ 123825 h 360045"/>
                <a:gd name="connsiteX32" fmla="*/ 316230 w 516255"/>
                <a:gd name="connsiteY32" fmla="*/ 120015 h 360045"/>
                <a:gd name="connsiteX33" fmla="*/ 312420 w 516255"/>
                <a:gd name="connsiteY33" fmla="*/ 116205 h 360045"/>
                <a:gd name="connsiteX34" fmla="*/ 304800 w 516255"/>
                <a:gd name="connsiteY34" fmla="*/ 116205 h 360045"/>
                <a:gd name="connsiteX35" fmla="*/ 304800 w 516255"/>
                <a:gd name="connsiteY35" fmla="*/ 108585 h 360045"/>
                <a:gd name="connsiteX36" fmla="*/ 300990 w 516255"/>
                <a:gd name="connsiteY36" fmla="*/ 104775 h 360045"/>
                <a:gd name="connsiteX37" fmla="*/ 297180 w 516255"/>
                <a:gd name="connsiteY37" fmla="*/ 108585 h 360045"/>
                <a:gd name="connsiteX38" fmla="*/ 297180 w 516255"/>
                <a:gd name="connsiteY38" fmla="*/ 116205 h 360045"/>
                <a:gd name="connsiteX39" fmla="*/ 289560 w 516255"/>
                <a:gd name="connsiteY39" fmla="*/ 116205 h 360045"/>
                <a:gd name="connsiteX40" fmla="*/ 285750 w 516255"/>
                <a:gd name="connsiteY40" fmla="*/ 120015 h 360045"/>
                <a:gd name="connsiteX41" fmla="*/ 289560 w 516255"/>
                <a:gd name="connsiteY41" fmla="*/ 123825 h 360045"/>
                <a:gd name="connsiteX42" fmla="*/ 297180 w 516255"/>
                <a:gd name="connsiteY42" fmla="*/ 123825 h 360045"/>
                <a:gd name="connsiteX43" fmla="*/ 297180 w 516255"/>
                <a:gd name="connsiteY43" fmla="*/ 131445 h 360045"/>
                <a:gd name="connsiteX44" fmla="*/ 300990 w 516255"/>
                <a:gd name="connsiteY44" fmla="*/ 135255 h 360045"/>
                <a:gd name="connsiteX45" fmla="*/ 304800 w 516255"/>
                <a:gd name="connsiteY45" fmla="*/ 131445 h 360045"/>
                <a:gd name="connsiteX46" fmla="*/ 304800 w 516255"/>
                <a:gd name="connsiteY46" fmla="*/ 123825 h 360045"/>
                <a:gd name="connsiteX47" fmla="*/ 312420 w 516255"/>
                <a:gd name="connsiteY47" fmla="*/ 123825 h 360045"/>
                <a:gd name="connsiteX48" fmla="*/ 312420 w 516255"/>
                <a:gd name="connsiteY48" fmla="*/ 123825 h 360045"/>
                <a:gd name="connsiteX49" fmla="*/ 371475 w 516255"/>
                <a:gd name="connsiteY49" fmla="*/ 161925 h 360045"/>
                <a:gd name="connsiteX50" fmla="*/ 339090 w 516255"/>
                <a:gd name="connsiteY50" fmla="*/ 155258 h 360045"/>
                <a:gd name="connsiteX51" fmla="*/ 269557 w 516255"/>
                <a:gd name="connsiteY51" fmla="*/ 182880 h 360045"/>
                <a:gd name="connsiteX52" fmla="*/ 293370 w 516255"/>
                <a:gd name="connsiteY52" fmla="*/ 71438 h 360045"/>
                <a:gd name="connsiteX53" fmla="*/ 339090 w 516255"/>
                <a:gd name="connsiteY53" fmla="*/ 83820 h 360045"/>
                <a:gd name="connsiteX54" fmla="*/ 384810 w 516255"/>
                <a:gd name="connsiteY54" fmla="*/ 71438 h 360045"/>
                <a:gd name="connsiteX55" fmla="*/ 384810 w 516255"/>
                <a:gd name="connsiteY55" fmla="*/ 71438 h 360045"/>
                <a:gd name="connsiteX56" fmla="*/ 420052 w 516255"/>
                <a:gd name="connsiteY56" fmla="*/ 175260 h 360045"/>
                <a:gd name="connsiteX57" fmla="*/ 469582 w 516255"/>
                <a:gd name="connsiteY57" fmla="*/ 360045 h 360045"/>
                <a:gd name="connsiteX58" fmla="*/ 469582 w 516255"/>
                <a:gd name="connsiteY58" fmla="*/ 274320 h 360045"/>
                <a:gd name="connsiteX59" fmla="*/ 406717 w 516255"/>
                <a:gd name="connsiteY59" fmla="*/ 211455 h 360045"/>
                <a:gd name="connsiteX60" fmla="*/ 62865 w 516255"/>
                <a:gd name="connsiteY60" fmla="*/ 211455 h 360045"/>
                <a:gd name="connsiteX61" fmla="*/ 0 w 516255"/>
                <a:gd name="connsiteY61" fmla="*/ 274320 h 360045"/>
                <a:gd name="connsiteX62" fmla="*/ 0 w 516255"/>
                <a:gd name="connsiteY62" fmla="*/ 360045 h 360045"/>
                <a:gd name="connsiteX63" fmla="*/ 253365 w 516255"/>
                <a:gd name="connsiteY63" fmla="*/ 189548 h 360045"/>
                <a:gd name="connsiteX64" fmla="*/ 66675 w 516255"/>
                <a:gd name="connsiteY64" fmla="*/ 189548 h 360045"/>
                <a:gd name="connsiteX65" fmla="*/ 44767 w 516255"/>
                <a:gd name="connsiteY65" fmla="*/ 211455 h 360045"/>
                <a:gd name="connsiteX66" fmla="*/ 44767 w 516255"/>
                <a:gd name="connsiteY66" fmla="*/ 211455 h 360045"/>
                <a:gd name="connsiteX67" fmla="*/ 275272 w 516255"/>
                <a:gd name="connsiteY67" fmla="*/ 211455 h 360045"/>
                <a:gd name="connsiteX68" fmla="*/ 275272 w 516255"/>
                <a:gd name="connsiteY68" fmla="*/ 211455 h 360045"/>
                <a:gd name="connsiteX69" fmla="*/ 253365 w 516255"/>
                <a:gd name="connsiteY69" fmla="*/ 189548 h 360045"/>
                <a:gd name="connsiteX70" fmla="*/ 405765 w 516255"/>
                <a:gd name="connsiteY70" fmla="*/ 211455 h 360045"/>
                <a:gd name="connsiteX71" fmla="*/ 412432 w 516255"/>
                <a:gd name="connsiteY71" fmla="*/ 203835 h 360045"/>
                <a:gd name="connsiteX72" fmla="*/ 399097 w 516255"/>
                <a:gd name="connsiteY72" fmla="*/ 156210 h 360045"/>
                <a:gd name="connsiteX73" fmla="*/ 399097 w 516255"/>
                <a:gd name="connsiteY73" fmla="*/ 156210 h 360045"/>
                <a:gd name="connsiteX74" fmla="*/ 369570 w 516255"/>
                <a:gd name="connsiteY74" fmla="*/ 163830 h 360045"/>
                <a:gd name="connsiteX75" fmla="*/ 325755 w 516255"/>
                <a:gd name="connsiteY75" fmla="*/ 210503 h 360045"/>
                <a:gd name="connsiteX76" fmla="*/ 405765 w 516255"/>
                <a:gd name="connsiteY76" fmla="*/ 211455 h 360045"/>
                <a:gd name="connsiteX77" fmla="*/ 516255 w 516255"/>
                <a:gd name="connsiteY77" fmla="*/ 211455 h 360045"/>
                <a:gd name="connsiteX78" fmla="*/ 516255 w 516255"/>
                <a:gd name="connsiteY78" fmla="*/ 94298 h 360045"/>
                <a:gd name="connsiteX79" fmla="*/ 405765 w 516255"/>
                <a:gd name="connsiteY79" fmla="*/ 94298 h 360045"/>
                <a:gd name="connsiteX80" fmla="*/ 268605 w 516255"/>
                <a:gd name="connsiteY80" fmla="*/ 94298 h 360045"/>
                <a:gd name="connsiteX81" fmla="*/ 250507 w 516255"/>
                <a:gd name="connsiteY81" fmla="*/ 94298 h 360045"/>
                <a:gd name="connsiteX0" fmla="*/ 162877 w 516255"/>
                <a:gd name="connsiteY0" fmla="*/ 0 h 360045"/>
                <a:gd name="connsiteX1" fmla="*/ 75247 w 516255"/>
                <a:gd name="connsiteY1" fmla="*/ 87630 h 360045"/>
                <a:gd name="connsiteX2" fmla="*/ 162877 w 516255"/>
                <a:gd name="connsiteY2" fmla="*/ 175260 h 360045"/>
                <a:gd name="connsiteX3" fmla="*/ 250507 w 516255"/>
                <a:gd name="connsiteY3" fmla="*/ 87630 h 360045"/>
                <a:gd name="connsiteX4" fmla="*/ 162877 w 516255"/>
                <a:gd name="connsiteY4" fmla="*/ 0 h 360045"/>
                <a:gd name="connsiteX5" fmla="*/ 388620 w 516255"/>
                <a:gd name="connsiteY5" fmla="*/ 125730 h 360045"/>
                <a:gd name="connsiteX6" fmla="*/ 394335 w 516255"/>
                <a:gd name="connsiteY6" fmla="*/ 120015 h 360045"/>
                <a:gd name="connsiteX7" fmla="*/ 388620 w 516255"/>
                <a:gd name="connsiteY7" fmla="*/ 114300 h 360045"/>
                <a:gd name="connsiteX8" fmla="*/ 382905 w 516255"/>
                <a:gd name="connsiteY8" fmla="*/ 120015 h 360045"/>
                <a:gd name="connsiteX9" fmla="*/ 388620 w 516255"/>
                <a:gd name="connsiteY9" fmla="*/ 125730 h 360045"/>
                <a:gd name="connsiteX10" fmla="*/ 388620 w 516255"/>
                <a:gd name="connsiteY10" fmla="*/ 125730 h 360045"/>
                <a:gd name="connsiteX11" fmla="*/ 376237 w 516255"/>
                <a:gd name="connsiteY11" fmla="*/ 138113 h 360045"/>
                <a:gd name="connsiteX12" fmla="*/ 381952 w 516255"/>
                <a:gd name="connsiteY12" fmla="*/ 132398 h 360045"/>
                <a:gd name="connsiteX13" fmla="*/ 376237 w 516255"/>
                <a:gd name="connsiteY13" fmla="*/ 126683 h 360045"/>
                <a:gd name="connsiteX14" fmla="*/ 370522 w 516255"/>
                <a:gd name="connsiteY14" fmla="*/ 132398 h 360045"/>
                <a:gd name="connsiteX15" fmla="*/ 376237 w 516255"/>
                <a:gd name="connsiteY15" fmla="*/ 138113 h 360045"/>
                <a:gd name="connsiteX16" fmla="*/ 376237 w 516255"/>
                <a:gd name="connsiteY16" fmla="*/ 138113 h 360045"/>
                <a:gd name="connsiteX17" fmla="*/ 364807 w 516255"/>
                <a:gd name="connsiteY17" fmla="*/ 125730 h 360045"/>
                <a:gd name="connsiteX18" fmla="*/ 370522 w 516255"/>
                <a:gd name="connsiteY18" fmla="*/ 120015 h 360045"/>
                <a:gd name="connsiteX19" fmla="*/ 364807 w 516255"/>
                <a:gd name="connsiteY19" fmla="*/ 114300 h 360045"/>
                <a:gd name="connsiteX20" fmla="*/ 359092 w 516255"/>
                <a:gd name="connsiteY20" fmla="*/ 120015 h 360045"/>
                <a:gd name="connsiteX21" fmla="*/ 364807 w 516255"/>
                <a:gd name="connsiteY21" fmla="*/ 125730 h 360045"/>
                <a:gd name="connsiteX22" fmla="*/ 364807 w 516255"/>
                <a:gd name="connsiteY22" fmla="*/ 125730 h 360045"/>
                <a:gd name="connsiteX23" fmla="*/ 376237 w 516255"/>
                <a:gd name="connsiteY23" fmla="*/ 101918 h 360045"/>
                <a:gd name="connsiteX24" fmla="*/ 370522 w 516255"/>
                <a:gd name="connsiteY24" fmla="*/ 107633 h 360045"/>
                <a:gd name="connsiteX25" fmla="*/ 376237 w 516255"/>
                <a:gd name="connsiteY25" fmla="*/ 113348 h 360045"/>
                <a:gd name="connsiteX26" fmla="*/ 381952 w 516255"/>
                <a:gd name="connsiteY26" fmla="*/ 107633 h 360045"/>
                <a:gd name="connsiteX27" fmla="*/ 376237 w 516255"/>
                <a:gd name="connsiteY27" fmla="*/ 101918 h 360045"/>
                <a:gd name="connsiteX28" fmla="*/ 376237 w 516255"/>
                <a:gd name="connsiteY28" fmla="*/ 101918 h 360045"/>
                <a:gd name="connsiteX29" fmla="*/ 312420 w 516255"/>
                <a:gd name="connsiteY29" fmla="*/ 123825 h 360045"/>
                <a:gd name="connsiteX30" fmla="*/ 316230 w 516255"/>
                <a:gd name="connsiteY30" fmla="*/ 120015 h 360045"/>
                <a:gd name="connsiteX31" fmla="*/ 312420 w 516255"/>
                <a:gd name="connsiteY31" fmla="*/ 116205 h 360045"/>
                <a:gd name="connsiteX32" fmla="*/ 304800 w 516255"/>
                <a:gd name="connsiteY32" fmla="*/ 116205 h 360045"/>
                <a:gd name="connsiteX33" fmla="*/ 304800 w 516255"/>
                <a:gd name="connsiteY33" fmla="*/ 108585 h 360045"/>
                <a:gd name="connsiteX34" fmla="*/ 300990 w 516255"/>
                <a:gd name="connsiteY34" fmla="*/ 104775 h 360045"/>
                <a:gd name="connsiteX35" fmla="*/ 297180 w 516255"/>
                <a:gd name="connsiteY35" fmla="*/ 108585 h 360045"/>
                <a:gd name="connsiteX36" fmla="*/ 297180 w 516255"/>
                <a:gd name="connsiteY36" fmla="*/ 116205 h 360045"/>
                <a:gd name="connsiteX37" fmla="*/ 289560 w 516255"/>
                <a:gd name="connsiteY37" fmla="*/ 116205 h 360045"/>
                <a:gd name="connsiteX38" fmla="*/ 285750 w 516255"/>
                <a:gd name="connsiteY38" fmla="*/ 120015 h 360045"/>
                <a:gd name="connsiteX39" fmla="*/ 289560 w 516255"/>
                <a:gd name="connsiteY39" fmla="*/ 123825 h 360045"/>
                <a:gd name="connsiteX40" fmla="*/ 297180 w 516255"/>
                <a:gd name="connsiteY40" fmla="*/ 123825 h 360045"/>
                <a:gd name="connsiteX41" fmla="*/ 297180 w 516255"/>
                <a:gd name="connsiteY41" fmla="*/ 131445 h 360045"/>
                <a:gd name="connsiteX42" fmla="*/ 300990 w 516255"/>
                <a:gd name="connsiteY42" fmla="*/ 135255 h 360045"/>
                <a:gd name="connsiteX43" fmla="*/ 304800 w 516255"/>
                <a:gd name="connsiteY43" fmla="*/ 131445 h 360045"/>
                <a:gd name="connsiteX44" fmla="*/ 304800 w 516255"/>
                <a:gd name="connsiteY44" fmla="*/ 123825 h 360045"/>
                <a:gd name="connsiteX45" fmla="*/ 312420 w 516255"/>
                <a:gd name="connsiteY45" fmla="*/ 123825 h 360045"/>
                <a:gd name="connsiteX46" fmla="*/ 312420 w 516255"/>
                <a:gd name="connsiteY46" fmla="*/ 123825 h 360045"/>
                <a:gd name="connsiteX47" fmla="*/ 371475 w 516255"/>
                <a:gd name="connsiteY47" fmla="*/ 161925 h 360045"/>
                <a:gd name="connsiteX48" fmla="*/ 339090 w 516255"/>
                <a:gd name="connsiteY48" fmla="*/ 155258 h 360045"/>
                <a:gd name="connsiteX49" fmla="*/ 269557 w 516255"/>
                <a:gd name="connsiteY49" fmla="*/ 182880 h 360045"/>
                <a:gd name="connsiteX50" fmla="*/ 293370 w 516255"/>
                <a:gd name="connsiteY50" fmla="*/ 71438 h 360045"/>
                <a:gd name="connsiteX51" fmla="*/ 339090 w 516255"/>
                <a:gd name="connsiteY51" fmla="*/ 83820 h 360045"/>
                <a:gd name="connsiteX52" fmla="*/ 384810 w 516255"/>
                <a:gd name="connsiteY52" fmla="*/ 71438 h 360045"/>
                <a:gd name="connsiteX53" fmla="*/ 384810 w 516255"/>
                <a:gd name="connsiteY53" fmla="*/ 71438 h 360045"/>
                <a:gd name="connsiteX54" fmla="*/ 420052 w 516255"/>
                <a:gd name="connsiteY54" fmla="*/ 175260 h 360045"/>
                <a:gd name="connsiteX55" fmla="*/ 469582 w 516255"/>
                <a:gd name="connsiteY55" fmla="*/ 360045 h 360045"/>
                <a:gd name="connsiteX56" fmla="*/ 469582 w 516255"/>
                <a:gd name="connsiteY56" fmla="*/ 274320 h 360045"/>
                <a:gd name="connsiteX57" fmla="*/ 406717 w 516255"/>
                <a:gd name="connsiteY57" fmla="*/ 211455 h 360045"/>
                <a:gd name="connsiteX58" fmla="*/ 62865 w 516255"/>
                <a:gd name="connsiteY58" fmla="*/ 211455 h 360045"/>
                <a:gd name="connsiteX59" fmla="*/ 0 w 516255"/>
                <a:gd name="connsiteY59" fmla="*/ 274320 h 360045"/>
                <a:gd name="connsiteX60" fmla="*/ 0 w 516255"/>
                <a:gd name="connsiteY60" fmla="*/ 360045 h 360045"/>
                <a:gd name="connsiteX61" fmla="*/ 253365 w 516255"/>
                <a:gd name="connsiteY61" fmla="*/ 189548 h 360045"/>
                <a:gd name="connsiteX62" fmla="*/ 66675 w 516255"/>
                <a:gd name="connsiteY62" fmla="*/ 189548 h 360045"/>
                <a:gd name="connsiteX63" fmla="*/ 44767 w 516255"/>
                <a:gd name="connsiteY63" fmla="*/ 211455 h 360045"/>
                <a:gd name="connsiteX64" fmla="*/ 44767 w 516255"/>
                <a:gd name="connsiteY64" fmla="*/ 211455 h 360045"/>
                <a:gd name="connsiteX65" fmla="*/ 275272 w 516255"/>
                <a:gd name="connsiteY65" fmla="*/ 211455 h 360045"/>
                <a:gd name="connsiteX66" fmla="*/ 275272 w 516255"/>
                <a:gd name="connsiteY66" fmla="*/ 211455 h 360045"/>
                <a:gd name="connsiteX67" fmla="*/ 253365 w 516255"/>
                <a:gd name="connsiteY67" fmla="*/ 189548 h 360045"/>
                <a:gd name="connsiteX68" fmla="*/ 405765 w 516255"/>
                <a:gd name="connsiteY68" fmla="*/ 211455 h 360045"/>
                <a:gd name="connsiteX69" fmla="*/ 412432 w 516255"/>
                <a:gd name="connsiteY69" fmla="*/ 203835 h 360045"/>
                <a:gd name="connsiteX70" fmla="*/ 399097 w 516255"/>
                <a:gd name="connsiteY70" fmla="*/ 156210 h 360045"/>
                <a:gd name="connsiteX71" fmla="*/ 399097 w 516255"/>
                <a:gd name="connsiteY71" fmla="*/ 156210 h 360045"/>
                <a:gd name="connsiteX72" fmla="*/ 369570 w 516255"/>
                <a:gd name="connsiteY72" fmla="*/ 163830 h 360045"/>
                <a:gd name="connsiteX73" fmla="*/ 325755 w 516255"/>
                <a:gd name="connsiteY73" fmla="*/ 210503 h 360045"/>
                <a:gd name="connsiteX74" fmla="*/ 405765 w 516255"/>
                <a:gd name="connsiteY74" fmla="*/ 211455 h 360045"/>
                <a:gd name="connsiteX75" fmla="*/ 516255 w 516255"/>
                <a:gd name="connsiteY75" fmla="*/ 211455 h 360045"/>
                <a:gd name="connsiteX76" fmla="*/ 516255 w 516255"/>
                <a:gd name="connsiteY76" fmla="*/ 94298 h 360045"/>
                <a:gd name="connsiteX77" fmla="*/ 405765 w 516255"/>
                <a:gd name="connsiteY77" fmla="*/ 94298 h 360045"/>
                <a:gd name="connsiteX78" fmla="*/ 268605 w 516255"/>
                <a:gd name="connsiteY78" fmla="*/ 94298 h 360045"/>
                <a:gd name="connsiteX79" fmla="*/ 250507 w 516255"/>
                <a:gd name="connsiteY79" fmla="*/ 94298 h 36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16255" h="360045">
                  <a:moveTo>
                    <a:pt x="162877" y="0"/>
                  </a:moveTo>
                  <a:cubicBezTo>
                    <a:pt x="114300" y="0"/>
                    <a:pt x="75247" y="39053"/>
                    <a:pt x="75247" y="87630"/>
                  </a:cubicBezTo>
                  <a:cubicBezTo>
                    <a:pt x="75247" y="136208"/>
                    <a:pt x="114300" y="175260"/>
                    <a:pt x="162877" y="175260"/>
                  </a:cubicBezTo>
                  <a:cubicBezTo>
                    <a:pt x="211455" y="175260"/>
                    <a:pt x="250507" y="136208"/>
                    <a:pt x="250507" y="87630"/>
                  </a:cubicBezTo>
                  <a:cubicBezTo>
                    <a:pt x="250507" y="39053"/>
                    <a:pt x="211455" y="0"/>
                    <a:pt x="162877" y="0"/>
                  </a:cubicBezTo>
                  <a:close/>
                  <a:moveTo>
                    <a:pt x="388620" y="125730"/>
                  </a:moveTo>
                  <a:cubicBezTo>
                    <a:pt x="392430" y="125730"/>
                    <a:pt x="394335" y="122873"/>
                    <a:pt x="394335" y="120015"/>
                  </a:cubicBezTo>
                  <a:cubicBezTo>
                    <a:pt x="394335" y="116205"/>
                    <a:pt x="391477" y="114300"/>
                    <a:pt x="388620" y="114300"/>
                  </a:cubicBezTo>
                  <a:cubicBezTo>
                    <a:pt x="385762" y="114300"/>
                    <a:pt x="382905" y="117158"/>
                    <a:pt x="382905" y="120015"/>
                  </a:cubicBezTo>
                  <a:cubicBezTo>
                    <a:pt x="382905" y="122873"/>
                    <a:pt x="384810" y="125730"/>
                    <a:pt x="388620" y="125730"/>
                  </a:cubicBezTo>
                  <a:lnTo>
                    <a:pt x="388620" y="125730"/>
                  </a:lnTo>
                  <a:close/>
                  <a:moveTo>
                    <a:pt x="376237" y="138113"/>
                  </a:moveTo>
                  <a:cubicBezTo>
                    <a:pt x="380047" y="138113"/>
                    <a:pt x="381952" y="135255"/>
                    <a:pt x="381952" y="132398"/>
                  </a:cubicBezTo>
                  <a:cubicBezTo>
                    <a:pt x="381952" y="128588"/>
                    <a:pt x="379095" y="126683"/>
                    <a:pt x="376237" y="126683"/>
                  </a:cubicBezTo>
                  <a:cubicBezTo>
                    <a:pt x="372427" y="126683"/>
                    <a:pt x="370522" y="129540"/>
                    <a:pt x="370522" y="132398"/>
                  </a:cubicBezTo>
                  <a:cubicBezTo>
                    <a:pt x="370522" y="135255"/>
                    <a:pt x="373380" y="138113"/>
                    <a:pt x="376237" y="138113"/>
                  </a:cubicBezTo>
                  <a:lnTo>
                    <a:pt x="376237" y="138113"/>
                  </a:lnTo>
                  <a:close/>
                  <a:moveTo>
                    <a:pt x="364807" y="125730"/>
                  </a:moveTo>
                  <a:cubicBezTo>
                    <a:pt x="368617" y="125730"/>
                    <a:pt x="370522" y="122873"/>
                    <a:pt x="370522" y="120015"/>
                  </a:cubicBezTo>
                  <a:cubicBezTo>
                    <a:pt x="370522" y="116205"/>
                    <a:pt x="367665" y="114300"/>
                    <a:pt x="364807" y="114300"/>
                  </a:cubicBezTo>
                  <a:cubicBezTo>
                    <a:pt x="360997" y="114300"/>
                    <a:pt x="359092" y="117158"/>
                    <a:pt x="359092" y="120015"/>
                  </a:cubicBezTo>
                  <a:cubicBezTo>
                    <a:pt x="359092" y="122873"/>
                    <a:pt x="360997" y="125730"/>
                    <a:pt x="364807" y="125730"/>
                  </a:cubicBezTo>
                  <a:lnTo>
                    <a:pt x="364807" y="125730"/>
                  </a:lnTo>
                  <a:close/>
                  <a:moveTo>
                    <a:pt x="376237" y="101918"/>
                  </a:moveTo>
                  <a:cubicBezTo>
                    <a:pt x="372427" y="101918"/>
                    <a:pt x="370522" y="104775"/>
                    <a:pt x="370522" y="107633"/>
                  </a:cubicBezTo>
                  <a:cubicBezTo>
                    <a:pt x="370522" y="111443"/>
                    <a:pt x="373380" y="113348"/>
                    <a:pt x="376237" y="113348"/>
                  </a:cubicBezTo>
                  <a:cubicBezTo>
                    <a:pt x="380047" y="113348"/>
                    <a:pt x="381952" y="110490"/>
                    <a:pt x="381952" y="107633"/>
                  </a:cubicBezTo>
                  <a:cubicBezTo>
                    <a:pt x="382905" y="104775"/>
                    <a:pt x="380047" y="101918"/>
                    <a:pt x="376237" y="101918"/>
                  </a:cubicBezTo>
                  <a:lnTo>
                    <a:pt x="376237" y="101918"/>
                  </a:lnTo>
                  <a:close/>
                  <a:moveTo>
                    <a:pt x="312420" y="123825"/>
                  </a:moveTo>
                  <a:cubicBezTo>
                    <a:pt x="314325" y="123825"/>
                    <a:pt x="316230" y="121920"/>
                    <a:pt x="316230" y="120015"/>
                  </a:cubicBezTo>
                  <a:cubicBezTo>
                    <a:pt x="316230" y="118110"/>
                    <a:pt x="314325" y="116205"/>
                    <a:pt x="312420" y="116205"/>
                  </a:cubicBezTo>
                  <a:lnTo>
                    <a:pt x="304800" y="116205"/>
                  </a:lnTo>
                  <a:lnTo>
                    <a:pt x="304800" y="108585"/>
                  </a:lnTo>
                  <a:cubicBezTo>
                    <a:pt x="304800" y="106680"/>
                    <a:pt x="302895" y="104775"/>
                    <a:pt x="300990" y="104775"/>
                  </a:cubicBezTo>
                  <a:cubicBezTo>
                    <a:pt x="299085" y="104775"/>
                    <a:pt x="297180" y="106680"/>
                    <a:pt x="297180" y="108585"/>
                  </a:cubicBezTo>
                  <a:lnTo>
                    <a:pt x="297180" y="116205"/>
                  </a:lnTo>
                  <a:lnTo>
                    <a:pt x="289560" y="116205"/>
                  </a:lnTo>
                  <a:cubicBezTo>
                    <a:pt x="287655" y="116205"/>
                    <a:pt x="285750" y="118110"/>
                    <a:pt x="285750" y="120015"/>
                  </a:cubicBezTo>
                  <a:cubicBezTo>
                    <a:pt x="285750" y="121920"/>
                    <a:pt x="287655" y="123825"/>
                    <a:pt x="289560" y="123825"/>
                  </a:cubicBezTo>
                  <a:lnTo>
                    <a:pt x="297180" y="123825"/>
                  </a:lnTo>
                  <a:lnTo>
                    <a:pt x="297180" y="131445"/>
                  </a:lnTo>
                  <a:cubicBezTo>
                    <a:pt x="297180" y="133350"/>
                    <a:pt x="299085" y="135255"/>
                    <a:pt x="300990" y="135255"/>
                  </a:cubicBezTo>
                  <a:cubicBezTo>
                    <a:pt x="302895" y="135255"/>
                    <a:pt x="304800" y="133350"/>
                    <a:pt x="304800" y="131445"/>
                  </a:cubicBezTo>
                  <a:lnTo>
                    <a:pt x="304800" y="123825"/>
                  </a:lnTo>
                  <a:lnTo>
                    <a:pt x="312420" y="123825"/>
                  </a:lnTo>
                  <a:lnTo>
                    <a:pt x="312420" y="123825"/>
                  </a:lnTo>
                  <a:close/>
                  <a:moveTo>
                    <a:pt x="371475" y="161925"/>
                  </a:moveTo>
                  <a:cubicBezTo>
                    <a:pt x="364807" y="158115"/>
                    <a:pt x="354330" y="155258"/>
                    <a:pt x="339090" y="155258"/>
                  </a:cubicBezTo>
                  <a:cubicBezTo>
                    <a:pt x="287655" y="155258"/>
                    <a:pt x="300037" y="182880"/>
                    <a:pt x="269557" y="182880"/>
                  </a:cubicBezTo>
                  <a:cubicBezTo>
                    <a:pt x="236220" y="182880"/>
                    <a:pt x="268605" y="71438"/>
                    <a:pt x="293370" y="71438"/>
                  </a:cubicBezTo>
                  <a:cubicBezTo>
                    <a:pt x="317182" y="71438"/>
                    <a:pt x="304800" y="83820"/>
                    <a:pt x="339090" y="83820"/>
                  </a:cubicBezTo>
                  <a:cubicBezTo>
                    <a:pt x="373380" y="83820"/>
                    <a:pt x="361950" y="71438"/>
                    <a:pt x="384810" y="71438"/>
                  </a:cubicBezTo>
                  <a:lnTo>
                    <a:pt x="384810" y="71438"/>
                  </a:lnTo>
                  <a:cubicBezTo>
                    <a:pt x="405765" y="71438"/>
                    <a:pt x="431482" y="149543"/>
                    <a:pt x="420052" y="175260"/>
                  </a:cubicBezTo>
                  <a:moveTo>
                    <a:pt x="469582" y="360045"/>
                  </a:moveTo>
                  <a:lnTo>
                    <a:pt x="469582" y="274320"/>
                  </a:lnTo>
                  <a:cubicBezTo>
                    <a:pt x="469582" y="240030"/>
                    <a:pt x="441960" y="211455"/>
                    <a:pt x="406717" y="211455"/>
                  </a:cubicBezTo>
                  <a:lnTo>
                    <a:pt x="62865" y="211455"/>
                  </a:lnTo>
                  <a:cubicBezTo>
                    <a:pt x="28575" y="211455"/>
                    <a:pt x="0" y="239078"/>
                    <a:pt x="0" y="274320"/>
                  </a:cubicBezTo>
                  <a:lnTo>
                    <a:pt x="0" y="360045"/>
                  </a:lnTo>
                  <a:moveTo>
                    <a:pt x="253365" y="189548"/>
                  </a:moveTo>
                  <a:lnTo>
                    <a:pt x="66675" y="189548"/>
                  </a:lnTo>
                  <a:cubicBezTo>
                    <a:pt x="54292" y="189548"/>
                    <a:pt x="44767" y="199073"/>
                    <a:pt x="44767" y="211455"/>
                  </a:cubicBezTo>
                  <a:lnTo>
                    <a:pt x="44767" y="211455"/>
                  </a:lnTo>
                  <a:lnTo>
                    <a:pt x="275272" y="211455"/>
                  </a:lnTo>
                  <a:lnTo>
                    <a:pt x="275272" y="211455"/>
                  </a:lnTo>
                  <a:cubicBezTo>
                    <a:pt x="275272" y="199073"/>
                    <a:pt x="265747" y="189548"/>
                    <a:pt x="253365" y="189548"/>
                  </a:cubicBezTo>
                  <a:close/>
                  <a:moveTo>
                    <a:pt x="405765" y="211455"/>
                  </a:moveTo>
                  <a:lnTo>
                    <a:pt x="412432" y="203835"/>
                  </a:lnTo>
                  <a:cubicBezTo>
                    <a:pt x="426720" y="187643"/>
                    <a:pt x="420052" y="161925"/>
                    <a:pt x="399097" y="156210"/>
                  </a:cubicBezTo>
                  <a:lnTo>
                    <a:pt x="399097" y="156210"/>
                  </a:lnTo>
                  <a:cubicBezTo>
                    <a:pt x="388620" y="153353"/>
                    <a:pt x="377190" y="156210"/>
                    <a:pt x="369570" y="163830"/>
                  </a:cubicBezTo>
                  <a:lnTo>
                    <a:pt x="325755" y="210503"/>
                  </a:lnTo>
                  <a:moveTo>
                    <a:pt x="405765" y="211455"/>
                  </a:moveTo>
                  <a:lnTo>
                    <a:pt x="516255" y="211455"/>
                  </a:lnTo>
                  <a:lnTo>
                    <a:pt x="516255" y="94298"/>
                  </a:lnTo>
                  <a:lnTo>
                    <a:pt x="405765" y="94298"/>
                  </a:lnTo>
                  <a:moveTo>
                    <a:pt x="268605" y="94298"/>
                  </a:moveTo>
                  <a:lnTo>
                    <a:pt x="250507" y="94298"/>
                  </a:lnTo>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grpSp>
      <p:sp>
        <p:nvSpPr>
          <p:cNvPr id="17" name="Oval 16">
            <a:extLst>
              <a:ext uri="{FF2B5EF4-FFF2-40B4-BE49-F238E27FC236}">
                <a16:creationId xmlns:a16="http://schemas.microsoft.com/office/drawing/2014/main" id="{DE44993E-F00A-408C-8C84-0F433009D7F5}"/>
              </a:ext>
            </a:extLst>
          </p:cNvPr>
          <p:cNvSpPr/>
          <p:nvPr/>
        </p:nvSpPr>
        <p:spPr bwMode="auto">
          <a:xfrm>
            <a:off x="1593009" y="3053095"/>
            <a:ext cx="59531" cy="88294"/>
          </a:xfrm>
          <a:prstGeom prst="ellipse">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90869792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3033223"/>
            <a:ext cx="6126480" cy="498598"/>
          </a:xfrm>
        </p:spPr>
        <p:txBody>
          <a:bodyPr/>
          <a:lstStyle/>
          <a:p>
            <a:r>
              <a:rPr lang="en-US" dirty="0"/>
              <a:t>Hands-on</a:t>
            </a:r>
          </a:p>
        </p:txBody>
      </p:sp>
      <p:sp>
        <p:nvSpPr>
          <p:cNvPr id="3" name="Text Placeholder 2">
            <a:extLst>
              <a:ext uri="{FF2B5EF4-FFF2-40B4-BE49-F238E27FC236}">
                <a16:creationId xmlns:a16="http://schemas.microsoft.com/office/drawing/2014/main" id="{275F0533-38A4-450B-83DD-FA3F5100F114}"/>
              </a:ext>
            </a:extLst>
          </p:cNvPr>
          <p:cNvSpPr>
            <a:spLocks noGrp="1"/>
          </p:cNvSpPr>
          <p:nvPr>
            <p:ph type="body" sz="quarter" idx="12"/>
          </p:nvPr>
        </p:nvSpPr>
        <p:spPr>
          <a:xfrm>
            <a:off x="585215" y="3977319"/>
            <a:ext cx="6373145" cy="609398"/>
          </a:xfrm>
        </p:spPr>
        <p:txBody>
          <a:bodyPr/>
          <a:lstStyle/>
          <a:p>
            <a:r>
              <a:rPr lang="en-US" dirty="0">
                <a:gradFill>
                  <a:gsLst>
                    <a:gs pos="0">
                      <a:srgbClr val="FFFFFF"/>
                    </a:gs>
                    <a:gs pos="100000">
                      <a:srgbClr val="FFFFFF"/>
                    </a:gs>
                  </a:gsLst>
                  <a:lin ang="5400000" scaled="0"/>
                </a:gradFill>
              </a:rPr>
              <a:t>https://github.com/anaig</a:t>
            </a:r>
          </a:p>
          <a:p>
            <a:endParaRPr lang="en-US" dirty="0"/>
          </a:p>
        </p:txBody>
      </p:sp>
    </p:spTree>
    <p:extLst>
      <p:ext uri="{BB962C8B-B14F-4D97-AF65-F5344CB8AC3E}">
        <p14:creationId xmlns:p14="http://schemas.microsoft.com/office/powerpoint/2010/main" val="3510077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Freeform: Shape 210">
            <a:extLst>
              <a:ext uri="{FF2B5EF4-FFF2-40B4-BE49-F238E27FC236}">
                <a16:creationId xmlns:a16="http://schemas.microsoft.com/office/drawing/2014/main" id="{DD6DDDC7-86B7-4074-A6AB-13B3E95322B4}"/>
              </a:ext>
            </a:extLst>
          </p:cNvPr>
          <p:cNvSpPr>
            <a:spLocks noChangeArrowheads="1"/>
          </p:cNvSpPr>
          <p:nvPr/>
        </p:nvSpPr>
        <p:spPr bwMode="auto">
          <a:xfrm>
            <a:off x="5504902" y="3257726"/>
            <a:ext cx="1040670" cy="1181908"/>
          </a:xfrm>
          <a:custGeom>
            <a:avLst/>
            <a:gdLst>
              <a:gd name="connsiteX0" fmla="*/ 1675446 w 2955650"/>
              <a:gd name="connsiteY0" fmla="*/ 0 h 3356790"/>
              <a:gd name="connsiteX1" fmla="*/ 2860165 w 2955650"/>
              <a:gd name="connsiteY1" fmla="*/ 491591 h 3356790"/>
              <a:gd name="connsiteX2" fmla="*/ 2955650 w 2955650"/>
              <a:gd name="connsiteY2" fmla="*/ 596835 h 3356790"/>
              <a:gd name="connsiteX3" fmla="*/ 2905904 w 2955650"/>
              <a:gd name="connsiteY3" fmla="*/ 663476 h 3356790"/>
              <a:gd name="connsiteX4" fmla="*/ 2596433 w 2955650"/>
              <a:gd name="connsiteY4" fmla="*/ 1678395 h 3356790"/>
              <a:gd name="connsiteX5" fmla="*/ 2905904 w 2955650"/>
              <a:gd name="connsiteY5" fmla="*/ 2693314 h 3356790"/>
              <a:gd name="connsiteX6" fmla="*/ 2955650 w 2955650"/>
              <a:gd name="connsiteY6" fmla="*/ 2759956 h 3356790"/>
              <a:gd name="connsiteX7" fmla="*/ 2860165 w 2955650"/>
              <a:gd name="connsiteY7" fmla="*/ 2865200 h 3356790"/>
              <a:gd name="connsiteX8" fmla="*/ 1675446 w 2955650"/>
              <a:gd name="connsiteY8" fmla="*/ 3356790 h 3356790"/>
              <a:gd name="connsiteX9" fmla="*/ 0 w 2955650"/>
              <a:gd name="connsiteY9" fmla="*/ 1678395 h 3356790"/>
              <a:gd name="connsiteX10" fmla="*/ 1675446 w 2955650"/>
              <a:gd name="connsiteY10" fmla="*/ 0 h 3356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55650" h="3356790">
                <a:moveTo>
                  <a:pt x="1675446" y="0"/>
                </a:moveTo>
                <a:cubicBezTo>
                  <a:pt x="2138108" y="0"/>
                  <a:pt x="2556969" y="187861"/>
                  <a:pt x="2860165" y="491591"/>
                </a:cubicBezTo>
                <a:lnTo>
                  <a:pt x="2955650" y="596835"/>
                </a:lnTo>
                <a:lnTo>
                  <a:pt x="2905904" y="663476"/>
                </a:lnTo>
                <a:cubicBezTo>
                  <a:pt x="2710520" y="953191"/>
                  <a:pt x="2596433" y="1302446"/>
                  <a:pt x="2596433" y="1678395"/>
                </a:cubicBezTo>
                <a:cubicBezTo>
                  <a:pt x="2596433" y="2054344"/>
                  <a:pt x="2710520" y="2403600"/>
                  <a:pt x="2905904" y="2693314"/>
                </a:cubicBezTo>
                <a:lnTo>
                  <a:pt x="2955650" y="2759956"/>
                </a:lnTo>
                <a:lnTo>
                  <a:pt x="2860165" y="2865200"/>
                </a:lnTo>
                <a:cubicBezTo>
                  <a:pt x="2556969" y="3168929"/>
                  <a:pt x="2138108" y="3356790"/>
                  <a:pt x="1675446" y="3356790"/>
                </a:cubicBezTo>
                <a:cubicBezTo>
                  <a:pt x="750123" y="3356790"/>
                  <a:pt x="0" y="2605347"/>
                  <a:pt x="0" y="1678395"/>
                </a:cubicBezTo>
                <a:cubicBezTo>
                  <a:pt x="0" y="751443"/>
                  <a:pt x="750123" y="0"/>
                  <a:pt x="1675446" y="0"/>
                </a:cubicBezTo>
                <a:close/>
              </a:path>
            </a:pathLst>
          </a:custGeom>
          <a:solidFill>
            <a:srgbClr val="008272"/>
          </a:solidFill>
          <a:ln w="10795" cap="flat" cmpd="sng" algn="ctr">
            <a:noFill/>
            <a:prstDash val="solid"/>
          </a:ln>
          <a:effectLst/>
        </p:spPr>
        <p:txBody>
          <a:bodyPr vert="horz" wrap="square" lIns="0" tIns="42793" rIns="0" bIns="42793" numCol="1" rtlCol="0" anchor="ctr" anchorCtr="0" compatLnSpc="1">
            <a:prstTxWarp prst="textNoShape">
              <a:avLst/>
            </a:prstTxWarp>
            <a:noAutofit/>
          </a:bodyPr>
          <a:lstStyle/>
          <a:p>
            <a:pPr marL="0" marR="0" lvl="0" indent="0" algn="ctr" defTabSz="855495" rtl="0" eaLnBrk="1" fontAlgn="base" latinLnBrk="0" hangingPunct="1">
              <a:lnSpc>
                <a:spcPct val="100000"/>
              </a:lnSpc>
              <a:spcBef>
                <a:spcPct val="0"/>
              </a:spcBef>
              <a:spcAft>
                <a:spcPct val="0"/>
              </a:spcAft>
              <a:buClrTx/>
              <a:buSzTx/>
              <a:buFontTx/>
              <a:buNone/>
              <a:tabLst/>
              <a:defRPr/>
            </a:pPr>
            <a:endParaRPr kumimoji="0" lang="de-DE" sz="12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12" name="Freeform: Shape 211">
            <a:extLst>
              <a:ext uri="{FF2B5EF4-FFF2-40B4-BE49-F238E27FC236}">
                <a16:creationId xmlns:a16="http://schemas.microsoft.com/office/drawing/2014/main" id="{DCDD28A9-2C28-4B20-BCB2-CC01B50E19E2}"/>
              </a:ext>
            </a:extLst>
          </p:cNvPr>
          <p:cNvSpPr>
            <a:spLocks noChangeArrowheads="1"/>
          </p:cNvSpPr>
          <p:nvPr/>
        </p:nvSpPr>
        <p:spPr bwMode="auto">
          <a:xfrm>
            <a:off x="5639508" y="3257726"/>
            <a:ext cx="1042632" cy="1181908"/>
          </a:xfrm>
          <a:custGeom>
            <a:avLst/>
            <a:gdLst>
              <a:gd name="connsiteX0" fmla="*/ 1285777 w 2961223"/>
              <a:gd name="connsiteY0" fmla="*/ 0 h 3356790"/>
              <a:gd name="connsiteX1" fmla="*/ 2961223 w 2961223"/>
              <a:gd name="connsiteY1" fmla="*/ 1678395 h 3356790"/>
              <a:gd name="connsiteX2" fmla="*/ 1285777 w 2961223"/>
              <a:gd name="connsiteY2" fmla="*/ 3356790 h 3356790"/>
              <a:gd name="connsiteX3" fmla="*/ 101058 w 2961223"/>
              <a:gd name="connsiteY3" fmla="*/ 2865200 h 3356790"/>
              <a:gd name="connsiteX4" fmla="*/ 0 w 2961223"/>
              <a:gd name="connsiteY4" fmla="*/ 2753812 h 3356790"/>
              <a:gd name="connsiteX5" fmla="*/ 45160 w 2961223"/>
              <a:gd name="connsiteY5" fmla="*/ 2693314 h 3356790"/>
              <a:gd name="connsiteX6" fmla="*/ 354630 w 2961223"/>
              <a:gd name="connsiteY6" fmla="*/ 1678395 h 3356790"/>
              <a:gd name="connsiteX7" fmla="*/ 45160 w 2961223"/>
              <a:gd name="connsiteY7" fmla="*/ 663476 h 3356790"/>
              <a:gd name="connsiteX8" fmla="*/ 0 w 2961223"/>
              <a:gd name="connsiteY8" fmla="*/ 602978 h 3356790"/>
              <a:gd name="connsiteX9" fmla="*/ 101058 w 2961223"/>
              <a:gd name="connsiteY9" fmla="*/ 491591 h 3356790"/>
              <a:gd name="connsiteX10" fmla="*/ 1285777 w 2961223"/>
              <a:gd name="connsiteY10" fmla="*/ 0 h 3356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1223" h="3356790">
                <a:moveTo>
                  <a:pt x="1285777" y="0"/>
                </a:moveTo>
                <a:cubicBezTo>
                  <a:pt x="2211100" y="0"/>
                  <a:pt x="2961223" y="751443"/>
                  <a:pt x="2961223" y="1678395"/>
                </a:cubicBezTo>
                <a:cubicBezTo>
                  <a:pt x="2961223" y="2605347"/>
                  <a:pt x="2211100" y="3356790"/>
                  <a:pt x="1285777" y="3356790"/>
                </a:cubicBezTo>
                <a:cubicBezTo>
                  <a:pt x="823116" y="3356790"/>
                  <a:pt x="404254" y="3168929"/>
                  <a:pt x="101058" y="2865200"/>
                </a:cubicBezTo>
                <a:lnTo>
                  <a:pt x="0" y="2753812"/>
                </a:lnTo>
                <a:lnTo>
                  <a:pt x="45160" y="2693314"/>
                </a:lnTo>
                <a:cubicBezTo>
                  <a:pt x="240543" y="2403600"/>
                  <a:pt x="354630" y="2054344"/>
                  <a:pt x="354630" y="1678395"/>
                </a:cubicBezTo>
                <a:cubicBezTo>
                  <a:pt x="354630" y="1302446"/>
                  <a:pt x="240543" y="953191"/>
                  <a:pt x="45160" y="663476"/>
                </a:cubicBezTo>
                <a:lnTo>
                  <a:pt x="0" y="602978"/>
                </a:lnTo>
                <a:lnTo>
                  <a:pt x="101058" y="491591"/>
                </a:lnTo>
                <a:cubicBezTo>
                  <a:pt x="404254" y="187861"/>
                  <a:pt x="823116" y="0"/>
                  <a:pt x="1285777" y="0"/>
                </a:cubicBezTo>
                <a:close/>
              </a:path>
            </a:pathLst>
          </a:custGeom>
          <a:solidFill>
            <a:srgbClr val="008272"/>
          </a:solidFill>
          <a:ln w="10795" cap="flat" cmpd="sng" algn="ctr">
            <a:noFill/>
            <a:prstDash val="solid"/>
          </a:ln>
          <a:effectLst/>
        </p:spPr>
        <p:txBody>
          <a:bodyPr vert="horz" wrap="square" lIns="0" tIns="42793" rIns="0" bIns="42793" numCol="1" rtlCol="0" anchor="ctr" anchorCtr="0" compatLnSpc="1">
            <a:prstTxWarp prst="textNoShape">
              <a:avLst/>
            </a:prstTxWarp>
            <a:noAutofit/>
          </a:bodyPr>
          <a:lstStyle/>
          <a:p>
            <a:pPr marL="0" marR="0" lvl="0" indent="0" algn="ctr" defTabSz="855495" rtl="0" eaLnBrk="1" fontAlgn="base" latinLnBrk="0" hangingPunct="1">
              <a:lnSpc>
                <a:spcPct val="100000"/>
              </a:lnSpc>
              <a:spcBef>
                <a:spcPct val="0"/>
              </a:spcBef>
              <a:spcAft>
                <a:spcPct val="0"/>
              </a:spcAft>
              <a:buClrTx/>
              <a:buSzTx/>
              <a:buFontTx/>
              <a:buNone/>
              <a:tabLst/>
              <a:defRPr/>
            </a:pPr>
            <a:endParaRPr kumimoji="0" lang="de-DE" sz="12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13" name="Freeform: Shape 212">
            <a:extLst>
              <a:ext uri="{FF2B5EF4-FFF2-40B4-BE49-F238E27FC236}">
                <a16:creationId xmlns:a16="http://schemas.microsoft.com/office/drawing/2014/main" id="{2456E634-BE9A-421E-829A-EC21ED259121}"/>
              </a:ext>
            </a:extLst>
          </p:cNvPr>
          <p:cNvSpPr>
            <a:spLocks noChangeArrowheads="1"/>
          </p:cNvSpPr>
          <p:nvPr/>
        </p:nvSpPr>
        <p:spPr bwMode="auto">
          <a:xfrm>
            <a:off x="5504903" y="3257726"/>
            <a:ext cx="1177238" cy="1181908"/>
          </a:xfrm>
          <a:custGeom>
            <a:avLst/>
            <a:gdLst>
              <a:gd name="connsiteX0" fmla="*/ 0 w 3343521"/>
              <a:gd name="connsiteY0" fmla="*/ 1751510 h 3356790"/>
              <a:gd name="connsiteX1" fmla="*/ 3343521 w 3343521"/>
              <a:gd name="connsiteY1" fmla="*/ 1751510 h 3356790"/>
              <a:gd name="connsiteX2" fmla="*/ 3338556 w 3343521"/>
              <a:gd name="connsiteY2" fmla="*/ 1850001 h 3356790"/>
              <a:gd name="connsiteX3" fmla="*/ 1671760 w 3343521"/>
              <a:gd name="connsiteY3" fmla="*/ 3356790 h 3356790"/>
              <a:gd name="connsiteX4" fmla="*/ 4964 w 3343521"/>
              <a:gd name="connsiteY4" fmla="*/ 1850001 h 3356790"/>
              <a:gd name="connsiteX5" fmla="*/ 1671760 w 3343521"/>
              <a:gd name="connsiteY5" fmla="*/ 0 h 3356790"/>
              <a:gd name="connsiteX6" fmla="*/ 3338556 w 3343521"/>
              <a:gd name="connsiteY6" fmla="*/ 1506789 h 3356790"/>
              <a:gd name="connsiteX7" fmla="*/ 3343521 w 3343521"/>
              <a:gd name="connsiteY7" fmla="*/ 1605280 h 3356790"/>
              <a:gd name="connsiteX8" fmla="*/ 0 w 3343521"/>
              <a:gd name="connsiteY8" fmla="*/ 1605280 h 3356790"/>
              <a:gd name="connsiteX9" fmla="*/ 4964 w 3343521"/>
              <a:gd name="connsiteY9" fmla="*/ 1506789 h 3356790"/>
              <a:gd name="connsiteX10" fmla="*/ 1671760 w 3343521"/>
              <a:gd name="connsiteY10" fmla="*/ 0 h 3356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43521" h="3356790">
                <a:moveTo>
                  <a:pt x="0" y="1751510"/>
                </a:moveTo>
                <a:lnTo>
                  <a:pt x="3343521" y="1751510"/>
                </a:lnTo>
                <a:lnTo>
                  <a:pt x="3338556" y="1850001"/>
                </a:lnTo>
                <a:cubicBezTo>
                  <a:pt x="3252756" y="2696342"/>
                  <a:pt x="2539251" y="3356790"/>
                  <a:pt x="1671760" y="3356790"/>
                </a:cubicBezTo>
                <a:cubicBezTo>
                  <a:pt x="804270" y="3356790"/>
                  <a:pt x="90764" y="2696342"/>
                  <a:pt x="4964" y="1850001"/>
                </a:cubicBezTo>
                <a:close/>
                <a:moveTo>
                  <a:pt x="1671760" y="0"/>
                </a:moveTo>
                <a:cubicBezTo>
                  <a:pt x="2539251" y="0"/>
                  <a:pt x="3252756" y="660448"/>
                  <a:pt x="3338556" y="1506789"/>
                </a:cubicBezTo>
                <a:lnTo>
                  <a:pt x="3343521" y="1605280"/>
                </a:lnTo>
                <a:lnTo>
                  <a:pt x="0" y="1605280"/>
                </a:lnTo>
                <a:lnTo>
                  <a:pt x="4964" y="1506789"/>
                </a:lnTo>
                <a:cubicBezTo>
                  <a:pt x="90764" y="660448"/>
                  <a:pt x="804270" y="0"/>
                  <a:pt x="1671760" y="0"/>
                </a:cubicBezTo>
                <a:close/>
              </a:path>
            </a:pathLst>
          </a:custGeom>
          <a:solidFill>
            <a:srgbClr val="008272"/>
          </a:solidFill>
          <a:ln w="10795" cap="flat" cmpd="sng" algn="ctr">
            <a:noFill/>
            <a:prstDash val="solid"/>
          </a:ln>
          <a:effectLst/>
        </p:spPr>
        <p:txBody>
          <a:bodyPr vert="horz" wrap="square" lIns="0" tIns="42793" rIns="0" bIns="42793" numCol="1" rtlCol="0" anchor="ctr" anchorCtr="0" compatLnSpc="1">
            <a:prstTxWarp prst="textNoShape">
              <a:avLst/>
            </a:prstTxWarp>
            <a:noAutofit/>
          </a:bodyPr>
          <a:lstStyle/>
          <a:p>
            <a:pPr marL="0" marR="0" lvl="0" indent="0" algn="ctr" defTabSz="855495" rtl="0" eaLnBrk="1" fontAlgn="base" latinLnBrk="0" hangingPunct="1">
              <a:lnSpc>
                <a:spcPct val="100000"/>
              </a:lnSpc>
              <a:spcBef>
                <a:spcPct val="0"/>
              </a:spcBef>
              <a:spcAft>
                <a:spcPct val="0"/>
              </a:spcAft>
              <a:buClrTx/>
              <a:buSzTx/>
              <a:buFontTx/>
              <a:buNone/>
              <a:tabLst/>
              <a:defRPr/>
            </a:pPr>
            <a:endParaRPr kumimoji="0" lang="de-DE" sz="1200" b="0" i="0" u="none" strike="noStrike" kern="0" cap="none" spc="0" normalizeH="0" baseline="0" noProof="0">
              <a:ln>
                <a:noFill/>
              </a:ln>
              <a:solidFill>
                <a:srgbClr val="FFFFFF"/>
              </a:solidFill>
              <a:effectLst/>
              <a:uLnTx/>
              <a:uFillTx/>
              <a:latin typeface="Segoe UI Semibold"/>
              <a:ea typeface="+mn-ea"/>
              <a:cs typeface="+mn-cs"/>
            </a:endParaRPr>
          </a:p>
        </p:txBody>
      </p:sp>
      <p:sp>
        <p:nvSpPr>
          <p:cNvPr id="396" name="Oval 395">
            <a:extLst>
              <a:ext uri="{FF2B5EF4-FFF2-40B4-BE49-F238E27FC236}">
                <a16:creationId xmlns:a16="http://schemas.microsoft.com/office/drawing/2014/main" id="{5599857A-360F-487B-855E-21461198FACF}"/>
              </a:ext>
            </a:extLst>
          </p:cNvPr>
          <p:cNvSpPr/>
          <p:nvPr/>
        </p:nvSpPr>
        <p:spPr bwMode="auto">
          <a:xfrm>
            <a:off x="5709059" y="3475932"/>
            <a:ext cx="745494" cy="745494"/>
          </a:xfrm>
          <a:prstGeom prst="ellipse">
            <a:avLst/>
          </a:prstGeom>
          <a:no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67804" tIns="134243" rIns="167804" bIns="134243" numCol="1" spcCol="0" rtlCol="0" fromWordArt="0" anchor="t" anchorCtr="0" forceAA="0" compatLnSpc="1">
            <a:prstTxWarp prst="textNoShape">
              <a:avLst/>
            </a:prstTxWarp>
            <a:noAutofit/>
          </a:bodyPr>
          <a:lstStyle/>
          <a:p>
            <a:pPr marL="0" marR="0" lvl="0" indent="0" algn="l" defTabSz="855495" rtl="0" eaLnBrk="1" fontAlgn="base" latinLnBrk="0" hangingPunct="1">
              <a:lnSpc>
                <a:spcPct val="100000"/>
              </a:lnSpc>
              <a:spcBef>
                <a:spcPct val="0"/>
              </a:spcBef>
              <a:spcAft>
                <a:spcPct val="0"/>
              </a:spcAft>
              <a:buClrTx/>
              <a:buSzTx/>
              <a:buFontTx/>
              <a:buNone/>
              <a:tabLst/>
              <a:defRPr/>
            </a:pPr>
            <a:endParaRPr kumimoji="0" lang="en-US" sz="220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7" name="Oval 396">
            <a:extLst>
              <a:ext uri="{FF2B5EF4-FFF2-40B4-BE49-F238E27FC236}">
                <a16:creationId xmlns:a16="http://schemas.microsoft.com/office/drawing/2014/main" id="{5BCD92F3-A02B-4C1B-8C18-6DEC7697D321}"/>
              </a:ext>
            </a:extLst>
          </p:cNvPr>
          <p:cNvSpPr/>
          <p:nvPr/>
        </p:nvSpPr>
        <p:spPr bwMode="auto">
          <a:xfrm>
            <a:off x="5709059" y="3475932"/>
            <a:ext cx="745494" cy="745494"/>
          </a:xfrm>
          <a:prstGeom prst="ellipse">
            <a:avLst/>
          </a:prstGeom>
          <a:no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67804" tIns="134243" rIns="167804" bIns="134243" numCol="1" spcCol="0" rtlCol="0" fromWordArt="0" anchor="t" anchorCtr="0" forceAA="0" compatLnSpc="1">
            <a:prstTxWarp prst="textNoShape">
              <a:avLst/>
            </a:prstTxWarp>
            <a:noAutofit/>
          </a:bodyPr>
          <a:lstStyle/>
          <a:p>
            <a:pPr marL="0" marR="0" lvl="0" indent="0" algn="l" defTabSz="855495" rtl="0" eaLnBrk="1" fontAlgn="base" latinLnBrk="0" hangingPunct="1">
              <a:lnSpc>
                <a:spcPct val="100000"/>
              </a:lnSpc>
              <a:spcBef>
                <a:spcPct val="0"/>
              </a:spcBef>
              <a:spcAft>
                <a:spcPct val="0"/>
              </a:spcAft>
              <a:buClrTx/>
              <a:buSzTx/>
              <a:buFontTx/>
              <a:buNone/>
              <a:tabLst/>
              <a:defRPr/>
            </a:pPr>
            <a:endParaRPr kumimoji="0" lang="en-US" sz="220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8" name="Oval 397">
            <a:extLst>
              <a:ext uri="{FF2B5EF4-FFF2-40B4-BE49-F238E27FC236}">
                <a16:creationId xmlns:a16="http://schemas.microsoft.com/office/drawing/2014/main" id="{213058CF-C9B5-48EC-8F1B-5D82CC00B170}"/>
              </a:ext>
            </a:extLst>
          </p:cNvPr>
          <p:cNvSpPr/>
          <p:nvPr/>
        </p:nvSpPr>
        <p:spPr bwMode="auto">
          <a:xfrm>
            <a:off x="5709059" y="3475932"/>
            <a:ext cx="745494" cy="745494"/>
          </a:xfrm>
          <a:prstGeom prst="ellipse">
            <a:avLst/>
          </a:prstGeom>
          <a:no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67804" tIns="134243" rIns="167804" bIns="134243" numCol="1" spcCol="0" rtlCol="0" fromWordArt="0" anchor="t" anchorCtr="0" forceAA="0" compatLnSpc="1">
            <a:prstTxWarp prst="textNoShape">
              <a:avLst/>
            </a:prstTxWarp>
            <a:noAutofit/>
          </a:bodyPr>
          <a:lstStyle/>
          <a:p>
            <a:pPr marL="0" marR="0" lvl="0" indent="0" algn="l" defTabSz="855495" rtl="0" eaLnBrk="1" fontAlgn="base" latinLnBrk="0" hangingPunct="1">
              <a:lnSpc>
                <a:spcPct val="100000"/>
              </a:lnSpc>
              <a:spcBef>
                <a:spcPct val="0"/>
              </a:spcBef>
              <a:spcAft>
                <a:spcPct val="0"/>
              </a:spcAft>
              <a:buClrTx/>
              <a:buSzTx/>
              <a:buFontTx/>
              <a:buNone/>
              <a:tabLst/>
              <a:defRPr/>
            </a:pPr>
            <a:endParaRPr kumimoji="0" lang="en-US" sz="220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0" name="Freeform 5">
            <a:extLst>
              <a:ext uri="{FF2B5EF4-FFF2-40B4-BE49-F238E27FC236}">
                <a16:creationId xmlns:a16="http://schemas.microsoft.com/office/drawing/2014/main" id="{F1C326C7-50E4-42E8-BAED-6CA002DB0D75}"/>
              </a:ext>
            </a:extLst>
          </p:cNvPr>
          <p:cNvSpPr>
            <a:spLocks noEditPoints="1"/>
          </p:cNvSpPr>
          <p:nvPr/>
        </p:nvSpPr>
        <p:spPr bwMode="auto">
          <a:xfrm rot="2700000">
            <a:off x="6216533" y="1297397"/>
            <a:ext cx="1844097" cy="2989010"/>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EBEBEB">
              <a:lumMod val="60000"/>
              <a:lumOff val="40000"/>
            </a:srgbClr>
          </a:solidFill>
          <a:ln>
            <a:solidFill>
              <a:srgbClr val="FFFFFF">
                <a:lumMod val="85000"/>
              </a:srgbClr>
            </a:solidFill>
          </a:ln>
        </p:spPr>
        <p:txBody>
          <a:bodyPr vert="horz" wrap="square" lIns="83903" tIns="41951" rIns="83903" bIns="41951" numCol="1" anchor="t" anchorCtr="0" compatLnSpc="1">
            <a:prstTxWarp prst="textNoShape">
              <a:avLst/>
            </a:prstTxWarp>
          </a:bodyPr>
          <a:lstStyle/>
          <a:p>
            <a:pPr marL="0" marR="0" lvl="0" indent="0" algn="l" defTabSz="838914" rtl="0" eaLnBrk="1" fontAlgn="auto" latinLnBrk="0" hangingPunct="1">
              <a:lnSpc>
                <a:spcPct val="100000"/>
              </a:lnSpc>
              <a:spcBef>
                <a:spcPts val="0"/>
              </a:spcBef>
              <a:spcAft>
                <a:spcPts val="0"/>
              </a:spcAft>
              <a:buClrTx/>
              <a:buSzTx/>
              <a:buFontTx/>
              <a:buNone/>
              <a:tabLst/>
              <a:defRPr/>
            </a:pPr>
            <a:endParaRPr kumimoji="0" lang="de-DE" sz="1652" b="0" i="0" u="none" strike="noStrike" kern="0" cap="none" spc="0" normalizeH="0" baseline="0" noProof="0">
              <a:ln>
                <a:noFill/>
              </a:ln>
              <a:solidFill>
                <a:srgbClr val="1A1A1A"/>
              </a:solidFill>
              <a:effectLst/>
              <a:uLnTx/>
              <a:uFillTx/>
              <a:latin typeface="Segoe UI"/>
              <a:ea typeface="+mn-ea"/>
              <a:cs typeface="+mn-cs"/>
            </a:endParaRPr>
          </a:p>
        </p:txBody>
      </p:sp>
      <p:sp>
        <p:nvSpPr>
          <p:cNvPr id="401" name="Freeform 5">
            <a:extLst>
              <a:ext uri="{FF2B5EF4-FFF2-40B4-BE49-F238E27FC236}">
                <a16:creationId xmlns:a16="http://schemas.microsoft.com/office/drawing/2014/main" id="{D0433BC4-4B72-41B1-95FA-0867B90C3DD8}"/>
              </a:ext>
            </a:extLst>
          </p:cNvPr>
          <p:cNvSpPr>
            <a:spLocks noEditPoints="1"/>
          </p:cNvSpPr>
          <p:nvPr/>
        </p:nvSpPr>
        <p:spPr bwMode="auto">
          <a:xfrm rot="18900000">
            <a:off x="4102983" y="1297397"/>
            <a:ext cx="1844097" cy="2989010"/>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EBEBEB">
              <a:lumMod val="60000"/>
              <a:lumOff val="40000"/>
            </a:srgbClr>
          </a:solidFill>
          <a:ln>
            <a:solidFill>
              <a:srgbClr val="FFFFFF">
                <a:lumMod val="85000"/>
              </a:srgbClr>
            </a:solidFill>
          </a:ln>
        </p:spPr>
        <p:txBody>
          <a:bodyPr vert="horz" wrap="square" lIns="83903" tIns="41951" rIns="83903" bIns="41951" numCol="1" anchor="t" anchorCtr="0" compatLnSpc="1">
            <a:prstTxWarp prst="textNoShape">
              <a:avLst/>
            </a:prstTxWarp>
          </a:bodyPr>
          <a:lstStyle/>
          <a:p>
            <a:pPr marL="0" marR="0" lvl="0" indent="0" algn="l" defTabSz="838914" rtl="0" eaLnBrk="1" fontAlgn="auto" latinLnBrk="0" hangingPunct="1">
              <a:lnSpc>
                <a:spcPct val="100000"/>
              </a:lnSpc>
              <a:spcBef>
                <a:spcPts val="0"/>
              </a:spcBef>
              <a:spcAft>
                <a:spcPts val="0"/>
              </a:spcAft>
              <a:buClrTx/>
              <a:buSzTx/>
              <a:buFontTx/>
              <a:buNone/>
              <a:tabLst/>
              <a:defRPr/>
            </a:pPr>
            <a:endParaRPr kumimoji="0" lang="de-DE" sz="1652" b="0" i="0" u="none" strike="noStrike" kern="0" cap="none" spc="0" normalizeH="0" baseline="0" noProof="0">
              <a:ln>
                <a:noFill/>
              </a:ln>
              <a:solidFill>
                <a:srgbClr val="1A1A1A"/>
              </a:solidFill>
              <a:effectLst/>
              <a:uLnTx/>
              <a:uFillTx/>
              <a:latin typeface="Segoe UI"/>
              <a:ea typeface="+mn-ea"/>
              <a:cs typeface="+mn-cs"/>
            </a:endParaRPr>
          </a:p>
        </p:txBody>
      </p:sp>
      <p:sp>
        <p:nvSpPr>
          <p:cNvPr id="402" name="Freeform 5">
            <a:extLst>
              <a:ext uri="{FF2B5EF4-FFF2-40B4-BE49-F238E27FC236}">
                <a16:creationId xmlns:a16="http://schemas.microsoft.com/office/drawing/2014/main" id="{CA7CFF7C-BFE8-495C-9ED6-CF6E410E95D4}"/>
              </a:ext>
            </a:extLst>
          </p:cNvPr>
          <p:cNvSpPr>
            <a:spLocks noEditPoints="1"/>
          </p:cNvSpPr>
          <p:nvPr/>
        </p:nvSpPr>
        <p:spPr bwMode="auto">
          <a:xfrm rot="18900000" flipV="1">
            <a:off x="6216533" y="3410948"/>
            <a:ext cx="1844097" cy="2989010"/>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EBEBEB">
              <a:lumMod val="60000"/>
              <a:lumOff val="40000"/>
            </a:srgbClr>
          </a:solidFill>
          <a:ln>
            <a:solidFill>
              <a:srgbClr val="FFFFFF">
                <a:lumMod val="85000"/>
              </a:srgbClr>
            </a:solidFill>
          </a:ln>
        </p:spPr>
        <p:txBody>
          <a:bodyPr vert="horz" wrap="square" lIns="83903" tIns="41951" rIns="83903" bIns="41951" numCol="1" anchor="t" anchorCtr="0" compatLnSpc="1">
            <a:prstTxWarp prst="textNoShape">
              <a:avLst/>
            </a:prstTxWarp>
          </a:bodyPr>
          <a:lstStyle/>
          <a:p>
            <a:pPr marL="0" marR="0" lvl="0" indent="0" algn="l" defTabSz="838914" rtl="0" eaLnBrk="1" fontAlgn="auto" latinLnBrk="0" hangingPunct="1">
              <a:lnSpc>
                <a:spcPct val="100000"/>
              </a:lnSpc>
              <a:spcBef>
                <a:spcPts val="0"/>
              </a:spcBef>
              <a:spcAft>
                <a:spcPts val="0"/>
              </a:spcAft>
              <a:buClrTx/>
              <a:buSzTx/>
              <a:buFontTx/>
              <a:buNone/>
              <a:tabLst/>
              <a:defRPr/>
            </a:pPr>
            <a:endParaRPr kumimoji="0" lang="de-DE" sz="1652" b="0" i="0" u="none" strike="noStrike" kern="0" cap="none" spc="0" normalizeH="0" baseline="0" noProof="0">
              <a:ln>
                <a:noFill/>
              </a:ln>
              <a:solidFill>
                <a:srgbClr val="1A1A1A"/>
              </a:solidFill>
              <a:effectLst/>
              <a:uLnTx/>
              <a:uFillTx/>
              <a:latin typeface="Segoe UI"/>
              <a:ea typeface="+mn-ea"/>
              <a:cs typeface="+mn-cs"/>
            </a:endParaRPr>
          </a:p>
        </p:txBody>
      </p:sp>
      <p:sp>
        <p:nvSpPr>
          <p:cNvPr id="403" name="Freeform 5">
            <a:extLst>
              <a:ext uri="{FF2B5EF4-FFF2-40B4-BE49-F238E27FC236}">
                <a16:creationId xmlns:a16="http://schemas.microsoft.com/office/drawing/2014/main" id="{7F6A4663-DCC2-4688-B97C-64AD26583827}"/>
              </a:ext>
            </a:extLst>
          </p:cNvPr>
          <p:cNvSpPr>
            <a:spLocks noEditPoints="1"/>
          </p:cNvSpPr>
          <p:nvPr/>
        </p:nvSpPr>
        <p:spPr bwMode="auto">
          <a:xfrm rot="2700000" flipV="1">
            <a:off x="4102983" y="3410948"/>
            <a:ext cx="1844097" cy="2989010"/>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EBEBEB">
              <a:lumMod val="60000"/>
              <a:lumOff val="40000"/>
            </a:srgbClr>
          </a:solidFill>
          <a:ln>
            <a:solidFill>
              <a:srgbClr val="FFFFFF">
                <a:lumMod val="85000"/>
              </a:srgbClr>
            </a:solidFill>
          </a:ln>
        </p:spPr>
        <p:txBody>
          <a:bodyPr vert="horz" wrap="square" lIns="83903" tIns="41951" rIns="83903" bIns="41951" numCol="1" anchor="t" anchorCtr="0" compatLnSpc="1">
            <a:prstTxWarp prst="textNoShape">
              <a:avLst/>
            </a:prstTxWarp>
          </a:bodyPr>
          <a:lstStyle/>
          <a:p>
            <a:pPr marL="0" marR="0" lvl="0" indent="0" algn="l" defTabSz="838914" rtl="0" eaLnBrk="1" fontAlgn="auto" latinLnBrk="0" hangingPunct="1">
              <a:lnSpc>
                <a:spcPct val="100000"/>
              </a:lnSpc>
              <a:spcBef>
                <a:spcPts val="0"/>
              </a:spcBef>
              <a:spcAft>
                <a:spcPts val="0"/>
              </a:spcAft>
              <a:buClrTx/>
              <a:buSzTx/>
              <a:buFontTx/>
              <a:buNone/>
              <a:tabLst/>
              <a:defRPr/>
            </a:pPr>
            <a:endParaRPr kumimoji="0" lang="de-DE" sz="1652" b="0" i="0" u="none" strike="noStrike" kern="0" cap="none" spc="0" normalizeH="0" baseline="0" noProof="0">
              <a:ln>
                <a:noFill/>
              </a:ln>
              <a:solidFill>
                <a:srgbClr val="1A1A1A"/>
              </a:solidFill>
              <a:effectLst/>
              <a:uLnTx/>
              <a:uFillTx/>
              <a:latin typeface="Segoe UI"/>
              <a:ea typeface="+mn-ea"/>
              <a:cs typeface="+mn-cs"/>
            </a:endParaRPr>
          </a:p>
        </p:txBody>
      </p:sp>
      <p:grpSp>
        <p:nvGrpSpPr>
          <p:cNvPr id="440" name="Group 439">
            <a:extLst>
              <a:ext uri="{FF2B5EF4-FFF2-40B4-BE49-F238E27FC236}">
                <a16:creationId xmlns:a16="http://schemas.microsoft.com/office/drawing/2014/main" id="{EE3B5BC5-A1A4-4B73-BD57-7F60B51DA26B}"/>
              </a:ext>
            </a:extLst>
          </p:cNvPr>
          <p:cNvGrpSpPr>
            <a:grpSpLocks noChangeAspect="1"/>
          </p:cNvGrpSpPr>
          <p:nvPr/>
        </p:nvGrpSpPr>
        <p:grpSpPr>
          <a:xfrm>
            <a:off x="7420177" y="5184433"/>
            <a:ext cx="46203" cy="59129"/>
            <a:chOff x="10265702" y="3128321"/>
            <a:chExt cx="458002" cy="586151"/>
          </a:xfrm>
          <a:solidFill>
            <a:srgbClr val="0084D9">
              <a:alpha val="0"/>
            </a:srgbClr>
          </a:solidFill>
        </p:grpSpPr>
        <p:sp>
          <p:nvSpPr>
            <p:cNvPr id="441" name="Freeform: Shape 440">
              <a:extLst>
                <a:ext uri="{FF2B5EF4-FFF2-40B4-BE49-F238E27FC236}">
                  <a16:creationId xmlns:a16="http://schemas.microsoft.com/office/drawing/2014/main" id="{BC306451-A256-4462-A721-95EA0C923007}"/>
                </a:ext>
              </a:extLst>
            </p:cNvPr>
            <p:cNvSpPr/>
            <p:nvPr/>
          </p:nvSpPr>
          <p:spPr>
            <a:xfrm>
              <a:off x="10265702" y="3128321"/>
              <a:ext cx="458002" cy="458002"/>
            </a:xfrm>
            <a:custGeom>
              <a:avLst/>
              <a:gdLst/>
              <a:ahLst/>
              <a:cxnLst/>
              <a:rect l="0" t="0" r="0" b="0"/>
              <a:pathLst>
                <a:path w="609600" h="609600">
                  <a:moveTo>
                    <a:pt x="205502" y="516731"/>
                  </a:moveTo>
                  <a:cubicBezTo>
                    <a:pt x="210264" y="516731"/>
                    <a:pt x="214074" y="518636"/>
                    <a:pt x="217884" y="521494"/>
                  </a:cubicBezTo>
                  <a:lnTo>
                    <a:pt x="295037" y="597694"/>
                  </a:lnTo>
                  <a:cubicBezTo>
                    <a:pt x="298847" y="600551"/>
                    <a:pt x="302657" y="602456"/>
                    <a:pt x="307419" y="602456"/>
                  </a:cubicBezTo>
                  <a:cubicBezTo>
                    <a:pt x="312182" y="602456"/>
                    <a:pt x="315992" y="600551"/>
                    <a:pt x="319802" y="597694"/>
                  </a:cubicBezTo>
                  <a:lnTo>
                    <a:pt x="396954" y="521494"/>
                  </a:lnTo>
                  <a:cubicBezTo>
                    <a:pt x="399812" y="518636"/>
                    <a:pt x="404574" y="516731"/>
                    <a:pt x="409337" y="516731"/>
                  </a:cubicBezTo>
                  <a:lnTo>
                    <a:pt x="511254" y="516731"/>
                  </a:lnTo>
                  <a:cubicBezTo>
                    <a:pt x="520779" y="516731"/>
                    <a:pt x="528399" y="509111"/>
                    <a:pt x="528399" y="499586"/>
                  </a:cubicBezTo>
                  <a:lnTo>
                    <a:pt x="528399" y="400526"/>
                  </a:lnTo>
                  <a:cubicBezTo>
                    <a:pt x="528399" y="395764"/>
                    <a:pt x="530304" y="391001"/>
                    <a:pt x="533162" y="388144"/>
                  </a:cubicBezTo>
                  <a:lnTo>
                    <a:pt x="596979" y="325279"/>
                  </a:lnTo>
                  <a:cubicBezTo>
                    <a:pt x="611267" y="311944"/>
                    <a:pt x="611267" y="289084"/>
                    <a:pt x="596979" y="275749"/>
                  </a:cubicBezTo>
                  <a:lnTo>
                    <a:pt x="537924" y="218599"/>
                  </a:lnTo>
                  <a:cubicBezTo>
                    <a:pt x="531257" y="211931"/>
                    <a:pt x="527447" y="203359"/>
                    <a:pt x="527447" y="193834"/>
                  </a:cubicBezTo>
                  <a:lnTo>
                    <a:pt x="527447" y="120491"/>
                  </a:lnTo>
                  <a:cubicBezTo>
                    <a:pt x="527447" y="101441"/>
                    <a:pt x="512207" y="85249"/>
                    <a:pt x="492204" y="85249"/>
                  </a:cubicBezTo>
                  <a:lnTo>
                    <a:pt x="415052" y="85249"/>
                  </a:lnTo>
                  <a:cubicBezTo>
                    <a:pt x="405527" y="85249"/>
                    <a:pt x="396954" y="81439"/>
                    <a:pt x="391239" y="75724"/>
                  </a:cubicBezTo>
                  <a:lnTo>
                    <a:pt x="331232" y="16669"/>
                  </a:lnTo>
                  <a:cubicBezTo>
                    <a:pt x="324564" y="10001"/>
                    <a:pt x="315992" y="7144"/>
                    <a:pt x="307419" y="7144"/>
                  </a:cubicBezTo>
                  <a:cubicBezTo>
                    <a:pt x="298847" y="7144"/>
                    <a:pt x="290274" y="10001"/>
                    <a:pt x="283607" y="16669"/>
                  </a:cubicBezTo>
                  <a:lnTo>
                    <a:pt x="223599" y="75724"/>
                  </a:lnTo>
                  <a:cubicBezTo>
                    <a:pt x="215979" y="82391"/>
                    <a:pt x="207407" y="85249"/>
                    <a:pt x="197882" y="85249"/>
                  </a:cubicBezTo>
                  <a:lnTo>
                    <a:pt x="121682" y="85249"/>
                  </a:lnTo>
                  <a:cubicBezTo>
                    <a:pt x="102632" y="85249"/>
                    <a:pt x="87392" y="100489"/>
                    <a:pt x="87392" y="119539"/>
                  </a:cubicBezTo>
                  <a:lnTo>
                    <a:pt x="87392" y="193834"/>
                  </a:lnTo>
                  <a:cubicBezTo>
                    <a:pt x="87392" y="203359"/>
                    <a:pt x="83582" y="211931"/>
                    <a:pt x="76914" y="218599"/>
                  </a:cubicBezTo>
                  <a:lnTo>
                    <a:pt x="17859" y="275749"/>
                  </a:lnTo>
                  <a:cubicBezTo>
                    <a:pt x="3572" y="289084"/>
                    <a:pt x="3572" y="311944"/>
                    <a:pt x="17859" y="325279"/>
                  </a:cubicBezTo>
                  <a:lnTo>
                    <a:pt x="81677" y="388144"/>
                  </a:lnTo>
                  <a:cubicBezTo>
                    <a:pt x="84534" y="391001"/>
                    <a:pt x="86439" y="395764"/>
                    <a:pt x="86439" y="400526"/>
                  </a:cubicBezTo>
                  <a:lnTo>
                    <a:pt x="86439" y="499586"/>
                  </a:lnTo>
                  <a:cubicBezTo>
                    <a:pt x="86439" y="509111"/>
                    <a:pt x="94059" y="516731"/>
                    <a:pt x="103584" y="516731"/>
                  </a:cubicBezTo>
                  <a:lnTo>
                    <a:pt x="205502" y="516731"/>
                  </a:ln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468" b="0" i="0" u="none" strike="noStrike" kern="0" cap="none" spc="0" normalizeH="0" baseline="0" noProof="0">
                <a:ln>
                  <a:noFill/>
                </a:ln>
                <a:solidFill>
                  <a:srgbClr val="1A1A1A"/>
                </a:solidFill>
                <a:effectLst/>
                <a:uLnTx/>
                <a:uFillTx/>
                <a:latin typeface="Segoe UI"/>
                <a:ea typeface="+mn-ea"/>
                <a:cs typeface="+mn-cs"/>
              </a:endParaRPr>
            </a:p>
          </p:txBody>
        </p:sp>
        <p:sp>
          <p:nvSpPr>
            <p:cNvPr id="442" name="Freeform: Shape 441">
              <a:extLst>
                <a:ext uri="{FF2B5EF4-FFF2-40B4-BE49-F238E27FC236}">
                  <a16:creationId xmlns:a16="http://schemas.microsoft.com/office/drawing/2014/main" id="{E6B7D2CD-4388-4E17-9A95-65381372BA44}"/>
                </a:ext>
              </a:extLst>
            </p:cNvPr>
            <p:cNvSpPr/>
            <p:nvPr/>
          </p:nvSpPr>
          <p:spPr>
            <a:xfrm>
              <a:off x="10330646" y="3193443"/>
              <a:ext cx="329189" cy="322033"/>
            </a:xfrm>
            <a:custGeom>
              <a:avLst/>
              <a:gdLst/>
              <a:ahLst/>
              <a:cxnLst/>
              <a:rect l="0" t="0" r="0" b="0"/>
              <a:pathLst>
                <a:path w="438150" h="428625">
                  <a:moveTo>
                    <a:pt x="220028" y="21431"/>
                  </a:moveTo>
                  <a:cubicBezTo>
                    <a:pt x="222885" y="21431"/>
                    <a:pt x="224790" y="22384"/>
                    <a:pt x="226695" y="24289"/>
                  </a:cubicBezTo>
                  <a:lnTo>
                    <a:pt x="269557" y="66199"/>
                  </a:lnTo>
                  <a:cubicBezTo>
                    <a:pt x="277178" y="73819"/>
                    <a:pt x="286703" y="77629"/>
                    <a:pt x="297180" y="77629"/>
                  </a:cubicBezTo>
                  <a:lnTo>
                    <a:pt x="351473" y="77629"/>
                  </a:lnTo>
                  <a:cubicBezTo>
                    <a:pt x="357188" y="77629"/>
                    <a:pt x="361950" y="82391"/>
                    <a:pt x="361950" y="88106"/>
                  </a:cubicBezTo>
                  <a:lnTo>
                    <a:pt x="361950" y="139541"/>
                  </a:lnTo>
                  <a:cubicBezTo>
                    <a:pt x="361950" y="150019"/>
                    <a:pt x="365760" y="160496"/>
                    <a:pt x="373380" y="167164"/>
                  </a:cubicBezTo>
                  <a:lnTo>
                    <a:pt x="415290" y="208121"/>
                  </a:lnTo>
                  <a:cubicBezTo>
                    <a:pt x="417195" y="210026"/>
                    <a:pt x="418148" y="212884"/>
                    <a:pt x="418148" y="215741"/>
                  </a:cubicBezTo>
                  <a:cubicBezTo>
                    <a:pt x="418148" y="218599"/>
                    <a:pt x="417195" y="221456"/>
                    <a:pt x="415290" y="223361"/>
                  </a:cubicBezTo>
                  <a:lnTo>
                    <a:pt x="369570" y="268129"/>
                  </a:lnTo>
                  <a:cubicBezTo>
                    <a:pt x="364807" y="272891"/>
                    <a:pt x="361950" y="279559"/>
                    <a:pt x="361950" y="287179"/>
                  </a:cubicBezTo>
                  <a:lnTo>
                    <a:pt x="361950" y="354806"/>
                  </a:lnTo>
                  <a:lnTo>
                    <a:pt x="292418" y="354806"/>
                  </a:lnTo>
                  <a:cubicBezTo>
                    <a:pt x="285750" y="354806"/>
                    <a:pt x="279082" y="357664"/>
                    <a:pt x="274320" y="362426"/>
                  </a:cubicBezTo>
                  <a:lnTo>
                    <a:pt x="220980" y="414814"/>
                  </a:lnTo>
                  <a:lnTo>
                    <a:pt x="167640" y="362426"/>
                  </a:lnTo>
                  <a:cubicBezTo>
                    <a:pt x="162878" y="357664"/>
                    <a:pt x="156210" y="354806"/>
                    <a:pt x="149543" y="354806"/>
                  </a:cubicBezTo>
                  <a:lnTo>
                    <a:pt x="80010" y="354806"/>
                  </a:lnTo>
                  <a:lnTo>
                    <a:pt x="80010" y="287179"/>
                  </a:lnTo>
                  <a:cubicBezTo>
                    <a:pt x="80010" y="280511"/>
                    <a:pt x="77152" y="272891"/>
                    <a:pt x="72390" y="268129"/>
                  </a:cubicBezTo>
                  <a:lnTo>
                    <a:pt x="26670" y="223361"/>
                  </a:lnTo>
                  <a:cubicBezTo>
                    <a:pt x="24765" y="221456"/>
                    <a:pt x="23813" y="218599"/>
                    <a:pt x="23813" y="215741"/>
                  </a:cubicBezTo>
                  <a:cubicBezTo>
                    <a:pt x="23813" y="212884"/>
                    <a:pt x="24765" y="210026"/>
                    <a:pt x="26670" y="208121"/>
                  </a:cubicBezTo>
                  <a:lnTo>
                    <a:pt x="68580" y="167164"/>
                  </a:lnTo>
                  <a:cubicBezTo>
                    <a:pt x="76200" y="159544"/>
                    <a:pt x="80010" y="150019"/>
                    <a:pt x="80010" y="139541"/>
                  </a:cubicBezTo>
                  <a:lnTo>
                    <a:pt x="80010" y="87154"/>
                  </a:lnTo>
                  <a:cubicBezTo>
                    <a:pt x="80010" y="81439"/>
                    <a:pt x="84773" y="76676"/>
                    <a:pt x="90487" y="76676"/>
                  </a:cubicBezTo>
                  <a:lnTo>
                    <a:pt x="144780" y="76676"/>
                  </a:lnTo>
                  <a:cubicBezTo>
                    <a:pt x="155258" y="76676"/>
                    <a:pt x="164783" y="72866"/>
                    <a:pt x="172403" y="65246"/>
                  </a:cubicBezTo>
                  <a:lnTo>
                    <a:pt x="215265" y="23336"/>
                  </a:lnTo>
                  <a:cubicBezTo>
                    <a:pt x="215265" y="22384"/>
                    <a:pt x="218123" y="21431"/>
                    <a:pt x="220028" y="21431"/>
                  </a:cubicBezTo>
                  <a:moveTo>
                    <a:pt x="220028" y="7144"/>
                  </a:moveTo>
                  <a:cubicBezTo>
                    <a:pt x="214312" y="7144"/>
                    <a:pt x="207645" y="9049"/>
                    <a:pt x="202883" y="13811"/>
                  </a:cubicBezTo>
                  <a:lnTo>
                    <a:pt x="160020" y="55721"/>
                  </a:lnTo>
                  <a:cubicBezTo>
                    <a:pt x="155258" y="60484"/>
                    <a:pt x="149543" y="62389"/>
                    <a:pt x="142875" y="62389"/>
                  </a:cubicBezTo>
                  <a:lnTo>
                    <a:pt x="88583" y="62389"/>
                  </a:lnTo>
                  <a:cubicBezTo>
                    <a:pt x="75248" y="62389"/>
                    <a:pt x="63818" y="72866"/>
                    <a:pt x="63818" y="87154"/>
                  </a:cubicBezTo>
                  <a:lnTo>
                    <a:pt x="63818" y="139541"/>
                  </a:lnTo>
                  <a:cubicBezTo>
                    <a:pt x="63818" y="146209"/>
                    <a:pt x="60960" y="152876"/>
                    <a:pt x="56197" y="156686"/>
                  </a:cubicBezTo>
                  <a:lnTo>
                    <a:pt x="14288" y="197644"/>
                  </a:lnTo>
                  <a:cubicBezTo>
                    <a:pt x="4763" y="207169"/>
                    <a:pt x="4763" y="223361"/>
                    <a:pt x="14288" y="232886"/>
                  </a:cubicBezTo>
                  <a:lnTo>
                    <a:pt x="60008" y="277654"/>
                  </a:lnTo>
                  <a:cubicBezTo>
                    <a:pt x="61913" y="279559"/>
                    <a:pt x="63818" y="283369"/>
                    <a:pt x="63818" y="286226"/>
                  </a:cubicBezTo>
                  <a:lnTo>
                    <a:pt x="63818" y="356711"/>
                  </a:lnTo>
                  <a:cubicBezTo>
                    <a:pt x="63818" y="363379"/>
                    <a:pt x="69533" y="369094"/>
                    <a:pt x="76200" y="369094"/>
                  </a:cubicBezTo>
                  <a:lnTo>
                    <a:pt x="148590" y="369094"/>
                  </a:lnTo>
                  <a:cubicBezTo>
                    <a:pt x="151448" y="369094"/>
                    <a:pt x="155258" y="370046"/>
                    <a:pt x="157162" y="372904"/>
                  </a:cubicBezTo>
                  <a:lnTo>
                    <a:pt x="212408" y="427196"/>
                  </a:lnTo>
                  <a:cubicBezTo>
                    <a:pt x="214312" y="429101"/>
                    <a:pt x="218123" y="431006"/>
                    <a:pt x="220980" y="431006"/>
                  </a:cubicBezTo>
                  <a:cubicBezTo>
                    <a:pt x="223837" y="431006"/>
                    <a:pt x="226695" y="430054"/>
                    <a:pt x="229553" y="427196"/>
                  </a:cubicBezTo>
                  <a:lnTo>
                    <a:pt x="284798" y="372904"/>
                  </a:lnTo>
                  <a:cubicBezTo>
                    <a:pt x="286703" y="370999"/>
                    <a:pt x="290513" y="369094"/>
                    <a:pt x="293370" y="369094"/>
                  </a:cubicBezTo>
                  <a:lnTo>
                    <a:pt x="365760" y="369094"/>
                  </a:lnTo>
                  <a:cubicBezTo>
                    <a:pt x="372428" y="369094"/>
                    <a:pt x="378143" y="363379"/>
                    <a:pt x="378143" y="356711"/>
                  </a:cubicBezTo>
                  <a:lnTo>
                    <a:pt x="378143" y="286226"/>
                  </a:lnTo>
                  <a:cubicBezTo>
                    <a:pt x="378143" y="283369"/>
                    <a:pt x="379095" y="279559"/>
                    <a:pt x="381953" y="277654"/>
                  </a:cubicBezTo>
                  <a:lnTo>
                    <a:pt x="427673" y="232886"/>
                  </a:lnTo>
                  <a:cubicBezTo>
                    <a:pt x="437198" y="223361"/>
                    <a:pt x="437198" y="207169"/>
                    <a:pt x="427673" y="197644"/>
                  </a:cubicBezTo>
                  <a:lnTo>
                    <a:pt x="385763" y="156686"/>
                  </a:lnTo>
                  <a:cubicBezTo>
                    <a:pt x="381000" y="151924"/>
                    <a:pt x="378143" y="146209"/>
                    <a:pt x="378143" y="139541"/>
                  </a:cubicBezTo>
                  <a:lnTo>
                    <a:pt x="378143" y="87154"/>
                  </a:lnTo>
                  <a:cubicBezTo>
                    <a:pt x="378143" y="73819"/>
                    <a:pt x="366713" y="62389"/>
                    <a:pt x="353378" y="62389"/>
                  </a:cubicBezTo>
                  <a:lnTo>
                    <a:pt x="299085" y="62389"/>
                  </a:lnTo>
                  <a:cubicBezTo>
                    <a:pt x="292418" y="62389"/>
                    <a:pt x="286703" y="59531"/>
                    <a:pt x="281940" y="55721"/>
                  </a:cubicBezTo>
                  <a:lnTo>
                    <a:pt x="239078" y="13811"/>
                  </a:lnTo>
                  <a:cubicBezTo>
                    <a:pt x="232410" y="9049"/>
                    <a:pt x="226695" y="7144"/>
                    <a:pt x="220028" y="7144"/>
                  </a:cubicBezTo>
                  <a:lnTo>
                    <a:pt x="220028" y="7144"/>
                  </a:ln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468" b="0" i="0" u="none" strike="noStrike" kern="0" cap="none" spc="0" normalizeH="0" baseline="0" noProof="0">
                <a:ln>
                  <a:noFill/>
                </a:ln>
                <a:solidFill>
                  <a:srgbClr val="1A1A1A"/>
                </a:solidFill>
                <a:effectLst/>
                <a:uLnTx/>
                <a:uFillTx/>
                <a:latin typeface="Segoe UI"/>
                <a:ea typeface="+mn-ea"/>
                <a:cs typeface="+mn-cs"/>
              </a:endParaRPr>
            </a:p>
          </p:txBody>
        </p:sp>
        <p:sp>
          <p:nvSpPr>
            <p:cNvPr id="443" name="Freeform: Shape 442">
              <a:extLst>
                <a:ext uri="{FF2B5EF4-FFF2-40B4-BE49-F238E27FC236}">
                  <a16:creationId xmlns:a16="http://schemas.microsoft.com/office/drawing/2014/main" id="{89E3922D-DCDF-4986-B8EB-84EE06238FD1}"/>
                </a:ext>
              </a:extLst>
            </p:cNvPr>
            <p:cNvSpPr/>
            <p:nvPr/>
          </p:nvSpPr>
          <p:spPr>
            <a:xfrm>
              <a:off x="10431012" y="3307049"/>
              <a:ext cx="128813" cy="93031"/>
            </a:xfrm>
            <a:custGeom>
              <a:avLst/>
              <a:gdLst/>
              <a:ahLst/>
              <a:cxnLst/>
              <a:rect l="0" t="0" r="0" b="0"/>
              <a:pathLst>
                <a:path w="171450" h="123825">
                  <a:moveTo>
                    <a:pt x="56912" y="118824"/>
                  </a:moveTo>
                  <a:cubicBezTo>
                    <a:pt x="53102" y="118824"/>
                    <a:pt x="50244" y="117872"/>
                    <a:pt x="47387" y="115014"/>
                  </a:cubicBezTo>
                  <a:lnTo>
                    <a:pt x="9287" y="76914"/>
                  </a:lnTo>
                  <a:cubicBezTo>
                    <a:pt x="6429" y="74057"/>
                    <a:pt x="6429" y="69294"/>
                    <a:pt x="9287" y="66437"/>
                  </a:cubicBezTo>
                  <a:cubicBezTo>
                    <a:pt x="12144" y="63579"/>
                    <a:pt x="16907" y="63579"/>
                    <a:pt x="19764" y="66437"/>
                  </a:cubicBezTo>
                  <a:lnTo>
                    <a:pt x="57864" y="104537"/>
                  </a:lnTo>
                  <a:lnTo>
                    <a:pt x="155019" y="9287"/>
                  </a:lnTo>
                  <a:cubicBezTo>
                    <a:pt x="157877" y="6429"/>
                    <a:pt x="162639" y="6429"/>
                    <a:pt x="165497" y="9287"/>
                  </a:cubicBezTo>
                  <a:cubicBezTo>
                    <a:pt x="168354" y="12144"/>
                    <a:pt x="168354" y="16907"/>
                    <a:pt x="165497" y="19764"/>
                  </a:cubicBezTo>
                  <a:lnTo>
                    <a:pt x="67389" y="115014"/>
                  </a:lnTo>
                  <a:cubicBezTo>
                    <a:pt x="63579" y="117872"/>
                    <a:pt x="60722" y="118824"/>
                    <a:pt x="56912" y="118824"/>
                  </a:cubicBezTo>
                  <a:close/>
                </a:path>
              </a:pathLst>
            </a:custGeom>
            <a:grpFill/>
            <a:ln w="9525" cap="rnd">
              <a:solidFill>
                <a:srgbClr val="00BCF2">
                  <a:alpha val="0"/>
                </a:srgbClr>
              </a:solidFill>
              <a:prstDash val="solid"/>
              <a:round/>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468" b="0" i="0" u="none" strike="noStrike" kern="0" cap="none" spc="0" normalizeH="0" baseline="0" noProof="0">
                <a:ln>
                  <a:noFill/>
                </a:ln>
                <a:solidFill>
                  <a:srgbClr val="1A1A1A"/>
                </a:solidFill>
                <a:effectLst/>
                <a:uLnTx/>
                <a:uFillTx/>
                <a:latin typeface="Segoe UI"/>
                <a:ea typeface="+mn-ea"/>
                <a:cs typeface="+mn-cs"/>
              </a:endParaRPr>
            </a:p>
          </p:txBody>
        </p:sp>
        <p:sp>
          <p:nvSpPr>
            <p:cNvPr id="444" name="Freeform: Shape 443">
              <a:extLst>
                <a:ext uri="{FF2B5EF4-FFF2-40B4-BE49-F238E27FC236}">
                  <a16:creationId xmlns:a16="http://schemas.microsoft.com/office/drawing/2014/main" id="{137187E2-8275-4ABE-A3FE-9974B5A83607}"/>
                </a:ext>
              </a:extLst>
            </p:cNvPr>
            <p:cNvSpPr/>
            <p:nvPr/>
          </p:nvSpPr>
          <p:spPr>
            <a:xfrm>
              <a:off x="10505090" y="3525807"/>
              <a:ext cx="162643" cy="188665"/>
            </a:xfrm>
            <a:custGeom>
              <a:avLst/>
              <a:gdLst/>
              <a:ahLst/>
              <a:cxnLst/>
              <a:rect l="0" t="0" r="0" b="0"/>
              <a:pathLst>
                <a:path w="238125" h="276225">
                  <a:moveTo>
                    <a:pt x="67151" y="270034"/>
                  </a:moveTo>
                  <a:lnTo>
                    <a:pt x="230981" y="216694"/>
                  </a:lnTo>
                  <a:cubicBezTo>
                    <a:pt x="233839" y="215741"/>
                    <a:pt x="234791" y="212884"/>
                    <a:pt x="233839" y="210979"/>
                  </a:cubicBezTo>
                  <a:lnTo>
                    <a:pt x="173831" y="7144"/>
                  </a:lnTo>
                  <a:lnTo>
                    <a:pt x="95726" y="7144"/>
                  </a:lnTo>
                  <a:lnTo>
                    <a:pt x="20479" y="81439"/>
                  </a:lnTo>
                  <a:cubicBezTo>
                    <a:pt x="16669" y="85249"/>
                    <a:pt x="11906" y="88106"/>
                    <a:pt x="7144" y="90011"/>
                  </a:cubicBezTo>
                  <a:lnTo>
                    <a:pt x="60484" y="267176"/>
                  </a:lnTo>
                  <a:cubicBezTo>
                    <a:pt x="61436" y="269081"/>
                    <a:pt x="62389" y="270034"/>
                    <a:pt x="63341" y="270034"/>
                  </a:cubicBezTo>
                  <a:cubicBezTo>
                    <a:pt x="64294" y="270034"/>
                    <a:pt x="65246" y="270986"/>
                    <a:pt x="67151" y="270034"/>
                  </a:cubicBez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468" b="0" i="0" u="none" strike="noStrike" kern="0" cap="none" spc="0" normalizeH="0" baseline="0" noProof="0">
                <a:ln>
                  <a:noFill/>
                </a:ln>
                <a:solidFill>
                  <a:srgbClr val="1A1A1A"/>
                </a:solidFill>
                <a:effectLst/>
                <a:uLnTx/>
                <a:uFillTx/>
                <a:latin typeface="Segoe UI"/>
                <a:ea typeface="+mn-ea"/>
                <a:cs typeface="+mn-cs"/>
              </a:endParaRPr>
            </a:p>
          </p:txBody>
        </p:sp>
        <p:sp>
          <p:nvSpPr>
            <p:cNvPr id="445" name="Freeform: Shape 444">
              <a:extLst>
                <a:ext uri="{FF2B5EF4-FFF2-40B4-BE49-F238E27FC236}">
                  <a16:creationId xmlns:a16="http://schemas.microsoft.com/office/drawing/2014/main" id="{87CC089C-4F29-4C1C-B499-3D71BEDBC779}"/>
                </a:ext>
              </a:extLst>
            </p:cNvPr>
            <p:cNvSpPr/>
            <p:nvPr/>
          </p:nvSpPr>
          <p:spPr>
            <a:xfrm>
              <a:off x="10321844" y="3525807"/>
              <a:ext cx="162643" cy="188665"/>
            </a:xfrm>
            <a:custGeom>
              <a:avLst/>
              <a:gdLst/>
              <a:ahLst/>
              <a:cxnLst/>
              <a:rect l="0" t="0" r="0" b="0"/>
              <a:pathLst>
                <a:path w="238125" h="276225">
                  <a:moveTo>
                    <a:pt x="11202" y="216694"/>
                  </a:moveTo>
                  <a:lnTo>
                    <a:pt x="175032" y="270034"/>
                  </a:lnTo>
                  <a:cubicBezTo>
                    <a:pt x="176937" y="270986"/>
                    <a:pt x="177889" y="270034"/>
                    <a:pt x="178842" y="270034"/>
                  </a:cubicBezTo>
                  <a:cubicBezTo>
                    <a:pt x="179794" y="270034"/>
                    <a:pt x="180747" y="269081"/>
                    <a:pt x="181699" y="267176"/>
                  </a:cubicBezTo>
                  <a:lnTo>
                    <a:pt x="235039" y="90011"/>
                  </a:lnTo>
                  <a:cubicBezTo>
                    <a:pt x="230277" y="88106"/>
                    <a:pt x="225514" y="85249"/>
                    <a:pt x="220752" y="81439"/>
                  </a:cubicBezTo>
                  <a:lnTo>
                    <a:pt x="145504" y="7144"/>
                  </a:lnTo>
                  <a:lnTo>
                    <a:pt x="68352" y="7144"/>
                  </a:lnTo>
                  <a:lnTo>
                    <a:pt x="7392" y="210979"/>
                  </a:lnTo>
                  <a:cubicBezTo>
                    <a:pt x="6439" y="212884"/>
                    <a:pt x="8344" y="215741"/>
                    <a:pt x="11202" y="216694"/>
                  </a:cubicBez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468"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446" name="Group 445">
            <a:extLst>
              <a:ext uri="{FF2B5EF4-FFF2-40B4-BE49-F238E27FC236}">
                <a16:creationId xmlns:a16="http://schemas.microsoft.com/office/drawing/2014/main" id="{5A07BE75-BE43-4C7A-BDA8-5EF35F35AFF8}"/>
              </a:ext>
            </a:extLst>
          </p:cNvPr>
          <p:cNvGrpSpPr>
            <a:grpSpLocks noChangeAspect="1"/>
          </p:cNvGrpSpPr>
          <p:nvPr/>
        </p:nvGrpSpPr>
        <p:grpSpPr>
          <a:xfrm>
            <a:off x="4670534" y="5195572"/>
            <a:ext cx="89809" cy="79366"/>
            <a:chOff x="8530659" y="3276160"/>
            <a:chExt cx="495586" cy="437960"/>
          </a:xfrm>
        </p:grpSpPr>
        <p:sp>
          <p:nvSpPr>
            <p:cNvPr id="447" name="Freeform: Shape 446">
              <a:extLst>
                <a:ext uri="{FF2B5EF4-FFF2-40B4-BE49-F238E27FC236}">
                  <a16:creationId xmlns:a16="http://schemas.microsoft.com/office/drawing/2014/main" id="{998498ED-D479-44DB-BCF7-18C11F7F789E}"/>
                </a:ext>
              </a:extLst>
            </p:cNvPr>
            <p:cNvSpPr/>
            <p:nvPr/>
          </p:nvSpPr>
          <p:spPr>
            <a:xfrm>
              <a:off x="8530659" y="3276160"/>
              <a:ext cx="495586" cy="437960"/>
            </a:xfrm>
            <a:custGeom>
              <a:avLst/>
              <a:gdLst/>
              <a:ahLst/>
              <a:cxnLst/>
              <a:rect l="0" t="0" r="0" b="0"/>
              <a:pathLst>
                <a:path w="409575" h="361950">
                  <a:moveTo>
                    <a:pt x="205007" y="357232"/>
                  </a:moveTo>
                  <a:cubicBezTo>
                    <a:pt x="-181708" y="147682"/>
                    <a:pt x="99280" y="-108541"/>
                    <a:pt x="205007" y="63862"/>
                  </a:cubicBezTo>
                  <a:cubicBezTo>
                    <a:pt x="310735" y="-107588"/>
                    <a:pt x="590770" y="147682"/>
                    <a:pt x="205007" y="357232"/>
                  </a:cubicBezTo>
                  <a:lnTo>
                    <a:pt x="205007" y="357232"/>
                  </a:lnTo>
                  <a:close/>
                </a:path>
              </a:pathLst>
            </a:custGeom>
            <a:solidFill>
              <a:srgbClr val="0084D9">
                <a:alpha val="0"/>
              </a:srgbClr>
            </a:solid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468" b="0" i="0" u="none" strike="noStrike" kern="0" cap="none" spc="0" normalizeH="0" baseline="0" noProof="0">
                <a:ln>
                  <a:noFill/>
                </a:ln>
                <a:solidFill>
                  <a:srgbClr val="1A1A1A"/>
                </a:solidFill>
                <a:effectLst/>
                <a:uLnTx/>
                <a:uFillTx/>
                <a:latin typeface="Segoe UI"/>
                <a:ea typeface="+mn-ea"/>
                <a:cs typeface="+mn-cs"/>
              </a:endParaRPr>
            </a:p>
          </p:txBody>
        </p:sp>
        <p:sp>
          <p:nvSpPr>
            <p:cNvPr id="448" name="Freeform: Shape 447">
              <a:extLst>
                <a:ext uri="{FF2B5EF4-FFF2-40B4-BE49-F238E27FC236}">
                  <a16:creationId xmlns:a16="http://schemas.microsoft.com/office/drawing/2014/main" id="{81EF1832-FDA5-4818-92BB-B87A13611771}"/>
                </a:ext>
              </a:extLst>
            </p:cNvPr>
            <p:cNvSpPr/>
            <p:nvPr/>
          </p:nvSpPr>
          <p:spPr>
            <a:xfrm>
              <a:off x="8884443" y="3335837"/>
              <a:ext cx="92202" cy="115253"/>
            </a:xfrm>
            <a:custGeom>
              <a:avLst/>
              <a:gdLst/>
              <a:ahLst/>
              <a:cxnLst/>
              <a:rect l="0" t="0" r="0" b="0"/>
              <a:pathLst>
                <a:path w="76200" h="95250">
                  <a:moveTo>
                    <a:pt x="64071" y="91694"/>
                  </a:moveTo>
                  <a:cubicBezTo>
                    <a:pt x="59309" y="91694"/>
                    <a:pt x="55499" y="87884"/>
                    <a:pt x="54546" y="83121"/>
                  </a:cubicBezTo>
                  <a:cubicBezTo>
                    <a:pt x="51689" y="55499"/>
                    <a:pt x="30734" y="32639"/>
                    <a:pt x="12636" y="25019"/>
                  </a:cubicBezTo>
                  <a:cubicBezTo>
                    <a:pt x="7874" y="23114"/>
                    <a:pt x="5969" y="17399"/>
                    <a:pt x="7874" y="12636"/>
                  </a:cubicBezTo>
                  <a:cubicBezTo>
                    <a:pt x="9779" y="7874"/>
                    <a:pt x="15494" y="5969"/>
                    <a:pt x="20256" y="7874"/>
                  </a:cubicBezTo>
                  <a:cubicBezTo>
                    <a:pt x="44069" y="18351"/>
                    <a:pt x="69786" y="46926"/>
                    <a:pt x="73596" y="82169"/>
                  </a:cubicBezTo>
                  <a:cubicBezTo>
                    <a:pt x="74549" y="86931"/>
                    <a:pt x="70739" y="91694"/>
                    <a:pt x="65024" y="92646"/>
                  </a:cubicBezTo>
                  <a:cubicBezTo>
                    <a:pt x="65024" y="91694"/>
                    <a:pt x="65024" y="91694"/>
                    <a:pt x="64071" y="91694"/>
                  </a:cubicBezTo>
                  <a:close/>
                </a:path>
              </a:pathLst>
            </a:custGeom>
            <a:solidFill>
              <a:srgbClr val="0084D9">
                <a:alpha val="0"/>
              </a:srgbClr>
            </a:solid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468"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449" name="Group 448">
            <a:extLst>
              <a:ext uri="{FF2B5EF4-FFF2-40B4-BE49-F238E27FC236}">
                <a16:creationId xmlns:a16="http://schemas.microsoft.com/office/drawing/2014/main" id="{9600F000-163F-4090-BF94-EEE64A80274C}"/>
              </a:ext>
            </a:extLst>
          </p:cNvPr>
          <p:cNvGrpSpPr/>
          <p:nvPr/>
        </p:nvGrpSpPr>
        <p:grpSpPr>
          <a:xfrm>
            <a:off x="7476114" y="2542126"/>
            <a:ext cx="60222" cy="66722"/>
            <a:chOff x="8543547" y="3091207"/>
            <a:chExt cx="557385" cy="617538"/>
          </a:xfrm>
          <a:solidFill>
            <a:srgbClr val="0078D4">
              <a:alpha val="0"/>
            </a:srgbClr>
          </a:solidFill>
        </p:grpSpPr>
        <p:sp>
          <p:nvSpPr>
            <p:cNvPr id="450" name="Freeform 88">
              <a:extLst>
                <a:ext uri="{FF2B5EF4-FFF2-40B4-BE49-F238E27FC236}">
                  <a16:creationId xmlns:a16="http://schemas.microsoft.com/office/drawing/2014/main" id="{DE5E3B99-A9FB-42BF-852D-8E1A71F171C2}"/>
                </a:ext>
              </a:extLst>
            </p:cNvPr>
            <p:cNvSpPr>
              <a:spLocks/>
            </p:cNvSpPr>
            <p:nvPr/>
          </p:nvSpPr>
          <p:spPr bwMode="auto">
            <a:xfrm>
              <a:off x="8558169" y="3091207"/>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51" name="Freeform 89">
              <a:extLst>
                <a:ext uri="{FF2B5EF4-FFF2-40B4-BE49-F238E27FC236}">
                  <a16:creationId xmlns:a16="http://schemas.microsoft.com/office/drawing/2014/main" id="{ADCEABE6-F319-4DC3-A03E-A75510A22DDC}"/>
                </a:ext>
              </a:extLst>
            </p:cNvPr>
            <p:cNvSpPr>
              <a:spLocks/>
            </p:cNvSpPr>
            <p:nvPr/>
          </p:nvSpPr>
          <p:spPr bwMode="auto">
            <a:xfrm>
              <a:off x="8558169" y="3091207"/>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52" name="Line 90">
              <a:extLst>
                <a:ext uri="{FF2B5EF4-FFF2-40B4-BE49-F238E27FC236}">
                  <a16:creationId xmlns:a16="http://schemas.microsoft.com/office/drawing/2014/main" id="{7EA995C8-EDBE-4265-8AC1-662FD67279AA}"/>
                </a:ext>
              </a:extLst>
            </p:cNvPr>
            <p:cNvSpPr>
              <a:spLocks noChangeShapeType="1"/>
            </p:cNvSpPr>
            <p:nvPr/>
          </p:nvSpPr>
          <p:spPr bwMode="auto">
            <a:xfrm>
              <a:off x="8616906" y="3237257"/>
              <a:ext cx="106363" cy="0"/>
            </a:xfrm>
            <a:prstGeom prst="line">
              <a:avLst/>
            </a:prstGeom>
            <a:grpFill/>
            <a:ln w="17463" cap="flat">
              <a:solidFill>
                <a:srgbClr val="FFFFFF"/>
              </a:solidFill>
              <a:prstDash val="solid"/>
              <a:miter lim="800000"/>
              <a:headEnd/>
              <a:tailEnd/>
            </a:ln>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53" name="Line 91">
              <a:extLst>
                <a:ext uri="{FF2B5EF4-FFF2-40B4-BE49-F238E27FC236}">
                  <a16:creationId xmlns:a16="http://schemas.microsoft.com/office/drawing/2014/main" id="{D7953477-A9F4-42B1-AAF0-DA801FA5E67D}"/>
                </a:ext>
              </a:extLst>
            </p:cNvPr>
            <p:cNvSpPr>
              <a:spLocks noChangeShapeType="1"/>
            </p:cNvSpPr>
            <p:nvPr/>
          </p:nvSpPr>
          <p:spPr bwMode="auto">
            <a:xfrm>
              <a:off x="8616906" y="3291232"/>
              <a:ext cx="106363" cy="0"/>
            </a:xfrm>
            <a:prstGeom prst="line">
              <a:avLst/>
            </a:prstGeom>
            <a:grpFill/>
            <a:ln w="17463" cap="flat">
              <a:solidFill>
                <a:srgbClr val="FFFFFF"/>
              </a:solidFill>
              <a:prstDash val="solid"/>
              <a:miter lim="800000"/>
              <a:headEnd/>
              <a:tailEnd/>
            </a:ln>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54" name="Freeform 88">
              <a:extLst>
                <a:ext uri="{FF2B5EF4-FFF2-40B4-BE49-F238E27FC236}">
                  <a16:creationId xmlns:a16="http://schemas.microsoft.com/office/drawing/2014/main" id="{7AA9D216-78CC-47E4-A4A3-580BDEB74841}"/>
                </a:ext>
              </a:extLst>
            </p:cNvPr>
            <p:cNvSpPr>
              <a:spLocks/>
            </p:cNvSpPr>
            <p:nvPr/>
          </p:nvSpPr>
          <p:spPr bwMode="auto">
            <a:xfrm>
              <a:off x="8805819" y="3224557"/>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55" name="Freeform 89">
              <a:extLst>
                <a:ext uri="{FF2B5EF4-FFF2-40B4-BE49-F238E27FC236}">
                  <a16:creationId xmlns:a16="http://schemas.microsoft.com/office/drawing/2014/main" id="{EC49D662-E68F-452D-9A6E-CCC968E32E72}"/>
                </a:ext>
              </a:extLst>
            </p:cNvPr>
            <p:cNvSpPr>
              <a:spLocks/>
            </p:cNvSpPr>
            <p:nvPr/>
          </p:nvSpPr>
          <p:spPr bwMode="auto">
            <a:xfrm>
              <a:off x="8805819" y="3224557"/>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56" name="Line 90">
              <a:extLst>
                <a:ext uri="{FF2B5EF4-FFF2-40B4-BE49-F238E27FC236}">
                  <a16:creationId xmlns:a16="http://schemas.microsoft.com/office/drawing/2014/main" id="{382BA3CE-E244-479A-BF69-8A0EA7E0B4F0}"/>
                </a:ext>
              </a:extLst>
            </p:cNvPr>
            <p:cNvSpPr>
              <a:spLocks noChangeShapeType="1"/>
            </p:cNvSpPr>
            <p:nvPr/>
          </p:nvSpPr>
          <p:spPr bwMode="auto">
            <a:xfrm>
              <a:off x="8864556" y="3370607"/>
              <a:ext cx="106363" cy="0"/>
            </a:xfrm>
            <a:prstGeom prst="line">
              <a:avLst/>
            </a:prstGeom>
            <a:grpFill/>
            <a:ln w="17463" cap="flat">
              <a:solidFill>
                <a:srgbClr val="FFFFFF"/>
              </a:solidFill>
              <a:prstDash val="solid"/>
              <a:miter lim="800000"/>
              <a:headEnd/>
              <a:tailEnd/>
            </a:ln>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57" name="Line 91">
              <a:extLst>
                <a:ext uri="{FF2B5EF4-FFF2-40B4-BE49-F238E27FC236}">
                  <a16:creationId xmlns:a16="http://schemas.microsoft.com/office/drawing/2014/main" id="{A6DEF8A2-B76D-4168-BFDB-B491AB09D448}"/>
                </a:ext>
              </a:extLst>
            </p:cNvPr>
            <p:cNvSpPr>
              <a:spLocks noChangeShapeType="1"/>
            </p:cNvSpPr>
            <p:nvPr/>
          </p:nvSpPr>
          <p:spPr bwMode="auto">
            <a:xfrm>
              <a:off x="8864556" y="3424582"/>
              <a:ext cx="106363" cy="0"/>
            </a:xfrm>
            <a:prstGeom prst="line">
              <a:avLst/>
            </a:prstGeom>
            <a:grpFill/>
            <a:ln w="17463" cap="flat">
              <a:solidFill>
                <a:srgbClr val="FFFFFF"/>
              </a:solidFill>
              <a:prstDash val="solid"/>
              <a:miter lim="800000"/>
              <a:headEnd/>
              <a:tailEnd/>
            </a:ln>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58" name="Freeform 88">
              <a:extLst>
                <a:ext uri="{FF2B5EF4-FFF2-40B4-BE49-F238E27FC236}">
                  <a16:creationId xmlns:a16="http://schemas.microsoft.com/office/drawing/2014/main" id="{AE2F768D-490A-4901-A73A-55C17DAA416C}"/>
                </a:ext>
              </a:extLst>
            </p:cNvPr>
            <p:cNvSpPr>
              <a:spLocks/>
            </p:cNvSpPr>
            <p:nvPr/>
          </p:nvSpPr>
          <p:spPr bwMode="auto">
            <a:xfrm>
              <a:off x="8553407" y="3429345"/>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59" name="Freeform 89">
              <a:extLst>
                <a:ext uri="{FF2B5EF4-FFF2-40B4-BE49-F238E27FC236}">
                  <a16:creationId xmlns:a16="http://schemas.microsoft.com/office/drawing/2014/main" id="{0C0D6DA3-123C-4FCE-A3C0-83146F2E9710}"/>
                </a:ext>
              </a:extLst>
            </p:cNvPr>
            <p:cNvSpPr>
              <a:spLocks/>
            </p:cNvSpPr>
            <p:nvPr/>
          </p:nvSpPr>
          <p:spPr bwMode="auto">
            <a:xfrm>
              <a:off x="8553407" y="3429345"/>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60" name="Line 90">
              <a:extLst>
                <a:ext uri="{FF2B5EF4-FFF2-40B4-BE49-F238E27FC236}">
                  <a16:creationId xmlns:a16="http://schemas.microsoft.com/office/drawing/2014/main" id="{BDAB0CD5-8EF4-44E9-8D2B-0AD857A7373C}"/>
                </a:ext>
              </a:extLst>
            </p:cNvPr>
            <p:cNvSpPr>
              <a:spLocks noChangeShapeType="1"/>
            </p:cNvSpPr>
            <p:nvPr/>
          </p:nvSpPr>
          <p:spPr bwMode="auto">
            <a:xfrm>
              <a:off x="8612144" y="3575395"/>
              <a:ext cx="106363" cy="0"/>
            </a:xfrm>
            <a:prstGeom prst="line">
              <a:avLst/>
            </a:prstGeom>
            <a:grpFill/>
            <a:ln w="17463" cap="flat">
              <a:solidFill>
                <a:srgbClr val="FFFFFF"/>
              </a:solidFill>
              <a:prstDash val="solid"/>
              <a:miter lim="800000"/>
              <a:headEnd/>
              <a:tailEnd/>
            </a:ln>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61" name="Line 91">
              <a:extLst>
                <a:ext uri="{FF2B5EF4-FFF2-40B4-BE49-F238E27FC236}">
                  <a16:creationId xmlns:a16="http://schemas.microsoft.com/office/drawing/2014/main" id="{CFE74DE1-A387-4C35-86F1-65A6F2A7D11A}"/>
                </a:ext>
              </a:extLst>
            </p:cNvPr>
            <p:cNvSpPr>
              <a:spLocks noChangeShapeType="1"/>
            </p:cNvSpPr>
            <p:nvPr/>
          </p:nvSpPr>
          <p:spPr bwMode="auto">
            <a:xfrm>
              <a:off x="8612144" y="3629370"/>
              <a:ext cx="106363" cy="0"/>
            </a:xfrm>
            <a:prstGeom prst="line">
              <a:avLst/>
            </a:prstGeom>
            <a:grpFill/>
            <a:ln w="17463" cap="flat">
              <a:solidFill>
                <a:srgbClr val="FFFFFF"/>
              </a:solidFill>
              <a:prstDash val="solid"/>
              <a:miter lim="800000"/>
              <a:headEnd/>
              <a:tailEnd/>
            </a:ln>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62" name="Arrow: Right 461">
              <a:extLst>
                <a:ext uri="{FF2B5EF4-FFF2-40B4-BE49-F238E27FC236}">
                  <a16:creationId xmlns:a16="http://schemas.microsoft.com/office/drawing/2014/main" id="{AF88759C-229F-4DF8-BDCB-961A2D1A13DC}"/>
                </a:ext>
              </a:extLst>
            </p:cNvPr>
            <p:cNvSpPr/>
            <p:nvPr/>
          </p:nvSpPr>
          <p:spPr bwMode="auto">
            <a:xfrm>
              <a:off x="8543547" y="3448863"/>
              <a:ext cx="557385" cy="189687"/>
            </a:xfrm>
            <a:prstGeom prst="rightArrow">
              <a:avLst>
                <a:gd name="adj1" fmla="val 50000"/>
                <a:gd name="adj2" fmla="val 63809"/>
              </a:avLst>
            </a:prstGeom>
            <a:grpFill/>
            <a:ln w="15875" cap="flat" cmpd="sng" algn="ctr">
              <a:solidFill>
                <a:srgbClr val="E6E6E6"/>
              </a:solidFill>
              <a:prstDash val="solid"/>
              <a:miter lim="800000"/>
              <a:headEnd type="none" w="med" len="med"/>
              <a:tailEnd type="none" w="med" len="med"/>
            </a:ln>
            <a:effectLst/>
          </p:spPr>
          <p:txBody>
            <a:bodyPr rot="0" spcFirstLastPara="0" vertOverflow="overflow" horzOverflow="overflow" vert="horz" wrap="square" lIns="167804" tIns="134243" rIns="167804" bIns="134243" numCol="1" spcCol="0" rtlCol="0" fromWordArt="0" anchor="t" anchorCtr="0" forceAA="0" compatLnSpc="1">
              <a:prstTxWarp prst="textNoShape">
                <a:avLst/>
              </a:prstTxWarp>
              <a:noAutofit/>
            </a:bodyPr>
            <a:lstStyle/>
            <a:p>
              <a:pPr marL="0" marR="0" lvl="0" indent="0" algn="l" defTabSz="855495" rtl="0" eaLnBrk="1" fontAlgn="base" latinLnBrk="0" hangingPunct="1">
                <a:lnSpc>
                  <a:spcPct val="100000"/>
                </a:lnSpc>
                <a:spcBef>
                  <a:spcPct val="0"/>
                </a:spcBef>
                <a:spcAft>
                  <a:spcPct val="0"/>
                </a:spcAft>
                <a:buClrTx/>
                <a:buSzTx/>
                <a:buFontTx/>
                <a:buNone/>
                <a:tabLst/>
                <a:defRPr/>
              </a:pPr>
              <a:endParaRPr kumimoji="0" lang="en-US" sz="220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3" name="optimize">
            <a:extLst>
              <a:ext uri="{FF2B5EF4-FFF2-40B4-BE49-F238E27FC236}">
                <a16:creationId xmlns:a16="http://schemas.microsoft.com/office/drawing/2014/main" id="{A264F0D9-B753-43B6-8202-3ADED88E7933}"/>
              </a:ext>
            </a:extLst>
          </p:cNvPr>
          <p:cNvSpPr/>
          <p:nvPr/>
        </p:nvSpPr>
        <p:spPr bwMode="auto">
          <a:xfrm>
            <a:off x="8020775" y="2237783"/>
            <a:ext cx="993862" cy="46782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838641" rtl="0" eaLnBrk="1" fontAlgn="base" latinLnBrk="0" hangingPunct="1">
              <a:lnSpc>
                <a:spcPct val="95000"/>
              </a:lnSpc>
              <a:spcBef>
                <a:spcPct val="0"/>
              </a:spcBef>
              <a:spcAft>
                <a:spcPct val="0"/>
              </a:spcAft>
              <a:buClrTx/>
              <a:buSzTx/>
              <a:buFontTx/>
              <a:buNone/>
              <a:tabLst/>
              <a:defRPr/>
            </a:pPr>
            <a: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Optimize</a:t>
            </a:r>
            <a:b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operations</a:t>
            </a:r>
          </a:p>
        </p:txBody>
      </p:sp>
      <p:sp>
        <p:nvSpPr>
          <p:cNvPr id="464" name="transform">
            <a:extLst>
              <a:ext uri="{FF2B5EF4-FFF2-40B4-BE49-F238E27FC236}">
                <a16:creationId xmlns:a16="http://schemas.microsoft.com/office/drawing/2014/main" id="{A69BE3C5-5E4C-41D6-8F26-BF55B8AC5758}"/>
              </a:ext>
            </a:extLst>
          </p:cNvPr>
          <p:cNvSpPr/>
          <p:nvPr/>
        </p:nvSpPr>
        <p:spPr bwMode="auto">
          <a:xfrm>
            <a:off x="8020776" y="4989640"/>
            <a:ext cx="953787" cy="46782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838641" rtl="0" eaLnBrk="1" fontAlgn="base" latinLnBrk="0" hangingPunct="1">
              <a:lnSpc>
                <a:spcPct val="95000"/>
              </a:lnSpc>
              <a:spcBef>
                <a:spcPct val="0"/>
              </a:spcBef>
              <a:spcAft>
                <a:spcPct val="0"/>
              </a:spcAft>
              <a:buClrTx/>
              <a:buSzTx/>
              <a:buFontTx/>
              <a:buNone/>
              <a:tabLst/>
              <a:defRPr/>
            </a:pPr>
            <a: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Transform</a:t>
            </a:r>
            <a:b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products</a:t>
            </a:r>
          </a:p>
        </p:txBody>
      </p:sp>
      <p:sp>
        <p:nvSpPr>
          <p:cNvPr id="465" name="empower">
            <a:extLst>
              <a:ext uri="{FF2B5EF4-FFF2-40B4-BE49-F238E27FC236}">
                <a16:creationId xmlns:a16="http://schemas.microsoft.com/office/drawing/2014/main" id="{D2D3D77D-877D-49E9-B6FF-3EC251D80447}"/>
              </a:ext>
            </a:extLst>
          </p:cNvPr>
          <p:cNvSpPr/>
          <p:nvPr/>
        </p:nvSpPr>
        <p:spPr bwMode="auto">
          <a:xfrm>
            <a:off x="3193061" y="2253764"/>
            <a:ext cx="953787" cy="46782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838641" rtl="0" eaLnBrk="1" fontAlgn="base" latinLnBrk="0" hangingPunct="1">
              <a:lnSpc>
                <a:spcPct val="95000"/>
              </a:lnSpc>
              <a:spcBef>
                <a:spcPct val="0"/>
              </a:spcBef>
              <a:spcAft>
                <a:spcPct val="0"/>
              </a:spcAft>
              <a:buClrTx/>
              <a:buSzTx/>
              <a:buFontTx/>
              <a:buNone/>
              <a:tabLst/>
              <a:defRPr/>
            </a:pPr>
            <a: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Engage</a:t>
            </a:r>
            <a:b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customers</a:t>
            </a:r>
          </a:p>
        </p:txBody>
      </p:sp>
      <p:sp>
        <p:nvSpPr>
          <p:cNvPr id="466" name="engage">
            <a:extLst>
              <a:ext uri="{FF2B5EF4-FFF2-40B4-BE49-F238E27FC236}">
                <a16:creationId xmlns:a16="http://schemas.microsoft.com/office/drawing/2014/main" id="{5F602840-19CE-4986-80A8-E231EAD2D992}"/>
              </a:ext>
            </a:extLst>
          </p:cNvPr>
          <p:cNvSpPr/>
          <p:nvPr/>
        </p:nvSpPr>
        <p:spPr bwMode="auto">
          <a:xfrm>
            <a:off x="3148176" y="4989640"/>
            <a:ext cx="998671" cy="46782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838641" rtl="0" eaLnBrk="1" fontAlgn="base" latinLnBrk="0" hangingPunct="1">
              <a:lnSpc>
                <a:spcPct val="95000"/>
              </a:lnSpc>
              <a:spcBef>
                <a:spcPct val="0"/>
              </a:spcBef>
              <a:spcAft>
                <a:spcPct val="0"/>
              </a:spcAft>
              <a:buClrTx/>
              <a:buSzTx/>
              <a:buFontTx/>
              <a:buNone/>
              <a:tabLst/>
              <a:defRPr/>
            </a:pPr>
            <a: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Empower</a:t>
            </a:r>
            <a:b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employees</a:t>
            </a:r>
          </a:p>
        </p:txBody>
      </p:sp>
      <p:grpSp>
        <p:nvGrpSpPr>
          <p:cNvPr id="467" name="Group 466">
            <a:extLst>
              <a:ext uri="{FF2B5EF4-FFF2-40B4-BE49-F238E27FC236}">
                <a16:creationId xmlns:a16="http://schemas.microsoft.com/office/drawing/2014/main" id="{BD6F2489-2A4D-40CB-9718-E9FC0BCD5539}"/>
              </a:ext>
            </a:extLst>
          </p:cNvPr>
          <p:cNvGrpSpPr>
            <a:grpSpLocks noChangeAspect="1"/>
          </p:cNvGrpSpPr>
          <p:nvPr/>
        </p:nvGrpSpPr>
        <p:grpSpPr>
          <a:xfrm>
            <a:off x="6982653" y="4766416"/>
            <a:ext cx="914141" cy="914140"/>
            <a:chOff x="8908415" y="2443403"/>
            <a:chExt cx="1487170" cy="1487170"/>
          </a:xfrm>
        </p:grpSpPr>
        <p:sp>
          <p:nvSpPr>
            <p:cNvPr id="468" name="Oval 467">
              <a:extLst>
                <a:ext uri="{FF2B5EF4-FFF2-40B4-BE49-F238E27FC236}">
                  <a16:creationId xmlns:a16="http://schemas.microsoft.com/office/drawing/2014/main" id="{E85839E5-4A25-4444-AF6F-F357D538EEFD}"/>
                </a:ext>
              </a:extLst>
            </p:cNvPr>
            <p:cNvSpPr/>
            <p:nvPr/>
          </p:nvSpPr>
          <p:spPr bwMode="auto">
            <a:xfrm>
              <a:off x="8908415" y="2443403"/>
              <a:ext cx="1487170" cy="1487170"/>
            </a:xfrm>
            <a:prstGeom prst="ellipse">
              <a:avLst/>
            </a:prstGeom>
            <a:solidFill>
              <a:srgbClr val="FFFFFF"/>
            </a:solidFill>
            <a:ln w="9525" cap="flat" cmpd="sng" algn="ctr">
              <a:noFill/>
              <a:prstDash val="solid"/>
            </a:ln>
            <a:effectLst>
              <a:outerShdw blurRad="190500" dist="50800" dir="2700000" sx="101000" sy="101000" algn="tl" rotWithShape="0">
                <a:prstClr val="black">
                  <a:alpha val="25000"/>
                </a:prstClr>
              </a:outerShdw>
            </a:effectLst>
          </p:spPr>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69" name="Group 468">
              <a:extLst>
                <a:ext uri="{FF2B5EF4-FFF2-40B4-BE49-F238E27FC236}">
                  <a16:creationId xmlns:a16="http://schemas.microsoft.com/office/drawing/2014/main" id="{C4F441B8-5632-46A5-BA50-B0F46B355A32}"/>
                </a:ext>
              </a:extLst>
            </p:cNvPr>
            <p:cNvGrpSpPr/>
            <p:nvPr/>
          </p:nvGrpSpPr>
          <p:grpSpPr>
            <a:xfrm>
              <a:off x="9300473" y="2784572"/>
              <a:ext cx="703054" cy="804832"/>
              <a:chOff x="8365266" y="3139119"/>
              <a:chExt cx="518044" cy="593038"/>
            </a:xfrm>
          </p:grpSpPr>
          <p:grpSp>
            <p:nvGrpSpPr>
              <p:cNvPr id="470" name="Group 469">
                <a:extLst>
                  <a:ext uri="{FF2B5EF4-FFF2-40B4-BE49-F238E27FC236}">
                    <a16:creationId xmlns:a16="http://schemas.microsoft.com/office/drawing/2014/main" id="{82ED5A38-66CA-4E14-B281-D5EA49685FF2}"/>
                  </a:ext>
                </a:extLst>
              </p:cNvPr>
              <p:cNvGrpSpPr/>
              <p:nvPr/>
            </p:nvGrpSpPr>
            <p:grpSpPr>
              <a:xfrm>
                <a:off x="8365266" y="3139119"/>
                <a:ext cx="518044" cy="593038"/>
                <a:chOff x="10235681" y="3139119"/>
                <a:chExt cx="518044" cy="593038"/>
              </a:xfrm>
            </p:grpSpPr>
            <p:sp>
              <p:nvSpPr>
                <p:cNvPr id="477" name="Freeform 11">
                  <a:extLst>
                    <a:ext uri="{FF2B5EF4-FFF2-40B4-BE49-F238E27FC236}">
                      <a16:creationId xmlns:a16="http://schemas.microsoft.com/office/drawing/2014/main" id="{677D213E-30B6-49C3-8807-0B3AC1117887}"/>
                    </a:ext>
                  </a:extLst>
                </p:cNvPr>
                <p:cNvSpPr>
                  <a:spLocks/>
                </p:cNvSpPr>
                <p:nvPr/>
              </p:nvSpPr>
              <p:spPr bwMode="auto">
                <a:xfrm>
                  <a:off x="10269564" y="3174089"/>
                  <a:ext cx="449952" cy="247732"/>
                </a:xfrm>
                <a:custGeom>
                  <a:avLst/>
                  <a:gdLst>
                    <a:gd name="T0" fmla="*/ 1384 w 1384"/>
                    <a:gd name="T1" fmla="*/ 381 h 762"/>
                    <a:gd name="T2" fmla="*/ 691 w 1384"/>
                    <a:gd name="T3" fmla="*/ 762 h 762"/>
                    <a:gd name="T4" fmla="*/ 0 w 1384"/>
                    <a:gd name="T5" fmla="*/ 381 h 762"/>
                    <a:gd name="T6" fmla="*/ 691 w 1384"/>
                    <a:gd name="T7" fmla="*/ 0 h 762"/>
                    <a:gd name="T8" fmla="*/ 1384 w 1384"/>
                    <a:gd name="T9" fmla="*/ 381 h 762"/>
                  </a:gdLst>
                  <a:ahLst/>
                  <a:cxnLst>
                    <a:cxn ang="0">
                      <a:pos x="T0" y="T1"/>
                    </a:cxn>
                    <a:cxn ang="0">
                      <a:pos x="T2" y="T3"/>
                    </a:cxn>
                    <a:cxn ang="0">
                      <a:pos x="T4" y="T5"/>
                    </a:cxn>
                    <a:cxn ang="0">
                      <a:pos x="T6" y="T7"/>
                    </a:cxn>
                    <a:cxn ang="0">
                      <a:pos x="T8" y="T9"/>
                    </a:cxn>
                  </a:cxnLst>
                  <a:rect l="0" t="0" r="r" b="b"/>
                  <a:pathLst>
                    <a:path w="1384" h="762">
                      <a:moveTo>
                        <a:pt x="1384" y="381"/>
                      </a:moveTo>
                      <a:lnTo>
                        <a:pt x="691" y="762"/>
                      </a:lnTo>
                      <a:lnTo>
                        <a:pt x="0" y="381"/>
                      </a:lnTo>
                      <a:lnTo>
                        <a:pt x="691" y="0"/>
                      </a:lnTo>
                      <a:lnTo>
                        <a:pt x="1384" y="381"/>
                      </a:lnTo>
                      <a:close/>
                    </a:path>
                  </a:pathLst>
                </a:custGeom>
                <a:solidFill>
                  <a:srgbClr val="30E5D0"/>
                </a:solidFill>
                <a:ln w="1587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78" name="Freeform 12">
                  <a:extLst>
                    <a:ext uri="{FF2B5EF4-FFF2-40B4-BE49-F238E27FC236}">
                      <a16:creationId xmlns:a16="http://schemas.microsoft.com/office/drawing/2014/main" id="{B2B06F3F-57F1-4034-8DBE-0C796D5D9E6F}"/>
                    </a:ext>
                  </a:extLst>
                </p:cNvPr>
                <p:cNvSpPr>
                  <a:spLocks/>
                </p:cNvSpPr>
                <p:nvPr/>
              </p:nvSpPr>
              <p:spPr bwMode="auto">
                <a:xfrm>
                  <a:off x="10269564" y="3297955"/>
                  <a:ext cx="224651" cy="400533"/>
                </a:xfrm>
                <a:custGeom>
                  <a:avLst/>
                  <a:gdLst>
                    <a:gd name="T0" fmla="*/ 691 w 691"/>
                    <a:gd name="T1" fmla="*/ 1232 h 1232"/>
                    <a:gd name="T2" fmla="*/ 691 w 691"/>
                    <a:gd name="T3" fmla="*/ 381 h 1232"/>
                    <a:gd name="T4" fmla="*/ 0 w 691"/>
                    <a:gd name="T5" fmla="*/ 0 h 1232"/>
                    <a:gd name="T6" fmla="*/ 0 w 691"/>
                    <a:gd name="T7" fmla="*/ 851 h 1232"/>
                    <a:gd name="T8" fmla="*/ 691 w 691"/>
                    <a:gd name="T9" fmla="*/ 1232 h 1232"/>
                  </a:gdLst>
                  <a:ahLst/>
                  <a:cxnLst>
                    <a:cxn ang="0">
                      <a:pos x="T0" y="T1"/>
                    </a:cxn>
                    <a:cxn ang="0">
                      <a:pos x="T2" y="T3"/>
                    </a:cxn>
                    <a:cxn ang="0">
                      <a:pos x="T4" y="T5"/>
                    </a:cxn>
                    <a:cxn ang="0">
                      <a:pos x="T6" y="T7"/>
                    </a:cxn>
                    <a:cxn ang="0">
                      <a:pos x="T8" y="T9"/>
                    </a:cxn>
                  </a:cxnLst>
                  <a:rect l="0" t="0" r="r" b="b"/>
                  <a:pathLst>
                    <a:path w="691" h="1232">
                      <a:moveTo>
                        <a:pt x="691" y="1232"/>
                      </a:moveTo>
                      <a:lnTo>
                        <a:pt x="691" y="381"/>
                      </a:lnTo>
                      <a:lnTo>
                        <a:pt x="0" y="0"/>
                      </a:lnTo>
                      <a:lnTo>
                        <a:pt x="0" y="851"/>
                      </a:lnTo>
                      <a:lnTo>
                        <a:pt x="691" y="1232"/>
                      </a:lnTo>
                      <a:close/>
                    </a:path>
                  </a:pathLst>
                </a:custGeom>
                <a:solidFill>
                  <a:srgbClr val="EBEBEB"/>
                </a:solidFill>
                <a:ln w="15875" cap="flat">
                  <a:solidFill>
                    <a:srgbClr val="3C3C41"/>
                  </a:solidFill>
                  <a:prstDash val="solid"/>
                  <a:miter/>
                </a:ln>
              </p:spPr>
              <p:txBody>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79" name="Freeform 13">
                  <a:extLst>
                    <a:ext uri="{FF2B5EF4-FFF2-40B4-BE49-F238E27FC236}">
                      <a16:creationId xmlns:a16="http://schemas.microsoft.com/office/drawing/2014/main" id="{0951624B-FFEA-4B5B-8D75-620E74FB6DDF}"/>
                    </a:ext>
                  </a:extLst>
                </p:cNvPr>
                <p:cNvSpPr>
                  <a:spLocks/>
                </p:cNvSpPr>
                <p:nvPr/>
              </p:nvSpPr>
              <p:spPr bwMode="auto">
                <a:xfrm>
                  <a:off x="10494215" y="3297955"/>
                  <a:ext cx="225301" cy="400533"/>
                </a:xfrm>
                <a:custGeom>
                  <a:avLst/>
                  <a:gdLst>
                    <a:gd name="T0" fmla="*/ 0 w 693"/>
                    <a:gd name="T1" fmla="*/ 1232 h 1232"/>
                    <a:gd name="T2" fmla="*/ 0 w 693"/>
                    <a:gd name="T3" fmla="*/ 381 h 1232"/>
                    <a:gd name="T4" fmla="*/ 693 w 693"/>
                    <a:gd name="T5" fmla="*/ 0 h 1232"/>
                    <a:gd name="T6" fmla="*/ 693 w 693"/>
                    <a:gd name="T7" fmla="*/ 851 h 1232"/>
                    <a:gd name="T8" fmla="*/ 0 w 693"/>
                    <a:gd name="T9" fmla="*/ 1232 h 1232"/>
                  </a:gdLst>
                  <a:ahLst/>
                  <a:cxnLst>
                    <a:cxn ang="0">
                      <a:pos x="T0" y="T1"/>
                    </a:cxn>
                    <a:cxn ang="0">
                      <a:pos x="T2" y="T3"/>
                    </a:cxn>
                    <a:cxn ang="0">
                      <a:pos x="T4" y="T5"/>
                    </a:cxn>
                    <a:cxn ang="0">
                      <a:pos x="T6" y="T7"/>
                    </a:cxn>
                    <a:cxn ang="0">
                      <a:pos x="T8" y="T9"/>
                    </a:cxn>
                  </a:cxnLst>
                  <a:rect l="0" t="0" r="r" b="b"/>
                  <a:pathLst>
                    <a:path w="693" h="1232">
                      <a:moveTo>
                        <a:pt x="0" y="1232"/>
                      </a:moveTo>
                      <a:lnTo>
                        <a:pt x="0" y="381"/>
                      </a:lnTo>
                      <a:lnTo>
                        <a:pt x="693" y="0"/>
                      </a:lnTo>
                      <a:lnTo>
                        <a:pt x="693" y="851"/>
                      </a:lnTo>
                      <a:lnTo>
                        <a:pt x="0" y="1232"/>
                      </a:lnTo>
                      <a:close/>
                    </a:path>
                  </a:pathLst>
                </a:custGeom>
                <a:solidFill>
                  <a:srgbClr val="75757A"/>
                </a:solidFill>
                <a:ln w="15875" cap="flat">
                  <a:solidFill>
                    <a:srgbClr val="3C3C41"/>
                  </a:solidFill>
                  <a:prstDash val="solid"/>
                  <a:miter/>
                </a:ln>
              </p:spPr>
              <p:txBody>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80" name="Oval 14">
                  <a:extLst>
                    <a:ext uri="{FF2B5EF4-FFF2-40B4-BE49-F238E27FC236}">
                      <a16:creationId xmlns:a16="http://schemas.microsoft.com/office/drawing/2014/main" id="{CE96D746-7FF9-4068-AB45-5AC931B411F9}"/>
                    </a:ext>
                  </a:extLst>
                </p:cNvPr>
                <p:cNvSpPr>
                  <a:spLocks noChangeArrowheads="1"/>
                </p:cNvSpPr>
                <p:nvPr/>
              </p:nvSpPr>
              <p:spPr bwMode="auto">
                <a:xfrm>
                  <a:off x="10235681" y="3262985"/>
                  <a:ext cx="68743" cy="69291"/>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81" name="Oval 15">
                  <a:extLst>
                    <a:ext uri="{FF2B5EF4-FFF2-40B4-BE49-F238E27FC236}">
                      <a16:creationId xmlns:a16="http://schemas.microsoft.com/office/drawing/2014/main" id="{AA30A8ED-4DE6-48C6-9E8A-4CD28DEFF744}"/>
                    </a:ext>
                  </a:extLst>
                </p:cNvPr>
                <p:cNvSpPr>
                  <a:spLocks noChangeArrowheads="1"/>
                </p:cNvSpPr>
                <p:nvPr/>
              </p:nvSpPr>
              <p:spPr bwMode="auto">
                <a:xfrm>
                  <a:off x="10684982" y="3262985"/>
                  <a:ext cx="68743" cy="69291"/>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82" name="Oval 16">
                  <a:extLst>
                    <a:ext uri="{FF2B5EF4-FFF2-40B4-BE49-F238E27FC236}">
                      <a16:creationId xmlns:a16="http://schemas.microsoft.com/office/drawing/2014/main" id="{24CF9B6C-1A59-4443-8DFC-2C9A31764115}"/>
                    </a:ext>
                  </a:extLst>
                </p:cNvPr>
                <p:cNvSpPr>
                  <a:spLocks noChangeArrowheads="1"/>
                </p:cNvSpPr>
                <p:nvPr/>
              </p:nvSpPr>
              <p:spPr bwMode="auto">
                <a:xfrm>
                  <a:off x="10235681" y="3539765"/>
                  <a:ext cx="68743" cy="68740"/>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83" name="Oval 17">
                  <a:extLst>
                    <a:ext uri="{FF2B5EF4-FFF2-40B4-BE49-F238E27FC236}">
                      <a16:creationId xmlns:a16="http://schemas.microsoft.com/office/drawing/2014/main" id="{A726F830-771A-4F62-8073-BC0133B165F5}"/>
                    </a:ext>
                  </a:extLst>
                </p:cNvPr>
                <p:cNvSpPr>
                  <a:spLocks noChangeArrowheads="1"/>
                </p:cNvSpPr>
                <p:nvPr/>
              </p:nvSpPr>
              <p:spPr bwMode="auto">
                <a:xfrm>
                  <a:off x="10460332" y="3387513"/>
                  <a:ext cx="68743" cy="67641"/>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84" name="Oval 18">
                  <a:extLst>
                    <a:ext uri="{FF2B5EF4-FFF2-40B4-BE49-F238E27FC236}">
                      <a16:creationId xmlns:a16="http://schemas.microsoft.com/office/drawing/2014/main" id="{BCF76E29-C2F1-4BEE-83A9-056C2C7A88D0}"/>
                    </a:ext>
                  </a:extLst>
                </p:cNvPr>
                <p:cNvSpPr>
                  <a:spLocks noChangeArrowheads="1"/>
                </p:cNvSpPr>
                <p:nvPr/>
              </p:nvSpPr>
              <p:spPr bwMode="auto">
                <a:xfrm>
                  <a:off x="10460332" y="3139119"/>
                  <a:ext cx="68743" cy="69291"/>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85" name="Oval 19">
                  <a:extLst>
                    <a:ext uri="{FF2B5EF4-FFF2-40B4-BE49-F238E27FC236}">
                      <a16:creationId xmlns:a16="http://schemas.microsoft.com/office/drawing/2014/main" id="{086DDA81-9EC8-41CE-942B-8BE68447D205}"/>
                    </a:ext>
                  </a:extLst>
                </p:cNvPr>
                <p:cNvSpPr>
                  <a:spLocks noChangeArrowheads="1"/>
                </p:cNvSpPr>
                <p:nvPr/>
              </p:nvSpPr>
              <p:spPr bwMode="auto">
                <a:xfrm>
                  <a:off x="10460327" y="3662866"/>
                  <a:ext cx="68743" cy="69291"/>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86" name="Oval 20">
                  <a:extLst>
                    <a:ext uri="{FF2B5EF4-FFF2-40B4-BE49-F238E27FC236}">
                      <a16:creationId xmlns:a16="http://schemas.microsoft.com/office/drawing/2014/main" id="{8DBD81D4-5393-4B99-996C-F6B02740597E}"/>
                    </a:ext>
                  </a:extLst>
                </p:cNvPr>
                <p:cNvSpPr>
                  <a:spLocks noChangeArrowheads="1"/>
                </p:cNvSpPr>
                <p:nvPr/>
              </p:nvSpPr>
              <p:spPr bwMode="auto">
                <a:xfrm>
                  <a:off x="10684982" y="3539760"/>
                  <a:ext cx="68743" cy="68740"/>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471" name="Group 470">
                <a:extLst>
                  <a:ext uri="{FF2B5EF4-FFF2-40B4-BE49-F238E27FC236}">
                    <a16:creationId xmlns:a16="http://schemas.microsoft.com/office/drawing/2014/main" id="{7EF8CE46-9670-4959-A68C-6E9D2A259F68}"/>
                  </a:ext>
                </a:extLst>
              </p:cNvPr>
              <p:cNvGrpSpPr>
                <a:grpSpLocks noChangeAspect="1"/>
              </p:cNvGrpSpPr>
              <p:nvPr/>
            </p:nvGrpSpPr>
            <p:grpSpPr>
              <a:xfrm>
                <a:off x="8592830" y="3381137"/>
                <a:ext cx="62916" cy="80520"/>
                <a:chOff x="10265702" y="3128321"/>
                <a:chExt cx="458002" cy="586151"/>
              </a:xfrm>
              <a:solidFill>
                <a:srgbClr val="0084D9">
                  <a:alpha val="0"/>
                </a:srgbClr>
              </a:solidFill>
            </p:grpSpPr>
            <p:sp>
              <p:nvSpPr>
                <p:cNvPr id="472" name="Freeform: Shape 471">
                  <a:extLst>
                    <a:ext uri="{FF2B5EF4-FFF2-40B4-BE49-F238E27FC236}">
                      <a16:creationId xmlns:a16="http://schemas.microsoft.com/office/drawing/2014/main" id="{3056084D-B284-4876-88DB-D3BA30333C43}"/>
                    </a:ext>
                  </a:extLst>
                </p:cNvPr>
                <p:cNvSpPr/>
                <p:nvPr/>
              </p:nvSpPr>
              <p:spPr>
                <a:xfrm>
                  <a:off x="10265702" y="3128321"/>
                  <a:ext cx="458002" cy="458002"/>
                </a:xfrm>
                <a:custGeom>
                  <a:avLst/>
                  <a:gdLst/>
                  <a:ahLst/>
                  <a:cxnLst/>
                  <a:rect l="0" t="0" r="0" b="0"/>
                  <a:pathLst>
                    <a:path w="609600" h="609600">
                      <a:moveTo>
                        <a:pt x="205502" y="516731"/>
                      </a:moveTo>
                      <a:cubicBezTo>
                        <a:pt x="210264" y="516731"/>
                        <a:pt x="214074" y="518636"/>
                        <a:pt x="217884" y="521494"/>
                      </a:cubicBezTo>
                      <a:lnTo>
                        <a:pt x="295037" y="597694"/>
                      </a:lnTo>
                      <a:cubicBezTo>
                        <a:pt x="298847" y="600551"/>
                        <a:pt x="302657" y="602456"/>
                        <a:pt x="307419" y="602456"/>
                      </a:cubicBezTo>
                      <a:cubicBezTo>
                        <a:pt x="312182" y="602456"/>
                        <a:pt x="315992" y="600551"/>
                        <a:pt x="319802" y="597694"/>
                      </a:cubicBezTo>
                      <a:lnTo>
                        <a:pt x="396954" y="521494"/>
                      </a:lnTo>
                      <a:cubicBezTo>
                        <a:pt x="399812" y="518636"/>
                        <a:pt x="404574" y="516731"/>
                        <a:pt x="409337" y="516731"/>
                      </a:cubicBezTo>
                      <a:lnTo>
                        <a:pt x="511254" y="516731"/>
                      </a:lnTo>
                      <a:cubicBezTo>
                        <a:pt x="520779" y="516731"/>
                        <a:pt x="528399" y="509111"/>
                        <a:pt x="528399" y="499586"/>
                      </a:cubicBezTo>
                      <a:lnTo>
                        <a:pt x="528399" y="400526"/>
                      </a:lnTo>
                      <a:cubicBezTo>
                        <a:pt x="528399" y="395764"/>
                        <a:pt x="530304" y="391001"/>
                        <a:pt x="533162" y="388144"/>
                      </a:cubicBezTo>
                      <a:lnTo>
                        <a:pt x="596979" y="325279"/>
                      </a:lnTo>
                      <a:cubicBezTo>
                        <a:pt x="611267" y="311944"/>
                        <a:pt x="611267" y="289084"/>
                        <a:pt x="596979" y="275749"/>
                      </a:cubicBezTo>
                      <a:lnTo>
                        <a:pt x="537924" y="218599"/>
                      </a:lnTo>
                      <a:cubicBezTo>
                        <a:pt x="531257" y="211931"/>
                        <a:pt x="527447" y="203359"/>
                        <a:pt x="527447" y="193834"/>
                      </a:cubicBezTo>
                      <a:lnTo>
                        <a:pt x="527447" y="120491"/>
                      </a:lnTo>
                      <a:cubicBezTo>
                        <a:pt x="527447" y="101441"/>
                        <a:pt x="512207" y="85249"/>
                        <a:pt x="492204" y="85249"/>
                      </a:cubicBezTo>
                      <a:lnTo>
                        <a:pt x="415052" y="85249"/>
                      </a:lnTo>
                      <a:cubicBezTo>
                        <a:pt x="405527" y="85249"/>
                        <a:pt x="396954" y="81439"/>
                        <a:pt x="391239" y="75724"/>
                      </a:cubicBezTo>
                      <a:lnTo>
                        <a:pt x="331232" y="16669"/>
                      </a:lnTo>
                      <a:cubicBezTo>
                        <a:pt x="324564" y="10001"/>
                        <a:pt x="315992" y="7144"/>
                        <a:pt x="307419" y="7144"/>
                      </a:cubicBezTo>
                      <a:cubicBezTo>
                        <a:pt x="298847" y="7144"/>
                        <a:pt x="290274" y="10001"/>
                        <a:pt x="283607" y="16669"/>
                      </a:cubicBezTo>
                      <a:lnTo>
                        <a:pt x="223599" y="75724"/>
                      </a:lnTo>
                      <a:cubicBezTo>
                        <a:pt x="215979" y="82391"/>
                        <a:pt x="207407" y="85249"/>
                        <a:pt x="197882" y="85249"/>
                      </a:cubicBezTo>
                      <a:lnTo>
                        <a:pt x="121682" y="85249"/>
                      </a:lnTo>
                      <a:cubicBezTo>
                        <a:pt x="102632" y="85249"/>
                        <a:pt x="87392" y="100489"/>
                        <a:pt x="87392" y="119539"/>
                      </a:cubicBezTo>
                      <a:lnTo>
                        <a:pt x="87392" y="193834"/>
                      </a:lnTo>
                      <a:cubicBezTo>
                        <a:pt x="87392" y="203359"/>
                        <a:pt x="83582" y="211931"/>
                        <a:pt x="76914" y="218599"/>
                      </a:cubicBezTo>
                      <a:lnTo>
                        <a:pt x="17859" y="275749"/>
                      </a:lnTo>
                      <a:cubicBezTo>
                        <a:pt x="3572" y="289084"/>
                        <a:pt x="3572" y="311944"/>
                        <a:pt x="17859" y="325279"/>
                      </a:cubicBezTo>
                      <a:lnTo>
                        <a:pt x="81677" y="388144"/>
                      </a:lnTo>
                      <a:cubicBezTo>
                        <a:pt x="84534" y="391001"/>
                        <a:pt x="86439" y="395764"/>
                        <a:pt x="86439" y="400526"/>
                      </a:cubicBezTo>
                      <a:lnTo>
                        <a:pt x="86439" y="499586"/>
                      </a:lnTo>
                      <a:cubicBezTo>
                        <a:pt x="86439" y="509111"/>
                        <a:pt x="94059" y="516731"/>
                        <a:pt x="103584" y="516731"/>
                      </a:cubicBezTo>
                      <a:lnTo>
                        <a:pt x="205502" y="516731"/>
                      </a:ln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73" name="Freeform: Shape 472">
                  <a:extLst>
                    <a:ext uri="{FF2B5EF4-FFF2-40B4-BE49-F238E27FC236}">
                      <a16:creationId xmlns:a16="http://schemas.microsoft.com/office/drawing/2014/main" id="{59A4CBD0-A2F3-4A3F-B28A-30AA53013690}"/>
                    </a:ext>
                  </a:extLst>
                </p:cNvPr>
                <p:cNvSpPr/>
                <p:nvPr/>
              </p:nvSpPr>
              <p:spPr>
                <a:xfrm>
                  <a:off x="10330646" y="3193443"/>
                  <a:ext cx="329189" cy="322033"/>
                </a:xfrm>
                <a:custGeom>
                  <a:avLst/>
                  <a:gdLst/>
                  <a:ahLst/>
                  <a:cxnLst/>
                  <a:rect l="0" t="0" r="0" b="0"/>
                  <a:pathLst>
                    <a:path w="438150" h="428625">
                      <a:moveTo>
                        <a:pt x="220028" y="21431"/>
                      </a:moveTo>
                      <a:cubicBezTo>
                        <a:pt x="222885" y="21431"/>
                        <a:pt x="224790" y="22384"/>
                        <a:pt x="226695" y="24289"/>
                      </a:cubicBezTo>
                      <a:lnTo>
                        <a:pt x="269557" y="66199"/>
                      </a:lnTo>
                      <a:cubicBezTo>
                        <a:pt x="277178" y="73819"/>
                        <a:pt x="286703" y="77629"/>
                        <a:pt x="297180" y="77629"/>
                      </a:cubicBezTo>
                      <a:lnTo>
                        <a:pt x="351473" y="77629"/>
                      </a:lnTo>
                      <a:cubicBezTo>
                        <a:pt x="357188" y="77629"/>
                        <a:pt x="361950" y="82391"/>
                        <a:pt x="361950" y="88106"/>
                      </a:cubicBezTo>
                      <a:lnTo>
                        <a:pt x="361950" y="139541"/>
                      </a:lnTo>
                      <a:cubicBezTo>
                        <a:pt x="361950" y="150019"/>
                        <a:pt x="365760" y="160496"/>
                        <a:pt x="373380" y="167164"/>
                      </a:cubicBezTo>
                      <a:lnTo>
                        <a:pt x="415290" y="208121"/>
                      </a:lnTo>
                      <a:cubicBezTo>
                        <a:pt x="417195" y="210026"/>
                        <a:pt x="418148" y="212884"/>
                        <a:pt x="418148" y="215741"/>
                      </a:cubicBezTo>
                      <a:cubicBezTo>
                        <a:pt x="418148" y="218599"/>
                        <a:pt x="417195" y="221456"/>
                        <a:pt x="415290" y="223361"/>
                      </a:cubicBezTo>
                      <a:lnTo>
                        <a:pt x="369570" y="268129"/>
                      </a:lnTo>
                      <a:cubicBezTo>
                        <a:pt x="364807" y="272891"/>
                        <a:pt x="361950" y="279559"/>
                        <a:pt x="361950" y="287179"/>
                      </a:cubicBezTo>
                      <a:lnTo>
                        <a:pt x="361950" y="354806"/>
                      </a:lnTo>
                      <a:lnTo>
                        <a:pt x="292418" y="354806"/>
                      </a:lnTo>
                      <a:cubicBezTo>
                        <a:pt x="285750" y="354806"/>
                        <a:pt x="279082" y="357664"/>
                        <a:pt x="274320" y="362426"/>
                      </a:cubicBezTo>
                      <a:lnTo>
                        <a:pt x="220980" y="414814"/>
                      </a:lnTo>
                      <a:lnTo>
                        <a:pt x="167640" y="362426"/>
                      </a:lnTo>
                      <a:cubicBezTo>
                        <a:pt x="162878" y="357664"/>
                        <a:pt x="156210" y="354806"/>
                        <a:pt x="149543" y="354806"/>
                      </a:cubicBezTo>
                      <a:lnTo>
                        <a:pt x="80010" y="354806"/>
                      </a:lnTo>
                      <a:lnTo>
                        <a:pt x="80010" y="287179"/>
                      </a:lnTo>
                      <a:cubicBezTo>
                        <a:pt x="80010" y="280511"/>
                        <a:pt x="77152" y="272891"/>
                        <a:pt x="72390" y="268129"/>
                      </a:cubicBezTo>
                      <a:lnTo>
                        <a:pt x="26670" y="223361"/>
                      </a:lnTo>
                      <a:cubicBezTo>
                        <a:pt x="24765" y="221456"/>
                        <a:pt x="23813" y="218599"/>
                        <a:pt x="23813" y="215741"/>
                      </a:cubicBezTo>
                      <a:cubicBezTo>
                        <a:pt x="23813" y="212884"/>
                        <a:pt x="24765" y="210026"/>
                        <a:pt x="26670" y="208121"/>
                      </a:cubicBezTo>
                      <a:lnTo>
                        <a:pt x="68580" y="167164"/>
                      </a:lnTo>
                      <a:cubicBezTo>
                        <a:pt x="76200" y="159544"/>
                        <a:pt x="80010" y="150019"/>
                        <a:pt x="80010" y="139541"/>
                      </a:cubicBezTo>
                      <a:lnTo>
                        <a:pt x="80010" y="87154"/>
                      </a:lnTo>
                      <a:cubicBezTo>
                        <a:pt x="80010" y="81439"/>
                        <a:pt x="84773" y="76676"/>
                        <a:pt x="90487" y="76676"/>
                      </a:cubicBezTo>
                      <a:lnTo>
                        <a:pt x="144780" y="76676"/>
                      </a:lnTo>
                      <a:cubicBezTo>
                        <a:pt x="155258" y="76676"/>
                        <a:pt x="164783" y="72866"/>
                        <a:pt x="172403" y="65246"/>
                      </a:cubicBezTo>
                      <a:lnTo>
                        <a:pt x="215265" y="23336"/>
                      </a:lnTo>
                      <a:cubicBezTo>
                        <a:pt x="215265" y="22384"/>
                        <a:pt x="218123" y="21431"/>
                        <a:pt x="220028" y="21431"/>
                      </a:cubicBezTo>
                      <a:moveTo>
                        <a:pt x="220028" y="7144"/>
                      </a:moveTo>
                      <a:cubicBezTo>
                        <a:pt x="214312" y="7144"/>
                        <a:pt x="207645" y="9049"/>
                        <a:pt x="202883" y="13811"/>
                      </a:cubicBezTo>
                      <a:lnTo>
                        <a:pt x="160020" y="55721"/>
                      </a:lnTo>
                      <a:cubicBezTo>
                        <a:pt x="155258" y="60484"/>
                        <a:pt x="149543" y="62389"/>
                        <a:pt x="142875" y="62389"/>
                      </a:cubicBezTo>
                      <a:lnTo>
                        <a:pt x="88583" y="62389"/>
                      </a:lnTo>
                      <a:cubicBezTo>
                        <a:pt x="75248" y="62389"/>
                        <a:pt x="63818" y="72866"/>
                        <a:pt x="63818" y="87154"/>
                      </a:cubicBezTo>
                      <a:lnTo>
                        <a:pt x="63818" y="139541"/>
                      </a:lnTo>
                      <a:cubicBezTo>
                        <a:pt x="63818" y="146209"/>
                        <a:pt x="60960" y="152876"/>
                        <a:pt x="56197" y="156686"/>
                      </a:cubicBezTo>
                      <a:lnTo>
                        <a:pt x="14288" y="197644"/>
                      </a:lnTo>
                      <a:cubicBezTo>
                        <a:pt x="4763" y="207169"/>
                        <a:pt x="4763" y="223361"/>
                        <a:pt x="14288" y="232886"/>
                      </a:cubicBezTo>
                      <a:lnTo>
                        <a:pt x="60008" y="277654"/>
                      </a:lnTo>
                      <a:cubicBezTo>
                        <a:pt x="61913" y="279559"/>
                        <a:pt x="63818" y="283369"/>
                        <a:pt x="63818" y="286226"/>
                      </a:cubicBezTo>
                      <a:lnTo>
                        <a:pt x="63818" y="356711"/>
                      </a:lnTo>
                      <a:cubicBezTo>
                        <a:pt x="63818" y="363379"/>
                        <a:pt x="69533" y="369094"/>
                        <a:pt x="76200" y="369094"/>
                      </a:cubicBezTo>
                      <a:lnTo>
                        <a:pt x="148590" y="369094"/>
                      </a:lnTo>
                      <a:cubicBezTo>
                        <a:pt x="151448" y="369094"/>
                        <a:pt x="155258" y="370046"/>
                        <a:pt x="157162" y="372904"/>
                      </a:cubicBezTo>
                      <a:lnTo>
                        <a:pt x="212408" y="427196"/>
                      </a:lnTo>
                      <a:cubicBezTo>
                        <a:pt x="214312" y="429101"/>
                        <a:pt x="218123" y="431006"/>
                        <a:pt x="220980" y="431006"/>
                      </a:cubicBezTo>
                      <a:cubicBezTo>
                        <a:pt x="223837" y="431006"/>
                        <a:pt x="226695" y="430054"/>
                        <a:pt x="229553" y="427196"/>
                      </a:cubicBezTo>
                      <a:lnTo>
                        <a:pt x="284798" y="372904"/>
                      </a:lnTo>
                      <a:cubicBezTo>
                        <a:pt x="286703" y="370999"/>
                        <a:pt x="290513" y="369094"/>
                        <a:pt x="293370" y="369094"/>
                      </a:cubicBezTo>
                      <a:lnTo>
                        <a:pt x="365760" y="369094"/>
                      </a:lnTo>
                      <a:cubicBezTo>
                        <a:pt x="372428" y="369094"/>
                        <a:pt x="378143" y="363379"/>
                        <a:pt x="378143" y="356711"/>
                      </a:cubicBezTo>
                      <a:lnTo>
                        <a:pt x="378143" y="286226"/>
                      </a:lnTo>
                      <a:cubicBezTo>
                        <a:pt x="378143" y="283369"/>
                        <a:pt x="379095" y="279559"/>
                        <a:pt x="381953" y="277654"/>
                      </a:cubicBezTo>
                      <a:lnTo>
                        <a:pt x="427673" y="232886"/>
                      </a:lnTo>
                      <a:cubicBezTo>
                        <a:pt x="437198" y="223361"/>
                        <a:pt x="437198" y="207169"/>
                        <a:pt x="427673" y="197644"/>
                      </a:cubicBezTo>
                      <a:lnTo>
                        <a:pt x="385763" y="156686"/>
                      </a:lnTo>
                      <a:cubicBezTo>
                        <a:pt x="381000" y="151924"/>
                        <a:pt x="378143" y="146209"/>
                        <a:pt x="378143" y="139541"/>
                      </a:cubicBezTo>
                      <a:lnTo>
                        <a:pt x="378143" y="87154"/>
                      </a:lnTo>
                      <a:cubicBezTo>
                        <a:pt x="378143" y="73819"/>
                        <a:pt x="366713" y="62389"/>
                        <a:pt x="353378" y="62389"/>
                      </a:cubicBezTo>
                      <a:lnTo>
                        <a:pt x="299085" y="62389"/>
                      </a:lnTo>
                      <a:cubicBezTo>
                        <a:pt x="292418" y="62389"/>
                        <a:pt x="286703" y="59531"/>
                        <a:pt x="281940" y="55721"/>
                      </a:cubicBezTo>
                      <a:lnTo>
                        <a:pt x="239078" y="13811"/>
                      </a:lnTo>
                      <a:cubicBezTo>
                        <a:pt x="232410" y="9049"/>
                        <a:pt x="226695" y="7144"/>
                        <a:pt x="220028" y="7144"/>
                      </a:cubicBezTo>
                      <a:lnTo>
                        <a:pt x="220028" y="7144"/>
                      </a:ln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74" name="Freeform: Shape 473">
                  <a:extLst>
                    <a:ext uri="{FF2B5EF4-FFF2-40B4-BE49-F238E27FC236}">
                      <a16:creationId xmlns:a16="http://schemas.microsoft.com/office/drawing/2014/main" id="{76A0BAF1-8D9E-46A7-B052-E7AE7265798D}"/>
                    </a:ext>
                  </a:extLst>
                </p:cNvPr>
                <p:cNvSpPr/>
                <p:nvPr/>
              </p:nvSpPr>
              <p:spPr>
                <a:xfrm>
                  <a:off x="10431012" y="3307049"/>
                  <a:ext cx="128813" cy="93031"/>
                </a:xfrm>
                <a:custGeom>
                  <a:avLst/>
                  <a:gdLst/>
                  <a:ahLst/>
                  <a:cxnLst/>
                  <a:rect l="0" t="0" r="0" b="0"/>
                  <a:pathLst>
                    <a:path w="171450" h="123825">
                      <a:moveTo>
                        <a:pt x="56912" y="118824"/>
                      </a:moveTo>
                      <a:cubicBezTo>
                        <a:pt x="53102" y="118824"/>
                        <a:pt x="50244" y="117872"/>
                        <a:pt x="47387" y="115014"/>
                      </a:cubicBezTo>
                      <a:lnTo>
                        <a:pt x="9287" y="76914"/>
                      </a:lnTo>
                      <a:cubicBezTo>
                        <a:pt x="6429" y="74057"/>
                        <a:pt x="6429" y="69294"/>
                        <a:pt x="9287" y="66437"/>
                      </a:cubicBezTo>
                      <a:cubicBezTo>
                        <a:pt x="12144" y="63579"/>
                        <a:pt x="16907" y="63579"/>
                        <a:pt x="19764" y="66437"/>
                      </a:cubicBezTo>
                      <a:lnTo>
                        <a:pt x="57864" y="104537"/>
                      </a:lnTo>
                      <a:lnTo>
                        <a:pt x="155019" y="9287"/>
                      </a:lnTo>
                      <a:cubicBezTo>
                        <a:pt x="157877" y="6429"/>
                        <a:pt x="162639" y="6429"/>
                        <a:pt x="165497" y="9287"/>
                      </a:cubicBezTo>
                      <a:cubicBezTo>
                        <a:pt x="168354" y="12144"/>
                        <a:pt x="168354" y="16907"/>
                        <a:pt x="165497" y="19764"/>
                      </a:cubicBezTo>
                      <a:lnTo>
                        <a:pt x="67389" y="115014"/>
                      </a:lnTo>
                      <a:cubicBezTo>
                        <a:pt x="63579" y="117872"/>
                        <a:pt x="60722" y="118824"/>
                        <a:pt x="56912" y="118824"/>
                      </a:cubicBezTo>
                      <a:close/>
                    </a:path>
                  </a:pathLst>
                </a:custGeom>
                <a:grpFill/>
                <a:ln w="9525" cap="rnd">
                  <a:solidFill>
                    <a:srgbClr val="00BCF2">
                      <a:alpha val="0"/>
                    </a:srgbClr>
                  </a:solidFill>
                  <a:prstDash val="solid"/>
                  <a:round/>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75" name="Freeform: Shape 474">
                  <a:extLst>
                    <a:ext uri="{FF2B5EF4-FFF2-40B4-BE49-F238E27FC236}">
                      <a16:creationId xmlns:a16="http://schemas.microsoft.com/office/drawing/2014/main" id="{E2C36768-B4BE-42CB-87F6-8501C59A6C31}"/>
                    </a:ext>
                  </a:extLst>
                </p:cNvPr>
                <p:cNvSpPr/>
                <p:nvPr/>
              </p:nvSpPr>
              <p:spPr>
                <a:xfrm>
                  <a:off x="10505090" y="3525807"/>
                  <a:ext cx="162643" cy="188665"/>
                </a:xfrm>
                <a:custGeom>
                  <a:avLst/>
                  <a:gdLst/>
                  <a:ahLst/>
                  <a:cxnLst/>
                  <a:rect l="0" t="0" r="0" b="0"/>
                  <a:pathLst>
                    <a:path w="238125" h="276225">
                      <a:moveTo>
                        <a:pt x="67151" y="270034"/>
                      </a:moveTo>
                      <a:lnTo>
                        <a:pt x="230981" y="216694"/>
                      </a:lnTo>
                      <a:cubicBezTo>
                        <a:pt x="233839" y="215741"/>
                        <a:pt x="234791" y="212884"/>
                        <a:pt x="233839" y="210979"/>
                      </a:cubicBezTo>
                      <a:lnTo>
                        <a:pt x="173831" y="7144"/>
                      </a:lnTo>
                      <a:lnTo>
                        <a:pt x="95726" y="7144"/>
                      </a:lnTo>
                      <a:lnTo>
                        <a:pt x="20479" y="81439"/>
                      </a:lnTo>
                      <a:cubicBezTo>
                        <a:pt x="16669" y="85249"/>
                        <a:pt x="11906" y="88106"/>
                        <a:pt x="7144" y="90011"/>
                      </a:cubicBezTo>
                      <a:lnTo>
                        <a:pt x="60484" y="267176"/>
                      </a:lnTo>
                      <a:cubicBezTo>
                        <a:pt x="61436" y="269081"/>
                        <a:pt x="62389" y="270034"/>
                        <a:pt x="63341" y="270034"/>
                      </a:cubicBezTo>
                      <a:cubicBezTo>
                        <a:pt x="64294" y="270034"/>
                        <a:pt x="65246" y="270986"/>
                        <a:pt x="67151" y="270034"/>
                      </a:cubicBez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76" name="Freeform: Shape 475">
                  <a:extLst>
                    <a:ext uri="{FF2B5EF4-FFF2-40B4-BE49-F238E27FC236}">
                      <a16:creationId xmlns:a16="http://schemas.microsoft.com/office/drawing/2014/main" id="{28692F25-8E23-4C07-82E8-3A7EF0EE864E}"/>
                    </a:ext>
                  </a:extLst>
                </p:cNvPr>
                <p:cNvSpPr/>
                <p:nvPr/>
              </p:nvSpPr>
              <p:spPr>
                <a:xfrm>
                  <a:off x="10321844" y="3525807"/>
                  <a:ext cx="162643" cy="188665"/>
                </a:xfrm>
                <a:custGeom>
                  <a:avLst/>
                  <a:gdLst/>
                  <a:ahLst/>
                  <a:cxnLst/>
                  <a:rect l="0" t="0" r="0" b="0"/>
                  <a:pathLst>
                    <a:path w="238125" h="276225">
                      <a:moveTo>
                        <a:pt x="11202" y="216694"/>
                      </a:moveTo>
                      <a:lnTo>
                        <a:pt x="175032" y="270034"/>
                      </a:lnTo>
                      <a:cubicBezTo>
                        <a:pt x="176937" y="270986"/>
                        <a:pt x="177889" y="270034"/>
                        <a:pt x="178842" y="270034"/>
                      </a:cubicBezTo>
                      <a:cubicBezTo>
                        <a:pt x="179794" y="270034"/>
                        <a:pt x="180747" y="269081"/>
                        <a:pt x="181699" y="267176"/>
                      </a:cubicBezTo>
                      <a:lnTo>
                        <a:pt x="235039" y="90011"/>
                      </a:lnTo>
                      <a:cubicBezTo>
                        <a:pt x="230277" y="88106"/>
                        <a:pt x="225514" y="85249"/>
                        <a:pt x="220752" y="81439"/>
                      </a:cubicBezTo>
                      <a:lnTo>
                        <a:pt x="145504" y="7144"/>
                      </a:lnTo>
                      <a:lnTo>
                        <a:pt x="68352" y="7144"/>
                      </a:lnTo>
                      <a:lnTo>
                        <a:pt x="7392" y="210979"/>
                      </a:lnTo>
                      <a:cubicBezTo>
                        <a:pt x="6439" y="212884"/>
                        <a:pt x="8344" y="215741"/>
                        <a:pt x="11202" y="216694"/>
                      </a:cubicBez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grpSp>
        <p:nvGrpSpPr>
          <p:cNvPr id="487" name="Group 486">
            <a:extLst>
              <a:ext uri="{FF2B5EF4-FFF2-40B4-BE49-F238E27FC236}">
                <a16:creationId xmlns:a16="http://schemas.microsoft.com/office/drawing/2014/main" id="{C6428883-75B4-4A53-A6D0-40F753E1EC77}"/>
              </a:ext>
            </a:extLst>
          </p:cNvPr>
          <p:cNvGrpSpPr>
            <a:grpSpLocks noChangeAspect="1"/>
          </p:cNvGrpSpPr>
          <p:nvPr/>
        </p:nvGrpSpPr>
        <p:grpSpPr>
          <a:xfrm>
            <a:off x="4276918" y="2030537"/>
            <a:ext cx="914141" cy="914141"/>
            <a:chOff x="4259589" y="2443403"/>
            <a:chExt cx="1487170" cy="1487170"/>
          </a:xfrm>
        </p:grpSpPr>
        <p:sp>
          <p:nvSpPr>
            <p:cNvPr id="488" name="Oval 487">
              <a:extLst>
                <a:ext uri="{FF2B5EF4-FFF2-40B4-BE49-F238E27FC236}">
                  <a16:creationId xmlns:a16="http://schemas.microsoft.com/office/drawing/2014/main" id="{9DBDB624-3673-47A7-B7F9-A52103DAF908}"/>
                </a:ext>
              </a:extLst>
            </p:cNvPr>
            <p:cNvSpPr/>
            <p:nvPr/>
          </p:nvSpPr>
          <p:spPr bwMode="auto">
            <a:xfrm>
              <a:off x="4259589" y="2443403"/>
              <a:ext cx="1487170" cy="1487170"/>
            </a:xfrm>
            <a:prstGeom prst="ellipse">
              <a:avLst/>
            </a:prstGeom>
            <a:solidFill>
              <a:srgbClr val="FFFFFF"/>
            </a:solidFill>
            <a:ln w="9525" cap="flat" cmpd="sng" algn="ctr">
              <a:noFill/>
              <a:prstDash val="solid"/>
            </a:ln>
            <a:effectLst>
              <a:outerShdw blurRad="190500" dist="50800" dir="2700000" sx="101000" sy="101000" algn="tl" rotWithShape="0">
                <a:prstClr val="black">
                  <a:alpha val="25000"/>
                </a:prstClr>
              </a:outerShdw>
            </a:effectLst>
          </p:spPr>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9" name="Group 488">
              <a:extLst>
                <a:ext uri="{FF2B5EF4-FFF2-40B4-BE49-F238E27FC236}">
                  <a16:creationId xmlns:a16="http://schemas.microsoft.com/office/drawing/2014/main" id="{C9D714FB-5338-46AA-8DEB-292DB36FA098}"/>
                </a:ext>
              </a:extLst>
            </p:cNvPr>
            <p:cNvGrpSpPr/>
            <p:nvPr/>
          </p:nvGrpSpPr>
          <p:grpSpPr>
            <a:xfrm>
              <a:off x="4674875" y="2824621"/>
              <a:ext cx="656598" cy="724734"/>
              <a:chOff x="4991454" y="3105098"/>
              <a:chExt cx="510150" cy="563090"/>
            </a:xfrm>
          </p:grpSpPr>
          <p:grpSp>
            <p:nvGrpSpPr>
              <p:cNvPr id="490" name="Group 489">
                <a:extLst>
                  <a:ext uri="{FF2B5EF4-FFF2-40B4-BE49-F238E27FC236}">
                    <a16:creationId xmlns:a16="http://schemas.microsoft.com/office/drawing/2014/main" id="{21D2C7CD-CBEB-4001-8B4B-98E26DF14869}"/>
                  </a:ext>
                </a:extLst>
              </p:cNvPr>
              <p:cNvGrpSpPr/>
              <p:nvPr/>
            </p:nvGrpSpPr>
            <p:grpSpPr>
              <a:xfrm>
                <a:off x="4991454" y="3105098"/>
                <a:ext cx="510150" cy="563090"/>
                <a:chOff x="7543263" y="3128964"/>
                <a:chExt cx="481524" cy="531494"/>
              </a:xfrm>
            </p:grpSpPr>
            <p:grpSp>
              <p:nvGrpSpPr>
                <p:cNvPr id="499" name="Group 498">
                  <a:extLst>
                    <a:ext uri="{FF2B5EF4-FFF2-40B4-BE49-F238E27FC236}">
                      <a16:creationId xmlns:a16="http://schemas.microsoft.com/office/drawing/2014/main" id="{F371C02F-2575-42E9-A0FB-B4F0DF958E7C}"/>
                    </a:ext>
                  </a:extLst>
                </p:cNvPr>
                <p:cNvGrpSpPr/>
                <p:nvPr/>
              </p:nvGrpSpPr>
              <p:grpSpPr>
                <a:xfrm>
                  <a:off x="7543263" y="3128964"/>
                  <a:ext cx="481524" cy="531494"/>
                  <a:chOff x="4791177" y="2725299"/>
                  <a:chExt cx="583305" cy="643837"/>
                </a:xfrm>
              </p:grpSpPr>
              <p:grpSp>
                <p:nvGrpSpPr>
                  <p:cNvPr id="501" name="Group 500">
                    <a:extLst>
                      <a:ext uri="{FF2B5EF4-FFF2-40B4-BE49-F238E27FC236}">
                        <a16:creationId xmlns:a16="http://schemas.microsoft.com/office/drawing/2014/main" id="{57DA5B0E-C6FA-4D56-B632-090939671D46}"/>
                      </a:ext>
                    </a:extLst>
                  </p:cNvPr>
                  <p:cNvGrpSpPr/>
                  <p:nvPr/>
                </p:nvGrpSpPr>
                <p:grpSpPr>
                  <a:xfrm>
                    <a:off x="4869000" y="2981610"/>
                    <a:ext cx="505482" cy="387526"/>
                    <a:chOff x="4764224" y="2905384"/>
                    <a:chExt cx="614227" cy="470895"/>
                  </a:xfrm>
                </p:grpSpPr>
                <p:grpSp>
                  <p:nvGrpSpPr>
                    <p:cNvPr id="506" name="Group 505">
                      <a:extLst>
                        <a:ext uri="{FF2B5EF4-FFF2-40B4-BE49-F238E27FC236}">
                          <a16:creationId xmlns:a16="http://schemas.microsoft.com/office/drawing/2014/main" id="{718C7A98-3489-4B73-96D4-9AB73F4AE55B}"/>
                        </a:ext>
                      </a:extLst>
                    </p:cNvPr>
                    <p:cNvGrpSpPr/>
                    <p:nvPr/>
                  </p:nvGrpSpPr>
                  <p:grpSpPr>
                    <a:xfrm>
                      <a:off x="4764224" y="2988137"/>
                      <a:ext cx="347088" cy="388142"/>
                      <a:chOff x="1175042" y="1972326"/>
                      <a:chExt cx="147106" cy="164506"/>
                    </a:xfrm>
                    <a:solidFill>
                      <a:srgbClr val="409AE1"/>
                    </a:solidFill>
                  </p:grpSpPr>
                  <p:sp>
                    <p:nvSpPr>
                      <p:cNvPr id="511" name="Freeform 5">
                        <a:extLst>
                          <a:ext uri="{FF2B5EF4-FFF2-40B4-BE49-F238E27FC236}">
                            <a16:creationId xmlns:a16="http://schemas.microsoft.com/office/drawing/2014/main" id="{340298C6-0DAE-4FB3-A150-04F803301AC7}"/>
                          </a:ext>
                        </a:extLst>
                      </p:cNvPr>
                      <p:cNvSpPr>
                        <a:spLocks/>
                      </p:cNvSpPr>
                      <p:nvPr/>
                    </p:nvSpPr>
                    <p:spPr bwMode="auto">
                      <a:xfrm>
                        <a:off x="1175042" y="2061697"/>
                        <a:ext cx="147106" cy="75135"/>
                      </a:xfrm>
                      <a:custGeom>
                        <a:avLst/>
                        <a:gdLst>
                          <a:gd name="T0" fmla="*/ 117 w 151"/>
                          <a:gd name="T1" fmla="*/ 0 h 77"/>
                          <a:gd name="T2" fmla="*/ 35 w 151"/>
                          <a:gd name="T3" fmla="*/ 0 h 77"/>
                          <a:gd name="T4" fmla="*/ 0 w 151"/>
                          <a:gd name="T5" fmla="*/ 35 h 77"/>
                          <a:gd name="T6" fmla="*/ 0 w 151"/>
                          <a:gd name="T7" fmla="*/ 77 h 77"/>
                          <a:gd name="T8" fmla="*/ 151 w 151"/>
                          <a:gd name="T9" fmla="*/ 77 h 77"/>
                          <a:gd name="T10" fmla="*/ 151 w 151"/>
                          <a:gd name="T11" fmla="*/ 35 h 77"/>
                          <a:gd name="T12" fmla="*/ 117 w 151"/>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51" h="77">
                            <a:moveTo>
                              <a:pt x="117" y="0"/>
                            </a:moveTo>
                            <a:cubicBezTo>
                              <a:pt x="35" y="0"/>
                              <a:pt x="35" y="0"/>
                              <a:pt x="35" y="0"/>
                            </a:cubicBezTo>
                            <a:cubicBezTo>
                              <a:pt x="16" y="0"/>
                              <a:pt x="0" y="16"/>
                              <a:pt x="0" y="35"/>
                            </a:cubicBezTo>
                            <a:cubicBezTo>
                              <a:pt x="0" y="77"/>
                              <a:pt x="0" y="77"/>
                              <a:pt x="0" y="77"/>
                            </a:cubicBezTo>
                            <a:cubicBezTo>
                              <a:pt x="151" y="77"/>
                              <a:pt x="151" y="77"/>
                              <a:pt x="151" y="77"/>
                            </a:cubicBezTo>
                            <a:cubicBezTo>
                              <a:pt x="151" y="35"/>
                              <a:pt x="151" y="35"/>
                              <a:pt x="151" y="35"/>
                            </a:cubicBezTo>
                            <a:cubicBezTo>
                              <a:pt x="151" y="16"/>
                              <a:pt x="136" y="0"/>
                              <a:pt x="117" y="0"/>
                            </a:cubicBezTo>
                            <a:close/>
                          </a:path>
                        </a:pathLst>
                      </a:custGeom>
                      <a:solidFill>
                        <a:srgbClr val="3C3C41"/>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12" name="Oval 6">
                        <a:extLst>
                          <a:ext uri="{FF2B5EF4-FFF2-40B4-BE49-F238E27FC236}">
                            <a16:creationId xmlns:a16="http://schemas.microsoft.com/office/drawing/2014/main" id="{B4CFD0B0-613B-435A-9E30-4672FDA97D8E}"/>
                          </a:ext>
                        </a:extLst>
                      </p:cNvPr>
                      <p:cNvSpPr>
                        <a:spLocks noChangeArrowheads="1"/>
                      </p:cNvSpPr>
                      <p:nvPr/>
                    </p:nvSpPr>
                    <p:spPr bwMode="auto">
                      <a:xfrm>
                        <a:off x="1212214" y="1972326"/>
                        <a:ext cx="72762" cy="71971"/>
                      </a:xfrm>
                      <a:prstGeom prst="ellipse">
                        <a:avLst/>
                      </a:prstGeom>
                      <a:solidFill>
                        <a:srgbClr val="3C3C41"/>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507" name="Group 506">
                      <a:extLst>
                        <a:ext uri="{FF2B5EF4-FFF2-40B4-BE49-F238E27FC236}">
                          <a16:creationId xmlns:a16="http://schemas.microsoft.com/office/drawing/2014/main" id="{63EF6542-58CD-4EA6-881A-87BB35CC44D0}"/>
                        </a:ext>
                      </a:extLst>
                    </p:cNvPr>
                    <p:cNvGrpSpPr/>
                    <p:nvPr/>
                  </p:nvGrpSpPr>
                  <p:grpSpPr>
                    <a:xfrm>
                      <a:off x="5031363" y="2905384"/>
                      <a:ext cx="347088" cy="388142"/>
                      <a:chOff x="1175042" y="1972326"/>
                      <a:chExt cx="147106" cy="164506"/>
                    </a:xfrm>
                  </p:grpSpPr>
                  <p:sp>
                    <p:nvSpPr>
                      <p:cNvPr id="509" name="Freeform 5">
                        <a:extLst>
                          <a:ext uri="{FF2B5EF4-FFF2-40B4-BE49-F238E27FC236}">
                            <a16:creationId xmlns:a16="http://schemas.microsoft.com/office/drawing/2014/main" id="{DBB1E265-5710-4453-8C34-9AE2C0E8E9B9}"/>
                          </a:ext>
                        </a:extLst>
                      </p:cNvPr>
                      <p:cNvSpPr>
                        <a:spLocks/>
                      </p:cNvSpPr>
                      <p:nvPr/>
                    </p:nvSpPr>
                    <p:spPr bwMode="auto">
                      <a:xfrm>
                        <a:off x="1175042" y="2061697"/>
                        <a:ext cx="147106" cy="75135"/>
                      </a:xfrm>
                      <a:custGeom>
                        <a:avLst/>
                        <a:gdLst>
                          <a:gd name="T0" fmla="*/ 117 w 151"/>
                          <a:gd name="T1" fmla="*/ 0 h 77"/>
                          <a:gd name="T2" fmla="*/ 35 w 151"/>
                          <a:gd name="T3" fmla="*/ 0 h 77"/>
                          <a:gd name="T4" fmla="*/ 0 w 151"/>
                          <a:gd name="T5" fmla="*/ 35 h 77"/>
                          <a:gd name="T6" fmla="*/ 0 w 151"/>
                          <a:gd name="T7" fmla="*/ 77 h 77"/>
                          <a:gd name="T8" fmla="*/ 151 w 151"/>
                          <a:gd name="T9" fmla="*/ 77 h 77"/>
                          <a:gd name="T10" fmla="*/ 151 w 151"/>
                          <a:gd name="T11" fmla="*/ 35 h 77"/>
                          <a:gd name="T12" fmla="*/ 117 w 151"/>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51" h="77">
                            <a:moveTo>
                              <a:pt x="117" y="0"/>
                            </a:moveTo>
                            <a:cubicBezTo>
                              <a:pt x="35" y="0"/>
                              <a:pt x="35" y="0"/>
                              <a:pt x="35" y="0"/>
                            </a:cubicBezTo>
                            <a:cubicBezTo>
                              <a:pt x="16" y="0"/>
                              <a:pt x="0" y="16"/>
                              <a:pt x="0" y="35"/>
                            </a:cubicBezTo>
                            <a:cubicBezTo>
                              <a:pt x="0" y="77"/>
                              <a:pt x="0" y="77"/>
                              <a:pt x="0" y="77"/>
                            </a:cubicBezTo>
                            <a:cubicBezTo>
                              <a:pt x="151" y="77"/>
                              <a:pt x="151" y="77"/>
                              <a:pt x="151" y="77"/>
                            </a:cubicBezTo>
                            <a:cubicBezTo>
                              <a:pt x="151" y="35"/>
                              <a:pt x="151" y="35"/>
                              <a:pt x="151" y="35"/>
                            </a:cubicBezTo>
                            <a:cubicBezTo>
                              <a:pt x="151" y="16"/>
                              <a:pt x="136" y="0"/>
                              <a:pt x="117" y="0"/>
                            </a:cubicBezTo>
                            <a:close/>
                          </a:path>
                        </a:pathLst>
                      </a:custGeom>
                      <a:solidFill>
                        <a:srgbClr val="30E5D0"/>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10" name="Oval 6">
                        <a:extLst>
                          <a:ext uri="{FF2B5EF4-FFF2-40B4-BE49-F238E27FC236}">
                            <a16:creationId xmlns:a16="http://schemas.microsoft.com/office/drawing/2014/main" id="{264535D1-C867-4002-A54F-9BB2A4A786FD}"/>
                          </a:ext>
                        </a:extLst>
                      </p:cNvPr>
                      <p:cNvSpPr>
                        <a:spLocks noChangeArrowheads="1"/>
                      </p:cNvSpPr>
                      <p:nvPr/>
                    </p:nvSpPr>
                    <p:spPr bwMode="auto">
                      <a:xfrm>
                        <a:off x="1212214" y="1972326"/>
                        <a:ext cx="72762" cy="71971"/>
                      </a:xfrm>
                      <a:prstGeom prst="ellipse">
                        <a:avLst/>
                      </a:prstGeom>
                      <a:solidFill>
                        <a:srgbClr val="30E5D0"/>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sp>
                  <p:nvSpPr>
                    <p:cNvPr id="508" name="Freeform 28">
                      <a:extLst>
                        <a:ext uri="{FF2B5EF4-FFF2-40B4-BE49-F238E27FC236}">
                          <a16:creationId xmlns:a16="http://schemas.microsoft.com/office/drawing/2014/main" id="{15602BC5-40BF-4822-97CC-B0BA66DCC0AA}"/>
                        </a:ext>
                      </a:extLst>
                    </p:cNvPr>
                    <p:cNvSpPr>
                      <a:spLocks/>
                    </p:cNvSpPr>
                    <p:nvPr/>
                  </p:nvSpPr>
                  <p:spPr bwMode="auto">
                    <a:xfrm>
                      <a:off x="5031302" y="3198875"/>
                      <a:ext cx="82025" cy="94508"/>
                    </a:xfrm>
                    <a:custGeom>
                      <a:avLst/>
                      <a:gdLst>
                        <a:gd name="T0" fmla="*/ 23 w 23"/>
                        <a:gd name="T1" fmla="*/ 22 h 27"/>
                        <a:gd name="T2" fmla="*/ 1 w 23"/>
                        <a:gd name="T3" fmla="*/ 0 h 27"/>
                        <a:gd name="T4" fmla="*/ 0 w 23"/>
                        <a:gd name="T5" fmla="*/ 0 h 27"/>
                        <a:gd name="T6" fmla="*/ 0 w 23"/>
                        <a:gd name="T7" fmla="*/ 27 h 27"/>
                        <a:gd name="T8" fmla="*/ 23 w 23"/>
                        <a:gd name="T9" fmla="*/ 27 h 27"/>
                        <a:gd name="T10" fmla="*/ 23 w 23"/>
                        <a:gd name="T11" fmla="*/ 22 h 27"/>
                      </a:gdLst>
                      <a:ahLst/>
                      <a:cxnLst>
                        <a:cxn ang="0">
                          <a:pos x="T0" y="T1"/>
                        </a:cxn>
                        <a:cxn ang="0">
                          <a:pos x="T2" y="T3"/>
                        </a:cxn>
                        <a:cxn ang="0">
                          <a:pos x="T4" y="T5"/>
                        </a:cxn>
                        <a:cxn ang="0">
                          <a:pos x="T6" y="T7"/>
                        </a:cxn>
                        <a:cxn ang="0">
                          <a:pos x="T8" y="T9"/>
                        </a:cxn>
                        <a:cxn ang="0">
                          <a:pos x="T10" y="T11"/>
                        </a:cxn>
                      </a:cxnLst>
                      <a:rect l="0" t="0" r="r" b="b"/>
                      <a:pathLst>
                        <a:path w="23" h="27">
                          <a:moveTo>
                            <a:pt x="23" y="22"/>
                          </a:moveTo>
                          <a:cubicBezTo>
                            <a:pt x="23" y="10"/>
                            <a:pt x="14" y="0"/>
                            <a:pt x="1" y="0"/>
                          </a:cubicBezTo>
                          <a:cubicBezTo>
                            <a:pt x="1" y="0"/>
                            <a:pt x="0" y="0"/>
                            <a:pt x="0" y="0"/>
                          </a:cubicBezTo>
                          <a:cubicBezTo>
                            <a:pt x="0" y="26"/>
                            <a:pt x="0" y="27"/>
                            <a:pt x="0" y="27"/>
                          </a:cubicBezTo>
                          <a:cubicBezTo>
                            <a:pt x="8" y="27"/>
                            <a:pt x="16" y="27"/>
                            <a:pt x="23" y="27"/>
                          </a:cubicBezTo>
                          <a:cubicBezTo>
                            <a:pt x="23" y="22"/>
                            <a:pt x="23" y="22"/>
                            <a:pt x="23" y="22"/>
                          </a:cubicBezTo>
                          <a:close/>
                        </a:path>
                      </a:pathLst>
                    </a:custGeom>
                    <a:solidFill>
                      <a:srgbClr val="30E5D0"/>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502" name="Group 501">
                    <a:extLst>
                      <a:ext uri="{FF2B5EF4-FFF2-40B4-BE49-F238E27FC236}">
                        <a16:creationId xmlns:a16="http://schemas.microsoft.com/office/drawing/2014/main" id="{CF9B3C4E-38BA-42E8-B162-544B4CE16F5D}"/>
                      </a:ext>
                    </a:extLst>
                  </p:cNvPr>
                  <p:cNvGrpSpPr/>
                  <p:nvPr/>
                </p:nvGrpSpPr>
                <p:grpSpPr>
                  <a:xfrm>
                    <a:off x="4791177" y="2725299"/>
                    <a:ext cx="324620" cy="292851"/>
                    <a:chOff x="4764983" y="2720537"/>
                    <a:chExt cx="324620" cy="292851"/>
                  </a:xfrm>
                </p:grpSpPr>
                <p:sp>
                  <p:nvSpPr>
                    <p:cNvPr id="504" name="Rectangle: Rounded Corners 503">
                      <a:extLst>
                        <a:ext uri="{FF2B5EF4-FFF2-40B4-BE49-F238E27FC236}">
                          <a16:creationId xmlns:a16="http://schemas.microsoft.com/office/drawing/2014/main" id="{BE662A22-112F-43B3-A496-ADF6AFB22402}"/>
                        </a:ext>
                      </a:extLst>
                    </p:cNvPr>
                    <p:cNvSpPr/>
                    <p:nvPr/>
                  </p:nvSpPr>
                  <p:spPr bwMode="auto">
                    <a:xfrm>
                      <a:off x="4764983" y="2720537"/>
                      <a:ext cx="324620" cy="238440"/>
                    </a:xfrm>
                    <a:prstGeom prst="roundRect">
                      <a:avLst>
                        <a:gd name="adj" fmla="val 23959"/>
                      </a:avLst>
                    </a:prstGeom>
                    <a:solidFill>
                      <a:srgbClr val="30E5D0"/>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5" name="Rectangle 128">
                      <a:extLst>
                        <a:ext uri="{FF2B5EF4-FFF2-40B4-BE49-F238E27FC236}">
                          <a16:creationId xmlns:a16="http://schemas.microsoft.com/office/drawing/2014/main" id="{55200C84-30B9-4598-AEA8-300FC600F164}"/>
                        </a:ext>
                      </a:extLst>
                    </p:cNvPr>
                    <p:cNvSpPr/>
                    <p:nvPr/>
                  </p:nvSpPr>
                  <p:spPr bwMode="auto">
                    <a:xfrm>
                      <a:off x="4978226" y="2902011"/>
                      <a:ext cx="111377" cy="111377"/>
                    </a:xfrm>
                    <a:custGeom>
                      <a:avLst/>
                      <a:gdLst>
                        <a:gd name="connsiteX0" fmla="*/ 0 w 259812"/>
                        <a:gd name="connsiteY0" fmla="*/ 0 h 259812"/>
                        <a:gd name="connsiteX1" fmla="*/ 259812 w 259812"/>
                        <a:gd name="connsiteY1" fmla="*/ 0 h 259812"/>
                        <a:gd name="connsiteX2" fmla="*/ 259812 w 259812"/>
                        <a:gd name="connsiteY2" fmla="*/ 259812 h 259812"/>
                        <a:gd name="connsiteX3" fmla="*/ 0 w 259812"/>
                        <a:gd name="connsiteY3" fmla="*/ 259812 h 259812"/>
                        <a:gd name="connsiteX4" fmla="*/ 0 w 259812"/>
                        <a:gd name="connsiteY4" fmla="*/ 0 h 259812"/>
                        <a:gd name="connsiteX0" fmla="*/ 0 w 259812"/>
                        <a:gd name="connsiteY0" fmla="*/ 0 h 259812"/>
                        <a:gd name="connsiteX1" fmla="*/ 259812 w 259812"/>
                        <a:gd name="connsiteY1" fmla="*/ 0 h 259812"/>
                        <a:gd name="connsiteX2" fmla="*/ 259812 w 259812"/>
                        <a:gd name="connsiteY2" fmla="*/ 259812 h 259812"/>
                        <a:gd name="connsiteX3" fmla="*/ 0 w 259812"/>
                        <a:gd name="connsiteY3" fmla="*/ 0 h 259812"/>
                      </a:gdLst>
                      <a:ahLst/>
                      <a:cxnLst>
                        <a:cxn ang="0">
                          <a:pos x="connsiteX0" y="connsiteY0"/>
                        </a:cxn>
                        <a:cxn ang="0">
                          <a:pos x="connsiteX1" y="connsiteY1"/>
                        </a:cxn>
                        <a:cxn ang="0">
                          <a:pos x="connsiteX2" y="connsiteY2"/>
                        </a:cxn>
                        <a:cxn ang="0">
                          <a:pos x="connsiteX3" y="connsiteY3"/>
                        </a:cxn>
                      </a:cxnLst>
                      <a:rect l="l" t="t" r="r" b="b"/>
                      <a:pathLst>
                        <a:path w="259812" h="259812">
                          <a:moveTo>
                            <a:pt x="0" y="0"/>
                          </a:moveTo>
                          <a:lnTo>
                            <a:pt x="259812" y="0"/>
                          </a:lnTo>
                          <a:lnTo>
                            <a:pt x="259812" y="259812"/>
                          </a:lnTo>
                          <a:lnTo>
                            <a:pt x="0" y="0"/>
                          </a:lnTo>
                          <a:close/>
                        </a:path>
                      </a:pathLst>
                    </a:custGeom>
                    <a:solidFill>
                      <a:srgbClr val="30E5D0"/>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03" name="Freeform 33">
                    <a:extLst>
                      <a:ext uri="{FF2B5EF4-FFF2-40B4-BE49-F238E27FC236}">
                        <a16:creationId xmlns:a16="http://schemas.microsoft.com/office/drawing/2014/main" id="{6EF6B0AB-41B4-49A4-ABCE-7926122377BD}"/>
                      </a:ext>
                    </a:extLst>
                  </p:cNvPr>
                  <p:cNvSpPr>
                    <a:spLocks noEditPoints="1"/>
                  </p:cNvSpPr>
                  <p:nvPr/>
                </p:nvSpPr>
                <p:spPr bwMode="auto">
                  <a:xfrm flipH="1">
                    <a:off x="4962794" y="2846627"/>
                    <a:ext cx="81022" cy="79928"/>
                  </a:xfrm>
                  <a:custGeom>
                    <a:avLst/>
                    <a:gdLst>
                      <a:gd name="T0" fmla="*/ 13 w 41"/>
                      <a:gd name="T1" fmla="*/ 20 h 41"/>
                      <a:gd name="T2" fmla="*/ 28 w 41"/>
                      <a:gd name="T3" fmla="*/ 20 h 41"/>
                      <a:gd name="T4" fmla="*/ 40 w 41"/>
                      <a:gd name="T5" fmla="*/ 17 h 41"/>
                      <a:gd name="T6" fmla="*/ 35 w 41"/>
                      <a:gd name="T7" fmla="*/ 16 h 41"/>
                      <a:gd name="T8" fmla="*/ 34 w 41"/>
                      <a:gd name="T9" fmla="*/ 14 h 41"/>
                      <a:gd name="T10" fmla="*/ 37 w 41"/>
                      <a:gd name="T11" fmla="*/ 8 h 41"/>
                      <a:gd name="T12" fmla="*/ 35 w 41"/>
                      <a:gd name="T13" fmla="*/ 5 h 41"/>
                      <a:gd name="T14" fmla="*/ 29 w 41"/>
                      <a:gd name="T15" fmla="*/ 7 h 41"/>
                      <a:gd name="T16" fmla="*/ 25 w 41"/>
                      <a:gd name="T17" fmla="*/ 6 h 41"/>
                      <a:gd name="T18" fmla="*/ 24 w 41"/>
                      <a:gd name="T19" fmla="*/ 1 h 41"/>
                      <a:gd name="T20" fmla="*/ 20 w 41"/>
                      <a:gd name="T21" fmla="*/ 0 h 41"/>
                      <a:gd name="T22" fmla="*/ 17 w 41"/>
                      <a:gd name="T23" fmla="*/ 4 h 41"/>
                      <a:gd name="T24" fmla="*/ 14 w 41"/>
                      <a:gd name="T25" fmla="*/ 7 h 41"/>
                      <a:gd name="T26" fmla="*/ 9 w 41"/>
                      <a:gd name="T27" fmla="*/ 5 h 41"/>
                      <a:gd name="T28" fmla="*/ 6 w 41"/>
                      <a:gd name="T29" fmla="*/ 7 h 41"/>
                      <a:gd name="T30" fmla="*/ 8 w 41"/>
                      <a:gd name="T31" fmla="*/ 12 h 41"/>
                      <a:gd name="T32" fmla="*/ 8 w 41"/>
                      <a:gd name="T33" fmla="*/ 14 h 41"/>
                      <a:gd name="T34" fmla="*/ 8 w 41"/>
                      <a:gd name="T35" fmla="*/ 16 h 41"/>
                      <a:gd name="T36" fmla="*/ 1 w 41"/>
                      <a:gd name="T37" fmla="*/ 17 h 41"/>
                      <a:gd name="T38" fmla="*/ 0 w 41"/>
                      <a:gd name="T39" fmla="*/ 21 h 41"/>
                      <a:gd name="T40" fmla="*/ 6 w 41"/>
                      <a:gd name="T41" fmla="*/ 23 h 41"/>
                      <a:gd name="T42" fmla="*/ 8 w 41"/>
                      <a:gd name="T43" fmla="*/ 25 h 41"/>
                      <a:gd name="T44" fmla="*/ 8 w 41"/>
                      <a:gd name="T45" fmla="*/ 27 h 41"/>
                      <a:gd name="T46" fmla="*/ 6 w 41"/>
                      <a:gd name="T47" fmla="*/ 32 h 41"/>
                      <a:gd name="T48" fmla="*/ 8 w 41"/>
                      <a:gd name="T49" fmla="*/ 35 h 41"/>
                      <a:gd name="T50" fmla="*/ 12 w 41"/>
                      <a:gd name="T51" fmla="*/ 33 h 41"/>
                      <a:gd name="T52" fmla="*/ 14 w 41"/>
                      <a:gd name="T53" fmla="*/ 33 h 41"/>
                      <a:gd name="T54" fmla="*/ 16 w 41"/>
                      <a:gd name="T55" fmla="*/ 34 h 41"/>
                      <a:gd name="T56" fmla="*/ 19 w 41"/>
                      <a:gd name="T57" fmla="*/ 40 h 41"/>
                      <a:gd name="T58" fmla="*/ 23 w 41"/>
                      <a:gd name="T59" fmla="*/ 41 h 41"/>
                      <a:gd name="T60" fmla="*/ 24 w 41"/>
                      <a:gd name="T61" fmla="*/ 36 h 41"/>
                      <a:gd name="T62" fmla="*/ 26 w 41"/>
                      <a:gd name="T63" fmla="*/ 34 h 41"/>
                      <a:gd name="T64" fmla="*/ 27 w 41"/>
                      <a:gd name="T65" fmla="*/ 33 h 41"/>
                      <a:gd name="T66" fmla="*/ 33 w 41"/>
                      <a:gd name="T67" fmla="*/ 35 h 41"/>
                      <a:gd name="T68" fmla="*/ 37 w 41"/>
                      <a:gd name="T69" fmla="*/ 33 h 41"/>
                      <a:gd name="T70" fmla="*/ 34 w 41"/>
                      <a:gd name="T71" fmla="*/ 29 h 41"/>
                      <a:gd name="T72" fmla="*/ 34 w 41"/>
                      <a:gd name="T73" fmla="*/ 27 h 41"/>
                      <a:gd name="T74" fmla="*/ 35 w 41"/>
                      <a:gd name="T75" fmla="*/ 25 h 41"/>
                      <a:gd name="T76" fmla="*/ 40 w 41"/>
                      <a:gd name="T77" fmla="*/ 23 h 41"/>
                      <a:gd name="T78" fmla="*/ 41 w 41"/>
                      <a:gd name="T79"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41">
                        <a:moveTo>
                          <a:pt x="21" y="28"/>
                        </a:moveTo>
                        <a:cubicBezTo>
                          <a:pt x="16" y="28"/>
                          <a:pt x="13" y="25"/>
                          <a:pt x="13" y="20"/>
                        </a:cubicBezTo>
                        <a:cubicBezTo>
                          <a:pt x="13" y="16"/>
                          <a:pt x="16" y="13"/>
                          <a:pt x="21" y="13"/>
                        </a:cubicBezTo>
                        <a:cubicBezTo>
                          <a:pt x="25" y="13"/>
                          <a:pt x="28" y="16"/>
                          <a:pt x="28" y="20"/>
                        </a:cubicBezTo>
                        <a:cubicBezTo>
                          <a:pt x="28" y="25"/>
                          <a:pt x="25" y="28"/>
                          <a:pt x="21" y="28"/>
                        </a:cubicBezTo>
                        <a:close/>
                        <a:moveTo>
                          <a:pt x="40" y="17"/>
                        </a:moveTo>
                        <a:cubicBezTo>
                          <a:pt x="37" y="17"/>
                          <a:pt x="37" y="17"/>
                          <a:pt x="37" y="17"/>
                        </a:cubicBezTo>
                        <a:cubicBezTo>
                          <a:pt x="35" y="17"/>
                          <a:pt x="35" y="16"/>
                          <a:pt x="35" y="16"/>
                        </a:cubicBezTo>
                        <a:cubicBezTo>
                          <a:pt x="35" y="16"/>
                          <a:pt x="35" y="16"/>
                          <a:pt x="35" y="16"/>
                        </a:cubicBezTo>
                        <a:cubicBezTo>
                          <a:pt x="35" y="15"/>
                          <a:pt x="34" y="15"/>
                          <a:pt x="34" y="14"/>
                        </a:cubicBezTo>
                        <a:cubicBezTo>
                          <a:pt x="34" y="13"/>
                          <a:pt x="34" y="13"/>
                          <a:pt x="34" y="12"/>
                        </a:cubicBezTo>
                        <a:cubicBezTo>
                          <a:pt x="37" y="8"/>
                          <a:pt x="37" y="8"/>
                          <a:pt x="37" y="8"/>
                        </a:cubicBezTo>
                        <a:cubicBezTo>
                          <a:pt x="37" y="7"/>
                          <a:pt x="37" y="7"/>
                          <a:pt x="37" y="7"/>
                        </a:cubicBezTo>
                        <a:cubicBezTo>
                          <a:pt x="35" y="5"/>
                          <a:pt x="35" y="5"/>
                          <a:pt x="35" y="5"/>
                        </a:cubicBezTo>
                        <a:cubicBezTo>
                          <a:pt x="34" y="4"/>
                          <a:pt x="34" y="4"/>
                          <a:pt x="33" y="5"/>
                        </a:cubicBezTo>
                        <a:cubicBezTo>
                          <a:pt x="29" y="7"/>
                          <a:pt x="29" y="7"/>
                          <a:pt x="29" y="7"/>
                        </a:cubicBezTo>
                        <a:cubicBezTo>
                          <a:pt x="28" y="7"/>
                          <a:pt x="28" y="7"/>
                          <a:pt x="27" y="7"/>
                        </a:cubicBezTo>
                        <a:cubicBezTo>
                          <a:pt x="27" y="7"/>
                          <a:pt x="26" y="7"/>
                          <a:pt x="25" y="6"/>
                        </a:cubicBezTo>
                        <a:cubicBezTo>
                          <a:pt x="25" y="6"/>
                          <a:pt x="24" y="6"/>
                          <a:pt x="24" y="5"/>
                        </a:cubicBezTo>
                        <a:cubicBezTo>
                          <a:pt x="24" y="1"/>
                          <a:pt x="24" y="1"/>
                          <a:pt x="24" y="1"/>
                        </a:cubicBezTo>
                        <a:cubicBezTo>
                          <a:pt x="24" y="0"/>
                          <a:pt x="23" y="0"/>
                          <a:pt x="23" y="0"/>
                        </a:cubicBezTo>
                        <a:cubicBezTo>
                          <a:pt x="20" y="0"/>
                          <a:pt x="20" y="0"/>
                          <a:pt x="20" y="0"/>
                        </a:cubicBezTo>
                        <a:cubicBezTo>
                          <a:pt x="19" y="0"/>
                          <a:pt x="19" y="0"/>
                          <a:pt x="19" y="1"/>
                        </a:cubicBezTo>
                        <a:cubicBezTo>
                          <a:pt x="17" y="4"/>
                          <a:pt x="17" y="4"/>
                          <a:pt x="17" y="4"/>
                        </a:cubicBezTo>
                        <a:cubicBezTo>
                          <a:pt x="17" y="6"/>
                          <a:pt x="17" y="6"/>
                          <a:pt x="16" y="6"/>
                        </a:cubicBezTo>
                        <a:cubicBezTo>
                          <a:pt x="15" y="7"/>
                          <a:pt x="15" y="7"/>
                          <a:pt x="14" y="7"/>
                        </a:cubicBezTo>
                        <a:cubicBezTo>
                          <a:pt x="14" y="7"/>
                          <a:pt x="13" y="7"/>
                          <a:pt x="12" y="7"/>
                        </a:cubicBezTo>
                        <a:cubicBezTo>
                          <a:pt x="9" y="5"/>
                          <a:pt x="9" y="5"/>
                          <a:pt x="9" y="5"/>
                        </a:cubicBezTo>
                        <a:cubicBezTo>
                          <a:pt x="9" y="4"/>
                          <a:pt x="8" y="4"/>
                          <a:pt x="8" y="5"/>
                        </a:cubicBezTo>
                        <a:cubicBezTo>
                          <a:pt x="6" y="7"/>
                          <a:pt x="6" y="7"/>
                          <a:pt x="6" y="7"/>
                        </a:cubicBezTo>
                        <a:cubicBezTo>
                          <a:pt x="4" y="7"/>
                          <a:pt x="4" y="8"/>
                          <a:pt x="6" y="8"/>
                        </a:cubicBezTo>
                        <a:cubicBezTo>
                          <a:pt x="8" y="12"/>
                          <a:pt x="8" y="12"/>
                          <a:pt x="8" y="12"/>
                        </a:cubicBezTo>
                        <a:cubicBezTo>
                          <a:pt x="9" y="13"/>
                          <a:pt x="9" y="13"/>
                          <a:pt x="8" y="14"/>
                        </a:cubicBezTo>
                        <a:cubicBezTo>
                          <a:pt x="8" y="14"/>
                          <a:pt x="8" y="14"/>
                          <a:pt x="8" y="14"/>
                        </a:cubicBezTo>
                        <a:cubicBezTo>
                          <a:pt x="8" y="15"/>
                          <a:pt x="8" y="15"/>
                          <a:pt x="8" y="16"/>
                        </a:cubicBezTo>
                        <a:cubicBezTo>
                          <a:pt x="8" y="16"/>
                          <a:pt x="8" y="16"/>
                          <a:pt x="8" y="16"/>
                        </a:cubicBezTo>
                        <a:cubicBezTo>
                          <a:pt x="7" y="16"/>
                          <a:pt x="7" y="17"/>
                          <a:pt x="6" y="17"/>
                        </a:cubicBezTo>
                        <a:cubicBezTo>
                          <a:pt x="1" y="17"/>
                          <a:pt x="1" y="17"/>
                          <a:pt x="1" y="17"/>
                        </a:cubicBezTo>
                        <a:cubicBezTo>
                          <a:pt x="1" y="18"/>
                          <a:pt x="0" y="18"/>
                          <a:pt x="0" y="19"/>
                        </a:cubicBezTo>
                        <a:cubicBezTo>
                          <a:pt x="0" y="21"/>
                          <a:pt x="0" y="21"/>
                          <a:pt x="0" y="21"/>
                        </a:cubicBezTo>
                        <a:cubicBezTo>
                          <a:pt x="0" y="22"/>
                          <a:pt x="1" y="22"/>
                          <a:pt x="1" y="23"/>
                        </a:cubicBezTo>
                        <a:cubicBezTo>
                          <a:pt x="6" y="23"/>
                          <a:pt x="6" y="23"/>
                          <a:pt x="6" y="23"/>
                        </a:cubicBezTo>
                        <a:cubicBezTo>
                          <a:pt x="7" y="23"/>
                          <a:pt x="7" y="25"/>
                          <a:pt x="8" y="25"/>
                        </a:cubicBezTo>
                        <a:cubicBezTo>
                          <a:pt x="8" y="25"/>
                          <a:pt x="8" y="25"/>
                          <a:pt x="8" y="25"/>
                        </a:cubicBezTo>
                        <a:cubicBezTo>
                          <a:pt x="8" y="26"/>
                          <a:pt x="8" y="26"/>
                          <a:pt x="8" y="27"/>
                        </a:cubicBezTo>
                        <a:cubicBezTo>
                          <a:pt x="8" y="27"/>
                          <a:pt x="8" y="27"/>
                          <a:pt x="8" y="27"/>
                        </a:cubicBezTo>
                        <a:cubicBezTo>
                          <a:pt x="9" y="28"/>
                          <a:pt x="9" y="28"/>
                          <a:pt x="8" y="29"/>
                        </a:cubicBezTo>
                        <a:cubicBezTo>
                          <a:pt x="6" y="32"/>
                          <a:pt x="6" y="32"/>
                          <a:pt x="6" y="32"/>
                        </a:cubicBezTo>
                        <a:cubicBezTo>
                          <a:pt x="4" y="32"/>
                          <a:pt x="4" y="33"/>
                          <a:pt x="6" y="33"/>
                        </a:cubicBezTo>
                        <a:cubicBezTo>
                          <a:pt x="8" y="35"/>
                          <a:pt x="8" y="35"/>
                          <a:pt x="8" y="35"/>
                        </a:cubicBezTo>
                        <a:cubicBezTo>
                          <a:pt x="8" y="36"/>
                          <a:pt x="9" y="36"/>
                          <a:pt x="9" y="35"/>
                        </a:cubicBezTo>
                        <a:cubicBezTo>
                          <a:pt x="12" y="33"/>
                          <a:pt x="12" y="33"/>
                          <a:pt x="12" y="33"/>
                        </a:cubicBezTo>
                        <a:cubicBezTo>
                          <a:pt x="13" y="33"/>
                          <a:pt x="14" y="33"/>
                          <a:pt x="14" y="33"/>
                        </a:cubicBezTo>
                        <a:cubicBezTo>
                          <a:pt x="14" y="33"/>
                          <a:pt x="14" y="33"/>
                          <a:pt x="14" y="33"/>
                        </a:cubicBezTo>
                        <a:cubicBezTo>
                          <a:pt x="15" y="33"/>
                          <a:pt x="15" y="33"/>
                          <a:pt x="16" y="34"/>
                        </a:cubicBezTo>
                        <a:cubicBezTo>
                          <a:pt x="16" y="34"/>
                          <a:pt x="16" y="34"/>
                          <a:pt x="16" y="34"/>
                        </a:cubicBezTo>
                        <a:cubicBezTo>
                          <a:pt x="17" y="34"/>
                          <a:pt x="17" y="34"/>
                          <a:pt x="17" y="35"/>
                        </a:cubicBezTo>
                        <a:cubicBezTo>
                          <a:pt x="19" y="40"/>
                          <a:pt x="19" y="40"/>
                          <a:pt x="19" y="40"/>
                        </a:cubicBezTo>
                        <a:cubicBezTo>
                          <a:pt x="19" y="41"/>
                          <a:pt x="19" y="41"/>
                          <a:pt x="20" y="41"/>
                        </a:cubicBezTo>
                        <a:cubicBezTo>
                          <a:pt x="23" y="41"/>
                          <a:pt x="23" y="41"/>
                          <a:pt x="23" y="41"/>
                        </a:cubicBezTo>
                        <a:cubicBezTo>
                          <a:pt x="23" y="41"/>
                          <a:pt x="24" y="41"/>
                          <a:pt x="24" y="40"/>
                        </a:cubicBezTo>
                        <a:cubicBezTo>
                          <a:pt x="24" y="36"/>
                          <a:pt x="24" y="36"/>
                          <a:pt x="24" y="36"/>
                        </a:cubicBezTo>
                        <a:cubicBezTo>
                          <a:pt x="24" y="34"/>
                          <a:pt x="25" y="34"/>
                          <a:pt x="25" y="34"/>
                        </a:cubicBezTo>
                        <a:cubicBezTo>
                          <a:pt x="26" y="34"/>
                          <a:pt x="26" y="34"/>
                          <a:pt x="26" y="34"/>
                        </a:cubicBezTo>
                        <a:cubicBezTo>
                          <a:pt x="26" y="33"/>
                          <a:pt x="27" y="33"/>
                          <a:pt x="27" y="33"/>
                        </a:cubicBezTo>
                        <a:cubicBezTo>
                          <a:pt x="27" y="33"/>
                          <a:pt x="27" y="33"/>
                          <a:pt x="27" y="33"/>
                        </a:cubicBezTo>
                        <a:cubicBezTo>
                          <a:pt x="28" y="33"/>
                          <a:pt x="28" y="33"/>
                          <a:pt x="29" y="33"/>
                        </a:cubicBezTo>
                        <a:cubicBezTo>
                          <a:pt x="33" y="35"/>
                          <a:pt x="33" y="35"/>
                          <a:pt x="33" y="35"/>
                        </a:cubicBezTo>
                        <a:cubicBezTo>
                          <a:pt x="33" y="36"/>
                          <a:pt x="34" y="36"/>
                          <a:pt x="35" y="35"/>
                        </a:cubicBezTo>
                        <a:cubicBezTo>
                          <a:pt x="37" y="33"/>
                          <a:pt x="37" y="33"/>
                          <a:pt x="37" y="33"/>
                        </a:cubicBezTo>
                        <a:cubicBezTo>
                          <a:pt x="37" y="32"/>
                          <a:pt x="37" y="32"/>
                          <a:pt x="37" y="32"/>
                        </a:cubicBezTo>
                        <a:cubicBezTo>
                          <a:pt x="34" y="29"/>
                          <a:pt x="34" y="29"/>
                          <a:pt x="34" y="29"/>
                        </a:cubicBezTo>
                        <a:cubicBezTo>
                          <a:pt x="34" y="28"/>
                          <a:pt x="34" y="28"/>
                          <a:pt x="34" y="27"/>
                        </a:cubicBezTo>
                        <a:cubicBezTo>
                          <a:pt x="34" y="27"/>
                          <a:pt x="34" y="27"/>
                          <a:pt x="34" y="27"/>
                        </a:cubicBezTo>
                        <a:cubicBezTo>
                          <a:pt x="34" y="26"/>
                          <a:pt x="35" y="26"/>
                          <a:pt x="35" y="25"/>
                        </a:cubicBezTo>
                        <a:cubicBezTo>
                          <a:pt x="35" y="25"/>
                          <a:pt x="35" y="25"/>
                          <a:pt x="35" y="25"/>
                        </a:cubicBezTo>
                        <a:cubicBezTo>
                          <a:pt x="35" y="25"/>
                          <a:pt x="35" y="23"/>
                          <a:pt x="37" y="23"/>
                        </a:cubicBezTo>
                        <a:cubicBezTo>
                          <a:pt x="40" y="23"/>
                          <a:pt x="40" y="23"/>
                          <a:pt x="40" y="23"/>
                        </a:cubicBezTo>
                        <a:cubicBezTo>
                          <a:pt x="41" y="22"/>
                          <a:pt x="41" y="22"/>
                          <a:pt x="41" y="21"/>
                        </a:cubicBezTo>
                        <a:cubicBezTo>
                          <a:pt x="41" y="19"/>
                          <a:pt x="41" y="19"/>
                          <a:pt x="41" y="19"/>
                        </a:cubicBezTo>
                        <a:cubicBezTo>
                          <a:pt x="41" y="18"/>
                          <a:pt x="41" y="18"/>
                          <a:pt x="40" y="17"/>
                        </a:cubicBezTo>
                        <a:close/>
                      </a:path>
                    </a:pathLst>
                  </a:custGeom>
                  <a:solidFill>
                    <a:srgbClr val="3C3C41"/>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sp>
              <p:nvSpPr>
                <p:cNvPr id="500" name="Freeform 57">
                  <a:extLst>
                    <a:ext uri="{FF2B5EF4-FFF2-40B4-BE49-F238E27FC236}">
                      <a16:creationId xmlns:a16="http://schemas.microsoft.com/office/drawing/2014/main" id="{70CD808C-68AD-4341-A570-DF46B7FFBAD6}"/>
                    </a:ext>
                  </a:extLst>
                </p:cNvPr>
                <p:cNvSpPr>
                  <a:spLocks noEditPoints="1"/>
                </p:cNvSpPr>
                <p:nvPr/>
              </p:nvSpPr>
              <p:spPr bwMode="auto">
                <a:xfrm>
                  <a:off x="7596187" y="3162302"/>
                  <a:ext cx="103187" cy="103186"/>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3C3C41"/>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491" name="Group 490">
                <a:extLst>
                  <a:ext uri="{FF2B5EF4-FFF2-40B4-BE49-F238E27FC236}">
                    <a16:creationId xmlns:a16="http://schemas.microsoft.com/office/drawing/2014/main" id="{F7546D2D-E837-429E-80E4-A4A0F29CB6D9}"/>
                  </a:ext>
                </a:extLst>
              </p:cNvPr>
              <p:cNvGrpSpPr/>
              <p:nvPr/>
            </p:nvGrpSpPr>
            <p:grpSpPr>
              <a:xfrm>
                <a:off x="5196134" y="3400865"/>
                <a:ext cx="102684" cy="63196"/>
                <a:chOff x="7131063" y="3379202"/>
                <a:chExt cx="519133" cy="319492"/>
              </a:xfrm>
              <a:solidFill>
                <a:srgbClr val="0084D9">
                  <a:alpha val="0"/>
                </a:srgbClr>
              </a:solidFill>
            </p:grpSpPr>
            <p:sp>
              <p:nvSpPr>
                <p:cNvPr id="492" name="Freeform 34">
                  <a:extLst>
                    <a:ext uri="{FF2B5EF4-FFF2-40B4-BE49-F238E27FC236}">
                      <a16:creationId xmlns:a16="http://schemas.microsoft.com/office/drawing/2014/main" id="{C0222FD6-EB2B-4374-8268-8174225AA593}"/>
                    </a:ext>
                  </a:extLst>
                </p:cNvPr>
                <p:cNvSpPr>
                  <a:spLocks/>
                </p:cNvSpPr>
                <p:nvPr/>
              </p:nvSpPr>
              <p:spPr bwMode="auto">
                <a:xfrm>
                  <a:off x="7264057" y="3392960"/>
                  <a:ext cx="386139" cy="61147"/>
                </a:xfrm>
                <a:custGeom>
                  <a:avLst/>
                  <a:gdLst>
                    <a:gd name="T0" fmla="*/ 251 w 269"/>
                    <a:gd name="T1" fmla="*/ 37 h 37"/>
                    <a:gd name="T2" fmla="*/ 19 w 269"/>
                    <a:gd name="T3" fmla="*/ 37 h 37"/>
                    <a:gd name="T4" fmla="*/ 0 w 269"/>
                    <a:gd name="T5" fmla="*/ 19 h 37"/>
                    <a:gd name="T6" fmla="*/ 0 w 269"/>
                    <a:gd name="T7" fmla="*/ 19 h 37"/>
                    <a:gd name="T8" fmla="*/ 19 w 269"/>
                    <a:gd name="T9" fmla="*/ 0 h 37"/>
                    <a:gd name="T10" fmla="*/ 251 w 269"/>
                    <a:gd name="T11" fmla="*/ 0 h 37"/>
                    <a:gd name="T12" fmla="*/ 269 w 269"/>
                    <a:gd name="T13" fmla="*/ 19 h 37"/>
                    <a:gd name="T14" fmla="*/ 269 w 269"/>
                    <a:gd name="T15" fmla="*/ 19 h 37"/>
                    <a:gd name="T16" fmla="*/ 251 w 269"/>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37">
                      <a:moveTo>
                        <a:pt x="251" y="37"/>
                      </a:moveTo>
                      <a:cubicBezTo>
                        <a:pt x="19" y="37"/>
                        <a:pt x="19" y="37"/>
                        <a:pt x="19" y="37"/>
                      </a:cubicBezTo>
                      <a:cubicBezTo>
                        <a:pt x="8" y="37"/>
                        <a:pt x="0" y="29"/>
                        <a:pt x="0" y="19"/>
                      </a:cubicBezTo>
                      <a:cubicBezTo>
                        <a:pt x="0" y="19"/>
                        <a:pt x="0" y="19"/>
                        <a:pt x="0" y="19"/>
                      </a:cubicBezTo>
                      <a:cubicBezTo>
                        <a:pt x="0" y="9"/>
                        <a:pt x="8" y="0"/>
                        <a:pt x="19" y="0"/>
                      </a:cubicBezTo>
                      <a:cubicBezTo>
                        <a:pt x="251" y="0"/>
                        <a:pt x="251" y="0"/>
                        <a:pt x="251" y="0"/>
                      </a:cubicBezTo>
                      <a:cubicBezTo>
                        <a:pt x="261" y="0"/>
                        <a:pt x="269" y="9"/>
                        <a:pt x="269" y="19"/>
                      </a:cubicBezTo>
                      <a:cubicBezTo>
                        <a:pt x="269" y="19"/>
                        <a:pt x="269" y="19"/>
                        <a:pt x="269" y="19"/>
                      </a:cubicBezTo>
                      <a:cubicBezTo>
                        <a:pt x="269" y="29"/>
                        <a:pt x="261" y="37"/>
                        <a:pt x="25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93" name="Freeform 35">
                  <a:extLst>
                    <a:ext uri="{FF2B5EF4-FFF2-40B4-BE49-F238E27FC236}">
                      <a16:creationId xmlns:a16="http://schemas.microsoft.com/office/drawing/2014/main" id="{BC34A159-F4A7-4975-B86F-654CBA4D182F}"/>
                    </a:ext>
                  </a:extLst>
                </p:cNvPr>
                <p:cNvSpPr>
                  <a:spLocks/>
                </p:cNvSpPr>
                <p:nvPr/>
              </p:nvSpPr>
              <p:spPr bwMode="auto">
                <a:xfrm>
                  <a:off x="7264057" y="3515254"/>
                  <a:ext cx="386139" cy="61147"/>
                </a:xfrm>
                <a:custGeom>
                  <a:avLst/>
                  <a:gdLst>
                    <a:gd name="T0" fmla="*/ 251 w 269"/>
                    <a:gd name="T1" fmla="*/ 37 h 37"/>
                    <a:gd name="T2" fmla="*/ 19 w 269"/>
                    <a:gd name="T3" fmla="*/ 37 h 37"/>
                    <a:gd name="T4" fmla="*/ 0 w 269"/>
                    <a:gd name="T5" fmla="*/ 19 h 37"/>
                    <a:gd name="T6" fmla="*/ 0 w 269"/>
                    <a:gd name="T7" fmla="*/ 19 h 37"/>
                    <a:gd name="T8" fmla="*/ 19 w 269"/>
                    <a:gd name="T9" fmla="*/ 0 h 37"/>
                    <a:gd name="T10" fmla="*/ 251 w 269"/>
                    <a:gd name="T11" fmla="*/ 0 h 37"/>
                    <a:gd name="T12" fmla="*/ 269 w 269"/>
                    <a:gd name="T13" fmla="*/ 19 h 37"/>
                    <a:gd name="T14" fmla="*/ 269 w 269"/>
                    <a:gd name="T15" fmla="*/ 19 h 37"/>
                    <a:gd name="T16" fmla="*/ 251 w 269"/>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37">
                      <a:moveTo>
                        <a:pt x="251" y="37"/>
                      </a:moveTo>
                      <a:cubicBezTo>
                        <a:pt x="19" y="37"/>
                        <a:pt x="19" y="37"/>
                        <a:pt x="19" y="37"/>
                      </a:cubicBezTo>
                      <a:cubicBezTo>
                        <a:pt x="8" y="37"/>
                        <a:pt x="0" y="29"/>
                        <a:pt x="0" y="19"/>
                      </a:cubicBezTo>
                      <a:cubicBezTo>
                        <a:pt x="0" y="19"/>
                        <a:pt x="0" y="19"/>
                        <a:pt x="0" y="19"/>
                      </a:cubicBezTo>
                      <a:cubicBezTo>
                        <a:pt x="0" y="9"/>
                        <a:pt x="8" y="0"/>
                        <a:pt x="19" y="0"/>
                      </a:cubicBezTo>
                      <a:cubicBezTo>
                        <a:pt x="251" y="0"/>
                        <a:pt x="251" y="0"/>
                        <a:pt x="251" y="0"/>
                      </a:cubicBezTo>
                      <a:cubicBezTo>
                        <a:pt x="261" y="0"/>
                        <a:pt x="269" y="9"/>
                        <a:pt x="269" y="19"/>
                      </a:cubicBezTo>
                      <a:cubicBezTo>
                        <a:pt x="269" y="19"/>
                        <a:pt x="269" y="19"/>
                        <a:pt x="269" y="19"/>
                      </a:cubicBezTo>
                      <a:cubicBezTo>
                        <a:pt x="269" y="29"/>
                        <a:pt x="261" y="37"/>
                        <a:pt x="25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94" name="Freeform 36">
                  <a:extLst>
                    <a:ext uri="{FF2B5EF4-FFF2-40B4-BE49-F238E27FC236}">
                      <a16:creationId xmlns:a16="http://schemas.microsoft.com/office/drawing/2014/main" id="{8CF38E48-4DAA-4F45-B5F2-C1E6A6BE6BB5}"/>
                    </a:ext>
                  </a:extLst>
                </p:cNvPr>
                <p:cNvSpPr>
                  <a:spLocks/>
                </p:cNvSpPr>
                <p:nvPr/>
              </p:nvSpPr>
              <p:spPr bwMode="auto">
                <a:xfrm>
                  <a:off x="7264057" y="3637547"/>
                  <a:ext cx="386139" cy="61147"/>
                </a:xfrm>
                <a:custGeom>
                  <a:avLst/>
                  <a:gdLst>
                    <a:gd name="T0" fmla="*/ 251 w 269"/>
                    <a:gd name="T1" fmla="*/ 37 h 37"/>
                    <a:gd name="T2" fmla="*/ 19 w 269"/>
                    <a:gd name="T3" fmla="*/ 37 h 37"/>
                    <a:gd name="T4" fmla="*/ 0 w 269"/>
                    <a:gd name="T5" fmla="*/ 19 h 37"/>
                    <a:gd name="T6" fmla="*/ 0 w 269"/>
                    <a:gd name="T7" fmla="*/ 19 h 37"/>
                    <a:gd name="T8" fmla="*/ 19 w 269"/>
                    <a:gd name="T9" fmla="*/ 0 h 37"/>
                    <a:gd name="T10" fmla="*/ 251 w 269"/>
                    <a:gd name="T11" fmla="*/ 0 h 37"/>
                    <a:gd name="T12" fmla="*/ 269 w 269"/>
                    <a:gd name="T13" fmla="*/ 19 h 37"/>
                    <a:gd name="T14" fmla="*/ 269 w 269"/>
                    <a:gd name="T15" fmla="*/ 19 h 37"/>
                    <a:gd name="T16" fmla="*/ 251 w 269"/>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37">
                      <a:moveTo>
                        <a:pt x="251" y="37"/>
                      </a:moveTo>
                      <a:cubicBezTo>
                        <a:pt x="19" y="37"/>
                        <a:pt x="19" y="37"/>
                        <a:pt x="19" y="37"/>
                      </a:cubicBezTo>
                      <a:cubicBezTo>
                        <a:pt x="8" y="37"/>
                        <a:pt x="0" y="29"/>
                        <a:pt x="0" y="19"/>
                      </a:cubicBezTo>
                      <a:cubicBezTo>
                        <a:pt x="0" y="19"/>
                        <a:pt x="0" y="19"/>
                        <a:pt x="0" y="19"/>
                      </a:cubicBezTo>
                      <a:cubicBezTo>
                        <a:pt x="0" y="9"/>
                        <a:pt x="8" y="0"/>
                        <a:pt x="19" y="0"/>
                      </a:cubicBezTo>
                      <a:cubicBezTo>
                        <a:pt x="251" y="0"/>
                        <a:pt x="251" y="0"/>
                        <a:pt x="251" y="0"/>
                      </a:cubicBezTo>
                      <a:cubicBezTo>
                        <a:pt x="261" y="0"/>
                        <a:pt x="269" y="9"/>
                        <a:pt x="269" y="19"/>
                      </a:cubicBezTo>
                      <a:cubicBezTo>
                        <a:pt x="269" y="19"/>
                        <a:pt x="269" y="19"/>
                        <a:pt x="269" y="19"/>
                      </a:cubicBezTo>
                      <a:cubicBezTo>
                        <a:pt x="269" y="29"/>
                        <a:pt x="261" y="37"/>
                        <a:pt x="25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95" name="Oval 38">
                  <a:extLst>
                    <a:ext uri="{FF2B5EF4-FFF2-40B4-BE49-F238E27FC236}">
                      <a16:creationId xmlns:a16="http://schemas.microsoft.com/office/drawing/2014/main" id="{3DCA5010-331E-4F37-9B89-A824677FCCF0}"/>
                    </a:ext>
                  </a:extLst>
                </p:cNvPr>
                <p:cNvSpPr>
                  <a:spLocks noChangeArrowheads="1"/>
                </p:cNvSpPr>
                <p:nvPr/>
              </p:nvSpPr>
              <p:spPr bwMode="auto">
                <a:xfrm>
                  <a:off x="7131063" y="3379202"/>
                  <a:ext cx="87134" cy="87134"/>
                </a:xfrm>
                <a:prstGeom prst="ellipse">
                  <a:avLst/>
                </a:prstGeom>
                <a:grp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96" name="Freeform 39">
                  <a:extLst>
                    <a:ext uri="{FF2B5EF4-FFF2-40B4-BE49-F238E27FC236}">
                      <a16:creationId xmlns:a16="http://schemas.microsoft.com/office/drawing/2014/main" id="{E16F358A-3673-43C6-94E1-797B8E614535}"/>
                    </a:ext>
                  </a:extLst>
                </p:cNvPr>
                <p:cNvSpPr>
                  <a:spLocks/>
                </p:cNvSpPr>
                <p:nvPr/>
              </p:nvSpPr>
              <p:spPr bwMode="auto">
                <a:xfrm>
                  <a:off x="7144821" y="3383788"/>
                  <a:ext cx="81020" cy="56561"/>
                </a:xfrm>
                <a:custGeom>
                  <a:avLst/>
                  <a:gdLst>
                    <a:gd name="T0" fmla="*/ 19 w 49"/>
                    <a:gd name="T1" fmla="*/ 34 h 34"/>
                    <a:gd name="T2" fmla="*/ 16 w 49"/>
                    <a:gd name="T3" fmla="*/ 33 h 34"/>
                    <a:gd name="T4" fmla="*/ 0 w 49"/>
                    <a:gd name="T5" fmla="*/ 17 h 34"/>
                    <a:gd name="T6" fmla="*/ 7 w 49"/>
                    <a:gd name="T7" fmla="*/ 10 h 34"/>
                    <a:gd name="T8" fmla="*/ 19 w 49"/>
                    <a:gd name="T9" fmla="*/ 23 h 34"/>
                    <a:gd name="T10" fmla="*/ 42 w 49"/>
                    <a:gd name="T11" fmla="*/ 0 h 34"/>
                    <a:gd name="T12" fmla="*/ 49 w 49"/>
                    <a:gd name="T13" fmla="*/ 7 h 34"/>
                    <a:gd name="T14" fmla="*/ 23 w 49"/>
                    <a:gd name="T15" fmla="*/ 33 h 34"/>
                    <a:gd name="T16" fmla="*/ 19 w 49"/>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34">
                      <a:moveTo>
                        <a:pt x="19" y="34"/>
                      </a:moveTo>
                      <a:cubicBezTo>
                        <a:pt x="18" y="34"/>
                        <a:pt x="17" y="34"/>
                        <a:pt x="16" y="33"/>
                      </a:cubicBezTo>
                      <a:cubicBezTo>
                        <a:pt x="0" y="17"/>
                        <a:pt x="0" y="17"/>
                        <a:pt x="0" y="17"/>
                      </a:cubicBezTo>
                      <a:cubicBezTo>
                        <a:pt x="7" y="10"/>
                        <a:pt x="7" y="10"/>
                        <a:pt x="7" y="10"/>
                      </a:cubicBezTo>
                      <a:cubicBezTo>
                        <a:pt x="19" y="23"/>
                        <a:pt x="19" y="23"/>
                        <a:pt x="19" y="23"/>
                      </a:cubicBezTo>
                      <a:cubicBezTo>
                        <a:pt x="42" y="0"/>
                        <a:pt x="42" y="0"/>
                        <a:pt x="42" y="0"/>
                      </a:cubicBezTo>
                      <a:cubicBezTo>
                        <a:pt x="49" y="7"/>
                        <a:pt x="49" y="7"/>
                        <a:pt x="49" y="7"/>
                      </a:cubicBezTo>
                      <a:cubicBezTo>
                        <a:pt x="23" y="33"/>
                        <a:pt x="23" y="33"/>
                        <a:pt x="23" y="33"/>
                      </a:cubicBezTo>
                      <a:cubicBezTo>
                        <a:pt x="22" y="34"/>
                        <a:pt x="21" y="34"/>
                        <a:pt x="19" y="34"/>
                      </a:cubicBezTo>
                      <a:close/>
                    </a:path>
                  </a:pathLst>
                </a:custGeom>
                <a:grp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97" name="Oval 40">
                  <a:extLst>
                    <a:ext uri="{FF2B5EF4-FFF2-40B4-BE49-F238E27FC236}">
                      <a16:creationId xmlns:a16="http://schemas.microsoft.com/office/drawing/2014/main" id="{18612613-D36F-4CDC-9C7D-2A058ED3B32A}"/>
                    </a:ext>
                  </a:extLst>
                </p:cNvPr>
                <p:cNvSpPr>
                  <a:spLocks noChangeArrowheads="1"/>
                </p:cNvSpPr>
                <p:nvPr/>
              </p:nvSpPr>
              <p:spPr bwMode="auto">
                <a:xfrm>
                  <a:off x="7131063" y="3501496"/>
                  <a:ext cx="87134" cy="87134"/>
                </a:xfrm>
                <a:prstGeom prst="ellipse">
                  <a:avLst/>
                </a:prstGeom>
                <a:grp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98" name="Freeform 41">
                  <a:extLst>
                    <a:ext uri="{FF2B5EF4-FFF2-40B4-BE49-F238E27FC236}">
                      <a16:creationId xmlns:a16="http://schemas.microsoft.com/office/drawing/2014/main" id="{71E28DE4-7566-4C98-A6F9-66CAFF7019A0}"/>
                    </a:ext>
                  </a:extLst>
                </p:cNvPr>
                <p:cNvSpPr>
                  <a:spLocks/>
                </p:cNvSpPr>
                <p:nvPr/>
              </p:nvSpPr>
              <p:spPr bwMode="auto">
                <a:xfrm>
                  <a:off x="7144821" y="3506082"/>
                  <a:ext cx="81020" cy="56561"/>
                </a:xfrm>
                <a:custGeom>
                  <a:avLst/>
                  <a:gdLst>
                    <a:gd name="T0" fmla="*/ 19 w 49"/>
                    <a:gd name="T1" fmla="*/ 34 h 34"/>
                    <a:gd name="T2" fmla="*/ 16 w 49"/>
                    <a:gd name="T3" fmla="*/ 33 h 34"/>
                    <a:gd name="T4" fmla="*/ 0 w 49"/>
                    <a:gd name="T5" fmla="*/ 17 h 34"/>
                    <a:gd name="T6" fmla="*/ 7 w 49"/>
                    <a:gd name="T7" fmla="*/ 10 h 34"/>
                    <a:gd name="T8" fmla="*/ 19 w 49"/>
                    <a:gd name="T9" fmla="*/ 23 h 34"/>
                    <a:gd name="T10" fmla="*/ 42 w 49"/>
                    <a:gd name="T11" fmla="*/ 0 h 34"/>
                    <a:gd name="T12" fmla="*/ 49 w 49"/>
                    <a:gd name="T13" fmla="*/ 7 h 34"/>
                    <a:gd name="T14" fmla="*/ 23 w 49"/>
                    <a:gd name="T15" fmla="*/ 33 h 34"/>
                    <a:gd name="T16" fmla="*/ 19 w 49"/>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34">
                      <a:moveTo>
                        <a:pt x="19" y="34"/>
                      </a:moveTo>
                      <a:cubicBezTo>
                        <a:pt x="18" y="34"/>
                        <a:pt x="17" y="34"/>
                        <a:pt x="16" y="33"/>
                      </a:cubicBezTo>
                      <a:cubicBezTo>
                        <a:pt x="0" y="17"/>
                        <a:pt x="0" y="17"/>
                        <a:pt x="0" y="17"/>
                      </a:cubicBezTo>
                      <a:cubicBezTo>
                        <a:pt x="7" y="10"/>
                        <a:pt x="7" y="10"/>
                        <a:pt x="7" y="10"/>
                      </a:cubicBezTo>
                      <a:cubicBezTo>
                        <a:pt x="19" y="23"/>
                        <a:pt x="19" y="23"/>
                        <a:pt x="19" y="23"/>
                      </a:cubicBezTo>
                      <a:cubicBezTo>
                        <a:pt x="42" y="0"/>
                        <a:pt x="42" y="0"/>
                        <a:pt x="42" y="0"/>
                      </a:cubicBezTo>
                      <a:cubicBezTo>
                        <a:pt x="49" y="7"/>
                        <a:pt x="49" y="7"/>
                        <a:pt x="49" y="7"/>
                      </a:cubicBezTo>
                      <a:cubicBezTo>
                        <a:pt x="23" y="33"/>
                        <a:pt x="23" y="33"/>
                        <a:pt x="23" y="33"/>
                      </a:cubicBezTo>
                      <a:cubicBezTo>
                        <a:pt x="22" y="34"/>
                        <a:pt x="21" y="34"/>
                        <a:pt x="19" y="34"/>
                      </a:cubicBezTo>
                      <a:close/>
                    </a:path>
                  </a:pathLst>
                </a:custGeom>
                <a:grp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grpSp>
        <p:nvGrpSpPr>
          <p:cNvPr id="513" name="Group 512">
            <a:extLst>
              <a:ext uri="{FF2B5EF4-FFF2-40B4-BE49-F238E27FC236}">
                <a16:creationId xmlns:a16="http://schemas.microsoft.com/office/drawing/2014/main" id="{F6B37E1A-8475-4217-82CE-40492511E009}"/>
              </a:ext>
            </a:extLst>
          </p:cNvPr>
          <p:cNvGrpSpPr>
            <a:grpSpLocks noChangeAspect="1"/>
          </p:cNvGrpSpPr>
          <p:nvPr/>
        </p:nvGrpSpPr>
        <p:grpSpPr>
          <a:xfrm>
            <a:off x="4269136" y="4759759"/>
            <a:ext cx="914141" cy="914141"/>
            <a:chOff x="1930400" y="2443403"/>
            <a:chExt cx="1487170" cy="1487170"/>
          </a:xfrm>
        </p:grpSpPr>
        <p:sp>
          <p:nvSpPr>
            <p:cNvPr id="514" name="Oval 513">
              <a:extLst>
                <a:ext uri="{FF2B5EF4-FFF2-40B4-BE49-F238E27FC236}">
                  <a16:creationId xmlns:a16="http://schemas.microsoft.com/office/drawing/2014/main" id="{8EE3E172-A16A-49FD-94F1-8AE146F351B9}"/>
                </a:ext>
              </a:extLst>
            </p:cNvPr>
            <p:cNvSpPr/>
            <p:nvPr/>
          </p:nvSpPr>
          <p:spPr bwMode="auto">
            <a:xfrm>
              <a:off x="1930400" y="2443403"/>
              <a:ext cx="1487170" cy="1487170"/>
            </a:xfrm>
            <a:prstGeom prst="ellipse">
              <a:avLst/>
            </a:prstGeom>
            <a:solidFill>
              <a:srgbClr val="FFFFFF"/>
            </a:solidFill>
            <a:ln w="9525" cap="flat" cmpd="sng" algn="ctr">
              <a:noFill/>
              <a:prstDash val="solid"/>
            </a:ln>
            <a:effectLst>
              <a:outerShdw blurRad="190500" dist="50800" dir="2700000" sx="101000" sy="101000" algn="tl" rotWithShape="0">
                <a:prstClr val="black">
                  <a:alpha val="25000"/>
                </a:prstClr>
              </a:outerShdw>
            </a:effectLst>
          </p:spPr>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5" name="Group 514">
              <a:extLst>
                <a:ext uri="{FF2B5EF4-FFF2-40B4-BE49-F238E27FC236}">
                  <a16:creationId xmlns:a16="http://schemas.microsoft.com/office/drawing/2014/main" id="{7752D10E-3AC8-435F-9F4F-7C546E7F7D0F}"/>
                </a:ext>
              </a:extLst>
            </p:cNvPr>
            <p:cNvGrpSpPr/>
            <p:nvPr/>
          </p:nvGrpSpPr>
          <p:grpSpPr>
            <a:xfrm>
              <a:off x="2441424" y="2828985"/>
              <a:ext cx="465122" cy="716006"/>
              <a:chOff x="3405808" y="3173125"/>
              <a:chExt cx="323811" cy="498475"/>
            </a:xfrm>
          </p:grpSpPr>
          <p:grpSp>
            <p:nvGrpSpPr>
              <p:cNvPr id="516" name="Group 515">
                <a:extLst>
                  <a:ext uri="{FF2B5EF4-FFF2-40B4-BE49-F238E27FC236}">
                    <a16:creationId xmlns:a16="http://schemas.microsoft.com/office/drawing/2014/main" id="{7E513AE4-BBD9-4B54-9CBF-7D1DAE633F23}"/>
                  </a:ext>
                </a:extLst>
              </p:cNvPr>
              <p:cNvGrpSpPr/>
              <p:nvPr/>
            </p:nvGrpSpPr>
            <p:grpSpPr>
              <a:xfrm>
                <a:off x="3405808" y="3173125"/>
                <a:ext cx="323811" cy="498475"/>
                <a:chOff x="5964276" y="3176588"/>
                <a:chExt cx="323811" cy="498475"/>
              </a:xfrm>
            </p:grpSpPr>
            <p:grpSp>
              <p:nvGrpSpPr>
                <p:cNvPr id="520" name="Group 4">
                  <a:extLst>
                    <a:ext uri="{FF2B5EF4-FFF2-40B4-BE49-F238E27FC236}">
                      <a16:creationId xmlns:a16="http://schemas.microsoft.com/office/drawing/2014/main" id="{FB5163CA-2889-460F-B915-D352838636EC}"/>
                    </a:ext>
                  </a:extLst>
                </p:cNvPr>
                <p:cNvGrpSpPr>
                  <a:grpSpLocks noChangeAspect="1"/>
                </p:cNvGrpSpPr>
                <p:nvPr/>
              </p:nvGrpSpPr>
              <p:grpSpPr bwMode="auto">
                <a:xfrm flipV="1">
                  <a:off x="5964276" y="3197229"/>
                  <a:ext cx="76200" cy="465138"/>
                  <a:chOff x="3757" y="2014"/>
                  <a:chExt cx="48" cy="293"/>
                </a:xfrm>
              </p:grpSpPr>
              <p:sp>
                <p:nvSpPr>
                  <p:cNvPr id="522" name="Rectangle 5">
                    <a:extLst>
                      <a:ext uri="{FF2B5EF4-FFF2-40B4-BE49-F238E27FC236}">
                        <a16:creationId xmlns:a16="http://schemas.microsoft.com/office/drawing/2014/main" id="{3D2A67E7-36AE-4421-96E7-B98AC85FB37F}"/>
                      </a:ext>
                    </a:extLst>
                  </p:cNvPr>
                  <p:cNvSpPr>
                    <a:spLocks noChangeArrowheads="1"/>
                  </p:cNvSpPr>
                  <p:nvPr/>
                </p:nvSpPr>
                <p:spPr bwMode="auto">
                  <a:xfrm>
                    <a:off x="3774" y="2124"/>
                    <a:ext cx="14" cy="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23" name="Rectangle 6">
                    <a:extLst>
                      <a:ext uri="{FF2B5EF4-FFF2-40B4-BE49-F238E27FC236}">
                        <a16:creationId xmlns:a16="http://schemas.microsoft.com/office/drawing/2014/main" id="{85D5D0FA-4AE2-4A08-9757-3A0EC6ACAE7D}"/>
                      </a:ext>
                    </a:extLst>
                  </p:cNvPr>
                  <p:cNvSpPr>
                    <a:spLocks noChangeArrowheads="1"/>
                  </p:cNvSpPr>
                  <p:nvPr/>
                </p:nvSpPr>
                <p:spPr bwMode="auto">
                  <a:xfrm>
                    <a:off x="3774" y="2124"/>
                    <a:ext cx="14" cy="157"/>
                  </a:xfrm>
                  <a:prstGeom prst="rect">
                    <a:avLst/>
                  </a:prstGeom>
                  <a:solidFill>
                    <a:srgbClr val="75757A"/>
                  </a:solidFill>
                  <a:ln w="9525">
                    <a:solidFill>
                      <a:srgbClr val="75757A"/>
                    </a:solidFill>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24" name="Freeform 7">
                    <a:extLst>
                      <a:ext uri="{FF2B5EF4-FFF2-40B4-BE49-F238E27FC236}">
                        <a16:creationId xmlns:a16="http://schemas.microsoft.com/office/drawing/2014/main" id="{B9DF32BE-4FE9-481D-90AD-13527C2EBE44}"/>
                      </a:ext>
                    </a:extLst>
                  </p:cNvPr>
                  <p:cNvSpPr>
                    <a:spLocks/>
                  </p:cNvSpPr>
                  <p:nvPr/>
                </p:nvSpPr>
                <p:spPr bwMode="auto">
                  <a:xfrm>
                    <a:off x="3757" y="2014"/>
                    <a:ext cx="48" cy="141"/>
                  </a:xfrm>
                  <a:custGeom>
                    <a:avLst/>
                    <a:gdLst>
                      <a:gd name="T0" fmla="*/ 0 w 50"/>
                      <a:gd name="T1" fmla="*/ 58 h 190"/>
                      <a:gd name="T2" fmla="*/ 0 w 50"/>
                      <a:gd name="T3" fmla="*/ 190 h 190"/>
                      <a:gd name="T4" fmla="*/ 50 w 50"/>
                      <a:gd name="T5" fmla="*/ 190 h 190"/>
                      <a:gd name="T6" fmla="*/ 50 w 50"/>
                      <a:gd name="T7" fmla="*/ 58 h 190"/>
                      <a:gd name="T8" fmla="*/ 40 w 50"/>
                      <a:gd name="T9" fmla="*/ 44 h 190"/>
                      <a:gd name="T10" fmla="*/ 50 w 50"/>
                      <a:gd name="T11" fmla="*/ 29 h 190"/>
                      <a:gd name="T12" fmla="*/ 50 w 50"/>
                      <a:gd name="T13" fmla="*/ 20 h 190"/>
                      <a:gd name="T14" fmla="*/ 29 w 50"/>
                      <a:gd name="T15" fmla="*/ 0 h 190"/>
                      <a:gd name="T16" fmla="*/ 20 w 50"/>
                      <a:gd name="T17" fmla="*/ 0 h 190"/>
                      <a:gd name="T18" fmla="*/ 0 w 50"/>
                      <a:gd name="T19" fmla="*/ 20 h 190"/>
                      <a:gd name="T20" fmla="*/ 0 w 50"/>
                      <a:gd name="T21" fmla="*/ 29 h 190"/>
                      <a:gd name="T22" fmla="*/ 10 w 50"/>
                      <a:gd name="T23" fmla="*/ 44 h 190"/>
                      <a:gd name="T24" fmla="*/ 0 w 50"/>
                      <a:gd name="T25" fmla="*/ 5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90">
                        <a:moveTo>
                          <a:pt x="0" y="58"/>
                        </a:moveTo>
                        <a:cubicBezTo>
                          <a:pt x="0" y="190"/>
                          <a:pt x="0" y="190"/>
                          <a:pt x="0" y="190"/>
                        </a:cubicBezTo>
                        <a:cubicBezTo>
                          <a:pt x="50" y="190"/>
                          <a:pt x="50" y="190"/>
                          <a:pt x="50" y="190"/>
                        </a:cubicBezTo>
                        <a:cubicBezTo>
                          <a:pt x="50" y="58"/>
                          <a:pt x="50" y="58"/>
                          <a:pt x="50" y="58"/>
                        </a:cubicBezTo>
                        <a:cubicBezTo>
                          <a:pt x="44" y="56"/>
                          <a:pt x="40" y="50"/>
                          <a:pt x="40" y="44"/>
                        </a:cubicBezTo>
                        <a:cubicBezTo>
                          <a:pt x="40" y="37"/>
                          <a:pt x="44" y="31"/>
                          <a:pt x="50" y="29"/>
                        </a:cubicBezTo>
                        <a:cubicBezTo>
                          <a:pt x="50" y="20"/>
                          <a:pt x="50" y="20"/>
                          <a:pt x="50" y="20"/>
                        </a:cubicBezTo>
                        <a:cubicBezTo>
                          <a:pt x="50" y="9"/>
                          <a:pt x="41" y="0"/>
                          <a:pt x="29" y="0"/>
                        </a:cubicBezTo>
                        <a:cubicBezTo>
                          <a:pt x="20" y="0"/>
                          <a:pt x="20" y="0"/>
                          <a:pt x="20" y="0"/>
                        </a:cubicBezTo>
                        <a:cubicBezTo>
                          <a:pt x="9" y="0"/>
                          <a:pt x="0" y="9"/>
                          <a:pt x="0" y="20"/>
                        </a:cubicBezTo>
                        <a:cubicBezTo>
                          <a:pt x="0" y="29"/>
                          <a:pt x="0" y="29"/>
                          <a:pt x="0" y="29"/>
                        </a:cubicBezTo>
                        <a:cubicBezTo>
                          <a:pt x="5" y="31"/>
                          <a:pt x="10" y="37"/>
                          <a:pt x="10" y="44"/>
                        </a:cubicBezTo>
                        <a:cubicBezTo>
                          <a:pt x="10" y="50"/>
                          <a:pt x="5" y="56"/>
                          <a:pt x="0" y="58"/>
                        </a:cubicBezTo>
                        <a:close/>
                      </a:path>
                    </a:pathLst>
                  </a:custGeom>
                  <a:solidFill>
                    <a:srgbClr val="FF3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25" name="Freeform 8">
                    <a:extLst>
                      <a:ext uri="{FF2B5EF4-FFF2-40B4-BE49-F238E27FC236}">
                        <a16:creationId xmlns:a16="http://schemas.microsoft.com/office/drawing/2014/main" id="{FA142DF7-5F5F-43B7-A213-B8D0FD574E85}"/>
                      </a:ext>
                    </a:extLst>
                  </p:cNvPr>
                  <p:cNvSpPr>
                    <a:spLocks/>
                  </p:cNvSpPr>
                  <p:nvPr/>
                </p:nvSpPr>
                <p:spPr bwMode="auto">
                  <a:xfrm>
                    <a:off x="3757" y="2014"/>
                    <a:ext cx="48" cy="141"/>
                  </a:xfrm>
                  <a:custGeom>
                    <a:avLst/>
                    <a:gdLst>
                      <a:gd name="T0" fmla="*/ 0 w 50"/>
                      <a:gd name="T1" fmla="*/ 58 h 190"/>
                      <a:gd name="T2" fmla="*/ 0 w 50"/>
                      <a:gd name="T3" fmla="*/ 190 h 190"/>
                      <a:gd name="T4" fmla="*/ 50 w 50"/>
                      <a:gd name="T5" fmla="*/ 190 h 190"/>
                      <a:gd name="T6" fmla="*/ 50 w 50"/>
                      <a:gd name="T7" fmla="*/ 58 h 190"/>
                      <a:gd name="T8" fmla="*/ 40 w 50"/>
                      <a:gd name="T9" fmla="*/ 44 h 190"/>
                      <a:gd name="T10" fmla="*/ 50 w 50"/>
                      <a:gd name="T11" fmla="*/ 29 h 190"/>
                      <a:gd name="T12" fmla="*/ 50 w 50"/>
                      <a:gd name="T13" fmla="*/ 20 h 190"/>
                      <a:gd name="T14" fmla="*/ 29 w 50"/>
                      <a:gd name="T15" fmla="*/ 0 h 190"/>
                      <a:gd name="T16" fmla="*/ 20 w 50"/>
                      <a:gd name="T17" fmla="*/ 0 h 190"/>
                      <a:gd name="T18" fmla="*/ 0 w 50"/>
                      <a:gd name="T19" fmla="*/ 20 h 190"/>
                      <a:gd name="T20" fmla="*/ 0 w 50"/>
                      <a:gd name="T21" fmla="*/ 29 h 190"/>
                      <a:gd name="T22" fmla="*/ 10 w 50"/>
                      <a:gd name="T23" fmla="*/ 44 h 190"/>
                      <a:gd name="T24" fmla="*/ 0 w 50"/>
                      <a:gd name="T25" fmla="*/ 5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90">
                        <a:moveTo>
                          <a:pt x="0" y="58"/>
                        </a:moveTo>
                        <a:cubicBezTo>
                          <a:pt x="0" y="190"/>
                          <a:pt x="0" y="190"/>
                          <a:pt x="0" y="190"/>
                        </a:cubicBezTo>
                        <a:cubicBezTo>
                          <a:pt x="50" y="190"/>
                          <a:pt x="50" y="190"/>
                          <a:pt x="50" y="190"/>
                        </a:cubicBezTo>
                        <a:cubicBezTo>
                          <a:pt x="50" y="58"/>
                          <a:pt x="50" y="58"/>
                          <a:pt x="50" y="58"/>
                        </a:cubicBezTo>
                        <a:cubicBezTo>
                          <a:pt x="44" y="56"/>
                          <a:pt x="40" y="50"/>
                          <a:pt x="40" y="44"/>
                        </a:cubicBezTo>
                        <a:cubicBezTo>
                          <a:pt x="40" y="37"/>
                          <a:pt x="44" y="31"/>
                          <a:pt x="50" y="29"/>
                        </a:cubicBezTo>
                        <a:cubicBezTo>
                          <a:pt x="50" y="20"/>
                          <a:pt x="50" y="20"/>
                          <a:pt x="50" y="20"/>
                        </a:cubicBezTo>
                        <a:cubicBezTo>
                          <a:pt x="50" y="9"/>
                          <a:pt x="41" y="0"/>
                          <a:pt x="29" y="0"/>
                        </a:cubicBezTo>
                        <a:cubicBezTo>
                          <a:pt x="20" y="0"/>
                          <a:pt x="20" y="0"/>
                          <a:pt x="20" y="0"/>
                        </a:cubicBezTo>
                        <a:cubicBezTo>
                          <a:pt x="9" y="0"/>
                          <a:pt x="0" y="9"/>
                          <a:pt x="0" y="20"/>
                        </a:cubicBezTo>
                        <a:cubicBezTo>
                          <a:pt x="0" y="29"/>
                          <a:pt x="0" y="29"/>
                          <a:pt x="0" y="29"/>
                        </a:cubicBezTo>
                        <a:cubicBezTo>
                          <a:pt x="5" y="31"/>
                          <a:pt x="10" y="37"/>
                          <a:pt x="10" y="44"/>
                        </a:cubicBezTo>
                        <a:cubicBezTo>
                          <a:pt x="10" y="50"/>
                          <a:pt x="5" y="56"/>
                          <a:pt x="0" y="58"/>
                        </a:cubicBezTo>
                        <a:close/>
                      </a:path>
                    </a:pathLst>
                  </a:custGeom>
                  <a:solidFill>
                    <a:srgbClr val="30E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26" name="Freeform 9">
                    <a:extLst>
                      <a:ext uri="{FF2B5EF4-FFF2-40B4-BE49-F238E27FC236}">
                        <a16:creationId xmlns:a16="http://schemas.microsoft.com/office/drawing/2014/main" id="{3CD5A1A4-0FDC-4F74-B019-5582E55CB089}"/>
                      </a:ext>
                    </a:extLst>
                  </p:cNvPr>
                  <p:cNvSpPr>
                    <a:spLocks/>
                  </p:cNvSpPr>
                  <p:nvPr/>
                </p:nvSpPr>
                <p:spPr bwMode="auto">
                  <a:xfrm>
                    <a:off x="3766" y="2014"/>
                    <a:ext cx="29" cy="22"/>
                  </a:xfrm>
                  <a:custGeom>
                    <a:avLst/>
                    <a:gdLst>
                      <a:gd name="T0" fmla="*/ 0 w 31"/>
                      <a:gd name="T1" fmla="*/ 30 h 30"/>
                      <a:gd name="T2" fmla="*/ 31 w 31"/>
                      <a:gd name="T3" fmla="*/ 30 h 30"/>
                      <a:gd name="T4" fmla="*/ 31 w 31"/>
                      <a:gd name="T5" fmla="*/ 3 h 30"/>
                      <a:gd name="T6" fmla="*/ 20 w 31"/>
                      <a:gd name="T7" fmla="*/ 0 h 30"/>
                      <a:gd name="T8" fmla="*/ 11 w 31"/>
                      <a:gd name="T9" fmla="*/ 0 h 30"/>
                      <a:gd name="T10" fmla="*/ 0 w 31"/>
                      <a:gd name="T11" fmla="*/ 3 h 30"/>
                      <a:gd name="T12" fmla="*/ 0 w 31"/>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31" h="30">
                        <a:moveTo>
                          <a:pt x="0" y="30"/>
                        </a:moveTo>
                        <a:cubicBezTo>
                          <a:pt x="31" y="30"/>
                          <a:pt x="31" y="30"/>
                          <a:pt x="31" y="30"/>
                        </a:cubicBezTo>
                        <a:cubicBezTo>
                          <a:pt x="31" y="3"/>
                          <a:pt x="31" y="3"/>
                          <a:pt x="31" y="3"/>
                        </a:cubicBezTo>
                        <a:cubicBezTo>
                          <a:pt x="28" y="1"/>
                          <a:pt x="24" y="0"/>
                          <a:pt x="20" y="0"/>
                        </a:cubicBezTo>
                        <a:cubicBezTo>
                          <a:pt x="11" y="0"/>
                          <a:pt x="11" y="0"/>
                          <a:pt x="11" y="0"/>
                        </a:cubicBezTo>
                        <a:cubicBezTo>
                          <a:pt x="7" y="0"/>
                          <a:pt x="3" y="1"/>
                          <a:pt x="0" y="3"/>
                        </a:cubicBezTo>
                        <a:lnTo>
                          <a:pt x="0" y="3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27" name="Rectangle 10">
                    <a:extLst>
                      <a:ext uri="{FF2B5EF4-FFF2-40B4-BE49-F238E27FC236}">
                        <a16:creationId xmlns:a16="http://schemas.microsoft.com/office/drawing/2014/main" id="{14B3CD29-AF39-4E7D-B7D7-D52420E76C2E}"/>
                      </a:ext>
                    </a:extLst>
                  </p:cNvPr>
                  <p:cNvSpPr>
                    <a:spLocks noChangeArrowheads="1"/>
                  </p:cNvSpPr>
                  <p:nvPr/>
                </p:nvSpPr>
                <p:spPr bwMode="auto">
                  <a:xfrm>
                    <a:off x="3766" y="2058"/>
                    <a:ext cx="29" cy="97"/>
                  </a:xfrm>
                  <a:prstGeom prst="rect">
                    <a:avLst/>
                  </a:prstGeom>
                  <a:solidFill>
                    <a:srgbClr val="3C3C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28" name="Freeform 11">
                    <a:extLst>
                      <a:ext uri="{FF2B5EF4-FFF2-40B4-BE49-F238E27FC236}">
                        <a16:creationId xmlns:a16="http://schemas.microsoft.com/office/drawing/2014/main" id="{E8734866-1924-4AF1-A120-E2F85A5D3E28}"/>
                      </a:ext>
                    </a:extLst>
                  </p:cNvPr>
                  <p:cNvSpPr>
                    <a:spLocks/>
                  </p:cNvSpPr>
                  <p:nvPr/>
                </p:nvSpPr>
                <p:spPr bwMode="auto">
                  <a:xfrm>
                    <a:off x="3774" y="2283"/>
                    <a:ext cx="14" cy="24"/>
                  </a:xfrm>
                  <a:custGeom>
                    <a:avLst/>
                    <a:gdLst>
                      <a:gd name="T0" fmla="*/ 12 w 14"/>
                      <a:gd name="T1" fmla="*/ 24 h 24"/>
                      <a:gd name="T2" fmla="*/ 1 w 14"/>
                      <a:gd name="T3" fmla="*/ 24 h 24"/>
                      <a:gd name="T4" fmla="*/ 0 w 14"/>
                      <a:gd name="T5" fmla="*/ 0 h 24"/>
                      <a:gd name="T6" fmla="*/ 14 w 14"/>
                      <a:gd name="T7" fmla="*/ 0 h 24"/>
                      <a:gd name="T8" fmla="*/ 12 w 14"/>
                      <a:gd name="T9" fmla="*/ 24 h 24"/>
                    </a:gdLst>
                    <a:ahLst/>
                    <a:cxnLst>
                      <a:cxn ang="0">
                        <a:pos x="T0" y="T1"/>
                      </a:cxn>
                      <a:cxn ang="0">
                        <a:pos x="T2" y="T3"/>
                      </a:cxn>
                      <a:cxn ang="0">
                        <a:pos x="T4" y="T5"/>
                      </a:cxn>
                      <a:cxn ang="0">
                        <a:pos x="T6" y="T7"/>
                      </a:cxn>
                      <a:cxn ang="0">
                        <a:pos x="T8" y="T9"/>
                      </a:cxn>
                    </a:cxnLst>
                    <a:rect l="0" t="0" r="r" b="b"/>
                    <a:pathLst>
                      <a:path w="14" h="24">
                        <a:moveTo>
                          <a:pt x="12" y="24"/>
                        </a:moveTo>
                        <a:lnTo>
                          <a:pt x="1" y="24"/>
                        </a:lnTo>
                        <a:lnTo>
                          <a:pt x="0" y="0"/>
                        </a:lnTo>
                        <a:lnTo>
                          <a:pt x="14" y="0"/>
                        </a:lnTo>
                        <a:lnTo>
                          <a:pt x="12" y="24"/>
                        </a:lnTo>
                        <a:close/>
                      </a:path>
                    </a:pathLst>
                  </a:custGeom>
                  <a:solidFill>
                    <a:srgbClr val="3C3C41"/>
                  </a:solidFill>
                  <a:ln w="9525">
                    <a:solidFill>
                      <a:srgbClr val="3C3C41"/>
                    </a:solidFill>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sp>
              <p:nvSpPr>
                <p:cNvPr id="521" name="Freeform 15">
                  <a:extLst>
                    <a:ext uri="{FF2B5EF4-FFF2-40B4-BE49-F238E27FC236}">
                      <a16:creationId xmlns:a16="http://schemas.microsoft.com/office/drawing/2014/main" id="{026FF97A-398B-41A1-927B-6BA373818F7C}"/>
                    </a:ext>
                  </a:extLst>
                </p:cNvPr>
                <p:cNvSpPr>
                  <a:spLocks noEditPoints="1"/>
                </p:cNvSpPr>
                <p:nvPr/>
              </p:nvSpPr>
              <p:spPr bwMode="auto">
                <a:xfrm flipV="1">
                  <a:off x="6140450" y="3176588"/>
                  <a:ext cx="147637" cy="498475"/>
                </a:xfrm>
                <a:custGeom>
                  <a:avLst/>
                  <a:gdLst>
                    <a:gd name="T0" fmla="*/ 55 w 73"/>
                    <a:gd name="T1" fmla="*/ 190 h 255"/>
                    <a:gd name="T2" fmla="*/ 55 w 73"/>
                    <a:gd name="T3" fmla="*/ 68 h 255"/>
                    <a:gd name="T4" fmla="*/ 73 w 73"/>
                    <a:gd name="T5" fmla="*/ 37 h 255"/>
                    <a:gd name="T6" fmla="*/ 36 w 73"/>
                    <a:gd name="T7" fmla="*/ 0 h 255"/>
                    <a:gd name="T8" fmla="*/ 0 w 73"/>
                    <a:gd name="T9" fmla="*/ 37 h 255"/>
                    <a:gd name="T10" fmla="*/ 18 w 73"/>
                    <a:gd name="T11" fmla="*/ 68 h 255"/>
                    <a:gd name="T12" fmla="*/ 18 w 73"/>
                    <a:gd name="T13" fmla="*/ 190 h 255"/>
                    <a:gd name="T14" fmla="*/ 0 w 73"/>
                    <a:gd name="T15" fmla="*/ 221 h 255"/>
                    <a:gd name="T16" fmla="*/ 22 w 73"/>
                    <a:gd name="T17" fmla="*/ 255 h 255"/>
                    <a:gd name="T18" fmla="*/ 22 w 73"/>
                    <a:gd name="T19" fmla="*/ 212 h 255"/>
                    <a:gd name="T20" fmla="*/ 50 w 73"/>
                    <a:gd name="T21" fmla="*/ 212 h 255"/>
                    <a:gd name="T22" fmla="*/ 50 w 73"/>
                    <a:gd name="T23" fmla="*/ 255 h 255"/>
                    <a:gd name="T24" fmla="*/ 73 w 73"/>
                    <a:gd name="T25" fmla="*/ 221 h 255"/>
                    <a:gd name="T26" fmla="*/ 55 w 73"/>
                    <a:gd name="T27" fmla="*/ 190 h 255"/>
                    <a:gd name="T28" fmla="*/ 26 w 73"/>
                    <a:gd name="T29" fmla="*/ 18 h 255"/>
                    <a:gd name="T30" fmla="*/ 47 w 73"/>
                    <a:gd name="T31" fmla="*/ 18 h 255"/>
                    <a:gd name="T32" fmla="*/ 58 w 73"/>
                    <a:gd name="T33" fmla="*/ 37 h 255"/>
                    <a:gd name="T34" fmla="*/ 47 w 73"/>
                    <a:gd name="T35" fmla="*/ 55 h 255"/>
                    <a:gd name="T36" fmla="*/ 26 w 73"/>
                    <a:gd name="T37" fmla="*/ 55 h 255"/>
                    <a:gd name="T38" fmla="*/ 15 w 73"/>
                    <a:gd name="T39" fmla="*/ 37 h 255"/>
                    <a:gd name="T40" fmla="*/ 26 w 73"/>
                    <a:gd name="T41" fmla="*/ 1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255">
                      <a:moveTo>
                        <a:pt x="55" y="190"/>
                      </a:moveTo>
                      <a:cubicBezTo>
                        <a:pt x="55" y="68"/>
                        <a:pt x="55" y="68"/>
                        <a:pt x="55" y="68"/>
                      </a:cubicBezTo>
                      <a:cubicBezTo>
                        <a:pt x="66" y="62"/>
                        <a:pt x="73" y="50"/>
                        <a:pt x="73" y="37"/>
                      </a:cubicBezTo>
                      <a:cubicBezTo>
                        <a:pt x="73" y="17"/>
                        <a:pt x="57" y="0"/>
                        <a:pt x="36" y="0"/>
                      </a:cubicBezTo>
                      <a:cubicBezTo>
                        <a:pt x="16" y="0"/>
                        <a:pt x="0" y="17"/>
                        <a:pt x="0" y="37"/>
                      </a:cubicBezTo>
                      <a:cubicBezTo>
                        <a:pt x="0" y="50"/>
                        <a:pt x="7" y="62"/>
                        <a:pt x="18" y="68"/>
                      </a:cubicBezTo>
                      <a:cubicBezTo>
                        <a:pt x="18" y="190"/>
                        <a:pt x="18" y="190"/>
                        <a:pt x="18" y="190"/>
                      </a:cubicBezTo>
                      <a:cubicBezTo>
                        <a:pt x="7" y="196"/>
                        <a:pt x="0" y="208"/>
                        <a:pt x="0" y="221"/>
                      </a:cubicBezTo>
                      <a:cubicBezTo>
                        <a:pt x="0" y="237"/>
                        <a:pt x="9" y="250"/>
                        <a:pt x="22" y="255"/>
                      </a:cubicBezTo>
                      <a:cubicBezTo>
                        <a:pt x="22" y="212"/>
                        <a:pt x="22" y="212"/>
                        <a:pt x="22" y="212"/>
                      </a:cubicBezTo>
                      <a:cubicBezTo>
                        <a:pt x="50" y="212"/>
                        <a:pt x="50" y="212"/>
                        <a:pt x="50" y="212"/>
                      </a:cubicBezTo>
                      <a:cubicBezTo>
                        <a:pt x="50" y="255"/>
                        <a:pt x="50" y="255"/>
                        <a:pt x="50" y="255"/>
                      </a:cubicBezTo>
                      <a:cubicBezTo>
                        <a:pt x="64" y="250"/>
                        <a:pt x="73" y="237"/>
                        <a:pt x="73" y="221"/>
                      </a:cubicBezTo>
                      <a:cubicBezTo>
                        <a:pt x="73" y="208"/>
                        <a:pt x="66" y="196"/>
                        <a:pt x="55" y="190"/>
                      </a:cubicBezTo>
                      <a:close/>
                      <a:moveTo>
                        <a:pt x="26" y="18"/>
                      </a:moveTo>
                      <a:cubicBezTo>
                        <a:pt x="47" y="18"/>
                        <a:pt x="47" y="18"/>
                        <a:pt x="47" y="18"/>
                      </a:cubicBezTo>
                      <a:cubicBezTo>
                        <a:pt x="58" y="37"/>
                        <a:pt x="58" y="37"/>
                        <a:pt x="58" y="37"/>
                      </a:cubicBezTo>
                      <a:cubicBezTo>
                        <a:pt x="47" y="55"/>
                        <a:pt x="47" y="55"/>
                        <a:pt x="47" y="55"/>
                      </a:cubicBezTo>
                      <a:cubicBezTo>
                        <a:pt x="26" y="55"/>
                        <a:pt x="26" y="55"/>
                        <a:pt x="26" y="55"/>
                      </a:cubicBezTo>
                      <a:cubicBezTo>
                        <a:pt x="15" y="37"/>
                        <a:pt x="15" y="37"/>
                        <a:pt x="15" y="37"/>
                      </a:cubicBezTo>
                      <a:lnTo>
                        <a:pt x="26" y="18"/>
                      </a:lnTo>
                      <a:close/>
                    </a:path>
                  </a:pathLst>
                </a:custGeom>
                <a:solidFill>
                  <a:srgbClr val="3C3C41"/>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517" name="Group 516">
                <a:extLst>
                  <a:ext uri="{FF2B5EF4-FFF2-40B4-BE49-F238E27FC236}">
                    <a16:creationId xmlns:a16="http://schemas.microsoft.com/office/drawing/2014/main" id="{FE66F1AA-2822-429C-B447-CACE1288D256}"/>
                  </a:ext>
                </a:extLst>
              </p:cNvPr>
              <p:cNvGrpSpPr>
                <a:grpSpLocks noChangeAspect="1"/>
              </p:cNvGrpSpPr>
              <p:nvPr/>
            </p:nvGrpSpPr>
            <p:grpSpPr>
              <a:xfrm>
                <a:off x="3497920" y="3378425"/>
                <a:ext cx="122296" cy="108076"/>
                <a:chOff x="8530659" y="3276160"/>
                <a:chExt cx="495586" cy="437960"/>
              </a:xfrm>
            </p:grpSpPr>
            <p:sp>
              <p:nvSpPr>
                <p:cNvPr id="518" name="Freeform: Shape 517">
                  <a:extLst>
                    <a:ext uri="{FF2B5EF4-FFF2-40B4-BE49-F238E27FC236}">
                      <a16:creationId xmlns:a16="http://schemas.microsoft.com/office/drawing/2014/main" id="{7B87DFD0-88BD-47AC-B3C2-68F2348CFAE7}"/>
                    </a:ext>
                  </a:extLst>
                </p:cNvPr>
                <p:cNvSpPr/>
                <p:nvPr/>
              </p:nvSpPr>
              <p:spPr>
                <a:xfrm>
                  <a:off x="8530659" y="3276160"/>
                  <a:ext cx="495586" cy="437960"/>
                </a:xfrm>
                <a:custGeom>
                  <a:avLst/>
                  <a:gdLst/>
                  <a:ahLst/>
                  <a:cxnLst/>
                  <a:rect l="0" t="0" r="0" b="0"/>
                  <a:pathLst>
                    <a:path w="409575" h="361950">
                      <a:moveTo>
                        <a:pt x="205007" y="357232"/>
                      </a:moveTo>
                      <a:cubicBezTo>
                        <a:pt x="-181708" y="147682"/>
                        <a:pt x="99280" y="-108541"/>
                        <a:pt x="205007" y="63862"/>
                      </a:cubicBezTo>
                      <a:cubicBezTo>
                        <a:pt x="310735" y="-107588"/>
                        <a:pt x="590770" y="147682"/>
                        <a:pt x="205007" y="357232"/>
                      </a:cubicBezTo>
                      <a:lnTo>
                        <a:pt x="205007" y="357232"/>
                      </a:lnTo>
                      <a:close/>
                    </a:path>
                  </a:pathLst>
                </a:custGeom>
                <a:solidFill>
                  <a:srgbClr val="0084D9">
                    <a:alpha val="0"/>
                  </a:srgbClr>
                </a:solid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19" name="Freeform: Shape 518">
                  <a:extLst>
                    <a:ext uri="{FF2B5EF4-FFF2-40B4-BE49-F238E27FC236}">
                      <a16:creationId xmlns:a16="http://schemas.microsoft.com/office/drawing/2014/main" id="{172870CA-C8D9-4713-9738-08B0D6A00124}"/>
                    </a:ext>
                  </a:extLst>
                </p:cNvPr>
                <p:cNvSpPr/>
                <p:nvPr/>
              </p:nvSpPr>
              <p:spPr>
                <a:xfrm>
                  <a:off x="8884443" y="3335837"/>
                  <a:ext cx="92202" cy="115253"/>
                </a:xfrm>
                <a:custGeom>
                  <a:avLst/>
                  <a:gdLst/>
                  <a:ahLst/>
                  <a:cxnLst/>
                  <a:rect l="0" t="0" r="0" b="0"/>
                  <a:pathLst>
                    <a:path w="76200" h="95250">
                      <a:moveTo>
                        <a:pt x="64071" y="91694"/>
                      </a:moveTo>
                      <a:cubicBezTo>
                        <a:pt x="59309" y="91694"/>
                        <a:pt x="55499" y="87884"/>
                        <a:pt x="54546" y="83121"/>
                      </a:cubicBezTo>
                      <a:cubicBezTo>
                        <a:pt x="51689" y="55499"/>
                        <a:pt x="30734" y="32639"/>
                        <a:pt x="12636" y="25019"/>
                      </a:cubicBezTo>
                      <a:cubicBezTo>
                        <a:pt x="7874" y="23114"/>
                        <a:pt x="5969" y="17399"/>
                        <a:pt x="7874" y="12636"/>
                      </a:cubicBezTo>
                      <a:cubicBezTo>
                        <a:pt x="9779" y="7874"/>
                        <a:pt x="15494" y="5969"/>
                        <a:pt x="20256" y="7874"/>
                      </a:cubicBezTo>
                      <a:cubicBezTo>
                        <a:pt x="44069" y="18351"/>
                        <a:pt x="69786" y="46926"/>
                        <a:pt x="73596" y="82169"/>
                      </a:cubicBezTo>
                      <a:cubicBezTo>
                        <a:pt x="74549" y="86931"/>
                        <a:pt x="70739" y="91694"/>
                        <a:pt x="65024" y="92646"/>
                      </a:cubicBezTo>
                      <a:cubicBezTo>
                        <a:pt x="65024" y="91694"/>
                        <a:pt x="65024" y="91694"/>
                        <a:pt x="64071" y="91694"/>
                      </a:cubicBezTo>
                      <a:close/>
                    </a:path>
                  </a:pathLst>
                </a:custGeom>
                <a:solidFill>
                  <a:srgbClr val="0084D9">
                    <a:alpha val="0"/>
                  </a:srgbClr>
                </a:solid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grpSp>
        <p:nvGrpSpPr>
          <p:cNvPr id="529" name="Group 528">
            <a:extLst>
              <a:ext uri="{FF2B5EF4-FFF2-40B4-BE49-F238E27FC236}">
                <a16:creationId xmlns:a16="http://schemas.microsoft.com/office/drawing/2014/main" id="{773ED05D-16A1-4188-A827-BB0711D766D9}"/>
              </a:ext>
            </a:extLst>
          </p:cNvPr>
          <p:cNvGrpSpPr>
            <a:grpSpLocks noChangeAspect="1"/>
          </p:cNvGrpSpPr>
          <p:nvPr/>
        </p:nvGrpSpPr>
        <p:grpSpPr>
          <a:xfrm>
            <a:off x="6992778" y="2014557"/>
            <a:ext cx="914141" cy="914141"/>
            <a:chOff x="6584957" y="2443403"/>
            <a:chExt cx="1487170" cy="1487170"/>
          </a:xfrm>
        </p:grpSpPr>
        <p:sp>
          <p:nvSpPr>
            <p:cNvPr id="530" name="Oval 529">
              <a:extLst>
                <a:ext uri="{FF2B5EF4-FFF2-40B4-BE49-F238E27FC236}">
                  <a16:creationId xmlns:a16="http://schemas.microsoft.com/office/drawing/2014/main" id="{E793E99E-61BC-4659-85F8-0F58CC463AB8}"/>
                </a:ext>
              </a:extLst>
            </p:cNvPr>
            <p:cNvSpPr/>
            <p:nvPr/>
          </p:nvSpPr>
          <p:spPr bwMode="auto">
            <a:xfrm>
              <a:off x="6584957" y="2443403"/>
              <a:ext cx="1487170" cy="1487170"/>
            </a:xfrm>
            <a:prstGeom prst="ellipse">
              <a:avLst/>
            </a:prstGeom>
            <a:solidFill>
              <a:srgbClr val="FFFFFF"/>
            </a:solidFill>
            <a:ln w="9525" cap="flat" cmpd="sng" algn="ctr">
              <a:noFill/>
              <a:prstDash val="solid"/>
            </a:ln>
            <a:effectLst>
              <a:outerShdw blurRad="190500" dist="50800" dir="2700000" sx="101000" sy="101000" algn="tl" rotWithShape="0">
                <a:prstClr val="black">
                  <a:alpha val="25000"/>
                </a:prstClr>
              </a:outerShdw>
            </a:effectLst>
          </p:spPr>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530">
              <a:extLst>
                <a:ext uri="{FF2B5EF4-FFF2-40B4-BE49-F238E27FC236}">
                  <a16:creationId xmlns:a16="http://schemas.microsoft.com/office/drawing/2014/main" id="{E850B0E4-CEDC-478B-95C0-6876B4370562}"/>
                </a:ext>
              </a:extLst>
            </p:cNvPr>
            <p:cNvGrpSpPr/>
            <p:nvPr/>
          </p:nvGrpSpPr>
          <p:grpSpPr>
            <a:xfrm>
              <a:off x="6938784" y="2796201"/>
              <a:ext cx="779516" cy="781574"/>
              <a:chOff x="6631874" y="3128116"/>
              <a:chExt cx="586942" cy="588492"/>
            </a:xfrm>
          </p:grpSpPr>
          <p:grpSp>
            <p:nvGrpSpPr>
              <p:cNvPr id="532" name="Group 531">
                <a:extLst>
                  <a:ext uri="{FF2B5EF4-FFF2-40B4-BE49-F238E27FC236}">
                    <a16:creationId xmlns:a16="http://schemas.microsoft.com/office/drawing/2014/main" id="{260933BA-AE82-4864-B452-81A2B79CB625}"/>
                  </a:ext>
                </a:extLst>
              </p:cNvPr>
              <p:cNvGrpSpPr/>
              <p:nvPr/>
            </p:nvGrpSpPr>
            <p:grpSpPr>
              <a:xfrm>
                <a:off x="6925605" y="3366650"/>
                <a:ext cx="82008" cy="90858"/>
                <a:chOff x="8543547" y="3091207"/>
                <a:chExt cx="557385" cy="617538"/>
              </a:xfrm>
              <a:solidFill>
                <a:srgbClr val="0078D4">
                  <a:alpha val="0"/>
                </a:srgbClr>
              </a:solidFill>
            </p:grpSpPr>
            <p:sp>
              <p:nvSpPr>
                <p:cNvPr id="564" name="Freeform 88">
                  <a:extLst>
                    <a:ext uri="{FF2B5EF4-FFF2-40B4-BE49-F238E27FC236}">
                      <a16:creationId xmlns:a16="http://schemas.microsoft.com/office/drawing/2014/main" id="{4C13C012-A941-4278-9C3D-E4792127E180}"/>
                    </a:ext>
                  </a:extLst>
                </p:cNvPr>
                <p:cNvSpPr>
                  <a:spLocks/>
                </p:cNvSpPr>
                <p:nvPr/>
              </p:nvSpPr>
              <p:spPr bwMode="auto">
                <a:xfrm>
                  <a:off x="8558169" y="3091207"/>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65" name="Freeform 89">
                  <a:extLst>
                    <a:ext uri="{FF2B5EF4-FFF2-40B4-BE49-F238E27FC236}">
                      <a16:creationId xmlns:a16="http://schemas.microsoft.com/office/drawing/2014/main" id="{D7E501CF-8A32-4D72-AFDC-E0D185C9BBB7}"/>
                    </a:ext>
                  </a:extLst>
                </p:cNvPr>
                <p:cNvSpPr>
                  <a:spLocks/>
                </p:cNvSpPr>
                <p:nvPr/>
              </p:nvSpPr>
              <p:spPr bwMode="auto">
                <a:xfrm>
                  <a:off x="8558169" y="3091207"/>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66" name="Line 90">
                  <a:extLst>
                    <a:ext uri="{FF2B5EF4-FFF2-40B4-BE49-F238E27FC236}">
                      <a16:creationId xmlns:a16="http://schemas.microsoft.com/office/drawing/2014/main" id="{8A922AF5-C2E7-4757-8B22-C4F664140E21}"/>
                    </a:ext>
                  </a:extLst>
                </p:cNvPr>
                <p:cNvSpPr>
                  <a:spLocks noChangeShapeType="1"/>
                </p:cNvSpPr>
                <p:nvPr/>
              </p:nvSpPr>
              <p:spPr bwMode="auto">
                <a:xfrm>
                  <a:off x="8616906" y="3237257"/>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67" name="Line 91">
                  <a:extLst>
                    <a:ext uri="{FF2B5EF4-FFF2-40B4-BE49-F238E27FC236}">
                      <a16:creationId xmlns:a16="http://schemas.microsoft.com/office/drawing/2014/main" id="{659C0F82-FE6C-4CD6-BDC6-7E8FD0112B18}"/>
                    </a:ext>
                  </a:extLst>
                </p:cNvPr>
                <p:cNvSpPr>
                  <a:spLocks noChangeShapeType="1"/>
                </p:cNvSpPr>
                <p:nvPr/>
              </p:nvSpPr>
              <p:spPr bwMode="auto">
                <a:xfrm>
                  <a:off x="8616906" y="3291232"/>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68" name="Freeform 88">
                  <a:extLst>
                    <a:ext uri="{FF2B5EF4-FFF2-40B4-BE49-F238E27FC236}">
                      <a16:creationId xmlns:a16="http://schemas.microsoft.com/office/drawing/2014/main" id="{C8E56A24-E02A-47FE-A9EC-8B881902A717}"/>
                    </a:ext>
                  </a:extLst>
                </p:cNvPr>
                <p:cNvSpPr>
                  <a:spLocks/>
                </p:cNvSpPr>
                <p:nvPr/>
              </p:nvSpPr>
              <p:spPr bwMode="auto">
                <a:xfrm>
                  <a:off x="8805819" y="3224557"/>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69" name="Freeform 89">
                  <a:extLst>
                    <a:ext uri="{FF2B5EF4-FFF2-40B4-BE49-F238E27FC236}">
                      <a16:creationId xmlns:a16="http://schemas.microsoft.com/office/drawing/2014/main" id="{44F5629A-D833-4DF6-872F-DCCDB1795B7F}"/>
                    </a:ext>
                  </a:extLst>
                </p:cNvPr>
                <p:cNvSpPr>
                  <a:spLocks/>
                </p:cNvSpPr>
                <p:nvPr/>
              </p:nvSpPr>
              <p:spPr bwMode="auto">
                <a:xfrm>
                  <a:off x="8805819" y="3224557"/>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70" name="Line 90">
                  <a:extLst>
                    <a:ext uri="{FF2B5EF4-FFF2-40B4-BE49-F238E27FC236}">
                      <a16:creationId xmlns:a16="http://schemas.microsoft.com/office/drawing/2014/main" id="{5CBC5641-DA0D-48B9-97B4-8164A99C8C0A}"/>
                    </a:ext>
                  </a:extLst>
                </p:cNvPr>
                <p:cNvSpPr>
                  <a:spLocks noChangeShapeType="1"/>
                </p:cNvSpPr>
                <p:nvPr/>
              </p:nvSpPr>
              <p:spPr bwMode="auto">
                <a:xfrm>
                  <a:off x="8864556" y="3370607"/>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71" name="Line 91">
                  <a:extLst>
                    <a:ext uri="{FF2B5EF4-FFF2-40B4-BE49-F238E27FC236}">
                      <a16:creationId xmlns:a16="http://schemas.microsoft.com/office/drawing/2014/main" id="{78F9DD9E-B3BF-465F-AAE3-A3F18F588BD5}"/>
                    </a:ext>
                  </a:extLst>
                </p:cNvPr>
                <p:cNvSpPr>
                  <a:spLocks noChangeShapeType="1"/>
                </p:cNvSpPr>
                <p:nvPr/>
              </p:nvSpPr>
              <p:spPr bwMode="auto">
                <a:xfrm>
                  <a:off x="8864556" y="3424582"/>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72" name="Freeform 88">
                  <a:extLst>
                    <a:ext uri="{FF2B5EF4-FFF2-40B4-BE49-F238E27FC236}">
                      <a16:creationId xmlns:a16="http://schemas.microsoft.com/office/drawing/2014/main" id="{3F37537D-0313-400A-B1F9-3108333B6475}"/>
                    </a:ext>
                  </a:extLst>
                </p:cNvPr>
                <p:cNvSpPr>
                  <a:spLocks/>
                </p:cNvSpPr>
                <p:nvPr/>
              </p:nvSpPr>
              <p:spPr bwMode="auto">
                <a:xfrm>
                  <a:off x="8553407" y="3429345"/>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73" name="Freeform 89">
                  <a:extLst>
                    <a:ext uri="{FF2B5EF4-FFF2-40B4-BE49-F238E27FC236}">
                      <a16:creationId xmlns:a16="http://schemas.microsoft.com/office/drawing/2014/main" id="{0B856470-B186-4D54-8C76-C1A15B1614F5}"/>
                    </a:ext>
                  </a:extLst>
                </p:cNvPr>
                <p:cNvSpPr>
                  <a:spLocks/>
                </p:cNvSpPr>
                <p:nvPr/>
              </p:nvSpPr>
              <p:spPr bwMode="auto">
                <a:xfrm>
                  <a:off x="8553407" y="3429345"/>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74" name="Line 90">
                  <a:extLst>
                    <a:ext uri="{FF2B5EF4-FFF2-40B4-BE49-F238E27FC236}">
                      <a16:creationId xmlns:a16="http://schemas.microsoft.com/office/drawing/2014/main" id="{B4804A91-5C63-4227-B4AD-37ED44D8E1A8}"/>
                    </a:ext>
                  </a:extLst>
                </p:cNvPr>
                <p:cNvSpPr>
                  <a:spLocks noChangeShapeType="1"/>
                </p:cNvSpPr>
                <p:nvPr/>
              </p:nvSpPr>
              <p:spPr bwMode="auto">
                <a:xfrm>
                  <a:off x="8612144" y="3575395"/>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75" name="Line 91">
                  <a:extLst>
                    <a:ext uri="{FF2B5EF4-FFF2-40B4-BE49-F238E27FC236}">
                      <a16:creationId xmlns:a16="http://schemas.microsoft.com/office/drawing/2014/main" id="{BAD46A17-0D86-44AA-80A7-6EDA6D1DA1BB}"/>
                    </a:ext>
                  </a:extLst>
                </p:cNvPr>
                <p:cNvSpPr>
                  <a:spLocks noChangeShapeType="1"/>
                </p:cNvSpPr>
                <p:nvPr/>
              </p:nvSpPr>
              <p:spPr bwMode="auto">
                <a:xfrm>
                  <a:off x="8612144" y="3629370"/>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76" name="Arrow: Right 575">
                  <a:extLst>
                    <a:ext uri="{FF2B5EF4-FFF2-40B4-BE49-F238E27FC236}">
                      <a16:creationId xmlns:a16="http://schemas.microsoft.com/office/drawing/2014/main" id="{04AAE0DC-C003-4BA7-9C2C-CADB174976C6}"/>
                    </a:ext>
                  </a:extLst>
                </p:cNvPr>
                <p:cNvSpPr/>
                <p:nvPr/>
              </p:nvSpPr>
              <p:spPr bwMode="auto">
                <a:xfrm>
                  <a:off x="8543547" y="3448863"/>
                  <a:ext cx="557385" cy="189687"/>
                </a:xfrm>
                <a:prstGeom prst="rightArrow">
                  <a:avLst>
                    <a:gd name="adj1" fmla="val 50000"/>
                    <a:gd name="adj2" fmla="val 63809"/>
                  </a:avLst>
                </a:prstGeom>
                <a:grpFill/>
                <a:ln w="15875" cap="flat" cmpd="sng" algn="ctr">
                  <a:solidFill>
                    <a:srgbClr val="E6E6E6"/>
                  </a:solidFill>
                  <a:prstDash val="solid"/>
                  <a:miter lim="800000"/>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33" name="Group 532">
                <a:extLst>
                  <a:ext uri="{FF2B5EF4-FFF2-40B4-BE49-F238E27FC236}">
                    <a16:creationId xmlns:a16="http://schemas.microsoft.com/office/drawing/2014/main" id="{F4E506B4-478B-48AA-966A-04C44489377D}"/>
                  </a:ext>
                </a:extLst>
              </p:cNvPr>
              <p:cNvGrpSpPr/>
              <p:nvPr/>
            </p:nvGrpSpPr>
            <p:grpSpPr>
              <a:xfrm>
                <a:off x="6631874" y="3128116"/>
                <a:ext cx="586942" cy="588492"/>
                <a:chOff x="6926803" y="2751484"/>
                <a:chExt cx="732998" cy="734934"/>
              </a:xfrm>
            </p:grpSpPr>
            <p:grpSp>
              <p:nvGrpSpPr>
                <p:cNvPr id="534" name="Group 37">
                  <a:extLst>
                    <a:ext uri="{FF2B5EF4-FFF2-40B4-BE49-F238E27FC236}">
                      <a16:creationId xmlns:a16="http://schemas.microsoft.com/office/drawing/2014/main" id="{4F7C29B0-C744-439F-BD46-15372EC88491}"/>
                    </a:ext>
                  </a:extLst>
                </p:cNvPr>
                <p:cNvGrpSpPr>
                  <a:grpSpLocks noChangeAspect="1"/>
                </p:cNvGrpSpPr>
                <p:nvPr/>
              </p:nvGrpSpPr>
              <p:grpSpPr bwMode="auto">
                <a:xfrm>
                  <a:off x="6926803" y="2751484"/>
                  <a:ext cx="732998" cy="734934"/>
                  <a:chOff x="4323" y="1765"/>
                  <a:chExt cx="379" cy="380"/>
                </a:xfrm>
              </p:grpSpPr>
              <p:sp>
                <p:nvSpPr>
                  <p:cNvPr id="561" name="Freeform 38">
                    <a:extLst>
                      <a:ext uri="{FF2B5EF4-FFF2-40B4-BE49-F238E27FC236}">
                        <a16:creationId xmlns:a16="http://schemas.microsoft.com/office/drawing/2014/main" id="{E1BD5D5C-DE7B-4678-B7E8-423B04A72415}"/>
                      </a:ext>
                    </a:extLst>
                  </p:cNvPr>
                  <p:cNvSpPr>
                    <a:spLocks/>
                  </p:cNvSpPr>
                  <p:nvPr/>
                </p:nvSpPr>
                <p:spPr bwMode="auto">
                  <a:xfrm>
                    <a:off x="4323" y="1854"/>
                    <a:ext cx="379" cy="291"/>
                  </a:xfrm>
                  <a:custGeom>
                    <a:avLst/>
                    <a:gdLst>
                      <a:gd name="T0" fmla="*/ 13 w 169"/>
                      <a:gd name="T1" fmla="*/ 0 h 130"/>
                      <a:gd name="T2" fmla="*/ 0 w 169"/>
                      <a:gd name="T3" fmla="*/ 45 h 130"/>
                      <a:gd name="T4" fmla="*/ 84 w 169"/>
                      <a:gd name="T5" fmla="*/ 130 h 130"/>
                      <a:gd name="T6" fmla="*/ 169 w 169"/>
                      <a:gd name="T7" fmla="*/ 45 h 130"/>
                      <a:gd name="T8" fmla="*/ 84 w 169"/>
                      <a:gd name="T9" fmla="*/ 45 h 130"/>
                      <a:gd name="T10" fmla="*/ 13 w 169"/>
                      <a:gd name="T11" fmla="*/ 0 h 130"/>
                    </a:gdLst>
                    <a:ahLst/>
                    <a:cxnLst>
                      <a:cxn ang="0">
                        <a:pos x="T0" y="T1"/>
                      </a:cxn>
                      <a:cxn ang="0">
                        <a:pos x="T2" y="T3"/>
                      </a:cxn>
                      <a:cxn ang="0">
                        <a:pos x="T4" y="T5"/>
                      </a:cxn>
                      <a:cxn ang="0">
                        <a:pos x="T6" y="T7"/>
                      </a:cxn>
                      <a:cxn ang="0">
                        <a:pos x="T8" y="T9"/>
                      </a:cxn>
                      <a:cxn ang="0">
                        <a:pos x="T10" y="T11"/>
                      </a:cxn>
                    </a:cxnLst>
                    <a:rect l="0" t="0" r="r" b="b"/>
                    <a:pathLst>
                      <a:path w="169" h="130">
                        <a:moveTo>
                          <a:pt x="13" y="0"/>
                        </a:moveTo>
                        <a:cubicBezTo>
                          <a:pt x="4" y="13"/>
                          <a:pt x="0" y="29"/>
                          <a:pt x="0" y="45"/>
                        </a:cubicBezTo>
                        <a:cubicBezTo>
                          <a:pt x="0" y="91"/>
                          <a:pt x="38" y="130"/>
                          <a:pt x="84" y="130"/>
                        </a:cubicBezTo>
                        <a:cubicBezTo>
                          <a:pt x="132" y="130"/>
                          <a:pt x="169" y="91"/>
                          <a:pt x="169" y="45"/>
                        </a:cubicBezTo>
                        <a:cubicBezTo>
                          <a:pt x="84" y="45"/>
                          <a:pt x="84" y="45"/>
                          <a:pt x="84" y="45"/>
                        </a:cubicBezTo>
                        <a:lnTo>
                          <a:pt x="13"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62" name="Freeform 39">
                    <a:extLst>
                      <a:ext uri="{FF2B5EF4-FFF2-40B4-BE49-F238E27FC236}">
                        <a16:creationId xmlns:a16="http://schemas.microsoft.com/office/drawing/2014/main" id="{82AA4EFF-9A00-445F-B66A-CBF5D4434681}"/>
                      </a:ext>
                    </a:extLst>
                  </p:cNvPr>
                  <p:cNvSpPr>
                    <a:spLocks/>
                  </p:cNvSpPr>
                  <p:nvPr/>
                </p:nvSpPr>
                <p:spPr bwMode="auto">
                  <a:xfrm>
                    <a:off x="4511" y="1765"/>
                    <a:ext cx="191" cy="190"/>
                  </a:xfrm>
                  <a:custGeom>
                    <a:avLst/>
                    <a:gdLst>
                      <a:gd name="T0" fmla="*/ 0 w 85"/>
                      <a:gd name="T1" fmla="*/ 0 h 85"/>
                      <a:gd name="T2" fmla="*/ 0 w 85"/>
                      <a:gd name="T3" fmla="*/ 85 h 85"/>
                      <a:gd name="T4" fmla="*/ 85 w 85"/>
                      <a:gd name="T5" fmla="*/ 85 h 85"/>
                      <a:gd name="T6" fmla="*/ 0 w 85"/>
                      <a:gd name="T7" fmla="*/ 0 h 85"/>
                    </a:gdLst>
                    <a:ahLst/>
                    <a:cxnLst>
                      <a:cxn ang="0">
                        <a:pos x="T0" y="T1"/>
                      </a:cxn>
                      <a:cxn ang="0">
                        <a:pos x="T2" y="T3"/>
                      </a:cxn>
                      <a:cxn ang="0">
                        <a:pos x="T4" y="T5"/>
                      </a:cxn>
                      <a:cxn ang="0">
                        <a:pos x="T6" y="T7"/>
                      </a:cxn>
                    </a:cxnLst>
                    <a:rect l="0" t="0" r="r" b="b"/>
                    <a:pathLst>
                      <a:path w="85" h="85">
                        <a:moveTo>
                          <a:pt x="0" y="0"/>
                        </a:moveTo>
                        <a:cubicBezTo>
                          <a:pt x="0" y="85"/>
                          <a:pt x="0" y="85"/>
                          <a:pt x="0" y="85"/>
                        </a:cubicBezTo>
                        <a:cubicBezTo>
                          <a:pt x="85" y="85"/>
                          <a:pt x="85" y="85"/>
                          <a:pt x="85" y="85"/>
                        </a:cubicBezTo>
                        <a:cubicBezTo>
                          <a:pt x="85" y="39"/>
                          <a:pt x="47" y="0"/>
                          <a:pt x="0" y="0"/>
                        </a:cubicBez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63" name="Freeform 40">
                    <a:extLst>
                      <a:ext uri="{FF2B5EF4-FFF2-40B4-BE49-F238E27FC236}">
                        <a16:creationId xmlns:a16="http://schemas.microsoft.com/office/drawing/2014/main" id="{FA045465-67D5-412F-8E5D-EC7F34CAFB92}"/>
                      </a:ext>
                    </a:extLst>
                  </p:cNvPr>
                  <p:cNvSpPr>
                    <a:spLocks/>
                  </p:cNvSpPr>
                  <p:nvPr/>
                </p:nvSpPr>
                <p:spPr bwMode="auto">
                  <a:xfrm>
                    <a:off x="4379" y="1765"/>
                    <a:ext cx="132" cy="190"/>
                  </a:xfrm>
                  <a:custGeom>
                    <a:avLst/>
                    <a:gdLst>
                      <a:gd name="T0" fmla="*/ 59 w 59"/>
                      <a:gd name="T1" fmla="*/ 85 h 85"/>
                      <a:gd name="T2" fmla="*/ 59 w 59"/>
                      <a:gd name="T3" fmla="*/ 0 h 85"/>
                      <a:gd name="T4" fmla="*/ 0 w 59"/>
                      <a:gd name="T5" fmla="*/ 25 h 85"/>
                      <a:gd name="T6" fmla="*/ 59 w 59"/>
                      <a:gd name="T7" fmla="*/ 85 h 85"/>
                    </a:gdLst>
                    <a:ahLst/>
                    <a:cxnLst>
                      <a:cxn ang="0">
                        <a:pos x="T0" y="T1"/>
                      </a:cxn>
                      <a:cxn ang="0">
                        <a:pos x="T2" y="T3"/>
                      </a:cxn>
                      <a:cxn ang="0">
                        <a:pos x="T4" y="T5"/>
                      </a:cxn>
                      <a:cxn ang="0">
                        <a:pos x="T6" y="T7"/>
                      </a:cxn>
                    </a:cxnLst>
                    <a:rect l="0" t="0" r="r" b="b"/>
                    <a:pathLst>
                      <a:path w="59" h="85">
                        <a:moveTo>
                          <a:pt x="59" y="85"/>
                        </a:moveTo>
                        <a:cubicBezTo>
                          <a:pt x="59" y="0"/>
                          <a:pt x="59" y="0"/>
                          <a:pt x="59" y="0"/>
                        </a:cubicBezTo>
                        <a:cubicBezTo>
                          <a:pt x="36" y="0"/>
                          <a:pt x="15" y="10"/>
                          <a:pt x="0" y="25"/>
                        </a:cubicBezTo>
                        <a:lnTo>
                          <a:pt x="59" y="85"/>
                        </a:lnTo>
                        <a:close/>
                      </a:path>
                    </a:pathLst>
                  </a:custGeom>
                  <a:solidFill>
                    <a:srgbClr val="30E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535" name="Group 28">
                  <a:extLst>
                    <a:ext uri="{FF2B5EF4-FFF2-40B4-BE49-F238E27FC236}">
                      <a16:creationId xmlns:a16="http://schemas.microsoft.com/office/drawing/2014/main" id="{57C916BE-35E4-4A49-B85B-B01C96181BAE}"/>
                    </a:ext>
                  </a:extLst>
                </p:cNvPr>
                <p:cNvGrpSpPr>
                  <a:grpSpLocks noChangeAspect="1"/>
                </p:cNvGrpSpPr>
                <p:nvPr/>
              </p:nvGrpSpPr>
              <p:grpSpPr bwMode="auto">
                <a:xfrm>
                  <a:off x="7065970" y="2890838"/>
                  <a:ext cx="452438" cy="454025"/>
                  <a:chOff x="4451" y="1821"/>
                  <a:chExt cx="285" cy="286"/>
                </a:xfrm>
                <a:solidFill>
                  <a:srgbClr val="FFFFFF"/>
                </a:solidFill>
              </p:grpSpPr>
              <p:sp>
                <p:nvSpPr>
                  <p:cNvPr id="536" name="Freeform 29">
                    <a:extLst>
                      <a:ext uri="{FF2B5EF4-FFF2-40B4-BE49-F238E27FC236}">
                        <a16:creationId xmlns:a16="http://schemas.microsoft.com/office/drawing/2014/main" id="{B651A932-B54A-4F97-891F-9295F0E1C41D}"/>
                      </a:ext>
                    </a:extLst>
                  </p:cNvPr>
                  <p:cNvSpPr>
                    <a:spLocks/>
                  </p:cNvSpPr>
                  <p:nvPr/>
                </p:nvSpPr>
                <p:spPr bwMode="auto">
                  <a:xfrm>
                    <a:off x="4568" y="1821"/>
                    <a:ext cx="40" cy="71"/>
                  </a:xfrm>
                  <a:custGeom>
                    <a:avLst/>
                    <a:gdLst>
                      <a:gd name="T0" fmla="*/ 28 w 28"/>
                      <a:gd name="T1" fmla="*/ 40 h 49"/>
                      <a:gd name="T2" fmla="*/ 22 w 28"/>
                      <a:gd name="T3" fmla="*/ 47 h 49"/>
                      <a:gd name="T4" fmla="*/ 7 w 28"/>
                      <a:gd name="T5" fmla="*/ 48 h 49"/>
                      <a:gd name="T6" fmla="*/ 0 w 28"/>
                      <a:gd name="T7" fmla="*/ 42 h 49"/>
                      <a:gd name="T8" fmla="*/ 3 w 28"/>
                      <a:gd name="T9" fmla="*/ 8 h 49"/>
                      <a:gd name="T10" fmla="*/ 11 w 28"/>
                      <a:gd name="T11" fmla="*/ 0 h 49"/>
                      <a:gd name="T12" fmla="*/ 12 w 28"/>
                      <a:gd name="T13" fmla="*/ 0 h 49"/>
                      <a:gd name="T14" fmla="*/ 21 w 28"/>
                      <a:gd name="T15" fmla="*/ 7 h 49"/>
                      <a:gd name="T16" fmla="*/ 28 w 28"/>
                      <a:gd name="T17" fmla="*/ 4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9">
                        <a:moveTo>
                          <a:pt x="28" y="40"/>
                        </a:moveTo>
                        <a:cubicBezTo>
                          <a:pt x="28" y="44"/>
                          <a:pt x="26" y="47"/>
                          <a:pt x="22" y="47"/>
                        </a:cubicBezTo>
                        <a:cubicBezTo>
                          <a:pt x="7" y="48"/>
                          <a:pt x="7" y="48"/>
                          <a:pt x="7" y="48"/>
                        </a:cubicBezTo>
                        <a:cubicBezTo>
                          <a:pt x="3" y="49"/>
                          <a:pt x="0" y="46"/>
                          <a:pt x="0" y="42"/>
                        </a:cubicBezTo>
                        <a:cubicBezTo>
                          <a:pt x="3" y="8"/>
                          <a:pt x="3" y="8"/>
                          <a:pt x="3" y="8"/>
                        </a:cubicBezTo>
                        <a:cubicBezTo>
                          <a:pt x="3" y="4"/>
                          <a:pt x="6" y="1"/>
                          <a:pt x="11" y="0"/>
                        </a:cubicBezTo>
                        <a:cubicBezTo>
                          <a:pt x="12" y="0"/>
                          <a:pt x="12" y="0"/>
                          <a:pt x="12" y="0"/>
                        </a:cubicBezTo>
                        <a:cubicBezTo>
                          <a:pt x="16" y="0"/>
                          <a:pt x="20" y="3"/>
                          <a:pt x="21" y="7"/>
                        </a:cubicBezTo>
                        <a:lnTo>
                          <a:pt x="28"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37" name="Freeform 30">
                    <a:extLst>
                      <a:ext uri="{FF2B5EF4-FFF2-40B4-BE49-F238E27FC236}">
                        <a16:creationId xmlns:a16="http://schemas.microsoft.com/office/drawing/2014/main" id="{E7DAB740-01AC-4CCC-8B14-10F687315BD5}"/>
                      </a:ext>
                    </a:extLst>
                  </p:cNvPr>
                  <p:cNvSpPr>
                    <a:spLocks/>
                  </p:cNvSpPr>
                  <p:nvPr/>
                </p:nvSpPr>
                <p:spPr bwMode="auto">
                  <a:xfrm>
                    <a:off x="4578" y="2036"/>
                    <a:ext cx="42" cy="71"/>
                  </a:xfrm>
                  <a:custGeom>
                    <a:avLst/>
                    <a:gdLst>
                      <a:gd name="T0" fmla="*/ 1 w 29"/>
                      <a:gd name="T1" fmla="*/ 9 h 49"/>
                      <a:gd name="T2" fmla="*/ 7 w 29"/>
                      <a:gd name="T3" fmla="*/ 2 h 49"/>
                      <a:gd name="T4" fmla="*/ 21 w 29"/>
                      <a:gd name="T5" fmla="*/ 1 h 49"/>
                      <a:gd name="T6" fmla="*/ 28 w 29"/>
                      <a:gd name="T7" fmla="*/ 8 h 49"/>
                      <a:gd name="T8" fmla="*/ 26 w 29"/>
                      <a:gd name="T9" fmla="*/ 41 h 49"/>
                      <a:gd name="T10" fmla="*/ 18 w 29"/>
                      <a:gd name="T11" fmla="*/ 49 h 49"/>
                      <a:gd name="T12" fmla="*/ 17 w 29"/>
                      <a:gd name="T13" fmla="*/ 49 h 49"/>
                      <a:gd name="T14" fmla="*/ 8 w 29"/>
                      <a:gd name="T15" fmla="*/ 42 h 49"/>
                      <a:gd name="T16" fmla="*/ 1 w 29"/>
                      <a:gd name="T17"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49">
                        <a:moveTo>
                          <a:pt x="1" y="9"/>
                        </a:moveTo>
                        <a:cubicBezTo>
                          <a:pt x="0" y="5"/>
                          <a:pt x="3" y="2"/>
                          <a:pt x="7" y="2"/>
                        </a:cubicBezTo>
                        <a:cubicBezTo>
                          <a:pt x="21" y="1"/>
                          <a:pt x="21" y="1"/>
                          <a:pt x="21" y="1"/>
                        </a:cubicBezTo>
                        <a:cubicBezTo>
                          <a:pt x="26" y="0"/>
                          <a:pt x="29" y="4"/>
                          <a:pt x="28" y="8"/>
                        </a:cubicBezTo>
                        <a:cubicBezTo>
                          <a:pt x="26" y="41"/>
                          <a:pt x="26" y="41"/>
                          <a:pt x="26" y="41"/>
                        </a:cubicBezTo>
                        <a:cubicBezTo>
                          <a:pt x="26" y="45"/>
                          <a:pt x="22" y="49"/>
                          <a:pt x="18" y="49"/>
                        </a:cubicBezTo>
                        <a:cubicBezTo>
                          <a:pt x="17" y="49"/>
                          <a:pt x="17" y="49"/>
                          <a:pt x="17" y="49"/>
                        </a:cubicBezTo>
                        <a:cubicBezTo>
                          <a:pt x="13" y="49"/>
                          <a:pt x="9" y="46"/>
                          <a:pt x="8" y="42"/>
                        </a:cubicBezTo>
                        <a:lnTo>
                          <a:pt x="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38" name="Freeform 31">
                    <a:extLst>
                      <a:ext uri="{FF2B5EF4-FFF2-40B4-BE49-F238E27FC236}">
                        <a16:creationId xmlns:a16="http://schemas.microsoft.com/office/drawing/2014/main" id="{9C3DC9C5-3693-4407-BC9A-E5E9BA8236FD}"/>
                      </a:ext>
                    </a:extLst>
                  </p:cNvPr>
                  <p:cNvSpPr>
                    <a:spLocks/>
                  </p:cNvSpPr>
                  <p:nvPr/>
                </p:nvSpPr>
                <p:spPr bwMode="auto">
                  <a:xfrm>
                    <a:off x="4451" y="1949"/>
                    <a:ext cx="70" cy="40"/>
                  </a:xfrm>
                  <a:custGeom>
                    <a:avLst/>
                    <a:gdLst>
                      <a:gd name="T0" fmla="*/ 40 w 49"/>
                      <a:gd name="T1" fmla="*/ 1 h 28"/>
                      <a:gd name="T2" fmla="*/ 48 w 49"/>
                      <a:gd name="T3" fmla="*/ 7 h 28"/>
                      <a:gd name="T4" fmla="*/ 49 w 49"/>
                      <a:gd name="T5" fmla="*/ 21 h 28"/>
                      <a:gd name="T6" fmla="*/ 42 w 49"/>
                      <a:gd name="T7" fmla="*/ 28 h 28"/>
                      <a:gd name="T8" fmla="*/ 8 w 49"/>
                      <a:gd name="T9" fmla="*/ 26 h 28"/>
                      <a:gd name="T10" fmla="*/ 0 w 49"/>
                      <a:gd name="T11" fmla="*/ 18 h 28"/>
                      <a:gd name="T12" fmla="*/ 0 w 49"/>
                      <a:gd name="T13" fmla="*/ 16 h 28"/>
                      <a:gd name="T14" fmla="*/ 7 w 49"/>
                      <a:gd name="T15" fmla="*/ 8 h 28"/>
                      <a:gd name="T16" fmla="*/ 40 w 49"/>
                      <a:gd name="T17"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8">
                        <a:moveTo>
                          <a:pt x="40" y="1"/>
                        </a:moveTo>
                        <a:cubicBezTo>
                          <a:pt x="44" y="0"/>
                          <a:pt x="47" y="3"/>
                          <a:pt x="48" y="7"/>
                        </a:cubicBezTo>
                        <a:cubicBezTo>
                          <a:pt x="49" y="21"/>
                          <a:pt x="49" y="21"/>
                          <a:pt x="49" y="21"/>
                        </a:cubicBezTo>
                        <a:cubicBezTo>
                          <a:pt x="49" y="25"/>
                          <a:pt x="46" y="28"/>
                          <a:pt x="42" y="28"/>
                        </a:cubicBezTo>
                        <a:cubicBezTo>
                          <a:pt x="8" y="26"/>
                          <a:pt x="8" y="26"/>
                          <a:pt x="8" y="26"/>
                        </a:cubicBezTo>
                        <a:cubicBezTo>
                          <a:pt x="4" y="25"/>
                          <a:pt x="1" y="22"/>
                          <a:pt x="0" y="18"/>
                        </a:cubicBezTo>
                        <a:cubicBezTo>
                          <a:pt x="0" y="16"/>
                          <a:pt x="0" y="16"/>
                          <a:pt x="0" y="16"/>
                        </a:cubicBezTo>
                        <a:cubicBezTo>
                          <a:pt x="0" y="12"/>
                          <a:pt x="3" y="8"/>
                          <a:pt x="7" y="8"/>
                        </a:cubicBezTo>
                        <a:lnTo>
                          <a:pt x="4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39" name="Freeform 32">
                    <a:extLst>
                      <a:ext uri="{FF2B5EF4-FFF2-40B4-BE49-F238E27FC236}">
                        <a16:creationId xmlns:a16="http://schemas.microsoft.com/office/drawing/2014/main" id="{78B4F558-79A9-487B-9527-316B6785B2D6}"/>
                      </a:ext>
                    </a:extLst>
                  </p:cNvPr>
                  <p:cNvSpPr>
                    <a:spLocks/>
                  </p:cNvSpPr>
                  <p:nvPr/>
                </p:nvSpPr>
                <p:spPr bwMode="auto">
                  <a:xfrm>
                    <a:off x="4667" y="1939"/>
                    <a:ext cx="69" cy="40"/>
                  </a:xfrm>
                  <a:custGeom>
                    <a:avLst/>
                    <a:gdLst>
                      <a:gd name="T0" fmla="*/ 9 w 48"/>
                      <a:gd name="T1" fmla="*/ 27 h 28"/>
                      <a:gd name="T2" fmla="*/ 1 w 48"/>
                      <a:gd name="T3" fmla="*/ 22 h 28"/>
                      <a:gd name="T4" fmla="*/ 0 w 48"/>
                      <a:gd name="T5" fmla="*/ 7 h 28"/>
                      <a:gd name="T6" fmla="*/ 7 w 48"/>
                      <a:gd name="T7" fmla="*/ 0 h 28"/>
                      <a:gd name="T8" fmla="*/ 40 w 48"/>
                      <a:gd name="T9" fmla="*/ 2 h 28"/>
                      <a:gd name="T10" fmla="*/ 48 w 48"/>
                      <a:gd name="T11" fmla="*/ 10 h 28"/>
                      <a:gd name="T12" fmla="*/ 48 w 48"/>
                      <a:gd name="T13" fmla="*/ 12 h 28"/>
                      <a:gd name="T14" fmla="*/ 41 w 48"/>
                      <a:gd name="T15" fmla="*/ 21 h 28"/>
                      <a:gd name="T16" fmla="*/ 9 w 48"/>
                      <a:gd name="T1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8">
                        <a:moveTo>
                          <a:pt x="9" y="27"/>
                        </a:moveTo>
                        <a:cubicBezTo>
                          <a:pt x="5" y="28"/>
                          <a:pt x="1" y="26"/>
                          <a:pt x="1" y="22"/>
                        </a:cubicBezTo>
                        <a:cubicBezTo>
                          <a:pt x="0" y="7"/>
                          <a:pt x="0" y="7"/>
                          <a:pt x="0" y="7"/>
                        </a:cubicBezTo>
                        <a:cubicBezTo>
                          <a:pt x="0" y="3"/>
                          <a:pt x="3" y="0"/>
                          <a:pt x="7" y="0"/>
                        </a:cubicBezTo>
                        <a:cubicBezTo>
                          <a:pt x="40" y="2"/>
                          <a:pt x="40" y="2"/>
                          <a:pt x="40" y="2"/>
                        </a:cubicBezTo>
                        <a:cubicBezTo>
                          <a:pt x="44" y="3"/>
                          <a:pt x="48" y="6"/>
                          <a:pt x="48" y="10"/>
                        </a:cubicBezTo>
                        <a:cubicBezTo>
                          <a:pt x="48" y="12"/>
                          <a:pt x="48" y="12"/>
                          <a:pt x="48" y="12"/>
                        </a:cubicBezTo>
                        <a:cubicBezTo>
                          <a:pt x="48" y="16"/>
                          <a:pt x="45" y="20"/>
                          <a:pt x="41" y="21"/>
                        </a:cubicBezTo>
                        <a:lnTo>
                          <a:pt x="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40" name="Freeform 33">
                    <a:extLst>
                      <a:ext uri="{FF2B5EF4-FFF2-40B4-BE49-F238E27FC236}">
                        <a16:creationId xmlns:a16="http://schemas.microsoft.com/office/drawing/2014/main" id="{97A0EB1E-A107-46B0-9818-59DEFEEE143E}"/>
                      </a:ext>
                    </a:extLst>
                  </p:cNvPr>
                  <p:cNvSpPr>
                    <a:spLocks/>
                  </p:cNvSpPr>
                  <p:nvPr/>
                </p:nvSpPr>
                <p:spPr bwMode="auto">
                  <a:xfrm>
                    <a:off x="4482" y="1864"/>
                    <a:ext cx="66" cy="63"/>
                  </a:xfrm>
                  <a:custGeom>
                    <a:avLst/>
                    <a:gdLst>
                      <a:gd name="T0" fmla="*/ 42 w 46"/>
                      <a:gd name="T1" fmla="*/ 20 h 44"/>
                      <a:gd name="T2" fmla="*/ 44 w 46"/>
                      <a:gd name="T3" fmla="*/ 30 h 44"/>
                      <a:gd name="T4" fmla="*/ 34 w 46"/>
                      <a:gd name="T5" fmla="*/ 41 h 44"/>
                      <a:gd name="T6" fmla="*/ 24 w 46"/>
                      <a:gd name="T7" fmla="*/ 41 h 44"/>
                      <a:gd name="T8" fmla="*/ 2 w 46"/>
                      <a:gd name="T9" fmla="*/ 16 h 44"/>
                      <a:gd name="T10" fmla="*/ 2 w 46"/>
                      <a:gd name="T11" fmla="*/ 5 h 44"/>
                      <a:gd name="T12" fmla="*/ 3 w 46"/>
                      <a:gd name="T13" fmla="*/ 3 h 44"/>
                      <a:gd name="T14" fmla="*/ 14 w 46"/>
                      <a:gd name="T15" fmla="*/ 2 h 44"/>
                      <a:gd name="T16" fmla="*/ 42 w 46"/>
                      <a:gd name="T17"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4">
                        <a:moveTo>
                          <a:pt x="42" y="20"/>
                        </a:moveTo>
                        <a:cubicBezTo>
                          <a:pt x="46" y="23"/>
                          <a:pt x="46" y="27"/>
                          <a:pt x="44" y="30"/>
                        </a:cubicBezTo>
                        <a:cubicBezTo>
                          <a:pt x="34" y="41"/>
                          <a:pt x="34" y="41"/>
                          <a:pt x="34" y="41"/>
                        </a:cubicBezTo>
                        <a:cubicBezTo>
                          <a:pt x="31" y="44"/>
                          <a:pt x="27" y="44"/>
                          <a:pt x="24" y="41"/>
                        </a:cubicBezTo>
                        <a:cubicBezTo>
                          <a:pt x="2" y="16"/>
                          <a:pt x="2" y="16"/>
                          <a:pt x="2" y="16"/>
                        </a:cubicBezTo>
                        <a:cubicBezTo>
                          <a:pt x="0" y="13"/>
                          <a:pt x="0" y="8"/>
                          <a:pt x="2" y="5"/>
                        </a:cubicBezTo>
                        <a:cubicBezTo>
                          <a:pt x="3" y="3"/>
                          <a:pt x="3" y="3"/>
                          <a:pt x="3" y="3"/>
                        </a:cubicBezTo>
                        <a:cubicBezTo>
                          <a:pt x="6" y="0"/>
                          <a:pt x="11" y="0"/>
                          <a:pt x="14" y="2"/>
                        </a:cubicBezTo>
                        <a:lnTo>
                          <a:pt x="42"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41" name="Freeform 34">
                    <a:extLst>
                      <a:ext uri="{FF2B5EF4-FFF2-40B4-BE49-F238E27FC236}">
                        <a16:creationId xmlns:a16="http://schemas.microsoft.com/office/drawing/2014/main" id="{BA02107D-59AB-466D-9372-925302BD36ED}"/>
                      </a:ext>
                    </a:extLst>
                  </p:cNvPr>
                  <p:cNvSpPr>
                    <a:spLocks/>
                  </p:cNvSpPr>
                  <p:nvPr/>
                </p:nvSpPr>
                <p:spPr bwMode="auto">
                  <a:xfrm>
                    <a:off x="4639" y="2001"/>
                    <a:ext cx="67" cy="63"/>
                  </a:xfrm>
                  <a:custGeom>
                    <a:avLst/>
                    <a:gdLst>
                      <a:gd name="T0" fmla="*/ 4 w 47"/>
                      <a:gd name="T1" fmla="*/ 24 h 44"/>
                      <a:gd name="T2" fmla="*/ 3 w 47"/>
                      <a:gd name="T3" fmla="*/ 14 h 44"/>
                      <a:gd name="T4" fmla="*/ 13 w 47"/>
                      <a:gd name="T5" fmla="*/ 3 h 44"/>
                      <a:gd name="T6" fmla="*/ 22 w 47"/>
                      <a:gd name="T7" fmla="*/ 3 h 44"/>
                      <a:gd name="T8" fmla="*/ 44 w 47"/>
                      <a:gd name="T9" fmla="*/ 28 h 44"/>
                      <a:gd name="T10" fmla="*/ 44 w 47"/>
                      <a:gd name="T11" fmla="*/ 40 h 44"/>
                      <a:gd name="T12" fmla="*/ 43 w 47"/>
                      <a:gd name="T13" fmla="*/ 41 h 44"/>
                      <a:gd name="T14" fmla="*/ 32 w 47"/>
                      <a:gd name="T15" fmla="*/ 42 h 44"/>
                      <a:gd name="T16" fmla="*/ 4 w 47"/>
                      <a:gd name="T17"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4">
                        <a:moveTo>
                          <a:pt x="4" y="24"/>
                        </a:moveTo>
                        <a:cubicBezTo>
                          <a:pt x="1" y="22"/>
                          <a:pt x="0" y="17"/>
                          <a:pt x="3" y="14"/>
                        </a:cubicBezTo>
                        <a:cubicBezTo>
                          <a:pt x="13" y="3"/>
                          <a:pt x="13" y="3"/>
                          <a:pt x="13" y="3"/>
                        </a:cubicBezTo>
                        <a:cubicBezTo>
                          <a:pt x="15" y="0"/>
                          <a:pt x="20" y="0"/>
                          <a:pt x="22" y="3"/>
                        </a:cubicBezTo>
                        <a:cubicBezTo>
                          <a:pt x="44" y="28"/>
                          <a:pt x="44" y="28"/>
                          <a:pt x="44" y="28"/>
                        </a:cubicBezTo>
                        <a:cubicBezTo>
                          <a:pt x="47" y="32"/>
                          <a:pt x="47" y="37"/>
                          <a:pt x="44" y="40"/>
                        </a:cubicBezTo>
                        <a:cubicBezTo>
                          <a:pt x="43" y="41"/>
                          <a:pt x="43" y="41"/>
                          <a:pt x="43" y="41"/>
                        </a:cubicBezTo>
                        <a:cubicBezTo>
                          <a:pt x="40" y="44"/>
                          <a:pt x="35" y="44"/>
                          <a:pt x="32" y="42"/>
                        </a:cubicBezTo>
                        <a:lnTo>
                          <a:pt x="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42" name="Freeform 35">
                    <a:extLst>
                      <a:ext uri="{FF2B5EF4-FFF2-40B4-BE49-F238E27FC236}">
                        <a16:creationId xmlns:a16="http://schemas.microsoft.com/office/drawing/2014/main" id="{247E8358-9032-47CF-9F81-A3F1826B2D6C}"/>
                      </a:ext>
                    </a:extLst>
                  </p:cNvPr>
                  <p:cNvSpPr>
                    <a:spLocks/>
                  </p:cNvSpPr>
                  <p:nvPr/>
                </p:nvSpPr>
                <p:spPr bwMode="auto">
                  <a:xfrm>
                    <a:off x="4494" y="2009"/>
                    <a:ext cx="63" cy="68"/>
                  </a:xfrm>
                  <a:custGeom>
                    <a:avLst/>
                    <a:gdLst>
                      <a:gd name="T0" fmla="*/ 20 w 44"/>
                      <a:gd name="T1" fmla="*/ 4 h 47"/>
                      <a:gd name="T2" fmla="*/ 30 w 44"/>
                      <a:gd name="T3" fmla="*/ 3 h 47"/>
                      <a:gd name="T4" fmla="*/ 41 w 44"/>
                      <a:gd name="T5" fmla="*/ 12 h 47"/>
                      <a:gd name="T6" fmla="*/ 41 w 44"/>
                      <a:gd name="T7" fmla="*/ 22 h 47"/>
                      <a:gd name="T8" fmla="*/ 16 w 44"/>
                      <a:gd name="T9" fmla="*/ 44 h 47"/>
                      <a:gd name="T10" fmla="*/ 5 w 44"/>
                      <a:gd name="T11" fmla="*/ 44 h 47"/>
                      <a:gd name="T12" fmla="*/ 4 w 44"/>
                      <a:gd name="T13" fmla="*/ 43 h 47"/>
                      <a:gd name="T14" fmla="*/ 2 w 44"/>
                      <a:gd name="T15" fmla="*/ 32 h 47"/>
                      <a:gd name="T16" fmla="*/ 20 w 44"/>
                      <a:gd name="T17"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7">
                        <a:moveTo>
                          <a:pt x="20" y="4"/>
                        </a:moveTo>
                        <a:cubicBezTo>
                          <a:pt x="23" y="1"/>
                          <a:pt x="27" y="0"/>
                          <a:pt x="30" y="3"/>
                        </a:cubicBezTo>
                        <a:cubicBezTo>
                          <a:pt x="41" y="12"/>
                          <a:pt x="41" y="12"/>
                          <a:pt x="41" y="12"/>
                        </a:cubicBezTo>
                        <a:cubicBezTo>
                          <a:pt x="44" y="15"/>
                          <a:pt x="44" y="19"/>
                          <a:pt x="41" y="22"/>
                        </a:cubicBezTo>
                        <a:cubicBezTo>
                          <a:pt x="16" y="44"/>
                          <a:pt x="16" y="44"/>
                          <a:pt x="16" y="44"/>
                        </a:cubicBezTo>
                        <a:cubicBezTo>
                          <a:pt x="13" y="47"/>
                          <a:pt x="8" y="46"/>
                          <a:pt x="5" y="44"/>
                        </a:cubicBezTo>
                        <a:cubicBezTo>
                          <a:pt x="4" y="43"/>
                          <a:pt x="4" y="43"/>
                          <a:pt x="4" y="43"/>
                        </a:cubicBezTo>
                        <a:cubicBezTo>
                          <a:pt x="1" y="40"/>
                          <a:pt x="0" y="35"/>
                          <a:pt x="2" y="32"/>
                        </a:cubicBezTo>
                        <a:lnTo>
                          <a:pt x="2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43" name="Freeform 36">
                    <a:extLst>
                      <a:ext uri="{FF2B5EF4-FFF2-40B4-BE49-F238E27FC236}">
                        <a16:creationId xmlns:a16="http://schemas.microsoft.com/office/drawing/2014/main" id="{D685C995-1861-4703-9D16-F5DE4F2D0192}"/>
                      </a:ext>
                    </a:extLst>
                  </p:cNvPr>
                  <p:cNvSpPr>
                    <a:spLocks/>
                  </p:cNvSpPr>
                  <p:nvPr/>
                </p:nvSpPr>
                <p:spPr bwMode="auto">
                  <a:xfrm>
                    <a:off x="4630" y="1853"/>
                    <a:ext cx="64" cy="66"/>
                  </a:xfrm>
                  <a:custGeom>
                    <a:avLst/>
                    <a:gdLst>
                      <a:gd name="T0" fmla="*/ 24 w 45"/>
                      <a:gd name="T1" fmla="*/ 42 h 46"/>
                      <a:gd name="T2" fmla="*/ 14 w 45"/>
                      <a:gd name="T3" fmla="*/ 43 h 46"/>
                      <a:gd name="T4" fmla="*/ 3 w 45"/>
                      <a:gd name="T5" fmla="*/ 34 h 46"/>
                      <a:gd name="T6" fmla="*/ 3 w 45"/>
                      <a:gd name="T7" fmla="*/ 24 h 46"/>
                      <a:gd name="T8" fmla="*/ 29 w 45"/>
                      <a:gd name="T9" fmla="*/ 2 h 46"/>
                      <a:gd name="T10" fmla="*/ 40 w 45"/>
                      <a:gd name="T11" fmla="*/ 2 h 46"/>
                      <a:gd name="T12" fmla="*/ 41 w 45"/>
                      <a:gd name="T13" fmla="*/ 3 h 46"/>
                      <a:gd name="T14" fmla="*/ 42 w 45"/>
                      <a:gd name="T15" fmla="*/ 14 h 46"/>
                      <a:gd name="T16" fmla="*/ 24 w 45"/>
                      <a:gd name="T17"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6">
                        <a:moveTo>
                          <a:pt x="24" y="42"/>
                        </a:moveTo>
                        <a:cubicBezTo>
                          <a:pt x="22" y="46"/>
                          <a:pt x="17" y="46"/>
                          <a:pt x="14" y="43"/>
                        </a:cubicBezTo>
                        <a:cubicBezTo>
                          <a:pt x="3" y="34"/>
                          <a:pt x="3" y="34"/>
                          <a:pt x="3" y="34"/>
                        </a:cubicBezTo>
                        <a:cubicBezTo>
                          <a:pt x="0" y="31"/>
                          <a:pt x="0" y="27"/>
                          <a:pt x="3" y="24"/>
                        </a:cubicBezTo>
                        <a:cubicBezTo>
                          <a:pt x="29" y="2"/>
                          <a:pt x="29" y="2"/>
                          <a:pt x="29" y="2"/>
                        </a:cubicBezTo>
                        <a:cubicBezTo>
                          <a:pt x="32" y="0"/>
                          <a:pt x="37" y="0"/>
                          <a:pt x="40" y="2"/>
                        </a:cubicBezTo>
                        <a:cubicBezTo>
                          <a:pt x="41" y="3"/>
                          <a:pt x="41" y="3"/>
                          <a:pt x="41" y="3"/>
                        </a:cubicBezTo>
                        <a:cubicBezTo>
                          <a:pt x="44" y="6"/>
                          <a:pt x="45" y="11"/>
                          <a:pt x="42" y="14"/>
                        </a:cubicBezTo>
                        <a:lnTo>
                          <a:pt x="2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44" name="Freeform 37">
                    <a:extLst>
                      <a:ext uri="{FF2B5EF4-FFF2-40B4-BE49-F238E27FC236}">
                        <a16:creationId xmlns:a16="http://schemas.microsoft.com/office/drawing/2014/main" id="{E3B03157-34BD-468D-ABC3-30518C01AD55}"/>
                      </a:ext>
                    </a:extLst>
                  </p:cNvPr>
                  <p:cNvSpPr>
                    <a:spLocks/>
                  </p:cNvSpPr>
                  <p:nvPr/>
                </p:nvSpPr>
                <p:spPr bwMode="auto">
                  <a:xfrm>
                    <a:off x="4568" y="1821"/>
                    <a:ext cx="40" cy="71"/>
                  </a:xfrm>
                  <a:custGeom>
                    <a:avLst/>
                    <a:gdLst>
                      <a:gd name="T0" fmla="*/ 28 w 28"/>
                      <a:gd name="T1" fmla="*/ 40 h 49"/>
                      <a:gd name="T2" fmla="*/ 22 w 28"/>
                      <a:gd name="T3" fmla="*/ 47 h 49"/>
                      <a:gd name="T4" fmla="*/ 7 w 28"/>
                      <a:gd name="T5" fmla="*/ 48 h 49"/>
                      <a:gd name="T6" fmla="*/ 0 w 28"/>
                      <a:gd name="T7" fmla="*/ 42 h 49"/>
                      <a:gd name="T8" fmla="*/ 3 w 28"/>
                      <a:gd name="T9" fmla="*/ 8 h 49"/>
                      <a:gd name="T10" fmla="*/ 11 w 28"/>
                      <a:gd name="T11" fmla="*/ 0 h 49"/>
                      <a:gd name="T12" fmla="*/ 12 w 28"/>
                      <a:gd name="T13" fmla="*/ 0 h 49"/>
                      <a:gd name="T14" fmla="*/ 21 w 28"/>
                      <a:gd name="T15" fmla="*/ 7 h 49"/>
                      <a:gd name="T16" fmla="*/ 28 w 28"/>
                      <a:gd name="T17" fmla="*/ 4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9">
                        <a:moveTo>
                          <a:pt x="28" y="40"/>
                        </a:moveTo>
                        <a:cubicBezTo>
                          <a:pt x="28" y="44"/>
                          <a:pt x="26" y="47"/>
                          <a:pt x="22" y="47"/>
                        </a:cubicBezTo>
                        <a:cubicBezTo>
                          <a:pt x="7" y="48"/>
                          <a:pt x="7" y="48"/>
                          <a:pt x="7" y="48"/>
                        </a:cubicBezTo>
                        <a:cubicBezTo>
                          <a:pt x="3" y="49"/>
                          <a:pt x="0" y="46"/>
                          <a:pt x="0" y="42"/>
                        </a:cubicBezTo>
                        <a:cubicBezTo>
                          <a:pt x="3" y="8"/>
                          <a:pt x="3" y="8"/>
                          <a:pt x="3" y="8"/>
                        </a:cubicBezTo>
                        <a:cubicBezTo>
                          <a:pt x="3" y="4"/>
                          <a:pt x="6" y="1"/>
                          <a:pt x="11" y="0"/>
                        </a:cubicBezTo>
                        <a:cubicBezTo>
                          <a:pt x="12" y="0"/>
                          <a:pt x="12" y="0"/>
                          <a:pt x="12" y="0"/>
                        </a:cubicBezTo>
                        <a:cubicBezTo>
                          <a:pt x="16" y="0"/>
                          <a:pt x="20" y="3"/>
                          <a:pt x="21" y="7"/>
                        </a:cubicBezTo>
                        <a:lnTo>
                          <a:pt x="28"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45" name="Freeform 38">
                    <a:extLst>
                      <a:ext uri="{FF2B5EF4-FFF2-40B4-BE49-F238E27FC236}">
                        <a16:creationId xmlns:a16="http://schemas.microsoft.com/office/drawing/2014/main" id="{35EBA115-8CEF-4C61-989C-1EB04BD0AA40}"/>
                      </a:ext>
                    </a:extLst>
                  </p:cNvPr>
                  <p:cNvSpPr>
                    <a:spLocks/>
                  </p:cNvSpPr>
                  <p:nvPr/>
                </p:nvSpPr>
                <p:spPr bwMode="auto">
                  <a:xfrm>
                    <a:off x="4578" y="2036"/>
                    <a:ext cx="42" cy="71"/>
                  </a:xfrm>
                  <a:custGeom>
                    <a:avLst/>
                    <a:gdLst>
                      <a:gd name="T0" fmla="*/ 1 w 29"/>
                      <a:gd name="T1" fmla="*/ 9 h 49"/>
                      <a:gd name="T2" fmla="*/ 7 w 29"/>
                      <a:gd name="T3" fmla="*/ 2 h 49"/>
                      <a:gd name="T4" fmla="*/ 21 w 29"/>
                      <a:gd name="T5" fmla="*/ 1 h 49"/>
                      <a:gd name="T6" fmla="*/ 28 w 29"/>
                      <a:gd name="T7" fmla="*/ 8 h 49"/>
                      <a:gd name="T8" fmla="*/ 26 w 29"/>
                      <a:gd name="T9" fmla="*/ 41 h 49"/>
                      <a:gd name="T10" fmla="*/ 18 w 29"/>
                      <a:gd name="T11" fmla="*/ 49 h 49"/>
                      <a:gd name="T12" fmla="*/ 17 w 29"/>
                      <a:gd name="T13" fmla="*/ 49 h 49"/>
                      <a:gd name="T14" fmla="*/ 8 w 29"/>
                      <a:gd name="T15" fmla="*/ 42 h 49"/>
                      <a:gd name="T16" fmla="*/ 1 w 29"/>
                      <a:gd name="T17"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49">
                        <a:moveTo>
                          <a:pt x="1" y="9"/>
                        </a:moveTo>
                        <a:cubicBezTo>
                          <a:pt x="0" y="5"/>
                          <a:pt x="3" y="2"/>
                          <a:pt x="7" y="2"/>
                        </a:cubicBezTo>
                        <a:cubicBezTo>
                          <a:pt x="21" y="1"/>
                          <a:pt x="21" y="1"/>
                          <a:pt x="21" y="1"/>
                        </a:cubicBezTo>
                        <a:cubicBezTo>
                          <a:pt x="26" y="0"/>
                          <a:pt x="29" y="4"/>
                          <a:pt x="28" y="8"/>
                        </a:cubicBezTo>
                        <a:cubicBezTo>
                          <a:pt x="26" y="41"/>
                          <a:pt x="26" y="41"/>
                          <a:pt x="26" y="41"/>
                        </a:cubicBezTo>
                        <a:cubicBezTo>
                          <a:pt x="26" y="45"/>
                          <a:pt x="22" y="49"/>
                          <a:pt x="18" y="49"/>
                        </a:cubicBezTo>
                        <a:cubicBezTo>
                          <a:pt x="17" y="49"/>
                          <a:pt x="17" y="49"/>
                          <a:pt x="17" y="49"/>
                        </a:cubicBezTo>
                        <a:cubicBezTo>
                          <a:pt x="13" y="49"/>
                          <a:pt x="9" y="46"/>
                          <a:pt x="8" y="42"/>
                        </a:cubicBezTo>
                        <a:lnTo>
                          <a:pt x="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46" name="Freeform 39">
                    <a:extLst>
                      <a:ext uri="{FF2B5EF4-FFF2-40B4-BE49-F238E27FC236}">
                        <a16:creationId xmlns:a16="http://schemas.microsoft.com/office/drawing/2014/main" id="{3466FD20-067F-443D-BD8C-473EE329C474}"/>
                      </a:ext>
                    </a:extLst>
                  </p:cNvPr>
                  <p:cNvSpPr>
                    <a:spLocks/>
                  </p:cNvSpPr>
                  <p:nvPr/>
                </p:nvSpPr>
                <p:spPr bwMode="auto">
                  <a:xfrm>
                    <a:off x="4451" y="1949"/>
                    <a:ext cx="70" cy="40"/>
                  </a:xfrm>
                  <a:custGeom>
                    <a:avLst/>
                    <a:gdLst>
                      <a:gd name="T0" fmla="*/ 40 w 49"/>
                      <a:gd name="T1" fmla="*/ 1 h 28"/>
                      <a:gd name="T2" fmla="*/ 48 w 49"/>
                      <a:gd name="T3" fmla="*/ 7 h 28"/>
                      <a:gd name="T4" fmla="*/ 49 w 49"/>
                      <a:gd name="T5" fmla="*/ 21 h 28"/>
                      <a:gd name="T6" fmla="*/ 42 w 49"/>
                      <a:gd name="T7" fmla="*/ 28 h 28"/>
                      <a:gd name="T8" fmla="*/ 8 w 49"/>
                      <a:gd name="T9" fmla="*/ 26 h 28"/>
                      <a:gd name="T10" fmla="*/ 0 w 49"/>
                      <a:gd name="T11" fmla="*/ 18 h 28"/>
                      <a:gd name="T12" fmla="*/ 0 w 49"/>
                      <a:gd name="T13" fmla="*/ 16 h 28"/>
                      <a:gd name="T14" fmla="*/ 7 w 49"/>
                      <a:gd name="T15" fmla="*/ 8 h 28"/>
                      <a:gd name="T16" fmla="*/ 40 w 49"/>
                      <a:gd name="T17"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8">
                        <a:moveTo>
                          <a:pt x="40" y="1"/>
                        </a:moveTo>
                        <a:cubicBezTo>
                          <a:pt x="44" y="0"/>
                          <a:pt x="47" y="3"/>
                          <a:pt x="48" y="7"/>
                        </a:cubicBezTo>
                        <a:cubicBezTo>
                          <a:pt x="49" y="21"/>
                          <a:pt x="49" y="21"/>
                          <a:pt x="49" y="21"/>
                        </a:cubicBezTo>
                        <a:cubicBezTo>
                          <a:pt x="49" y="25"/>
                          <a:pt x="46" y="28"/>
                          <a:pt x="42" y="28"/>
                        </a:cubicBezTo>
                        <a:cubicBezTo>
                          <a:pt x="8" y="26"/>
                          <a:pt x="8" y="26"/>
                          <a:pt x="8" y="26"/>
                        </a:cubicBezTo>
                        <a:cubicBezTo>
                          <a:pt x="4" y="25"/>
                          <a:pt x="1" y="22"/>
                          <a:pt x="0" y="18"/>
                        </a:cubicBezTo>
                        <a:cubicBezTo>
                          <a:pt x="0" y="16"/>
                          <a:pt x="0" y="16"/>
                          <a:pt x="0" y="16"/>
                        </a:cubicBezTo>
                        <a:cubicBezTo>
                          <a:pt x="0" y="12"/>
                          <a:pt x="3" y="8"/>
                          <a:pt x="7" y="8"/>
                        </a:cubicBezTo>
                        <a:lnTo>
                          <a:pt x="4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47" name="Freeform 40">
                    <a:extLst>
                      <a:ext uri="{FF2B5EF4-FFF2-40B4-BE49-F238E27FC236}">
                        <a16:creationId xmlns:a16="http://schemas.microsoft.com/office/drawing/2014/main" id="{C1A06C39-8E55-44C0-BB29-030F9C9D0F9E}"/>
                      </a:ext>
                    </a:extLst>
                  </p:cNvPr>
                  <p:cNvSpPr>
                    <a:spLocks/>
                  </p:cNvSpPr>
                  <p:nvPr/>
                </p:nvSpPr>
                <p:spPr bwMode="auto">
                  <a:xfrm>
                    <a:off x="4667" y="1939"/>
                    <a:ext cx="69" cy="40"/>
                  </a:xfrm>
                  <a:custGeom>
                    <a:avLst/>
                    <a:gdLst>
                      <a:gd name="T0" fmla="*/ 9 w 48"/>
                      <a:gd name="T1" fmla="*/ 27 h 28"/>
                      <a:gd name="T2" fmla="*/ 1 w 48"/>
                      <a:gd name="T3" fmla="*/ 22 h 28"/>
                      <a:gd name="T4" fmla="*/ 0 w 48"/>
                      <a:gd name="T5" fmla="*/ 7 h 28"/>
                      <a:gd name="T6" fmla="*/ 7 w 48"/>
                      <a:gd name="T7" fmla="*/ 0 h 28"/>
                      <a:gd name="T8" fmla="*/ 40 w 48"/>
                      <a:gd name="T9" fmla="*/ 2 h 28"/>
                      <a:gd name="T10" fmla="*/ 48 w 48"/>
                      <a:gd name="T11" fmla="*/ 10 h 28"/>
                      <a:gd name="T12" fmla="*/ 48 w 48"/>
                      <a:gd name="T13" fmla="*/ 12 h 28"/>
                      <a:gd name="T14" fmla="*/ 41 w 48"/>
                      <a:gd name="T15" fmla="*/ 21 h 28"/>
                      <a:gd name="T16" fmla="*/ 9 w 48"/>
                      <a:gd name="T1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8">
                        <a:moveTo>
                          <a:pt x="9" y="27"/>
                        </a:moveTo>
                        <a:cubicBezTo>
                          <a:pt x="5" y="28"/>
                          <a:pt x="1" y="26"/>
                          <a:pt x="1" y="22"/>
                        </a:cubicBezTo>
                        <a:cubicBezTo>
                          <a:pt x="0" y="7"/>
                          <a:pt x="0" y="7"/>
                          <a:pt x="0" y="7"/>
                        </a:cubicBezTo>
                        <a:cubicBezTo>
                          <a:pt x="0" y="3"/>
                          <a:pt x="3" y="0"/>
                          <a:pt x="7" y="0"/>
                        </a:cubicBezTo>
                        <a:cubicBezTo>
                          <a:pt x="40" y="2"/>
                          <a:pt x="40" y="2"/>
                          <a:pt x="40" y="2"/>
                        </a:cubicBezTo>
                        <a:cubicBezTo>
                          <a:pt x="44" y="3"/>
                          <a:pt x="48" y="6"/>
                          <a:pt x="48" y="10"/>
                        </a:cubicBezTo>
                        <a:cubicBezTo>
                          <a:pt x="48" y="12"/>
                          <a:pt x="48" y="12"/>
                          <a:pt x="48" y="12"/>
                        </a:cubicBezTo>
                        <a:cubicBezTo>
                          <a:pt x="48" y="16"/>
                          <a:pt x="45" y="20"/>
                          <a:pt x="41" y="21"/>
                        </a:cubicBezTo>
                        <a:lnTo>
                          <a:pt x="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48" name="Freeform 41">
                    <a:extLst>
                      <a:ext uri="{FF2B5EF4-FFF2-40B4-BE49-F238E27FC236}">
                        <a16:creationId xmlns:a16="http://schemas.microsoft.com/office/drawing/2014/main" id="{D6BAC30A-1DA0-4AFA-AEEC-4C436D736404}"/>
                      </a:ext>
                    </a:extLst>
                  </p:cNvPr>
                  <p:cNvSpPr>
                    <a:spLocks/>
                  </p:cNvSpPr>
                  <p:nvPr/>
                </p:nvSpPr>
                <p:spPr bwMode="auto">
                  <a:xfrm>
                    <a:off x="4482" y="1864"/>
                    <a:ext cx="66" cy="63"/>
                  </a:xfrm>
                  <a:custGeom>
                    <a:avLst/>
                    <a:gdLst>
                      <a:gd name="T0" fmla="*/ 42 w 46"/>
                      <a:gd name="T1" fmla="*/ 20 h 44"/>
                      <a:gd name="T2" fmla="*/ 44 w 46"/>
                      <a:gd name="T3" fmla="*/ 30 h 44"/>
                      <a:gd name="T4" fmla="*/ 34 w 46"/>
                      <a:gd name="T5" fmla="*/ 41 h 44"/>
                      <a:gd name="T6" fmla="*/ 24 w 46"/>
                      <a:gd name="T7" fmla="*/ 41 h 44"/>
                      <a:gd name="T8" fmla="*/ 2 w 46"/>
                      <a:gd name="T9" fmla="*/ 16 h 44"/>
                      <a:gd name="T10" fmla="*/ 2 w 46"/>
                      <a:gd name="T11" fmla="*/ 5 h 44"/>
                      <a:gd name="T12" fmla="*/ 3 w 46"/>
                      <a:gd name="T13" fmla="*/ 3 h 44"/>
                      <a:gd name="T14" fmla="*/ 14 w 46"/>
                      <a:gd name="T15" fmla="*/ 2 h 44"/>
                      <a:gd name="T16" fmla="*/ 42 w 46"/>
                      <a:gd name="T17"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4">
                        <a:moveTo>
                          <a:pt x="42" y="20"/>
                        </a:moveTo>
                        <a:cubicBezTo>
                          <a:pt x="46" y="23"/>
                          <a:pt x="46" y="27"/>
                          <a:pt x="44" y="30"/>
                        </a:cubicBezTo>
                        <a:cubicBezTo>
                          <a:pt x="34" y="41"/>
                          <a:pt x="34" y="41"/>
                          <a:pt x="34" y="41"/>
                        </a:cubicBezTo>
                        <a:cubicBezTo>
                          <a:pt x="31" y="44"/>
                          <a:pt x="27" y="44"/>
                          <a:pt x="24" y="41"/>
                        </a:cubicBezTo>
                        <a:cubicBezTo>
                          <a:pt x="2" y="16"/>
                          <a:pt x="2" y="16"/>
                          <a:pt x="2" y="16"/>
                        </a:cubicBezTo>
                        <a:cubicBezTo>
                          <a:pt x="0" y="13"/>
                          <a:pt x="0" y="8"/>
                          <a:pt x="2" y="5"/>
                        </a:cubicBezTo>
                        <a:cubicBezTo>
                          <a:pt x="3" y="3"/>
                          <a:pt x="3" y="3"/>
                          <a:pt x="3" y="3"/>
                        </a:cubicBezTo>
                        <a:cubicBezTo>
                          <a:pt x="6" y="0"/>
                          <a:pt x="11" y="0"/>
                          <a:pt x="14" y="2"/>
                        </a:cubicBezTo>
                        <a:lnTo>
                          <a:pt x="42"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49" name="Freeform 42">
                    <a:extLst>
                      <a:ext uri="{FF2B5EF4-FFF2-40B4-BE49-F238E27FC236}">
                        <a16:creationId xmlns:a16="http://schemas.microsoft.com/office/drawing/2014/main" id="{D46810AB-EB49-4CAE-AF56-96CD90734EA8}"/>
                      </a:ext>
                    </a:extLst>
                  </p:cNvPr>
                  <p:cNvSpPr>
                    <a:spLocks/>
                  </p:cNvSpPr>
                  <p:nvPr/>
                </p:nvSpPr>
                <p:spPr bwMode="auto">
                  <a:xfrm>
                    <a:off x="4639" y="2001"/>
                    <a:ext cx="67" cy="63"/>
                  </a:xfrm>
                  <a:custGeom>
                    <a:avLst/>
                    <a:gdLst>
                      <a:gd name="T0" fmla="*/ 4 w 47"/>
                      <a:gd name="T1" fmla="*/ 24 h 44"/>
                      <a:gd name="T2" fmla="*/ 3 w 47"/>
                      <a:gd name="T3" fmla="*/ 14 h 44"/>
                      <a:gd name="T4" fmla="*/ 13 w 47"/>
                      <a:gd name="T5" fmla="*/ 3 h 44"/>
                      <a:gd name="T6" fmla="*/ 22 w 47"/>
                      <a:gd name="T7" fmla="*/ 3 h 44"/>
                      <a:gd name="T8" fmla="*/ 44 w 47"/>
                      <a:gd name="T9" fmla="*/ 28 h 44"/>
                      <a:gd name="T10" fmla="*/ 44 w 47"/>
                      <a:gd name="T11" fmla="*/ 40 h 44"/>
                      <a:gd name="T12" fmla="*/ 43 w 47"/>
                      <a:gd name="T13" fmla="*/ 41 h 44"/>
                      <a:gd name="T14" fmla="*/ 32 w 47"/>
                      <a:gd name="T15" fmla="*/ 42 h 44"/>
                      <a:gd name="T16" fmla="*/ 4 w 47"/>
                      <a:gd name="T17"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4">
                        <a:moveTo>
                          <a:pt x="4" y="24"/>
                        </a:moveTo>
                        <a:cubicBezTo>
                          <a:pt x="1" y="22"/>
                          <a:pt x="0" y="17"/>
                          <a:pt x="3" y="14"/>
                        </a:cubicBezTo>
                        <a:cubicBezTo>
                          <a:pt x="13" y="3"/>
                          <a:pt x="13" y="3"/>
                          <a:pt x="13" y="3"/>
                        </a:cubicBezTo>
                        <a:cubicBezTo>
                          <a:pt x="15" y="0"/>
                          <a:pt x="20" y="0"/>
                          <a:pt x="22" y="3"/>
                        </a:cubicBezTo>
                        <a:cubicBezTo>
                          <a:pt x="44" y="28"/>
                          <a:pt x="44" y="28"/>
                          <a:pt x="44" y="28"/>
                        </a:cubicBezTo>
                        <a:cubicBezTo>
                          <a:pt x="47" y="32"/>
                          <a:pt x="47" y="37"/>
                          <a:pt x="44" y="40"/>
                        </a:cubicBezTo>
                        <a:cubicBezTo>
                          <a:pt x="43" y="41"/>
                          <a:pt x="43" y="41"/>
                          <a:pt x="43" y="41"/>
                        </a:cubicBezTo>
                        <a:cubicBezTo>
                          <a:pt x="40" y="44"/>
                          <a:pt x="35" y="44"/>
                          <a:pt x="32" y="42"/>
                        </a:cubicBezTo>
                        <a:lnTo>
                          <a:pt x="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50" name="Freeform 43">
                    <a:extLst>
                      <a:ext uri="{FF2B5EF4-FFF2-40B4-BE49-F238E27FC236}">
                        <a16:creationId xmlns:a16="http://schemas.microsoft.com/office/drawing/2014/main" id="{431B11FB-E5C0-4655-8C7F-57FE569E8C66}"/>
                      </a:ext>
                    </a:extLst>
                  </p:cNvPr>
                  <p:cNvSpPr>
                    <a:spLocks/>
                  </p:cNvSpPr>
                  <p:nvPr/>
                </p:nvSpPr>
                <p:spPr bwMode="auto">
                  <a:xfrm>
                    <a:off x="4494" y="2009"/>
                    <a:ext cx="63" cy="68"/>
                  </a:xfrm>
                  <a:custGeom>
                    <a:avLst/>
                    <a:gdLst>
                      <a:gd name="T0" fmla="*/ 20 w 44"/>
                      <a:gd name="T1" fmla="*/ 4 h 47"/>
                      <a:gd name="T2" fmla="*/ 30 w 44"/>
                      <a:gd name="T3" fmla="*/ 3 h 47"/>
                      <a:gd name="T4" fmla="*/ 41 w 44"/>
                      <a:gd name="T5" fmla="*/ 12 h 47"/>
                      <a:gd name="T6" fmla="*/ 41 w 44"/>
                      <a:gd name="T7" fmla="*/ 22 h 47"/>
                      <a:gd name="T8" fmla="*/ 16 w 44"/>
                      <a:gd name="T9" fmla="*/ 44 h 47"/>
                      <a:gd name="T10" fmla="*/ 5 w 44"/>
                      <a:gd name="T11" fmla="*/ 44 h 47"/>
                      <a:gd name="T12" fmla="*/ 4 w 44"/>
                      <a:gd name="T13" fmla="*/ 43 h 47"/>
                      <a:gd name="T14" fmla="*/ 2 w 44"/>
                      <a:gd name="T15" fmla="*/ 32 h 47"/>
                      <a:gd name="T16" fmla="*/ 20 w 44"/>
                      <a:gd name="T17"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7">
                        <a:moveTo>
                          <a:pt x="20" y="4"/>
                        </a:moveTo>
                        <a:cubicBezTo>
                          <a:pt x="23" y="1"/>
                          <a:pt x="27" y="0"/>
                          <a:pt x="30" y="3"/>
                        </a:cubicBezTo>
                        <a:cubicBezTo>
                          <a:pt x="41" y="12"/>
                          <a:pt x="41" y="12"/>
                          <a:pt x="41" y="12"/>
                        </a:cubicBezTo>
                        <a:cubicBezTo>
                          <a:pt x="44" y="15"/>
                          <a:pt x="44" y="19"/>
                          <a:pt x="41" y="22"/>
                        </a:cubicBezTo>
                        <a:cubicBezTo>
                          <a:pt x="16" y="44"/>
                          <a:pt x="16" y="44"/>
                          <a:pt x="16" y="44"/>
                        </a:cubicBezTo>
                        <a:cubicBezTo>
                          <a:pt x="13" y="47"/>
                          <a:pt x="8" y="46"/>
                          <a:pt x="5" y="44"/>
                        </a:cubicBezTo>
                        <a:cubicBezTo>
                          <a:pt x="4" y="43"/>
                          <a:pt x="4" y="43"/>
                          <a:pt x="4" y="43"/>
                        </a:cubicBezTo>
                        <a:cubicBezTo>
                          <a:pt x="1" y="40"/>
                          <a:pt x="0" y="35"/>
                          <a:pt x="2" y="32"/>
                        </a:cubicBezTo>
                        <a:lnTo>
                          <a:pt x="2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51" name="Freeform 44">
                    <a:extLst>
                      <a:ext uri="{FF2B5EF4-FFF2-40B4-BE49-F238E27FC236}">
                        <a16:creationId xmlns:a16="http://schemas.microsoft.com/office/drawing/2014/main" id="{0CF5FFE4-8CB2-4F93-9CC9-FD6293EC3C87}"/>
                      </a:ext>
                    </a:extLst>
                  </p:cNvPr>
                  <p:cNvSpPr>
                    <a:spLocks/>
                  </p:cNvSpPr>
                  <p:nvPr/>
                </p:nvSpPr>
                <p:spPr bwMode="auto">
                  <a:xfrm>
                    <a:off x="4630" y="1853"/>
                    <a:ext cx="64" cy="66"/>
                  </a:xfrm>
                  <a:custGeom>
                    <a:avLst/>
                    <a:gdLst>
                      <a:gd name="T0" fmla="*/ 24 w 45"/>
                      <a:gd name="T1" fmla="*/ 42 h 46"/>
                      <a:gd name="T2" fmla="*/ 14 w 45"/>
                      <a:gd name="T3" fmla="*/ 43 h 46"/>
                      <a:gd name="T4" fmla="*/ 3 w 45"/>
                      <a:gd name="T5" fmla="*/ 34 h 46"/>
                      <a:gd name="T6" fmla="*/ 3 w 45"/>
                      <a:gd name="T7" fmla="*/ 24 h 46"/>
                      <a:gd name="T8" fmla="*/ 29 w 45"/>
                      <a:gd name="T9" fmla="*/ 2 h 46"/>
                      <a:gd name="T10" fmla="*/ 40 w 45"/>
                      <a:gd name="T11" fmla="*/ 2 h 46"/>
                      <a:gd name="T12" fmla="*/ 41 w 45"/>
                      <a:gd name="T13" fmla="*/ 3 h 46"/>
                      <a:gd name="T14" fmla="*/ 42 w 45"/>
                      <a:gd name="T15" fmla="*/ 14 h 46"/>
                      <a:gd name="T16" fmla="*/ 24 w 45"/>
                      <a:gd name="T17"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6">
                        <a:moveTo>
                          <a:pt x="24" y="42"/>
                        </a:moveTo>
                        <a:cubicBezTo>
                          <a:pt x="22" y="46"/>
                          <a:pt x="17" y="46"/>
                          <a:pt x="14" y="43"/>
                        </a:cubicBezTo>
                        <a:cubicBezTo>
                          <a:pt x="3" y="34"/>
                          <a:pt x="3" y="34"/>
                          <a:pt x="3" y="34"/>
                        </a:cubicBezTo>
                        <a:cubicBezTo>
                          <a:pt x="0" y="31"/>
                          <a:pt x="0" y="27"/>
                          <a:pt x="3" y="24"/>
                        </a:cubicBezTo>
                        <a:cubicBezTo>
                          <a:pt x="29" y="2"/>
                          <a:pt x="29" y="2"/>
                          <a:pt x="29" y="2"/>
                        </a:cubicBezTo>
                        <a:cubicBezTo>
                          <a:pt x="32" y="0"/>
                          <a:pt x="37" y="0"/>
                          <a:pt x="40" y="2"/>
                        </a:cubicBezTo>
                        <a:cubicBezTo>
                          <a:pt x="41" y="3"/>
                          <a:pt x="41" y="3"/>
                          <a:pt x="41" y="3"/>
                        </a:cubicBezTo>
                        <a:cubicBezTo>
                          <a:pt x="44" y="6"/>
                          <a:pt x="45" y="11"/>
                          <a:pt x="42" y="14"/>
                        </a:cubicBezTo>
                        <a:lnTo>
                          <a:pt x="2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52" name="Freeform 45">
                    <a:extLst>
                      <a:ext uri="{FF2B5EF4-FFF2-40B4-BE49-F238E27FC236}">
                        <a16:creationId xmlns:a16="http://schemas.microsoft.com/office/drawing/2014/main" id="{98851948-3B22-42B1-9B20-8890A0202991}"/>
                      </a:ext>
                    </a:extLst>
                  </p:cNvPr>
                  <p:cNvSpPr>
                    <a:spLocks/>
                  </p:cNvSpPr>
                  <p:nvPr/>
                </p:nvSpPr>
                <p:spPr bwMode="auto">
                  <a:xfrm>
                    <a:off x="4521" y="1834"/>
                    <a:ext cx="56" cy="71"/>
                  </a:xfrm>
                  <a:custGeom>
                    <a:avLst/>
                    <a:gdLst>
                      <a:gd name="T0" fmla="*/ 36 w 39"/>
                      <a:gd name="T1" fmla="*/ 32 h 49"/>
                      <a:gd name="T2" fmla="*/ 34 w 39"/>
                      <a:gd name="T3" fmla="*/ 41 h 49"/>
                      <a:gd name="T4" fmla="*/ 21 w 39"/>
                      <a:gd name="T5" fmla="*/ 48 h 49"/>
                      <a:gd name="T6" fmla="*/ 12 w 39"/>
                      <a:gd name="T7" fmla="*/ 44 h 49"/>
                      <a:gd name="T8" fmla="*/ 1 w 39"/>
                      <a:gd name="T9" fmla="*/ 12 h 49"/>
                      <a:gd name="T10" fmla="*/ 5 w 39"/>
                      <a:gd name="T11" fmla="*/ 2 h 49"/>
                      <a:gd name="T12" fmla="*/ 7 w 39"/>
                      <a:gd name="T13" fmla="*/ 1 h 49"/>
                      <a:gd name="T14" fmla="*/ 17 w 39"/>
                      <a:gd name="T15" fmla="*/ 4 h 49"/>
                      <a:gd name="T16" fmla="*/ 36 w 39"/>
                      <a:gd name="T17"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49">
                        <a:moveTo>
                          <a:pt x="36" y="32"/>
                        </a:moveTo>
                        <a:cubicBezTo>
                          <a:pt x="39" y="35"/>
                          <a:pt x="38" y="39"/>
                          <a:pt x="34" y="41"/>
                        </a:cubicBezTo>
                        <a:cubicBezTo>
                          <a:pt x="21" y="48"/>
                          <a:pt x="21" y="48"/>
                          <a:pt x="21" y="48"/>
                        </a:cubicBezTo>
                        <a:cubicBezTo>
                          <a:pt x="17" y="49"/>
                          <a:pt x="13" y="48"/>
                          <a:pt x="12" y="44"/>
                        </a:cubicBezTo>
                        <a:cubicBezTo>
                          <a:pt x="1" y="12"/>
                          <a:pt x="1" y="12"/>
                          <a:pt x="1" y="12"/>
                        </a:cubicBezTo>
                        <a:cubicBezTo>
                          <a:pt x="0" y="8"/>
                          <a:pt x="2" y="4"/>
                          <a:pt x="5" y="2"/>
                        </a:cubicBezTo>
                        <a:cubicBezTo>
                          <a:pt x="7" y="1"/>
                          <a:pt x="7" y="1"/>
                          <a:pt x="7" y="1"/>
                        </a:cubicBezTo>
                        <a:cubicBezTo>
                          <a:pt x="10" y="0"/>
                          <a:pt x="15" y="1"/>
                          <a:pt x="17" y="4"/>
                        </a:cubicBezTo>
                        <a:lnTo>
                          <a:pt x="36"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53" name="Freeform 46">
                    <a:extLst>
                      <a:ext uri="{FF2B5EF4-FFF2-40B4-BE49-F238E27FC236}">
                        <a16:creationId xmlns:a16="http://schemas.microsoft.com/office/drawing/2014/main" id="{A81821E5-4989-4FD3-B350-51CA04BAA805}"/>
                      </a:ext>
                    </a:extLst>
                  </p:cNvPr>
                  <p:cNvSpPr>
                    <a:spLocks/>
                  </p:cNvSpPr>
                  <p:nvPr/>
                </p:nvSpPr>
                <p:spPr bwMode="auto">
                  <a:xfrm>
                    <a:off x="4611" y="2023"/>
                    <a:ext cx="56" cy="72"/>
                  </a:xfrm>
                  <a:custGeom>
                    <a:avLst/>
                    <a:gdLst>
                      <a:gd name="T0" fmla="*/ 2 w 39"/>
                      <a:gd name="T1" fmla="*/ 17 h 50"/>
                      <a:gd name="T2" fmla="*/ 4 w 39"/>
                      <a:gd name="T3" fmla="*/ 8 h 50"/>
                      <a:gd name="T4" fmla="*/ 18 w 39"/>
                      <a:gd name="T5" fmla="*/ 1 h 50"/>
                      <a:gd name="T6" fmla="*/ 27 w 39"/>
                      <a:gd name="T7" fmla="*/ 5 h 50"/>
                      <a:gd name="T8" fmla="*/ 37 w 39"/>
                      <a:gd name="T9" fmla="*/ 37 h 50"/>
                      <a:gd name="T10" fmla="*/ 33 w 39"/>
                      <a:gd name="T11" fmla="*/ 47 h 50"/>
                      <a:gd name="T12" fmla="*/ 32 w 39"/>
                      <a:gd name="T13" fmla="*/ 48 h 50"/>
                      <a:gd name="T14" fmla="*/ 21 w 39"/>
                      <a:gd name="T15" fmla="*/ 45 h 50"/>
                      <a:gd name="T16" fmla="*/ 2 w 39"/>
                      <a:gd name="T17"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50">
                        <a:moveTo>
                          <a:pt x="2" y="17"/>
                        </a:moveTo>
                        <a:cubicBezTo>
                          <a:pt x="0" y="14"/>
                          <a:pt x="1" y="10"/>
                          <a:pt x="4" y="8"/>
                        </a:cubicBezTo>
                        <a:cubicBezTo>
                          <a:pt x="18" y="1"/>
                          <a:pt x="18" y="1"/>
                          <a:pt x="18" y="1"/>
                        </a:cubicBezTo>
                        <a:cubicBezTo>
                          <a:pt x="21" y="0"/>
                          <a:pt x="25" y="1"/>
                          <a:pt x="27" y="5"/>
                        </a:cubicBezTo>
                        <a:cubicBezTo>
                          <a:pt x="37" y="37"/>
                          <a:pt x="37" y="37"/>
                          <a:pt x="37" y="37"/>
                        </a:cubicBezTo>
                        <a:cubicBezTo>
                          <a:pt x="39" y="41"/>
                          <a:pt x="37" y="45"/>
                          <a:pt x="33" y="47"/>
                        </a:cubicBezTo>
                        <a:cubicBezTo>
                          <a:pt x="32" y="48"/>
                          <a:pt x="32" y="48"/>
                          <a:pt x="32" y="48"/>
                        </a:cubicBezTo>
                        <a:cubicBezTo>
                          <a:pt x="28" y="50"/>
                          <a:pt x="23" y="48"/>
                          <a:pt x="21" y="45"/>
                        </a:cubicBezTo>
                        <a:lnTo>
                          <a:pt x="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54" name="Freeform 47">
                    <a:extLst>
                      <a:ext uri="{FF2B5EF4-FFF2-40B4-BE49-F238E27FC236}">
                        <a16:creationId xmlns:a16="http://schemas.microsoft.com/office/drawing/2014/main" id="{121F0F1F-F4AF-40E4-B44D-0FACC7D75174}"/>
                      </a:ext>
                    </a:extLst>
                  </p:cNvPr>
                  <p:cNvSpPr>
                    <a:spLocks/>
                  </p:cNvSpPr>
                  <p:nvPr/>
                </p:nvSpPr>
                <p:spPr bwMode="auto">
                  <a:xfrm>
                    <a:off x="4464" y="1982"/>
                    <a:ext cx="71" cy="54"/>
                  </a:xfrm>
                  <a:custGeom>
                    <a:avLst/>
                    <a:gdLst>
                      <a:gd name="T0" fmla="*/ 32 w 50"/>
                      <a:gd name="T1" fmla="*/ 2 h 38"/>
                      <a:gd name="T2" fmla="*/ 41 w 50"/>
                      <a:gd name="T3" fmla="*/ 4 h 38"/>
                      <a:gd name="T4" fmla="*/ 48 w 50"/>
                      <a:gd name="T5" fmla="*/ 17 h 38"/>
                      <a:gd name="T6" fmla="*/ 44 w 50"/>
                      <a:gd name="T7" fmla="*/ 26 h 38"/>
                      <a:gd name="T8" fmla="*/ 12 w 50"/>
                      <a:gd name="T9" fmla="*/ 37 h 38"/>
                      <a:gd name="T10" fmla="*/ 2 w 50"/>
                      <a:gd name="T11" fmla="*/ 33 h 38"/>
                      <a:gd name="T12" fmla="*/ 2 w 50"/>
                      <a:gd name="T13" fmla="*/ 32 h 38"/>
                      <a:gd name="T14" fmla="*/ 4 w 50"/>
                      <a:gd name="T15" fmla="*/ 21 h 38"/>
                      <a:gd name="T16" fmla="*/ 32 w 50"/>
                      <a:gd name="T17"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8">
                        <a:moveTo>
                          <a:pt x="32" y="2"/>
                        </a:moveTo>
                        <a:cubicBezTo>
                          <a:pt x="35" y="0"/>
                          <a:pt x="39" y="1"/>
                          <a:pt x="41" y="4"/>
                        </a:cubicBezTo>
                        <a:cubicBezTo>
                          <a:pt x="48" y="17"/>
                          <a:pt x="48" y="17"/>
                          <a:pt x="48" y="17"/>
                        </a:cubicBezTo>
                        <a:cubicBezTo>
                          <a:pt x="50" y="21"/>
                          <a:pt x="48" y="25"/>
                          <a:pt x="44" y="26"/>
                        </a:cubicBezTo>
                        <a:cubicBezTo>
                          <a:pt x="12" y="37"/>
                          <a:pt x="12" y="37"/>
                          <a:pt x="12" y="37"/>
                        </a:cubicBezTo>
                        <a:cubicBezTo>
                          <a:pt x="9" y="38"/>
                          <a:pt x="4" y="37"/>
                          <a:pt x="2" y="33"/>
                        </a:cubicBezTo>
                        <a:cubicBezTo>
                          <a:pt x="2" y="32"/>
                          <a:pt x="2" y="32"/>
                          <a:pt x="2" y="32"/>
                        </a:cubicBezTo>
                        <a:cubicBezTo>
                          <a:pt x="0" y="28"/>
                          <a:pt x="1" y="23"/>
                          <a:pt x="4" y="21"/>
                        </a:cubicBezTo>
                        <a:lnTo>
                          <a:pt x="3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55" name="Freeform 48">
                    <a:extLst>
                      <a:ext uri="{FF2B5EF4-FFF2-40B4-BE49-F238E27FC236}">
                        <a16:creationId xmlns:a16="http://schemas.microsoft.com/office/drawing/2014/main" id="{7E01D03A-4E2C-41AD-9E1E-24B37C36DE3D}"/>
                      </a:ext>
                    </a:extLst>
                  </p:cNvPr>
                  <p:cNvSpPr>
                    <a:spLocks/>
                  </p:cNvSpPr>
                  <p:nvPr/>
                </p:nvSpPr>
                <p:spPr bwMode="auto">
                  <a:xfrm>
                    <a:off x="4653" y="1892"/>
                    <a:ext cx="72" cy="56"/>
                  </a:xfrm>
                  <a:custGeom>
                    <a:avLst/>
                    <a:gdLst>
                      <a:gd name="T0" fmla="*/ 18 w 50"/>
                      <a:gd name="T1" fmla="*/ 36 h 39"/>
                      <a:gd name="T2" fmla="*/ 8 w 50"/>
                      <a:gd name="T3" fmla="*/ 34 h 39"/>
                      <a:gd name="T4" fmla="*/ 2 w 50"/>
                      <a:gd name="T5" fmla="*/ 21 h 39"/>
                      <a:gd name="T6" fmla="*/ 5 w 50"/>
                      <a:gd name="T7" fmla="*/ 12 h 39"/>
                      <a:gd name="T8" fmla="*/ 37 w 50"/>
                      <a:gd name="T9" fmla="*/ 1 h 39"/>
                      <a:gd name="T10" fmla="*/ 47 w 50"/>
                      <a:gd name="T11" fmla="*/ 5 h 39"/>
                      <a:gd name="T12" fmla="*/ 48 w 50"/>
                      <a:gd name="T13" fmla="*/ 6 h 39"/>
                      <a:gd name="T14" fmla="*/ 45 w 50"/>
                      <a:gd name="T15" fmla="*/ 17 h 39"/>
                      <a:gd name="T16" fmla="*/ 18 w 50"/>
                      <a:gd name="T17" fmla="*/ 3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9">
                        <a:moveTo>
                          <a:pt x="18" y="36"/>
                        </a:moveTo>
                        <a:cubicBezTo>
                          <a:pt x="14" y="39"/>
                          <a:pt x="10" y="38"/>
                          <a:pt x="8" y="34"/>
                        </a:cubicBezTo>
                        <a:cubicBezTo>
                          <a:pt x="2" y="21"/>
                          <a:pt x="2" y="21"/>
                          <a:pt x="2" y="21"/>
                        </a:cubicBezTo>
                        <a:cubicBezTo>
                          <a:pt x="0" y="17"/>
                          <a:pt x="1" y="13"/>
                          <a:pt x="5" y="12"/>
                        </a:cubicBezTo>
                        <a:cubicBezTo>
                          <a:pt x="37" y="1"/>
                          <a:pt x="37" y="1"/>
                          <a:pt x="37" y="1"/>
                        </a:cubicBezTo>
                        <a:cubicBezTo>
                          <a:pt x="41" y="0"/>
                          <a:pt x="45" y="2"/>
                          <a:pt x="47" y="5"/>
                        </a:cubicBezTo>
                        <a:cubicBezTo>
                          <a:pt x="48" y="6"/>
                          <a:pt x="48" y="6"/>
                          <a:pt x="48" y="6"/>
                        </a:cubicBezTo>
                        <a:cubicBezTo>
                          <a:pt x="50" y="10"/>
                          <a:pt x="48" y="15"/>
                          <a:pt x="45" y="17"/>
                        </a:cubicBezTo>
                        <a:lnTo>
                          <a:pt x="1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56" name="Freeform 49">
                    <a:extLst>
                      <a:ext uri="{FF2B5EF4-FFF2-40B4-BE49-F238E27FC236}">
                        <a16:creationId xmlns:a16="http://schemas.microsoft.com/office/drawing/2014/main" id="{104D32A4-D54C-44EE-9EDE-F4E23FECED0C}"/>
                      </a:ext>
                    </a:extLst>
                  </p:cNvPr>
                  <p:cNvSpPr>
                    <a:spLocks/>
                  </p:cNvSpPr>
                  <p:nvPr/>
                </p:nvSpPr>
                <p:spPr bwMode="auto">
                  <a:xfrm>
                    <a:off x="4456" y="1909"/>
                    <a:ext cx="72" cy="50"/>
                  </a:xfrm>
                  <a:custGeom>
                    <a:avLst/>
                    <a:gdLst>
                      <a:gd name="T0" fmla="*/ 44 w 50"/>
                      <a:gd name="T1" fmla="*/ 7 h 35"/>
                      <a:gd name="T2" fmla="*/ 49 w 50"/>
                      <a:gd name="T3" fmla="*/ 15 h 35"/>
                      <a:gd name="T4" fmla="*/ 44 w 50"/>
                      <a:gd name="T5" fmla="*/ 29 h 35"/>
                      <a:gd name="T6" fmla="*/ 35 w 50"/>
                      <a:gd name="T7" fmla="*/ 33 h 35"/>
                      <a:gd name="T8" fmla="*/ 5 w 50"/>
                      <a:gd name="T9" fmla="*/ 18 h 35"/>
                      <a:gd name="T10" fmla="*/ 1 w 50"/>
                      <a:gd name="T11" fmla="*/ 8 h 35"/>
                      <a:gd name="T12" fmla="*/ 1 w 50"/>
                      <a:gd name="T13" fmla="*/ 7 h 35"/>
                      <a:gd name="T14" fmla="*/ 11 w 50"/>
                      <a:gd name="T15" fmla="*/ 1 h 35"/>
                      <a:gd name="T16" fmla="*/ 44 w 50"/>
                      <a:gd name="T17"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5">
                        <a:moveTo>
                          <a:pt x="44" y="7"/>
                        </a:moveTo>
                        <a:cubicBezTo>
                          <a:pt x="48" y="8"/>
                          <a:pt x="50" y="11"/>
                          <a:pt x="49" y="15"/>
                        </a:cubicBezTo>
                        <a:cubicBezTo>
                          <a:pt x="44" y="29"/>
                          <a:pt x="44" y="29"/>
                          <a:pt x="44" y="29"/>
                        </a:cubicBezTo>
                        <a:cubicBezTo>
                          <a:pt x="43" y="33"/>
                          <a:pt x="39" y="35"/>
                          <a:pt x="35" y="33"/>
                        </a:cubicBezTo>
                        <a:cubicBezTo>
                          <a:pt x="5" y="18"/>
                          <a:pt x="5" y="18"/>
                          <a:pt x="5" y="18"/>
                        </a:cubicBezTo>
                        <a:cubicBezTo>
                          <a:pt x="2" y="16"/>
                          <a:pt x="0" y="12"/>
                          <a:pt x="1" y="8"/>
                        </a:cubicBezTo>
                        <a:cubicBezTo>
                          <a:pt x="1" y="7"/>
                          <a:pt x="1" y="7"/>
                          <a:pt x="1" y="7"/>
                        </a:cubicBezTo>
                        <a:cubicBezTo>
                          <a:pt x="3" y="3"/>
                          <a:pt x="7" y="0"/>
                          <a:pt x="11" y="1"/>
                        </a:cubicBezTo>
                        <a:lnTo>
                          <a:pt x="4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57" name="Freeform 50">
                    <a:extLst>
                      <a:ext uri="{FF2B5EF4-FFF2-40B4-BE49-F238E27FC236}">
                        <a16:creationId xmlns:a16="http://schemas.microsoft.com/office/drawing/2014/main" id="{72162828-8DF2-44FC-8E08-E3E3903648FC}"/>
                      </a:ext>
                    </a:extLst>
                  </p:cNvPr>
                  <p:cNvSpPr>
                    <a:spLocks/>
                  </p:cNvSpPr>
                  <p:nvPr/>
                </p:nvSpPr>
                <p:spPr bwMode="auto">
                  <a:xfrm>
                    <a:off x="4659" y="1969"/>
                    <a:ext cx="73" cy="50"/>
                  </a:xfrm>
                  <a:custGeom>
                    <a:avLst/>
                    <a:gdLst>
                      <a:gd name="T0" fmla="*/ 6 w 51"/>
                      <a:gd name="T1" fmla="*/ 28 h 35"/>
                      <a:gd name="T2" fmla="*/ 2 w 51"/>
                      <a:gd name="T3" fmla="*/ 20 h 35"/>
                      <a:gd name="T4" fmla="*/ 6 w 51"/>
                      <a:gd name="T5" fmla="*/ 6 h 35"/>
                      <a:gd name="T6" fmla="*/ 15 w 51"/>
                      <a:gd name="T7" fmla="*/ 2 h 35"/>
                      <a:gd name="T8" fmla="*/ 45 w 51"/>
                      <a:gd name="T9" fmla="*/ 17 h 35"/>
                      <a:gd name="T10" fmla="*/ 49 w 51"/>
                      <a:gd name="T11" fmla="*/ 27 h 35"/>
                      <a:gd name="T12" fmla="*/ 49 w 51"/>
                      <a:gd name="T13" fmla="*/ 28 h 35"/>
                      <a:gd name="T14" fmla="*/ 39 w 51"/>
                      <a:gd name="T15" fmla="*/ 34 h 35"/>
                      <a:gd name="T16" fmla="*/ 6 w 51"/>
                      <a:gd name="T17"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35">
                        <a:moveTo>
                          <a:pt x="6" y="28"/>
                        </a:moveTo>
                        <a:cubicBezTo>
                          <a:pt x="2" y="27"/>
                          <a:pt x="0" y="24"/>
                          <a:pt x="2" y="20"/>
                        </a:cubicBezTo>
                        <a:cubicBezTo>
                          <a:pt x="6" y="6"/>
                          <a:pt x="6" y="6"/>
                          <a:pt x="6" y="6"/>
                        </a:cubicBezTo>
                        <a:cubicBezTo>
                          <a:pt x="7" y="2"/>
                          <a:pt x="11" y="0"/>
                          <a:pt x="15" y="2"/>
                        </a:cubicBezTo>
                        <a:cubicBezTo>
                          <a:pt x="45" y="17"/>
                          <a:pt x="45" y="17"/>
                          <a:pt x="45" y="17"/>
                        </a:cubicBezTo>
                        <a:cubicBezTo>
                          <a:pt x="49" y="19"/>
                          <a:pt x="51" y="23"/>
                          <a:pt x="49" y="27"/>
                        </a:cubicBezTo>
                        <a:cubicBezTo>
                          <a:pt x="49" y="28"/>
                          <a:pt x="49" y="28"/>
                          <a:pt x="49" y="28"/>
                        </a:cubicBezTo>
                        <a:cubicBezTo>
                          <a:pt x="48" y="32"/>
                          <a:pt x="43" y="35"/>
                          <a:pt x="39" y="34"/>
                        </a:cubicBezTo>
                        <a:lnTo>
                          <a:pt x="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58" name="Freeform 51">
                    <a:extLst>
                      <a:ext uri="{FF2B5EF4-FFF2-40B4-BE49-F238E27FC236}">
                        <a16:creationId xmlns:a16="http://schemas.microsoft.com/office/drawing/2014/main" id="{E332A6F9-5949-470A-9C9D-DE5604091648}"/>
                      </a:ext>
                    </a:extLst>
                  </p:cNvPr>
                  <p:cNvSpPr>
                    <a:spLocks/>
                  </p:cNvSpPr>
                  <p:nvPr/>
                </p:nvSpPr>
                <p:spPr bwMode="auto">
                  <a:xfrm>
                    <a:off x="4538" y="2029"/>
                    <a:ext cx="50" cy="73"/>
                  </a:xfrm>
                  <a:custGeom>
                    <a:avLst/>
                    <a:gdLst>
                      <a:gd name="T0" fmla="*/ 7 w 35"/>
                      <a:gd name="T1" fmla="*/ 6 h 51"/>
                      <a:gd name="T2" fmla="*/ 15 w 35"/>
                      <a:gd name="T3" fmla="*/ 1 h 51"/>
                      <a:gd name="T4" fmla="*/ 29 w 35"/>
                      <a:gd name="T5" fmla="*/ 6 h 51"/>
                      <a:gd name="T6" fmla="*/ 33 w 35"/>
                      <a:gd name="T7" fmla="*/ 15 h 51"/>
                      <a:gd name="T8" fmla="*/ 18 w 35"/>
                      <a:gd name="T9" fmla="*/ 45 h 51"/>
                      <a:gd name="T10" fmla="*/ 8 w 35"/>
                      <a:gd name="T11" fmla="*/ 49 h 51"/>
                      <a:gd name="T12" fmla="*/ 7 w 35"/>
                      <a:gd name="T13" fmla="*/ 49 h 51"/>
                      <a:gd name="T14" fmla="*/ 1 w 35"/>
                      <a:gd name="T15" fmla="*/ 39 h 51"/>
                      <a:gd name="T16" fmla="*/ 7 w 35"/>
                      <a:gd name="T17" fmla="*/ 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51">
                        <a:moveTo>
                          <a:pt x="7" y="6"/>
                        </a:moveTo>
                        <a:cubicBezTo>
                          <a:pt x="8" y="2"/>
                          <a:pt x="12" y="0"/>
                          <a:pt x="15" y="1"/>
                        </a:cubicBezTo>
                        <a:cubicBezTo>
                          <a:pt x="29" y="6"/>
                          <a:pt x="29" y="6"/>
                          <a:pt x="29" y="6"/>
                        </a:cubicBezTo>
                        <a:cubicBezTo>
                          <a:pt x="33" y="7"/>
                          <a:pt x="35" y="11"/>
                          <a:pt x="33" y="15"/>
                        </a:cubicBezTo>
                        <a:cubicBezTo>
                          <a:pt x="18" y="45"/>
                          <a:pt x="18" y="45"/>
                          <a:pt x="18" y="45"/>
                        </a:cubicBezTo>
                        <a:cubicBezTo>
                          <a:pt x="17" y="49"/>
                          <a:pt x="12" y="51"/>
                          <a:pt x="8" y="49"/>
                        </a:cubicBezTo>
                        <a:cubicBezTo>
                          <a:pt x="7" y="49"/>
                          <a:pt x="7" y="49"/>
                          <a:pt x="7" y="49"/>
                        </a:cubicBezTo>
                        <a:cubicBezTo>
                          <a:pt x="3" y="48"/>
                          <a:pt x="0" y="43"/>
                          <a:pt x="1" y="39"/>
                        </a:cubicBezTo>
                        <a:lnTo>
                          <a:pt x="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59" name="Freeform 52">
                    <a:extLst>
                      <a:ext uri="{FF2B5EF4-FFF2-40B4-BE49-F238E27FC236}">
                        <a16:creationId xmlns:a16="http://schemas.microsoft.com/office/drawing/2014/main" id="{11DAEFAF-AE46-4F00-AA10-C8B3785767CC}"/>
                      </a:ext>
                    </a:extLst>
                  </p:cNvPr>
                  <p:cNvSpPr>
                    <a:spLocks/>
                  </p:cNvSpPr>
                  <p:nvPr/>
                </p:nvSpPr>
                <p:spPr bwMode="auto">
                  <a:xfrm>
                    <a:off x="4598" y="1827"/>
                    <a:ext cx="51" cy="72"/>
                  </a:xfrm>
                  <a:custGeom>
                    <a:avLst/>
                    <a:gdLst>
                      <a:gd name="T0" fmla="*/ 28 w 35"/>
                      <a:gd name="T1" fmla="*/ 44 h 50"/>
                      <a:gd name="T2" fmla="*/ 20 w 35"/>
                      <a:gd name="T3" fmla="*/ 49 h 50"/>
                      <a:gd name="T4" fmla="*/ 6 w 35"/>
                      <a:gd name="T5" fmla="*/ 44 h 50"/>
                      <a:gd name="T6" fmla="*/ 2 w 35"/>
                      <a:gd name="T7" fmla="*/ 35 h 50"/>
                      <a:gd name="T8" fmla="*/ 17 w 35"/>
                      <a:gd name="T9" fmla="*/ 5 h 50"/>
                      <a:gd name="T10" fmla="*/ 27 w 35"/>
                      <a:gd name="T11" fmla="*/ 1 h 50"/>
                      <a:gd name="T12" fmla="*/ 29 w 35"/>
                      <a:gd name="T13" fmla="*/ 1 h 50"/>
                      <a:gd name="T14" fmla="*/ 34 w 35"/>
                      <a:gd name="T15" fmla="*/ 11 h 50"/>
                      <a:gd name="T16" fmla="*/ 28 w 35"/>
                      <a:gd name="T17"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50">
                        <a:moveTo>
                          <a:pt x="28" y="44"/>
                        </a:moveTo>
                        <a:cubicBezTo>
                          <a:pt x="28" y="48"/>
                          <a:pt x="24" y="50"/>
                          <a:pt x="20" y="49"/>
                        </a:cubicBezTo>
                        <a:cubicBezTo>
                          <a:pt x="6" y="44"/>
                          <a:pt x="6" y="44"/>
                          <a:pt x="6" y="44"/>
                        </a:cubicBezTo>
                        <a:cubicBezTo>
                          <a:pt x="2" y="43"/>
                          <a:pt x="0" y="39"/>
                          <a:pt x="2" y="35"/>
                        </a:cubicBezTo>
                        <a:cubicBezTo>
                          <a:pt x="17" y="5"/>
                          <a:pt x="17" y="5"/>
                          <a:pt x="17" y="5"/>
                        </a:cubicBezTo>
                        <a:cubicBezTo>
                          <a:pt x="19" y="2"/>
                          <a:pt x="23" y="0"/>
                          <a:pt x="27" y="1"/>
                        </a:cubicBezTo>
                        <a:cubicBezTo>
                          <a:pt x="29" y="1"/>
                          <a:pt x="29" y="1"/>
                          <a:pt x="29" y="1"/>
                        </a:cubicBezTo>
                        <a:cubicBezTo>
                          <a:pt x="32" y="3"/>
                          <a:pt x="35" y="7"/>
                          <a:pt x="34" y="11"/>
                        </a:cubicBezTo>
                        <a:lnTo>
                          <a:pt x="2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60" name="Freeform 53">
                    <a:extLst>
                      <a:ext uri="{FF2B5EF4-FFF2-40B4-BE49-F238E27FC236}">
                        <a16:creationId xmlns:a16="http://schemas.microsoft.com/office/drawing/2014/main" id="{AEACF5A1-F85B-42A4-9966-8C109AC619F2}"/>
                      </a:ext>
                    </a:extLst>
                  </p:cNvPr>
                  <p:cNvSpPr>
                    <a:spLocks noEditPoints="1"/>
                  </p:cNvSpPr>
                  <p:nvPr/>
                </p:nvSpPr>
                <p:spPr bwMode="auto">
                  <a:xfrm>
                    <a:off x="4475" y="1846"/>
                    <a:ext cx="238" cy="238"/>
                  </a:xfrm>
                  <a:custGeom>
                    <a:avLst/>
                    <a:gdLst>
                      <a:gd name="T0" fmla="*/ 163 w 166"/>
                      <a:gd name="T1" fmla="*/ 77 h 166"/>
                      <a:gd name="T2" fmla="*/ 77 w 166"/>
                      <a:gd name="T3" fmla="*/ 2 h 166"/>
                      <a:gd name="T4" fmla="*/ 3 w 166"/>
                      <a:gd name="T5" fmla="*/ 88 h 166"/>
                      <a:gd name="T6" fmla="*/ 88 w 166"/>
                      <a:gd name="T7" fmla="*/ 163 h 166"/>
                      <a:gd name="T8" fmla="*/ 163 w 166"/>
                      <a:gd name="T9" fmla="*/ 77 h 166"/>
                      <a:gd name="T10" fmla="*/ 83 w 166"/>
                      <a:gd name="T11" fmla="*/ 131 h 166"/>
                      <a:gd name="T12" fmla="*/ 34 w 166"/>
                      <a:gd name="T13" fmla="*/ 83 h 166"/>
                      <a:gd name="T14" fmla="*/ 83 w 166"/>
                      <a:gd name="T15" fmla="*/ 34 h 166"/>
                      <a:gd name="T16" fmla="*/ 131 w 166"/>
                      <a:gd name="T17" fmla="*/ 83 h 166"/>
                      <a:gd name="T18" fmla="*/ 83 w 166"/>
                      <a:gd name="T19" fmla="*/ 13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166">
                        <a:moveTo>
                          <a:pt x="163" y="77"/>
                        </a:moveTo>
                        <a:cubicBezTo>
                          <a:pt x="160" y="33"/>
                          <a:pt x="122" y="0"/>
                          <a:pt x="77" y="2"/>
                        </a:cubicBezTo>
                        <a:cubicBezTo>
                          <a:pt x="33" y="5"/>
                          <a:pt x="0" y="44"/>
                          <a:pt x="3" y="88"/>
                        </a:cubicBezTo>
                        <a:cubicBezTo>
                          <a:pt x="6" y="132"/>
                          <a:pt x="44" y="166"/>
                          <a:pt x="88" y="163"/>
                        </a:cubicBezTo>
                        <a:cubicBezTo>
                          <a:pt x="132" y="160"/>
                          <a:pt x="166" y="122"/>
                          <a:pt x="163" y="77"/>
                        </a:cubicBezTo>
                        <a:close/>
                        <a:moveTo>
                          <a:pt x="83" y="131"/>
                        </a:moveTo>
                        <a:cubicBezTo>
                          <a:pt x="56" y="131"/>
                          <a:pt x="34" y="109"/>
                          <a:pt x="34" y="83"/>
                        </a:cubicBezTo>
                        <a:cubicBezTo>
                          <a:pt x="34" y="56"/>
                          <a:pt x="56" y="34"/>
                          <a:pt x="83" y="34"/>
                        </a:cubicBezTo>
                        <a:cubicBezTo>
                          <a:pt x="109" y="34"/>
                          <a:pt x="131" y="56"/>
                          <a:pt x="131" y="83"/>
                        </a:cubicBezTo>
                        <a:cubicBezTo>
                          <a:pt x="131" y="109"/>
                          <a:pt x="109" y="131"/>
                          <a:pt x="83" y="1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grpSp>
      <p:sp>
        <p:nvSpPr>
          <p:cNvPr id="436" name="Oval 23">
            <a:extLst>
              <a:ext uri="{FF2B5EF4-FFF2-40B4-BE49-F238E27FC236}">
                <a16:creationId xmlns:a16="http://schemas.microsoft.com/office/drawing/2014/main" id="{F9FB1CE3-8332-4EC2-B53E-718A7FA741BA}"/>
              </a:ext>
            </a:extLst>
          </p:cNvPr>
          <p:cNvSpPr>
            <a:spLocks noChangeArrowheads="1"/>
          </p:cNvSpPr>
          <p:nvPr/>
        </p:nvSpPr>
        <p:spPr bwMode="auto">
          <a:xfrm>
            <a:off x="5489542" y="3256311"/>
            <a:ext cx="1182654" cy="1184736"/>
          </a:xfrm>
          <a:prstGeom prst="ellipse">
            <a:avLst/>
          </a:prstGeom>
          <a:solidFill>
            <a:schemeClr val="tx2"/>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437" name="Group 436">
            <a:extLst>
              <a:ext uri="{FF2B5EF4-FFF2-40B4-BE49-F238E27FC236}">
                <a16:creationId xmlns:a16="http://schemas.microsoft.com/office/drawing/2014/main" id="{7B39DA74-1454-48D6-B197-6259C8C93496}"/>
              </a:ext>
            </a:extLst>
          </p:cNvPr>
          <p:cNvGrpSpPr/>
          <p:nvPr/>
        </p:nvGrpSpPr>
        <p:grpSpPr>
          <a:xfrm>
            <a:off x="5578371" y="3346184"/>
            <a:ext cx="1004998" cy="1004993"/>
            <a:chOff x="7031510" y="6183940"/>
            <a:chExt cx="899315" cy="899315"/>
          </a:xfrm>
          <a:noFill/>
        </p:grpSpPr>
        <p:sp>
          <p:nvSpPr>
            <p:cNvPr id="438" name="Arc 437">
              <a:extLst>
                <a:ext uri="{FF2B5EF4-FFF2-40B4-BE49-F238E27FC236}">
                  <a16:creationId xmlns:a16="http://schemas.microsoft.com/office/drawing/2014/main" id="{18AEB32A-E812-4E12-B401-78E769B12695}"/>
                </a:ext>
              </a:extLst>
            </p:cNvPr>
            <p:cNvSpPr/>
            <p:nvPr/>
          </p:nvSpPr>
          <p:spPr>
            <a:xfrm>
              <a:off x="7031510" y="6183940"/>
              <a:ext cx="899315" cy="899315"/>
            </a:xfrm>
            <a:prstGeom prst="arc">
              <a:avLst>
                <a:gd name="adj1" fmla="val 16200000"/>
                <a:gd name="adj2" fmla="val 4971885"/>
              </a:avLst>
            </a:prstGeom>
            <a:grpFill/>
            <a:ln w="19050" cap="rnd" cmpd="sng" algn="ctr">
              <a:solidFill>
                <a:srgbClr val="FFFFFF"/>
              </a:solidFill>
              <a:prstDash val="solid"/>
              <a:headEnd type="none" w="lg" len="med"/>
              <a:tailEnd type="arrow" w="sm" len="sm"/>
            </a:ln>
            <a:effectLst/>
          </p:spPr>
          <p:txBody>
            <a:bodyPr rtlCol="0" anchor="ctr"/>
            <a:lstStyle/>
            <a:p>
              <a:pPr marL="0" marR="0" lvl="0" indent="0" algn="ctr" defTabSz="838914" rtl="0" eaLnBrk="1" fontAlgn="auto" latinLnBrk="0" hangingPunct="1">
                <a:lnSpc>
                  <a:spcPct val="100000"/>
                </a:lnSpc>
                <a:spcBef>
                  <a:spcPts val="0"/>
                </a:spcBef>
                <a:spcAft>
                  <a:spcPts val="0"/>
                </a:spcAft>
                <a:buClrTx/>
                <a:buSzTx/>
                <a:buFontTx/>
                <a:buNone/>
                <a:tabLst/>
                <a:defRPr/>
              </a:pPr>
              <a:endParaRPr kumimoji="0" lang="de-DE" sz="1652" b="0" i="0" u="none" strike="noStrike" kern="0" cap="none" spc="0" normalizeH="0" baseline="0" noProof="0">
                <a:ln>
                  <a:noFill/>
                </a:ln>
                <a:solidFill>
                  <a:srgbClr val="1A1A1A"/>
                </a:solidFill>
                <a:effectLst/>
                <a:uLnTx/>
                <a:uFillTx/>
                <a:latin typeface="Segoe UI"/>
                <a:ea typeface="+mn-ea"/>
                <a:cs typeface="+mn-cs"/>
              </a:endParaRPr>
            </a:p>
          </p:txBody>
        </p:sp>
        <p:sp>
          <p:nvSpPr>
            <p:cNvPr id="439" name="Arc 438">
              <a:extLst>
                <a:ext uri="{FF2B5EF4-FFF2-40B4-BE49-F238E27FC236}">
                  <a16:creationId xmlns:a16="http://schemas.microsoft.com/office/drawing/2014/main" id="{7628045B-E0DC-4B09-BB01-06FC32BD030F}"/>
                </a:ext>
              </a:extLst>
            </p:cNvPr>
            <p:cNvSpPr/>
            <p:nvPr/>
          </p:nvSpPr>
          <p:spPr>
            <a:xfrm flipH="1" flipV="1">
              <a:off x="7031510" y="6183940"/>
              <a:ext cx="899315" cy="899315"/>
            </a:xfrm>
            <a:prstGeom prst="arc">
              <a:avLst>
                <a:gd name="adj1" fmla="val 16200000"/>
                <a:gd name="adj2" fmla="val 4971885"/>
              </a:avLst>
            </a:prstGeom>
            <a:grpFill/>
            <a:ln w="19050" cap="rnd" cmpd="sng" algn="ctr">
              <a:solidFill>
                <a:srgbClr val="FFFFFF"/>
              </a:solidFill>
              <a:prstDash val="solid"/>
              <a:headEnd type="none" w="lg" len="med"/>
              <a:tailEnd type="arrow" w="sm" len="sm"/>
            </a:ln>
            <a:effectLst/>
          </p:spPr>
          <p:txBody>
            <a:bodyPr rtlCol="0" anchor="ctr"/>
            <a:lstStyle/>
            <a:p>
              <a:pPr marL="0" marR="0" lvl="0" indent="0" algn="ctr" defTabSz="838914" rtl="0" eaLnBrk="1" fontAlgn="auto" latinLnBrk="0" hangingPunct="1">
                <a:lnSpc>
                  <a:spcPct val="100000"/>
                </a:lnSpc>
                <a:spcBef>
                  <a:spcPts val="0"/>
                </a:spcBef>
                <a:spcAft>
                  <a:spcPts val="0"/>
                </a:spcAft>
                <a:buClrTx/>
                <a:buSzTx/>
                <a:buFontTx/>
                <a:buNone/>
                <a:tabLst/>
                <a:defRPr/>
              </a:pPr>
              <a:endParaRPr kumimoji="0" lang="de-DE" sz="1652" b="0" i="0" u="none" strike="noStrike" kern="0" cap="none" spc="0" normalizeH="0" baseline="0" noProof="0">
                <a:ln>
                  <a:noFill/>
                </a:ln>
                <a:solidFill>
                  <a:srgbClr val="1A1A1A"/>
                </a:solidFill>
                <a:effectLst/>
                <a:uLnTx/>
                <a:uFillTx/>
                <a:latin typeface="Segoe UI"/>
                <a:ea typeface="+mn-ea"/>
                <a:cs typeface="+mn-cs"/>
              </a:endParaRPr>
            </a:p>
          </p:txBody>
        </p:sp>
      </p:grpSp>
      <p:sp>
        <p:nvSpPr>
          <p:cNvPr id="593" name="Rectangle 592">
            <a:extLst>
              <a:ext uri="{FF2B5EF4-FFF2-40B4-BE49-F238E27FC236}">
                <a16:creationId xmlns:a16="http://schemas.microsoft.com/office/drawing/2014/main" id="{971300B7-333F-490B-BCE8-A219EA4E2FEF}"/>
              </a:ext>
            </a:extLst>
          </p:cNvPr>
          <p:cNvSpPr/>
          <p:nvPr/>
        </p:nvSpPr>
        <p:spPr>
          <a:xfrm>
            <a:off x="5587436" y="3607122"/>
            <a:ext cx="1004998" cy="468970"/>
          </a:xfrm>
          <a:prstGeom prst="rect">
            <a:avLst/>
          </a:prstGeom>
        </p:spPr>
        <p:txBody>
          <a:bodyPr wrap="square">
            <a:spAutoFit/>
          </a:bodyPr>
          <a:lstStyle/>
          <a:p>
            <a:pPr marL="0" marR="0" lvl="0" indent="0" algn="ctr" defTabSz="855495" rtl="0" eaLnBrk="1" fontAlgn="base" latinLnBrk="0" hangingPunct="1">
              <a:lnSpc>
                <a:spcPct val="100000"/>
              </a:lnSpc>
              <a:spcBef>
                <a:spcPct val="0"/>
              </a:spcBef>
              <a:spcAft>
                <a:spcPct val="0"/>
              </a:spcAft>
              <a:buClrTx/>
              <a:buSzTx/>
              <a:buFontTx/>
              <a:buNone/>
              <a:tabLst/>
              <a:defRPr/>
            </a:pPr>
            <a:r>
              <a:rPr kumimoji="0" lang="de-DE" sz="1200" b="0" i="0" u="none" strike="noStrike" kern="0" cap="none" spc="0" normalizeH="0" baseline="0" noProof="0">
                <a:ln>
                  <a:noFill/>
                </a:ln>
                <a:solidFill>
                  <a:srgbClr val="FFFFFF"/>
                </a:solidFill>
                <a:effectLst/>
                <a:uLnTx/>
                <a:uFillTx/>
                <a:latin typeface="Segoe UI Semibold"/>
                <a:ea typeface="+mn-ea"/>
                <a:cs typeface="+mn-cs"/>
              </a:rPr>
              <a:t>Data + intelligence</a:t>
            </a:r>
          </a:p>
        </p:txBody>
      </p:sp>
      <p:sp>
        <p:nvSpPr>
          <p:cNvPr id="9" name="Title 8">
            <a:extLst>
              <a:ext uri="{FF2B5EF4-FFF2-40B4-BE49-F238E27FC236}">
                <a16:creationId xmlns:a16="http://schemas.microsoft.com/office/drawing/2014/main" id="{0089B853-50FD-4042-A352-8661A634D693}"/>
              </a:ext>
            </a:extLst>
          </p:cNvPr>
          <p:cNvSpPr>
            <a:spLocks noGrp="1"/>
          </p:cNvSpPr>
          <p:nvPr>
            <p:ph type="title"/>
          </p:nvPr>
        </p:nvSpPr>
        <p:spPr/>
        <p:txBody>
          <a:bodyPr/>
          <a:lstStyle/>
          <a:p>
            <a:r>
              <a:rPr lang="en-US" sz="3600" b="1" spc="-50">
                <a:gradFill>
                  <a:gsLst>
                    <a:gs pos="1250">
                      <a:schemeClr val="tx1"/>
                    </a:gs>
                    <a:gs pos="100000">
                      <a:schemeClr val="tx1"/>
                    </a:gs>
                  </a:gsLst>
                  <a:lin ang="5400000" scaled="0"/>
                </a:gradFill>
              </a:rPr>
              <a:t>Digital Transformation</a:t>
            </a:r>
          </a:p>
        </p:txBody>
      </p:sp>
    </p:spTree>
    <p:extLst>
      <p:ext uri="{BB962C8B-B14F-4D97-AF65-F5344CB8AC3E}">
        <p14:creationId xmlns:p14="http://schemas.microsoft.com/office/powerpoint/2010/main" val="6484173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1.45833E-6 5.55112E-17 L -0.03919 -0.09722 " pathEditMode="relative" rAng="0" ptsTypes="AA">
                                      <p:cBhvr>
                                        <p:cTn id="6" dur="1000" fill="hold"/>
                                        <p:tgtEl>
                                          <p:spTgt spid="465"/>
                                        </p:tgtEl>
                                        <p:attrNameLst>
                                          <p:attrName>ppt_x</p:attrName>
                                          <p:attrName>ppt_y</p:attrName>
                                        </p:attrNameLst>
                                      </p:cBhvr>
                                      <p:rCtr x="-1966" y="-4861"/>
                                    </p:animMotion>
                                  </p:childTnLst>
                                </p:cTn>
                              </p:par>
                              <p:par>
                                <p:cTn id="7" presetID="42" presetClass="path" presetSubtype="0" accel="50000" decel="50000" fill="hold" grpId="0" nodeType="withEffect">
                                  <p:stCondLst>
                                    <p:cond delay="0"/>
                                  </p:stCondLst>
                                  <p:childTnLst>
                                    <p:animMotion origin="layout" path="M 2.08333E-6 4.81481E-6 L 0.04127 -0.09491 " pathEditMode="relative" rAng="0" ptsTypes="AA">
                                      <p:cBhvr>
                                        <p:cTn id="8" dur="1000" fill="hold"/>
                                        <p:tgtEl>
                                          <p:spTgt spid="463"/>
                                        </p:tgtEl>
                                        <p:attrNameLst>
                                          <p:attrName>ppt_x</p:attrName>
                                          <p:attrName>ppt_y</p:attrName>
                                        </p:attrNameLst>
                                      </p:cBhvr>
                                      <p:rCtr x="2057" y="-4745"/>
                                    </p:animMotion>
                                  </p:childTnLst>
                                </p:cTn>
                              </p:par>
                              <p:par>
                                <p:cTn id="9" presetID="42" presetClass="path" presetSubtype="0" accel="50000" decel="50000" fill="hold" grpId="0" nodeType="withEffect">
                                  <p:stCondLst>
                                    <p:cond delay="0"/>
                                  </p:stCondLst>
                                  <p:childTnLst>
                                    <p:animMotion origin="layout" path="M 4.79167E-6 -4.07407E-6 L 0.04127 0.10209 " pathEditMode="relative" rAng="0" ptsTypes="AA">
                                      <p:cBhvr>
                                        <p:cTn id="10" dur="1000" fill="hold"/>
                                        <p:tgtEl>
                                          <p:spTgt spid="464"/>
                                        </p:tgtEl>
                                        <p:attrNameLst>
                                          <p:attrName>ppt_x</p:attrName>
                                          <p:attrName>ppt_y</p:attrName>
                                        </p:attrNameLst>
                                      </p:cBhvr>
                                      <p:rCtr x="2057" y="5093"/>
                                    </p:animMotion>
                                  </p:childTnLst>
                                </p:cTn>
                              </p:par>
                              <p:par>
                                <p:cTn id="11" presetID="42" presetClass="path" presetSubtype="0" accel="50000" decel="50000" fill="hold" grpId="0" nodeType="withEffect">
                                  <p:stCondLst>
                                    <p:cond delay="0"/>
                                  </p:stCondLst>
                                  <p:childTnLst>
                                    <p:animMotion origin="layout" path="M 1.45833E-6 -4.07407E-6 L -0.03412 0.09167 " pathEditMode="relative" rAng="0" ptsTypes="AA">
                                      <p:cBhvr>
                                        <p:cTn id="12" dur="1000" fill="hold"/>
                                        <p:tgtEl>
                                          <p:spTgt spid="466"/>
                                        </p:tgtEl>
                                        <p:attrNameLst>
                                          <p:attrName>ppt_x</p:attrName>
                                          <p:attrName>ppt_y</p:attrName>
                                        </p:attrNameLst>
                                      </p:cBhvr>
                                      <p:rCtr x="-1706" y="4583"/>
                                    </p:animMotion>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403"/>
                                        </p:tgtEl>
                                        <p:attrNameLst>
                                          <p:attrName>style.visibility</p:attrName>
                                        </p:attrNameLst>
                                      </p:cBhvr>
                                      <p:to>
                                        <p:strVal val="visible"/>
                                      </p:to>
                                    </p:set>
                                    <p:animEffect transition="in" filter="fade">
                                      <p:cBhvr>
                                        <p:cTn id="16" dur="500"/>
                                        <p:tgtEl>
                                          <p:spTgt spid="40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1"/>
                                        </p:tgtEl>
                                        <p:attrNameLst>
                                          <p:attrName>style.visibility</p:attrName>
                                        </p:attrNameLst>
                                      </p:cBhvr>
                                      <p:to>
                                        <p:strVal val="visible"/>
                                      </p:to>
                                    </p:set>
                                    <p:animEffect transition="in" filter="fade">
                                      <p:cBhvr>
                                        <p:cTn id="19" dur="500"/>
                                        <p:tgtEl>
                                          <p:spTgt spid="40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0"/>
                                        </p:tgtEl>
                                        <p:attrNameLst>
                                          <p:attrName>style.visibility</p:attrName>
                                        </p:attrNameLst>
                                      </p:cBhvr>
                                      <p:to>
                                        <p:strVal val="visible"/>
                                      </p:to>
                                    </p:set>
                                    <p:animEffect transition="in" filter="fade">
                                      <p:cBhvr>
                                        <p:cTn id="22" dur="500"/>
                                        <p:tgtEl>
                                          <p:spTgt spid="40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2"/>
                                        </p:tgtEl>
                                        <p:attrNameLst>
                                          <p:attrName>style.visibility</p:attrName>
                                        </p:attrNameLst>
                                      </p:cBhvr>
                                      <p:to>
                                        <p:strVal val="visible"/>
                                      </p:to>
                                    </p:set>
                                    <p:animEffect transition="in" filter="fade">
                                      <p:cBhvr>
                                        <p:cTn id="25" dur="500"/>
                                        <p:tgtEl>
                                          <p:spTgt spid="40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36"/>
                                        </p:tgtEl>
                                        <p:attrNameLst>
                                          <p:attrName>style.visibility</p:attrName>
                                        </p:attrNameLst>
                                      </p:cBhvr>
                                      <p:to>
                                        <p:strVal val="visible"/>
                                      </p:to>
                                    </p:set>
                                    <p:animEffect transition="in" filter="fade">
                                      <p:cBhvr>
                                        <p:cTn id="28" dur="500"/>
                                        <p:tgtEl>
                                          <p:spTgt spid="43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93"/>
                                        </p:tgtEl>
                                        <p:attrNameLst>
                                          <p:attrName>style.visibility</p:attrName>
                                        </p:attrNameLst>
                                      </p:cBhvr>
                                      <p:to>
                                        <p:strVal val="visible"/>
                                      </p:to>
                                    </p:set>
                                    <p:animEffect transition="in" filter="fade">
                                      <p:cBhvr>
                                        <p:cTn id="31" dur="500"/>
                                        <p:tgtEl>
                                          <p:spTgt spid="59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11"/>
                                        </p:tgtEl>
                                        <p:attrNameLst>
                                          <p:attrName>style.visibility</p:attrName>
                                        </p:attrNameLst>
                                      </p:cBhvr>
                                      <p:to>
                                        <p:strVal val="visible"/>
                                      </p:to>
                                    </p:set>
                                    <p:animEffect transition="in" filter="fade">
                                      <p:cBhvr>
                                        <p:cTn id="34" dur="500"/>
                                        <p:tgtEl>
                                          <p:spTgt spid="21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12"/>
                                        </p:tgtEl>
                                        <p:attrNameLst>
                                          <p:attrName>style.visibility</p:attrName>
                                        </p:attrNameLst>
                                      </p:cBhvr>
                                      <p:to>
                                        <p:strVal val="visible"/>
                                      </p:to>
                                    </p:set>
                                    <p:animEffect transition="in" filter="fade">
                                      <p:cBhvr>
                                        <p:cTn id="37" dur="500"/>
                                        <p:tgtEl>
                                          <p:spTgt spid="21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13"/>
                                        </p:tgtEl>
                                        <p:attrNameLst>
                                          <p:attrName>style.visibility</p:attrName>
                                        </p:attrNameLst>
                                      </p:cBhvr>
                                      <p:to>
                                        <p:strVal val="visible"/>
                                      </p:to>
                                    </p:set>
                                    <p:animEffect transition="in" filter="fade">
                                      <p:cBhvr>
                                        <p:cTn id="40" dur="500"/>
                                        <p:tgtEl>
                                          <p:spTgt spid="213"/>
                                        </p:tgtEl>
                                      </p:cBhvr>
                                    </p:animEffect>
                                  </p:childTnLst>
                                </p:cTn>
                              </p:par>
                              <p:par>
                                <p:cTn id="41" presetID="8" presetClass="emph" presetSubtype="0" repeatCount="indefinite" accel="50000" decel="50000" fill="hold" nodeType="withEffect">
                                  <p:stCondLst>
                                    <p:cond delay="0"/>
                                  </p:stCondLst>
                                  <p:childTnLst>
                                    <p:animRot by="10800000">
                                      <p:cBhvr>
                                        <p:cTn id="42" dur="2000" fill="hold"/>
                                        <p:tgtEl>
                                          <p:spTgt spid="437"/>
                                        </p:tgtEl>
                                        <p:attrNameLst>
                                          <p:attrName>r</p:attrName>
                                        </p:attrNameLst>
                                      </p:cBhvr>
                                    </p:animRot>
                                  </p:childTnLst>
                                </p:cTn>
                              </p:par>
                              <p:par>
                                <p:cTn id="43" presetID="1" presetClass="entr" presetSubtype="0" fill="hold" grpId="2" nodeType="withEffect">
                                  <p:stCondLst>
                                    <p:cond delay="0"/>
                                  </p:stCondLst>
                                  <p:childTnLst>
                                    <p:set>
                                      <p:cBhvr>
                                        <p:cTn id="44" dur="1" fill="hold">
                                          <p:stCondLst>
                                            <p:cond delay="0"/>
                                          </p:stCondLst>
                                        </p:cTn>
                                        <p:tgtEl>
                                          <p:spTgt spid="396"/>
                                        </p:tgtEl>
                                        <p:attrNameLst>
                                          <p:attrName>style.visibility</p:attrName>
                                        </p:attrNameLst>
                                      </p:cBhvr>
                                      <p:to>
                                        <p:strVal val="visible"/>
                                      </p:to>
                                    </p:set>
                                  </p:childTnLst>
                                </p:cTn>
                              </p:par>
                              <p:par>
                                <p:cTn id="45" presetID="1" presetClass="entr" presetSubtype="0" fill="hold" grpId="2" nodeType="withEffect">
                                  <p:stCondLst>
                                    <p:cond delay="0"/>
                                  </p:stCondLst>
                                  <p:childTnLst>
                                    <p:set>
                                      <p:cBhvr>
                                        <p:cTn id="46" dur="1" fill="hold">
                                          <p:stCondLst>
                                            <p:cond delay="0"/>
                                          </p:stCondLst>
                                        </p:cTn>
                                        <p:tgtEl>
                                          <p:spTgt spid="397"/>
                                        </p:tgtEl>
                                        <p:attrNameLst>
                                          <p:attrName>style.visibility</p:attrName>
                                        </p:attrNameLst>
                                      </p:cBhvr>
                                      <p:to>
                                        <p:strVal val="visible"/>
                                      </p:to>
                                    </p:set>
                                  </p:childTnLst>
                                </p:cTn>
                              </p:par>
                              <p:par>
                                <p:cTn id="47" presetID="1" presetClass="entr" presetSubtype="0" fill="hold" grpId="2" nodeType="withEffect">
                                  <p:stCondLst>
                                    <p:cond delay="0"/>
                                  </p:stCondLst>
                                  <p:childTnLst>
                                    <p:set>
                                      <p:cBhvr>
                                        <p:cTn id="48" dur="1" fill="hold">
                                          <p:stCondLst>
                                            <p:cond delay="0"/>
                                          </p:stCondLst>
                                        </p:cTn>
                                        <p:tgtEl>
                                          <p:spTgt spid="398"/>
                                        </p:tgtEl>
                                        <p:attrNameLst>
                                          <p:attrName>style.visibility</p:attrName>
                                        </p:attrNameLst>
                                      </p:cBhvr>
                                      <p:to>
                                        <p:strVal val="visible"/>
                                      </p:to>
                                    </p:set>
                                  </p:childTnLst>
                                </p:cTn>
                              </p:par>
                              <p:par>
                                <p:cTn id="49" presetID="10" presetClass="exit" presetSubtype="0" repeatCount="indefinite" fill="hold" grpId="0" nodeType="withEffect">
                                  <p:stCondLst>
                                    <p:cond delay="0"/>
                                  </p:stCondLst>
                                  <p:childTnLst>
                                    <p:animEffect transition="out" filter="fade">
                                      <p:cBhvr>
                                        <p:cTn id="50" dur="1500"/>
                                        <p:tgtEl>
                                          <p:spTgt spid="396"/>
                                        </p:tgtEl>
                                      </p:cBhvr>
                                    </p:animEffect>
                                    <p:set>
                                      <p:cBhvr>
                                        <p:cTn id="51" dur="1" fill="hold">
                                          <p:stCondLst>
                                            <p:cond delay="1499"/>
                                          </p:stCondLst>
                                        </p:cTn>
                                        <p:tgtEl>
                                          <p:spTgt spid="396"/>
                                        </p:tgtEl>
                                        <p:attrNameLst>
                                          <p:attrName>style.visibility</p:attrName>
                                        </p:attrNameLst>
                                      </p:cBhvr>
                                      <p:to>
                                        <p:strVal val="hidden"/>
                                      </p:to>
                                    </p:set>
                                  </p:childTnLst>
                                </p:cTn>
                              </p:par>
                              <p:par>
                                <p:cTn id="52" presetID="6" presetClass="emph" presetSubtype="0" repeatCount="indefinite" fill="hold" grpId="1" nodeType="withEffect">
                                  <p:stCondLst>
                                    <p:cond delay="0"/>
                                  </p:stCondLst>
                                  <p:childTnLst>
                                    <p:animScale>
                                      <p:cBhvr>
                                        <p:cTn id="53" dur="1500" fill="hold"/>
                                        <p:tgtEl>
                                          <p:spTgt spid="396"/>
                                        </p:tgtEl>
                                      </p:cBhvr>
                                      <p:by x="450000" y="450000"/>
                                    </p:animScale>
                                  </p:childTnLst>
                                </p:cTn>
                              </p:par>
                              <p:par>
                                <p:cTn id="54" presetID="10" presetClass="exit" presetSubtype="0" repeatCount="indefinite" fill="hold" grpId="0" nodeType="withEffect">
                                  <p:stCondLst>
                                    <p:cond delay="500"/>
                                  </p:stCondLst>
                                  <p:childTnLst>
                                    <p:animEffect transition="out" filter="fade">
                                      <p:cBhvr>
                                        <p:cTn id="55" dur="1500"/>
                                        <p:tgtEl>
                                          <p:spTgt spid="397"/>
                                        </p:tgtEl>
                                      </p:cBhvr>
                                    </p:animEffect>
                                    <p:set>
                                      <p:cBhvr>
                                        <p:cTn id="56" dur="1" fill="hold">
                                          <p:stCondLst>
                                            <p:cond delay="1499"/>
                                          </p:stCondLst>
                                        </p:cTn>
                                        <p:tgtEl>
                                          <p:spTgt spid="397"/>
                                        </p:tgtEl>
                                        <p:attrNameLst>
                                          <p:attrName>style.visibility</p:attrName>
                                        </p:attrNameLst>
                                      </p:cBhvr>
                                      <p:to>
                                        <p:strVal val="hidden"/>
                                      </p:to>
                                    </p:set>
                                  </p:childTnLst>
                                </p:cTn>
                              </p:par>
                              <p:par>
                                <p:cTn id="57" presetID="6" presetClass="emph" presetSubtype="0" repeatCount="indefinite" fill="hold" grpId="1" nodeType="withEffect">
                                  <p:stCondLst>
                                    <p:cond delay="500"/>
                                  </p:stCondLst>
                                  <p:childTnLst>
                                    <p:animScale>
                                      <p:cBhvr>
                                        <p:cTn id="58" dur="1500" fill="hold"/>
                                        <p:tgtEl>
                                          <p:spTgt spid="397"/>
                                        </p:tgtEl>
                                      </p:cBhvr>
                                      <p:by x="450000" y="450000"/>
                                    </p:animScale>
                                  </p:childTnLst>
                                </p:cTn>
                              </p:par>
                              <p:par>
                                <p:cTn id="59" presetID="10" presetClass="exit" presetSubtype="0" repeatCount="indefinite" fill="hold" grpId="0" nodeType="withEffect">
                                  <p:stCondLst>
                                    <p:cond delay="1000"/>
                                  </p:stCondLst>
                                  <p:childTnLst>
                                    <p:animEffect transition="out" filter="fade">
                                      <p:cBhvr>
                                        <p:cTn id="60" dur="1500"/>
                                        <p:tgtEl>
                                          <p:spTgt spid="398"/>
                                        </p:tgtEl>
                                      </p:cBhvr>
                                    </p:animEffect>
                                    <p:set>
                                      <p:cBhvr>
                                        <p:cTn id="61" dur="1" fill="hold">
                                          <p:stCondLst>
                                            <p:cond delay="1499"/>
                                          </p:stCondLst>
                                        </p:cTn>
                                        <p:tgtEl>
                                          <p:spTgt spid="398"/>
                                        </p:tgtEl>
                                        <p:attrNameLst>
                                          <p:attrName>style.visibility</p:attrName>
                                        </p:attrNameLst>
                                      </p:cBhvr>
                                      <p:to>
                                        <p:strVal val="hidden"/>
                                      </p:to>
                                    </p:set>
                                  </p:childTnLst>
                                </p:cTn>
                              </p:par>
                              <p:par>
                                <p:cTn id="62" presetID="6" presetClass="emph" presetSubtype="0" repeatCount="indefinite" fill="hold" grpId="1" nodeType="withEffect">
                                  <p:stCondLst>
                                    <p:cond delay="1000"/>
                                  </p:stCondLst>
                                  <p:childTnLst>
                                    <p:animScale>
                                      <p:cBhvr>
                                        <p:cTn id="63" dur="1500" fill="hold"/>
                                        <p:tgtEl>
                                          <p:spTgt spid="398"/>
                                        </p:tgtEl>
                                      </p:cBhvr>
                                      <p:by x="450000" y="4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1" grpId="0" animBg="1"/>
      <p:bldP spid="212" grpId="0" animBg="1"/>
      <p:bldP spid="213" grpId="0" animBg="1"/>
      <p:bldP spid="396" grpId="0" animBg="1"/>
      <p:bldP spid="396" grpId="1" animBg="1"/>
      <p:bldP spid="396" grpId="2" animBg="1"/>
      <p:bldP spid="397" grpId="0" animBg="1"/>
      <p:bldP spid="397" grpId="1" animBg="1"/>
      <p:bldP spid="397" grpId="2" animBg="1"/>
      <p:bldP spid="398" grpId="0" animBg="1"/>
      <p:bldP spid="398" grpId="1" animBg="1"/>
      <p:bldP spid="398" grpId="2" animBg="1"/>
      <p:bldP spid="400" grpId="0" animBg="1"/>
      <p:bldP spid="401" grpId="0" animBg="1"/>
      <p:bldP spid="402" grpId="0" animBg="1"/>
      <p:bldP spid="403" grpId="0" animBg="1"/>
      <p:bldP spid="463" grpId="0"/>
      <p:bldP spid="464" grpId="0"/>
      <p:bldP spid="465" grpId="0"/>
      <p:bldP spid="466" grpId="0"/>
      <p:bldP spid="436" grpId="0" animBg="1"/>
      <p:bldP spid="59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Freeform 5">
            <a:extLst>
              <a:ext uri="{FF2B5EF4-FFF2-40B4-BE49-F238E27FC236}">
                <a16:creationId xmlns:a16="http://schemas.microsoft.com/office/drawing/2014/main" id="{9C418D10-1C85-45AC-AE05-BB95AB5A9A1B}"/>
              </a:ext>
            </a:extLst>
          </p:cNvPr>
          <p:cNvSpPr>
            <a:spLocks noEditPoints="1"/>
          </p:cNvSpPr>
          <p:nvPr/>
        </p:nvSpPr>
        <p:spPr bwMode="auto">
          <a:xfrm rot="16200000">
            <a:off x="1368308" y="1716403"/>
            <a:ext cx="2277489" cy="3691476"/>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EBEBEB">
              <a:lumMod val="60000"/>
              <a:lumOff val="40000"/>
            </a:srgbClr>
          </a:solidFill>
          <a:ln>
            <a:solidFill>
              <a:srgbClr val="FFFFFF">
                <a:lumMod val="85000"/>
              </a:srgbClr>
            </a:solidFill>
          </a:ln>
        </p:spPr>
        <p:txBody>
          <a:bodyPr vert="horz" wrap="square" lIns="83903" tIns="41951" rIns="83903" bIns="41951" numCol="1" anchor="t" anchorCtr="0" compatLnSpc="1">
            <a:prstTxWarp prst="textNoShape">
              <a:avLst/>
            </a:prstTxWarp>
          </a:bodyPr>
          <a:lstStyle/>
          <a:p>
            <a:pPr marL="0" marR="0" lvl="0" indent="0" algn="l" defTabSz="838914" rtl="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1A1A1A"/>
              </a:solidFill>
              <a:effectLst/>
              <a:uLnTx/>
              <a:uFillTx/>
              <a:latin typeface="Segoe UI"/>
              <a:ea typeface="+mn-ea"/>
              <a:cs typeface="+mn-cs"/>
            </a:endParaRPr>
          </a:p>
        </p:txBody>
      </p:sp>
      <p:sp>
        <p:nvSpPr>
          <p:cNvPr id="156" name="Oval 155">
            <a:extLst>
              <a:ext uri="{FF2B5EF4-FFF2-40B4-BE49-F238E27FC236}">
                <a16:creationId xmlns:a16="http://schemas.microsoft.com/office/drawing/2014/main" id="{EB0E6923-5746-4CC7-B93E-26E3FC9FDA09}"/>
              </a:ext>
            </a:extLst>
          </p:cNvPr>
          <p:cNvSpPr>
            <a:spLocks noChangeAspect="1"/>
          </p:cNvSpPr>
          <p:nvPr/>
        </p:nvSpPr>
        <p:spPr bwMode="auto">
          <a:xfrm>
            <a:off x="2359204" y="2223776"/>
            <a:ext cx="2672783" cy="2672783"/>
          </a:xfrm>
          <a:prstGeom prst="ellipse">
            <a:avLst/>
          </a:prstGeom>
          <a:solidFill>
            <a:schemeClr val="tx2"/>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174" name="Freeform 5">
            <a:extLst>
              <a:ext uri="{FF2B5EF4-FFF2-40B4-BE49-F238E27FC236}">
                <a16:creationId xmlns:a16="http://schemas.microsoft.com/office/drawing/2014/main" id="{C460CCD9-0732-427E-A614-51884F8429AE}"/>
              </a:ext>
            </a:extLst>
          </p:cNvPr>
          <p:cNvSpPr>
            <a:spLocks noEditPoints="1"/>
          </p:cNvSpPr>
          <p:nvPr/>
        </p:nvSpPr>
        <p:spPr bwMode="auto">
          <a:xfrm>
            <a:off x="4955501" y="371843"/>
            <a:ext cx="2277489" cy="3691474"/>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EBEBEB">
              <a:lumMod val="60000"/>
              <a:lumOff val="40000"/>
            </a:srgbClr>
          </a:solidFill>
          <a:ln>
            <a:solidFill>
              <a:srgbClr val="FFFFFF">
                <a:lumMod val="85000"/>
              </a:srgbClr>
            </a:solidFill>
          </a:ln>
        </p:spPr>
        <p:txBody>
          <a:bodyPr vert="horz" wrap="square" lIns="83903" tIns="41951" rIns="83903" bIns="41951" numCol="1" anchor="t" anchorCtr="0" compatLnSpc="1">
            <a:prstTxWarp prst="textNoShape">
              <a:avLst/>
            </a:prstTxWarp>
          </a:bodyPr>
          <a:lstStyle/>
          <a:p>
            <a:pPr marL="0" marR="0" lvl="0" indent="0" algn="l" defTabSz="838914" rtl="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1A1A1A"/>
              </a:solidFill>
              <a:effectLst/>
              <a:uLnTx/>
              <a:uFillTx/>
              <a:latin typeface="Segoe UI"/>
              <a:ea typeface="+mn-ea"/>
              <a:cs typeface="+mn-cs"/>
            </a:endParaRPr>
          </a:p>
        </p:txBody>
      </p:sp>
      <p:sp>
        <p:nvSpPr>
          <p:cNvPr id="175" name="Freeform 5">
            <a:extLst>
              <a:ext uri="{FF2B5EF4-FFF2-40B4-BE49-F238E27FC236}">
                <a16:creationId xmlns:a16="http://schemas.microsoft.com/office/drawing/2014/main" id="{7E526968-13F7-44CB-BFB0-EA829B6015D0}"/>
              </a:ext>
            </a:extLst>
          </p:cNvPr>
          <p:cNvSpPr>
            <a:spLocks noEditPoints="1"/>
          </p:cNvSpPr>
          <p:nvPr/>
        </p:nvSpPr>
        <p:spPr bwMode="auto">
          <a:xfrm rot="10800000">
            <a:off x="4955501" y="2862445"/>
            <a:ext cx="2277489" cy="3691474"/>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EBEBEB">
              <a:lumMod val="60000"/>
              <a:lumOff val="40000"/>
            </a:srgbClr>
          </a:solidFill>
          <a:ln>
            <a:solidFill>
              <a:srgbClr val="FFFFFF">
                <a:lumMod val="85000"/>
              </a:srgbClr>
            </a:solidFill>
          </a:ln>
        </p:spPr>
        <p:txBody>
          <a:bodyPr vert="horz" wrap="square" lIns="83903" tIns="41951" rIns="83903" bIns="41951" numCol="1" anchor="t" anchorCtr="0" compatLnSpc="1">
            <a:prstTxWarp prst="textNoShape">
              <a:avLst/>
            </a:prstTxWarp>
          </a:bodyPr>
          <a:lstStyle/>
          <a:p>
            <a:pPr marL="0" marR="0" lvl="0" indent="0" algn="l" defTabSz="838914" rtl="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1A1A1A"/>
              </a:solidFill>
              <a:effectLst/>
              <a:uLnTx/>
              <a:uFillTx/>
              <a:latin typeface="Segoe UI"/>
              <a:ea typeface="+mn-ea"/>
              <a:cs typeface="+mn-cs"/>
            </a:endParaRPr>
          </a:p>
        </p:txBody>
      </p:sp>
      <p:sp>
        <p:nvSpPr>
          <p:cNvPr id="177" name="Freeform 5">
            <a:extLst>
              <a:ext uri="{FF2B5EF4-FFF2-40B4-BE49-F238E27FC236}">
                <a16:creationId xmlns:a16="http://schemas.microsoft.com/office/drawing/2014/main" id="{0DC45C68-60C4-48A7-BBD9-E68065780CC7}"/>
              </a:ext>
            </a:extLst>
          </p:cNvPr>
          <p:cNvSpPr>
            <a:spLocks noEditPoints="1"/>
          </p:cNvSpPr>
          <p:nvPr/>
        </p:nvSpPr>
        <p:spPr bwMode="auto">
          <a:xfrm rot="5400000">
            <a:off x="8555934" y="1716404"/>
            <a:ext cx="2277489" cy="3691476"/>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EBEBEB">
              <a:lumMod val="60000"/>
              <a:lumOff val="40000"/>
            </a:srgbClr>
          </a:solidFill>
          <a:ln>
            <a:solidFill>
              <a:srgbClr val="FFFFFF">
                <a:lumMod val="85000"/>
              </a:srgbClr>
            </a:solidFill>
          </a:ln>
        </p:spPr>
        <p:txBody>
          <a:bodyPr vert="horz" wrap="square" lIns="83903" tIns="41951" rIns="83903" bIns="41951" numCol="1" anchor="t" anchorCtr="0" compatLnSpc="1">
            <a:prstTxWarp prst="textNoShape">
              <a:avLst/>
            </a:prstTxWarp>
          </a:bodyPr>
          <a:lstStyle/>
          <a:p>
            <a:pPr marL="0" marR="0" lvl="0" indent="0" algn="l" defTabSz="838914" rtl="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1A1A1A"/>
              </a:solidFill>
              <a:effectLst/>
              <a:uLnTx/>
              <a:uFillTx/>
              <a:latin typeface="Segoe UI"/>
              <a:ea typeface="+mn-ea"/>
              <a:cs typeface="+mn-cs"/>
            </a:endParaRPr>
          </a:p>
        </p:txBody>
      </p:sp>
      <p:sp>
        <p:nvSpPr>
          <p:cNvPr id="158" name="Oval 157">
            <a:extLst>
              <a:ext uri="{FF2B5EF4-FFF2-40B4-BE49-F238E27FC236}">
                <a16:creationId xmlns:a16="http://schemas.microsoft.com/office/drawing/2014/main" id="{185283CD-309A-478E-9BC2-54569AB31A01}"/>
              </a:ext>
            </a:extLst>
          </p:cNvPr>
          <p:cNvSpPr>
            <a:spLocks noChangeAspect="1"/>
          </p:cNvSpPr>
          <p:nvPr/>
        </p:nvSpPr>
        <p:spPr bwMode="auto">
          <a:xfrm>
            <a:off x="4757759" y="2227725"/>
            <a:ext cx="2672783" cy="2672783"/>
          </a:xfrm>
          <a:prstGeom prst="ellipse">
            <a:avLst/>
          </a:prstGeom>
          <a:solidFill>
            <a:schemeClr val="tx2"/>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7" name="Oval 156">
            <a:extLst>
              <a:ext uri="{FF2B5EF4-FFF2-40B4-BE49-F238E27FC236}">
                <a16:creationId xmlns:a16="http://schemas.microsoft.com/office/drawing/2014/main" id="{38A2E440-EB7C-4EE1-A357-2D9558E1A845}"/>
              </a:ext>
            </a:extLst>
          </p:cNvPr>
          <p:cNvSpPr>
            <a:spLocks noChangeAspect="1"/>
          </p:cNvSpPr>
          <p:nvPr/>
        </p:nvSpPr>
        <p:spPr bwMode="auto">
          <a:xfrm>
            <a:off x="7156502" y="2227725"/>
            <a:ext cx="2672783" cy="2672783"/>
          </a:xfrm>
          <a:prstGeom prst="ellipse">
            <a:avLst/>
          </a:prstGeom>
          <a:solidFill>
            <a:schemeClr val="tx2"/>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3" name="Rectangle 2">
            <a:extLst>
              <a:ext uri="{FF2B5EF4-FFF2-40B4-BE49-F238E27FC236}">
                <a16:creationId xmlns:a16="http://schemas.microsoft.com/office/drawing/2014/main" id="{26E0D3D9-96C8-43B2-9770-3DA2186F6C3F}"/>
              </a:ext>
            </a:extLst>
          </p:cNvPr>
          <p:cNvSpPr/>
          <p:nvPr/>
        </p:nvSpPr>
        <p:spPr bwMode="auto">
          <a:xfrm>
            <a:off x="7092549" y="2979536"/>
            <a:ext cx="455793" cy="116522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Rectangle 138">
            <a:extLst>
              <a:ext uri="{FF2B5EF4-FFF2-40B4-BE49-F238E27FC236}">
                <a16:creationId xmlns:a16="http://schemas.microsoft.com/office/drawing/2014/main" id="{C7F68E5B-71E6-45EA-842E-A9A6EAD35A51}"/>
              </a:ext>
            </a:extLst>
          </p:cNvPr>
          <p:cNvSpPr/>
          <p:nvPr/>
        </p:nvSpPr>
        <p:spPr bwMode="auto">
          <a:xfrm>
            <a:off x="4687886" y="2979538"/>
            <a:ext cx="455793" cy="116522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C75BCE90-D49A-4C62-95C8-E87DA6817180}"/>
              </a:ext>
            </a:extLst>
          </p:cNvPr>
          <p:cNvSpPr>
            <a:spLocks noGrp="1"/>
          </p:cNvSpPr>
          <p:nvPr>
            <p:ph type="title"/>
          </p:nvPr>
        </p:nvSpPr>
        <p:spPr/>
        <p:txBody>
          <a:bodyPr/>
          <a:lstStyle/>
          <a:p>
            <a:r>
              <a:rPr lang="en-US"/>
              <a:t>Microsoft Cloud</a:t>
            </a:r>
          </a:p>
        </p:txBody>
      </p:sp>
      <p:grpSp>
        <p:nvGrpSpPr>
          <p:cNvPr id="159" name="Azure">
            <a:extLst>
              <a:ext uri="{FF2B5EF4-FFF2-40B4-BE49-F238E27FC236}">
                <a16:creationId xmlns:a16="http://schemas.microsoft.com/office/drawing/2014/main" id="{1ED2A70F-2B90-4465-913B-4D9BA22FAC79}"/>
              </a:ext>
            </a:extLst>
          </p:cNvPr>
          <p:cNvGrpSpPr>
            <a:grpSpLocks noChangeAspect="1"/>
          </p:cNvGrpSpPr>
          <p:nvPr/>
        </p:nvGrpSpPr>
        <p:grpSpPr>
          <a:xfrm>
            <a:off x="2630178" y="2495247"/>
            <a:ext cx="2137744" cy="2137744"/>
            <a:chOff x="552827" y="1275347"/>
            <a:chExt cx="3429000" cy="3429000"/>
          </a:xfrm>
        </p:grpSpPr>
        <p:sp>
          <p:nvSpPr>
            <p:cNvPr id="160" name="Oval 159">
              <a:extLst>
                <a:ext uri="{FF2B5EF4-FFF2-40B4-BE49-F238E27FC236}">
                  <a16:creationId xmlns:a16="http://schemas.microsoft.com/office/drawing/2014/main" id="{EE4ACA56-7BCE-42A6-BFC7-AB8FF3E12993}"/>
                </a:ext>
              </a:extLst>
            </p:cNvPr>
            <p:cNvSpPr>
              <a:spLocks noChangeAspect="1"/>
            </p:cNvSpPr>
            <p:nvPr/>
          </p:nvSpPr>
          <p:spPr bwMode="auto">
            <a:xfrm>
              <a:off x="552827" y="1275347"/>
              <a:ext cx="3429000" cy="3429000"/>
            </a:xfrm>
            <a:prstGeom prst="ellipse">
              <a:avLst/>
            </a:prstGeom>
            <a:solidFill>
              <a:schemeClr val="bg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1" name="Picture 160">
              <a:extLst>
                <a:ext uri="{FF2B5EF4-FFF2-40B4-BE49-F238E27FC236}">
                  <a16:creationId xmlns:a16="http://schemas.microsoft.com/office/drawing/2014/main" id="{70F60210-23AF-497C-8590-E4274D1A01E0}"/>
                </a:ext>
              </a:extLst>
            </p:cNvPr>
            <p:cNvPicPr>
              <a:picLocks noChangeAspect="1"/>
            </p:cNvPicPr>
            <p:nvPr/>
          </p:nvPicPr>
          <p:blipFill>
            <a:blip r:embed="rId3"/>
            <a:stretch>
              <a:fillRect/>
            </a:stretch>
          </p:blipFill>
          <p:spPr>
            <a:xfrm>
              <a:off x="1122071" y="2874820"/>
              <a:ext cx="2279431" cy="327491"/>
            </a:xfrm>
            <a:prstGeom prst="rect">
              <a:avLst/>
            </a:prstGeom>
          </p:spPr>
        </p:pic>
      </p:grpSp>
      <p:grpSp>
        <p:nvGrpSpPr>
          <p:cNvPr id="162" name="365">
            <a:extLst>
              <a:ext uri="{FF2B5EF4-FFF2-40B4-BE49-F238E27FC236}">
                <a16:creationId xmlns:a16="http://schemas.microsoft.com/office/drawing/2014/main" id="{90C58CAD-BB7A-4812-88AF-32403B54F771}"/>
              </a:ext>
            </a:extLst>
          </p:cNvPr>
          <p:cNvGrpSpPr>
            <a:grpSpLocks noChangeAspect="1"/>
          </p:cNvGrpSpPr>
          <p:nvPr/>
        </p:nvGrpSpPr>
        <p:grpSpPr>
          <a:xfrm>
            <a:off x="7416531" y="2495247"/>
            <a:ext cx="2137744" cy="2137744"/>
            <a:chOff x="8210173" y="1198521"/>
            <a:chExt cx="3429000" cy="3429000"/>
          </a:xfrm>
        </p:grpSpPr>
        <p:sp>
          <p:nvSpPr>
            <p:cNvPr id="163" name="Oval 162">
              <a:extLst>
                <a:ext uri="{FF2B5EF4-FFF2-40B4-BE49-F238E27FC236}">
                  <a16:creationId xmlns:a16="http://schemas.microsoft.com/office/drawing/2014/main" id="{C3C0D03D-3EB7-4E74-8923-4D46CC751381}"/>
                </a:ext>
              </a:extLst>
            </p:cNvPr>
            <p:cNvSpPr>
              <a:spLocks noChangeAspect="1"/>
            </p:cNvSpPr>
            <p:nvPr/>
          </p:nvSpPr>
          <p:spPr bwMode="auto">
            <a:xfrm>
              <a:off x="8210173" y="1198521"/>
              <a:ext cx="3429000" cy="3429000"/>
            </a:xfrm>
            <a:prstGeom prst="ellipse">
              <a:avLst/>
            </a:prstGeom>
            <a:solidFill>
              <a:schemeClr val="bg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4" name="Picture 163">
              <a:extLst>
                <a:ext uri="{FF2B5EF4-FFF2-40B4-BE49-F238E27FC236}">
                  <a16:creationId xmlns:a16="http://schemas.microsoft.com/office/drawing/2014/main" id="{2C337959-3A03-40FC-8D75-95EA48D80C99}"/>
                </a:ext>
              </a:extLst>
            </p:cNvPr>
            <p:cNvPicPr>
              <a:picLocks noChangeAspect="1"/>
            </p:cNvPicPr>
            <p:nvPr/>
          </p:nvPicPr>
          <p:blipFill>
            <a:blip r:embed="rId4"/>
            <a:stretch>
              <a:fillRect/>
            </a:stretch>
          </p:blipFill>
          <p:spPr>
            <a:xfrm>
              <a:off x="8934561" y="2725910"/>
              <a:ext cx="1986041" cy="327491"/>
            </a:xfrm>
            <a:prstGeom prst="rect">
              <a:avLst/>
            </a:prstGeom>
          </p:spPr>
        </p:pic>
      </p:grpSp>
      <p:sp>
        <p:nvSpPr>
          <p:cNvPr id="165" name="Oval 164">
            <a:extLst>
              <a:ext uri="{FF2B5EF4-FFF2-40B4-BE49-F238E27FC236}">
                <a16:creationId xmlns:a16="http://schemas.microsoft.com/office/drawing/2014/main" id="{6D5D4C9E-A127-448F-B974-1A8152129560}"/>
              </a:ext>
            </a:extLst>
          </p:cNvPr>
          <p:cNvSpPr>
            <a:spLocks noChangeAspect="1"/>
          </p:cNvSpPr>
          <p:nvPr/>
        </p:nvSpPr>
        <p:spPr bwMode="auto">
          <a:xfrm>
            <a:off x="5025279" y="2495246"/>
            <a:ext cx="2137744" cy="2137745"/>
          </a:xfrm>
          <a:prstGeom prst="ellipse">
            <a:avLst/>
          </a:prstGeom>
          <a:solidFill>
            <a:schemeClr val="bg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6" name="MS">
            <a:extLst>
              <a:ext uri="{FF2B5EF4-FFF2-40B4-BE49-F238E27FC236}">
                <a16:creationId xmlns:a16="http://schemas.microsoft.com/office/drawing/2014/main" id="{F88425E2-EBD6-4E7B-8805-22579A98D2CA}"/>
              </a:ext>
            </a:extLst>
          </p:cNvPr>
          <p:cNvPicPr>
            <a:picLocks noChangeAspect="1"/>
          </p:cNvPicPr>
          <p:nvPr/>
        </p:nvPicPr>
        <p:blipFill>
          <a:blip r:embed="rId5"/>
          <a:stretch>
            <a:fillRect/>
          </a:stretch>
        </p:blipFill>
        <p:spPr>
          <a:xfrm>
            <a:off x="5083000" y="3466098"/>
            <a:ext cx="2019864" cy="203628"/>
          </a:xfrm>
          <a:prstGeom prst="rect">
            <a:avLst/>
          </a:prstGeom>
        </p:spPr>
      </p:pic>
      <p:sp>
        <p:nvSpPr>
          <p:cNvPr id="167" name="top arrow">
            <a:extLst>
              <a:ext uri="{FF2B5EF4-FFF2-40B4-BE49-F238E27FC236}">
                <a16:creationId xmlns:a16="http://schemas.microsoft.com/office/drawing/2014/main" id="{C593BDC4-3BD6-46A1-ABF3-26E54123F003}"/>
              </a:ext>
            </a:extLst>
          </p:cNvPr>
          <p:cNvSpPr/>
          <p:nvPr/>
        </p:nvSpPr>
        <p:spPr>
          <a:xfrm rot="9551873">
            <a:off x="2496152" y="2360724"/>
            <a:ext cx="2398885" cy="2398887"/>
          </a:xfrm>
          <a:prstGeom prst="arc">
            <a:avLst>
              <a:gd name="adj1" fmla="val 12034545"/>
              <a:gd name="adj2" fmla="val 10581208"/>
            </a:avLst>
          </a:prstGeom>
          <a:ln w="22225" cap="rnd">
            <a:solidFill>
              <a:schemeClr val="bg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1A1A1A"/>
              </a:solidFill>
              <a:effectLst/>
              <a:uLnTx/>
              <a:uFillTx/>
              <a:latin typeface="Segoe UI"/>
              <a:ea typeface="+mn-ea"/>
              <a:cs typeface="+mn-cs"/>
            </a:endParaRPr>
          </a:p>
        </p:txBody>
      </p:sp>
      <p:sp>
        <p:nvSpPr>
          <p:cNvPr id="168" name="top arrow">
            <a:extLst>
              <a:ext uri="{FF2B5EF4-FFF2-40B4-BE49-F238E27FC236}">
                <a16:creationId xmlns:a16="http://schemas.microsoft.com/office/drawing/2014/main" id="{F0587719-39B8-483E-B5E2-0CECA3BCBB59}"/>
              </a:ext>
            </a:extLst>
          </p:cNvPr>
          <p:cNvSpPr/>
          <p:nvPr/>
        </p:nvSpPr>
        <p:spPr>
          <a:xfrm rot="10800000">
            <a:off x="4894708" y="2364673"/>
            <a:ext cx="2398885" cy="2398887"/>
          </a:xfrm>
          <a:prstGeom prst="arc">
            <a:avLst>
              <a:gd name="adj1" fmla="val 25799"/>
              <a:gd name="adj2" fmla="val 6937383"/>
            </a:avLst>
          </a:prstGeom>
          <a:ln w="22225" cap="rnd">
            <a:solidFill>
              <a:schemeClr val="bg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1A1A1A"/>
              </a:solidFill>
              <a:effectLst/>
              <a:uLnTx/>
              <a:uFillTx/>
              <a:latin typeface="Segoe UI"/>
              <a:ea typeface="+mn-ea"/>
              <a:cs typeface="+mn-cs"/>
            </a:endParaRPr>
          </a:p>
        </p:txBody>
      </p:sp>
      <p:sp>
        <p:nvSpPr>
          <p:cNvPr id="169" name="top arrow">
            <a:extLst>
              <a:ext uri="{FF2B5EF4-FFF2-40B4-BE49-F238E27FC236}">
                <a16:creationId xmlns:a16="http://schemas.microsoft.com/office/drawing/2014/main" id="{EBBAF39A-CA65-434C-BB34-E47E047DA1AD}"/>
              </a:ext>
            </a:extLst>
          </p:cNvPr>
          <p:cNvSpPr/>
          <p:nvPr/>
        </p:nvSpPr>
        <p:spPr>
          <a:xfrm rot="10800000">
            <a:off x="7293451" y="2364673"/>
            <a:ext cx="2398885" cy="2398887"/>
          </a:xfrm>
          <a:prstGeom prst="arc">
            <a:avLst>
              <a:gd name="adj1" fmla="val 15872"/>
              <a:gd name="adj2" fmla="val 20119887"/>
            </a:avLst>
          </a:prstGeom>
          <a:ln w="22225" cap="rnd">
            <a:solidFill>
              <a:schemeClr val="bg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1A1A1A"/>
              </a:solidFill>
              <a:effectLst/>
              <a:uLnTx/>
              <a:uFillTx/>
              <a:latin typeface="Segoe UI"/>
              <a:ea typeface="+mn-ea"/>
              <a:cs typeface="+mn-cs"/>
            </a:endParaRPr>
          </a:p>
        </p:txBody>
      </p:sp>
      <p:sp>
        <p:nvSpPr>
          <p:cNvPr id="170" name="top arrow">
            <a:extLst>
              <a:ext uri="{FF2B5EF4-FFF2-40B4-BE49-F238E27FC236}">
                <a16:creationId xmlns:a16="http://schemas.microsoft.com/office/drawing/2014/main" id="{5613E72B-01C8-4A7A-9280-5DB4D045A193}"/>
              </a:ext>
            </a:extLst>
          </p:cNvPr>
          <p:cNvSpPr/>
          <p:nvPr/>
        </p:nvSpPr>
        <p:spPr>
          <a:xfrm rot="10800000">
            <a:off x="4894707" y="2364673"/>
            <a:ext cx="2398885" cy="2398887"/>
          </a:xfrm>
          <a:prstGeom prst="arc">
            <a:avLst>
              <a:gd name="adj1" fmla="val 10783306"/>
              <a:gd name="adj2" fmla="val 16367985"/>
            </a:avLst>
          </a:prstGeom>
          <a:ln w="22225" cap="rnd">
            <a:solidFill>
              <a:schemeClr val="bg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1A1A1A"/>
              </a:solidFill>
              <a:effectLst/>
              <a:uLnTx/>
              <a:uFillTx/>
              <a:latin typeface="Segoe UI"/>
              <a:ea typeface="+mn-ea"/>
              <a:cs typeface="+mn-cs"/>
            </a:endParaRPr>
          </a:p>
        </p:txBody>
      </p:sp>
      <p:sp>
        <p:nvSpPr>
          <p:cNvPr id="172" name="Data">
            <a:extLst>
              <a:ext uri="{FF2B5EF4-FFF2-40B4-BE49-F238E27FC236}">
                <a16:creationId xmlns:a16="http://schemas.microsoft.com/office/drawing/2014/main" id="{C7787D32-16A8-412D-8525-96E54D7FA1FB}"/>
              </a:ext>
            </a:extLst>
          </p:cNvPr>
          <p:cNvSpPr txBox="1"/>
          <p:nvPr/>
        </p:nvSpPr>
        <p:spPr>
          <a:xfrm rot="2419417">
            <a:off x="6250744" y="2592845"/>
            <a:ext cx="859429" cy="581141"/>
          </a:xfrm>
          <a:prstGeom prst="rect">
            <a:avLst/>
          </a:prstGeom>
          <a:noFill/>
        </p:spPr>
        <p:txBody>
          <a:bodyPr spcFirstLastPara="1" wrap="square" lIns="0" tIns="0" rIns="0" bIns="0" numCol="1" rtlCol="0" anchor="t" anchorCtr="0">
            <a:prstTxWarp prst="textArchUp">
              <a:avLst/>
            </a:prstTxWarp>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200" b="1" i="0" u="none" strike="noStrike" kern="0" cap="none" spc="300" normalizeH="0" baseline="0" noProof="0">
                <a:ln>
                  <a:noFill/>
                </a:ln>
                <a:gradFill>
                  <a:gsLst>
                    <a:gs pos="2917">
                      <a:srgbClr val="FFFFFF"/>
                    </a:gs>
                    <a:gs pos="30000">
                      <a:srgbClr val="FFFFFF"/>
                    </a:gs>
                  </a:gsLst>
                  <a:lin ang="5400000" scaled="0"/>
                </a:gradFill>
                <a:effectLst/>
                <a:uLnTx/>
                <a:uFillTx/>
                <a:latin typeface="Segoe UI"/>
                <a:ea typeface="+mn-ea"/>
                <a:cs typeface="Segoe UI Light" panose="020B0502040204020203" pitchFamily="34" charset="0"/>
              </a:rPr>
              <a:t>Data</a:t>
            </a:r>
          </a:p>
        </p:txBody>
      </p:sp>
      <p:sp>
        <p:nvSpPr>
          <p:cNvPr id="173" name="Data">
            <a:extLst>
              <a:ext uri="{FF2B5EF4-FFF2-40B4-BE49-F238E27FC236}">
                <a16:creationId xmlns:a16="http://schemas.microsoft.com/office/drawing/2014/main" id="{07D58FBF-EB72-417C-A9F5-92264BDBB4BA}"/>
              </a:ext>
            </a:extLst>
          </p:cNvPr>
          <p:cNvSpPr txBox="1"/>
          <p:nvPr/>
        </p:nvSpPr>
        <p:spPr>
          <a:xfrm rot="2419417">
            <a:off x="4863212" y="3876177"/>
            <a:ext cx="1361386" cy="692592"/>
          </a:xfrm>
          <a:prstGeom prst="rect">
            <a:avLst/>
          </a:prstGeom>
          <a:noFill/>
        </p:spPr>
        <p:txBody>
          <a:bodyPr spcFirstLastPara="1" wrap="square" lIns="0" tIns="0" rIns="0" bIns="0" numCol="1" rtlCol="0" anchor="t" anchorCtr="0">
            <a:prstTxWarp prst="textArchDown">
              <a:avLst/>
            </a:prstTxWarp>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200" b="1" i="0" u="none" strike="noStrike" kern="0" cap="none" spc="300" normalizeH="0" baseline="0" noProof="0">
                <a:ln>
                  <a:noFill/>
                </a:ln>
                <a:gradFill>
                  <a:gsLst>
                    <a:gs pos="2917">
                      <a:srgbClr val="FFFFFF"/>
                    </a:gs>
                    <a:gs pos="30000">
                      <a:srgbClr val="FFFFFF"/>
                    </a:gs>
                  </a:gsLst>
                  <a:lin ang="5400000" scaled="0"/>
                </a:gradFill>
                <a:effectLst/>
                <a:uLnTx/>
                <a:uFillTx/>
                <a:latin typeface="Segoe UI"/>
                <a:ea typeface="+mn-ea"/>
                <a:cs typeface="Segoe UI Light" panose="020B0502040204020203" pitchFamily="34" charset="0"/>
              </a:rPr>
              <a:t>Intelligence </a:t>
            </a:r>
          </a:p>
        </p:txBody>
      </p:sp>
      <p:grpSp>
        <p:nvGrpSpPr>
          <p:cNvPr id="178" name="Group 177">
            <a:extLst>
              <a:ext uri="{FF2B5EF4-FFF2-40B4-BE49-F238E27FC236}">
                <a16:creationId xmlns:a16="http://schemas.microsoft.com/office/drawing/2014/main" id="{B0C7FAA0-0B95-40B0-8B51-AD00E81DC972}"/>
              </a:ext>
            </a:extLst>
          </p:cNvPr>
          <p:cNvGrpSpPr>
            <a:grpSpLocks noChangeAspect="1"/>
          </p:cNvGrpSpPr>
          <p:nvPr/>
        </p:nvGrpSpPr>
        <p:grpSpPr>
          <a:xfrm>
            <a:off x="5713968" y="5907627"/>
            <a:ext cx="760551" cy="760551"/>
            <a:chOff x="8908415" y="2443403"/>
            <a:chExt cx="1487170" cy="1487170"/>
          </a:xfrm>
        </p:grpSpPr>
        <p:sp>
          <p:nvSpPr>
            <p:cNvPr id="179" name="Oval 178">
              <a:extLst>
                <a:ext uri="{FF2B5EF4-FFF2-40B4-BE49-F238E27FC236}">
                  <a16:creationId xmlns:a16="http://schemas.microsoft.com/office/drawing/2014/main" id="{721BECD0-F724-48D9-95F7-6D280E8BC6D2}"/>
                </a:ext>
              </a:extLst>
            </p:cNvPr>
            <p:cNvSpPr/>
            <p:nvPr/>
          </p:nvSpPr>
          <p:spPr bwMode="auto">
            <a:xfrm>
              <a:off x="8908415" y="2443403"/>
              <a:ext cx="1487170" cy="1487170"/>
            </a:xfrm>
            <a:prstGeom prst="ellipse">
              <a:avLst/>
            </a:prstGeom>
            <a:solidFill>
              <a:srgbClr val="FFFFFF"/>
            </a:solidFill>
            <a:ln w="9525" cap="flat" cmpd="sng" algn="ctr">
              <a:noFill/>
              <a:prstDash val="solid"/>
            </a:ln>
            <a:effectLst>
              <a:outerShdw blurRad="190500" dist="50800" dir="2700000" sx="101000" sy="101000" algn="tl" rotWithShape="0">
                <a:prstClr val="black">
                  <a:alpha val="25000"/>
                </a:prstClr>
              </a:outerShdw>
            </a:effectLst>
          </p:spPr>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0" name="Group 179">
              <a:extLst>
                <a:ext uri="{FF2B5EF4-FFF2-40B4-BE49-F238E27FC236}">
                  <a16:creationId xmlns:a16="http://schemas.microsoft.com/office/drawing/2014/main" id="{5498E1B8-25E9-4DE8-AB9F-A1878B922A71}"/>
                </a:ext>
              </a:extLst>
            </p:cNvPr>
            <p:cNvGrpSpPr/>
            <p:nvPr/>
          </p:nvGrpSpPr>
          <p:grpSpPr>
            <a:xfrm>
              <a:off x="9300473" y="2784572"/>
              <a:ext cx="703054" cy="804832"/>
              <a:chOff x="8365266" y="3139119"/>
              <a:chExt cx="518044" cy="593038"/>
            </a:xfrm>
          </p:grpSpPr>
          <p:grpSp>
            <p:nvGrpSpPr>
              <p:cNvPr id="181" name="Group 180">
                <a:extLst>
                  <a:ext uri="{FF2B5EF4-FFF2-40B4-BE49-F238E27FC236}">
                    <a16:creationId xmlns:a16="http://schemas.microsoft.com/office/drawing/2014/main" id="{93AA18B5-32FC-49E8-A53B-365DE05C9AF0}"/>
                  </a:ext>
                </a:extLst>
              </p:cNvPr>
              <p:cNvGrpSpPr/>
              <p:nvPr/>
            </p:nvGrpSpPr>
            <p:grpSpPr>
              <a:xfrm>
                <a:off x="8365266" y="3139119"/>
                <a:ext cx="518044" cy="593038"/>
                <a:chOff x="10235681" y="3139119"/>
                <a:chExt cx="518044" cy="593038"/>
              </a:xfrm>
            </p:grpSpPr>
            <p:sp>
              <p:nvSpPr>
                <p:cNvPr id="188" name="Freeform 11">
                  <a:extLst>
                    <a:ext uri="{FF2B5EF4-FFF2-40B4-BE49-F238E27FC236}">
                      <a16:creationId xmlns:a16="http://schemas.microsoft.com/office/drawing/2014/main" id="{558E8E80-35C0-4154-8CCE-93A8857663EB}"/>
                    </a:ext>
                  </a:extLst>
                </p:cNvPr>
                <p:cNvSpPr>
                  <a:spLocks/>
                </p:cNvSpPr>
                <p:nvPr/>
              </p:nvSpPr>
              <p:spPr bwMode="auto">
                <a:xfrm>
                  <a:off x="10269564" y="3174089"/>
                  <a:ext cx="449952" cy="247732"/>
                </a:xfrm>
                <a:custGeom>
                  <a:avLst/>
                  <a:gdLst>
                    <a:gd name="T0" fmla="*/ 1384 w 1384"/>
                    <a:gd name="T1" fmla="*/ 381 h 762"/>
                    <a:gd name="T2" fmla="*/ 691 w 1384"/>
                    <a:gd name="T3" fmla="*/ 762 h 762"/>
                    <a:gd name="T4" fmla="*/ 0 w 1384"/>
                    <a:gd name="T5" fmla="*/ 381 h 762"/>
                    <a:gd name="T6" fmla="*/ 691 w 1384"/>
                    <a:gd name="T7" fmla="*/ 0 h 762"/>
                    <a:gd name="T8" fmla="*/ 1384 w 1384"/>
                    <a:gd name="T9" fmla="*/ 381 h 762"/>
                  </a:gdLst>
                  <a:ahLst/>
                  <a:cxnLst>
                    <a:cxn ang="0">
                      <a:pos x="T0" y="T1"/>
                    </a:cxn>
                    <a:cxn ang="0">
                      <a:pos x="T2" y="T3"/>
                    </a:cxn>
                    <a:cxn ang="0">
                      <a:pos x="T4" y="T5"/>
                    </a:cxn>
                    <a:cxn ang="0">
                      <a:pos x="T6" y="T7"/>
                    </a:cxn>
                    <a:cxn ang="0">
                      <a:pos x="T8" y="T9"/>
                    </a:cxn>
                  </a:cxnLst>
                  <a:rect l="0" t="0" r="r" b="b"/>
                  <a:pathLst>
                    <a:path w="1384" h="762">
                      <a:moveTo>
                        <a:pt x="1384" y="381"/>
                      </a:moveTo>
                      <a:lnTo>
                        <a:pt x="691" y="762"/>
                      </a:lnTo>
                      <a:lnTo>
                        <a:pt x="0" y="381"/>
                      </a:lnTo>
                      <a:lnTo>
                        <a:pt x="691" y="0"/>
                      </a:lnTo>
                      <a:lnTo>
                        <a:pt x="1384" y="381"/>
                      </a:lnTo>
                      <a:close/>
                    </a:path>
                  </a:pathLst>
                </a:custGeom>
                <a:solidFill>
                  <a:srgbClr val="30E5D0"/>
                </a:solidFill>
                <a:ln w="1587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89" name="Freeform 12">
                  <a:extLst>
                    <a:ext uri="{FF2B5EF4-FFF2-40B4-BE49-F238E27FC236}">
                      <a16:creationId xmlns:a16="http://schemas.microsoft.com/office/drawing/2014/main" id="{DB9B5F51-E9AA-44B0-B3AB-0A913DA8FF3B}"/>
                    </a:ext>
                  </a:extLst>
                </p:cNvPr>
                <p:cNvSpPr>
                  <a:spLocks/>
                </p:cNvSpPr>
                <p:nvPr/>
              </p:nvSpPr>
              <p:spPr bwMode="auto">
                <a:xfrm>
                  <a:off x="10269564" y="3297955"/>
                  <a:ext cx="224651" cy="400533"/>
                </a:xfrm>
                <a:custGeom>
                  <a:avLst/>
                  <a:gdLst>
                    <a:gd name="T0" fmla="*/ 691 w 691"/>
                    <a:gd name="T1" fmla="*/ 1232 h 1232"/>
                    <a:gd name="T2" fmla="*/ 691 w 691"/>
                    <a:gd name="T3" fmla="*/ 381 h 1232"/>
                    <a:gd name="T4" fmla="*/ 0 w 691"/>
                    <a:gd name="T5" fmla="*/ 0 h 1232"/>
                    <a:gd name="T6" fmla="*/ 0 w 691"/>
                    <a:gd name="T7" fmla="*/ 851 h 1232"/>
                    <a:gd name="T8" fmla="*/ 691 w 691"/>
                    <a:gd name="T9" fmla="*/ 1232 h 1232"/>
                  </a:gdLst>
                  <a:ahLst/>
                  <a:cxnLst>
                    <a:cxn ang="0">
                      <a:pos x="T0" y="T1"/>
                    </a:cxn>
                    <a:cxn ang="0">
                      <a:pos x="T2" y="T3"/>
                    </a:cxn>
                    <a:cxn ang="0">
                      <a:pos x="T4" y="T5"/>
                    </a:cxn>
                    <a:cxn ang="0">
                      <a:pos x="T6" y="T7"/>
                    </a:cxn>
                    <a:cxn ang="0">
                      <a:pos x="T8" y="T9"/>
                    </a:cxn>
                  </a:cxnLst>
                  <a:rect l="0" t="0" r="r" b="b"/>
                  <a:pathLst>
                    <a:path w="691" h="1232">
                      <a:moveTo>
                        <a:pt x="691" y="1232"/>
                      </a:moveTo>
                      <a:lnTo>
                        <a:pt x="691" y="381"/>
                      </a:lnTo>
                      <a:lnTo>
                        <a:pt x="0" y="0"/>
                      </a:lnTo>
                      <a:lnTo>
                        <a:pt x="0" y="851"/>
                      </a:lnTo>
                      <a:lnTo>
                        <a:pt x="691" y="1232"/>
                      </a:lnTo>
                      <a:close/>
                    </a:path>
                  </a:pathLst>
                </a:custGeom>
                <a:solidFill>
                  <a:srgbClr val="EBEBEB"/>
                </a:solidFill>
                <a:ln w="15875" cap="flat">
                  <a:solidFill>
                    <a:srgbClr val="3C3C41"/>
                  </a:solidFill>
                  <a:prstDash val="solid"/>
                  <a:miter/>
                </a:ln>
              </p:spPr>
              <p:txBody>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0" name="Freeform 13">
                  <a:extLst>
                    <a:ext uri="{FF2B5EF4-FFF2-40B4-BE49-F238E27FC236}">
                      <a16:creationId xmlns:a16="http://schemas.microsoft.com/office/drawing/2014/main" id="{53F3919D-0234-4150-AB4B-744E545F270D}"/>
                    </a:ext>
                  </a:extLst>
                </p:cNvPr>
                <p:cNvSpPr>
                  <a:spLocks/>
                </p:cNvSpPr>
                <p:nvPr/>
              </p:nvSpPr>
              <p:spPr bwMode="auto">
                <a:xfrm>
                  <a:off x="10494215" y="3297955"/>
                  <a:ext cx="225301" cy="400533"/>
                </a:xfrm>
                <a:custGeom>
                  <a:avLst/>
                  <a:gdLst>
                    <a:gd name="T0" fmla="*/ 0 w 693"/>
                    <a:gd name="T1" fmla="*/ 1232 h 1232"/>
                    <a:gd name="T2" fmla="*/ 0 w 693"/>
                    <a:gd name="T3" fmla="*/ 381 h 1232"/>
                    <a:gd name="T4" fmla="*/ 693 w 693"/>
                    <a:gd name="T5" fmla="*/ 0 h 1232"/>
                    <a:gd name="T6" fmla="*/ 693 w 693"/>
                    <a:gd name="T7" fmla="*/ 851 h 1232"/>
                    <a:gd name="T8" fmla="*/ 0 w 693"/>
                    <a:gd name="T9" fmla="*/ 1232 h 1232"/>
                  </a:gdLst>
                  <a:ahLst/>
                  <a:cxnLst>
                    <a:cxn ang="0">
                      <a:pos x="T0" y="T1"/>
                    </a:cxn>
                    <a:cxn ang="0">
                      <a:pos x="T2" y="T3"/>
                    </a:cxn>
                    <a:cxn ang="0">
                      <a:pos x="T4" y="T5"/>
                    </a:cxn>
                    <a:cxn ang="0">
                      <a:pos x="T6" y="T7"/>
                    </a:cxn>
                    <a:cxn ang="0">
                      <a:pos x="T8" y="T9"/>
                    </a:cxn>
                  </a:cxnLst>
                  <a:rect l="0" t="0" r="r" b="b"/>
                  <a:pathLst>
                    <a:path w="693" h="1232">
                      <a:moveTo>
                        <a:pt x="0" y="1232"/>
                      </a:moveTo>
                      <a:lnTo>
                        <a:pt x="0" y="381"/>
                      </a:lnTo>
                      <a:lnTo>
                        <a:pt x="693" y="0"/>
                      </a:lnTo>
                      <a:lnTo>
                        <a:pt x="693" y="851"/>
                      </a:lnTo>
                      <a:lnTo>
                        <a:pt x="0" y="1232"/>
                      </a:lnTo>
                      <a:close/>
                    </a:path>
                  </a:pathLst>
                </a:custGeom>
                <a:solidFill>
                  <a:srgbClr val="75757A"/>
                </a:solidFill>
                <a:ln w="15875" cap="flat">
                  <a:solidFill>
                    <a:srgbClr val="3C3C41"/>
                  </a:solidFill>
                  <a:prstDash val="solid"/>
                  <a:miter/>
                </a:ln>
              </p:spPr>
              <p:txBody>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1" name="Oval 14">
                  <a:extLst>
                    <a:ext uri="{FF2B5EF4-FFF2-40B4-BE49-F238E27FC236}">
                      <a16:creationId xmlns:a16="http://schemas.microsoft.com/office/drawing/2014/main" id="{3443F6F9-3D45-4D7E-A9FC-D703603A2E1E}"/>
                    </a:ext>
                  </a:extLst>
                </p:cNvPr>
                <p:cNvSpPr>
                  <a:spLocks noChangeArrowheads="1"/>
                </p:cNvSpPr>
                <p:nvPr/>
              </p:nvSpPr>
              <p:spPr bwMode="auto">
                <a:xfrm>
                  <a:off x="10235681" y="3262985"/>
                  <a:ext cx="68743" cy="69291"/>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2" name="Oval 15">
                  <a:extLst>
                    <a:ext uri="{FF2B5EF4-FFF2-40B4-BE49-F238E27FC236}">
                      <a16:creationId xmlns:a16="http://schemas.microsoft.com/office/drawing/2014/main" id="{5A8FA892-2C8F-4268-AFDC-369D1735460D}"/>
                    </a:ext>
                  </a:extLst>
                </p:cNvPr>
                <p:cNvSpPr>
                  <a:spLocks noChangeArrowheads="1"/>
                </p:cNvSpPr>
                <p:nvPr/>
              </p:nvSpPr>
              <p:spPr bwMode="auto">
                <a:xfrm>
                  <a:off x="10684982" y="3262985"/>
                  <a:ext cx="68743" cy="69291"/>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3" name="Oval 16">
                  <a:extLst>
                    <a:ext uri="{FF2B5EF4-FFF2-40B4-BE49-F238E27FC236}">
                      <a16:creationId xmlns:a16="http://schemas.microsoft.com/office/drawing/2014/main" id="{32F6C353-8C0E-43AE-A740-F33326C5AAB2}"/>
                    </a:ext>
                  </a:extLst>
                </p:cNvPr>
                <p:cNvSpPr>
                  <a:spLocks noChangeArrowheads="1"/>
                </p:cNvSpPr>
                <p:nvPr/>
              </p:nvSpPr>
              <p:spPr bwMode="auto">
                <a:xfrm>
                  <a:off x="10235681" y="3539765"/>
                  <a:ext cx="68743" cy="68740"/>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4" name="Oval 17">
                  <a:extLst>
                    <a:ext uri="{FF2B5EF4-FFF2-40B4-BE49-F238E27FC236}">
                      <a16:creationId xmlns:a16="http://schemas.microsoft.com/office/drawing/2014/main" id="{CE81D5DE-4B42-4476-AB3F-D2791B1B6703}"/>
                    </a:ext>
                  </a:extLst>
                </p:cNvPr>
                <p:cNvSpPr>
                  <a:spLocks noChangeArrowheads="1"/>
                </p:cNvSpPr>
                <p:nvPr/>
              </p:nvSpPr>
              <p:spPr bwMode="auto">
                <a:xfrm>
                  <a:off x="10460332" y="3387513"/>
                  <a:ext cx="68743" cy="67641"/>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5" name="Oval 18">
                  <a:extLst>
                    <a:ext uri="{FF2B5EF4-FFF2-40B4-BE49-F238E27FC236}">
                      <a16:creationId xmlns:a16="http://schemas.microsoft.com/office/drawing/2014/main" id="{BCD094FE-498F-4C23-ADD1-A21D853B785A}"/>
                    </a:ext>
                  </a:extLst>
                </p:cNvPr>
                <p:cNvSpPr>
                  <a:spLocks noChangeArrowheads="1"/>
                </p:cNvSpPr>
                <p:nvPr/>
              </p:nvSpPr>
              <p:spPr bwMode="auto">
                <a:xfrm>
                  <a:off x="10460332" y="3139119"/>
                  <a:ext cx="68743" cy="69291"/>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6" name="Oval 19">
                  <a:extLst>
                    <a:ext uri="{FF2B5EF4-FFF2-40B4-BE49-F238E27FC236}">
                      <a16:creationId xmlns:a16="http://schemas.microsoft.com/office/drawing/2014/main" id="{0AD0C914-4A86-4F03-A397-4E5F8942FABC}"/>
                    </a:ext>
                  </a:extLst>
                </p:cNvPr>
                <p:cNvSpPr>
                  <a:spLocks noChangeArrowheads="1"/>
                </p:cNvSpPr>
                <p:nvPr/>
              </p:nvSpPr>
              <p:spPr bwMode="auto">
                <a:xfrm>
                  <a:off x="10460327" y="3662866"/>
                  <a:ext cx="68743" cy="69291"/>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7" name="Oval 20">
                  <a:extLst>
                    <a:ext uri="{FF2B5EF4-FFF2-40B4-BE49-F238E27FC236}">
                      <a16:creationId xmlns:a16="http://schemas.microsoft.com/office/drawing/2014/main" id="{3A45E08A-23D2-4016-ADAF-27895CCFA115}"/>
                    </a:ext>
                  </a:extLst>
                </p:cNvPr>
                <p:cNvSpPr>
                  <a:spLocks noChangeArrowheads="1"/>
                </p:cNvSpPr>
                <p:nvPr/>
              </p:nvSpPr>
              <p:spPr bwMode="auto">
                <a:xfrm>
                  <a:off x="10684982" y="3539760"/>
                  <a:ext cx="68743" cy="68740"/>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182" name="Group 181">
                <a:extLst>
                  <a:ext uri="{FF2B5EF4-FFF2-40B4-BE49-F238E27FC236}">
                    <a16:creationId xmlns:a16="http://schemas.microsoft.com/office/drawing/2014/main" id="{ABF13AB8-B9F2-4107-AA81-6C156811E9CA}"/>
                  </a:ext>
                </a:extLst>
              </p:cNvPr>
              <p:cNvGrpSpPr>
                <a:grpSpLocks noChangeAspect="1"/>
              </p:cNvGrpSpPr>
              <p:nvPr/>
            </p:nvGrpSpPr>
            <p:grpSpPr>
              <a:xfrm>
                <a:off x="8592830" y="3381137"/>
                <a:ext cx="62916" cy="80520"/>
                <a:chOff x="10265702" y="3128321"/>
                <a:chExt cx="458002" cy="586151"/>
              </a:xfrm>
              <a:solidFill>
                <a:srgbClr val="0084D9">
                  <a:alpha val="0"/>
                </a:srgbClr>
              </a:solidFill>
            </p:grpSpPr>
            <p:sp>
              <p:nvSpPr>
                <p:cNvPr id="183" name="Freeform: Shape 182">
                  <a:extLst>
                    <a:ext uri="{FF2B5EF4-FFF2-40B4-BE49-F238E27FC236}">
                      <a16:creationId xmlns:a16="http://schemas.microsoft.com/office/drawing/2014/main" id="{E56B4668-0D40-42ED-90CF-580CCA71FC22}"/>
                    </a:ext>
                  </a:extLst>
                </p:cNvPr>
                <p:cNvSpPr/>
                <p:nvPr/>
              </p:nvSpPr>
              <p:spPr>
                <a:xfrm>
                  <a:off x="10265702" y="3128321"/>
                  <a:ext cx="458002" cy="458002"/>
                </a:xfrm>
                <a:custGeom>
                  <a:avLst/>
                  <a:gdLst/>
                  <a:ahLst/>
                  <a:cxnLst/>
                  <a:rect l="0" t="0" r="0" b="0"/>
                  <a:pathLst>
                    <a:path w="609600" h="609600">
                      <a:moveTo>
                        <a:pt x="205502" y="516731"/>
                      </a:moveTo>
                      <a:cubicBezTo>
                        <a:pt x="210264" y="516731"/>
                        <a:pt x="214074" y="518636"/>
                        <a:pt x="217884" y="521494"/>
                      </a:cubicBezTo>
                      <a:lnTo>
                        <a:pt x="295037" y="597694"/>
                      </a:lnTo>
                      <a:cubicBezTo>
                        <a:pt x="298847" y="600551"/>
                        <a:pt x="302657" y="602456"/>
                        <a:pt x="307419" y="602456"/>
                      </a:cubicBezTo>
                      <a:cubicBezTo>
                        <a:pt x="312182" y="602456"/>
                        <a:pt x="315992" y="600551"/>
                        <a:pt x="319802" y="597694"/>
                      </a:cubicBezTo>
                      <a:lnTo>
                        <a:pt x="396954" y="521494"/>
                      </a:lnTo>
                      <a:cubicBezTo>
                        <a:pt x="399812" y="518636"/>
                        <a:pt x="404574" y="516731"/>
                        <a:pt x="409337" y="516731"/>
                      </a:cubicBezTo>
                      <a:lnTo>
                        <a:pt x="511254" y="516731"/>
                      </a:lnTo>
                      <a:cubicBezTo>
                        <a:pt x="520779" y="516731"/>
                        <a:pt x="528399" y="509111"/>
                        <a:pt x="528399" y="499586"/>
                      </a:cubicBezTo>
                      <a:lnTo>
                        <a:pt x="528399" y="400526"/>
                      </a:lnTo>
                      <a:cubicBezTo>
                        <a:pt x="528399" y="395764"/>
                        <a:pt x="530304" y="391001"/>
                        <a:pt x="533162" y="388144"/>
                      </a:cubicBezTo>
                      <a:lnTo>
                        <a:pt x="596979" y="325279"/>
                      </a:lnTo>
                      <a:cubicBezTo>
                        <a:pt x="611267" y="311944"/>
                        <a:pt x="611267" y="289084"/>
                        <a:pt x="596979" y="275749"/>
                      </a:cubicBezTo>
                      <a:lnTo>
                        <a:pt x="537924" y="218599"/>
                      </a:lnTo>
                      <a:cubicBezTo>
                        <a:pt x="531257" y="211931"/>
                        <a:pt x="527447" y="203359"/>
                        <a:pt x="527447" y="193834"/>
                      </a:cubicBezTo>
                      <a:lnTo>
                        <a:pt x="527447" y="120491"/>
                      </a:lnTo>
                      <a:cubicBezTo>
                        <a:pt x="527447" y="101441"/>
                        <a:pt x="512207" y="85249"/>
                        <a:pt x="492204" y="85249"/>
                      </a:cubicBezTo>
                      <a:lnTo>
                        <a:pt x="415052" y="85249"/>
                      </a:lnTo>
                      <a:cubicBezTo>
                        <a:pt x="405527" y="85249"/>
                        <a:pt x="396954" y="81439"/>
                        <a:pt x="391239" y="75724"/>
                      </a:cubicBezTo>
                      <a:lnTo>
                        <a:pt x="331232" y="16669"/>
                      </a:lnTo>
                      <a:cubicBezTo>
                        <a:pt x="324564" y="10001"/>
                        <a:pt x="315992" y="7144"/>
                        <a:pt x="307419" y="7144"/>
                      </a:cubicBezTo>
                      <a:cubicBezTo>
                        <a:pt x="298847" y="7144"/>
                        <a:pt x="290274" y="10001"/>
                        <a:pt x="283607" y="16669"/>
                      </a:cubicBezTo>
                      <a:lnTo>
                        <a:pt x="223599" y="75724"/>
                      </a:lnTo>
                      <a:cubicBezTo>
                        <a:pt x="215979" y="82391"/>
                        <a:pt x="207407" y="85249"/>
                        <a:pt x="197882" y="85249"/>
                      </a:cubicBezTo>
                      <a:lnTo>
                        <a:pt x="121682" y="85249"/>
                      </a:lnTo>
                      <a:cubicBezTo>
                        <a:pt x="102632" y="85249"/>
                        <a:pt x="87392" y="100489"/>
                        <a:pt x="87392" y="119539"/>
                      </a:cubicBezTo>
                      <a:lnTo>
                        <a:pt x="87392" y="193834"/>
                      </a:lnTo>
                      <a:cubicBezTo>
                        <a:pt x="87392" y="203359"/>
                        <a:pt x="83582" y="211931"/>
                        <a:pt x="76914" y="218599"/>
                      </a:cubicBezTo>
                      <a:lnTo>
                        <a:pt x="17859" y="275749"/>
                      </a:lnTo>
                      <a:cubicBezTo>
                        <a:pt x="3572" y="289084"/>
                        <a:pt x="3572" y="311944"/>
                        <a:pt x="17859" y="325279"/>
                      </a:cubicBezTo>
                      <a:lnTo>
                        <a:pt x="81677" y="388144"/>
                      </a:lnTo>
                      <a:cubicBezTo>
                        <a:pt x="84534" y="391001"/>
                        <a:pt x="86439" y="395764"/>
                        <a:pt x="86439" y="400526"/>
                      </a:cubicBezTo>
                      <a:lnTo>
                        <a:pt x="86439" y="499586"/>
                      </a:lnTo>
                      <a:cubicBezTo>
                        <a:pt x="86439" y="509111"/>
                        <a:pt x="94059" y="516731"/>
                        <a:pt x="103584" y="516731"/>
                      </a:cubicBezTo>
                      <a:lnTo>
                        <a:pt x="205502" y="516731"/>
                      </a:ln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D2ED0816-3880-4424-AC77-F108F322F4BE}"/>
                    </a:ext>
                  </a:extLst>
                </p:cNvPr>
                <p:cNvSpPr/>
                <p:nvPr/>
              </p:nvSpPr>
              <p:spPr>
                <a:xfrm>
                  <a:off x="10330646" y="3193443"/>
                  <a:ext cx="329189" cy="322033"/>
                </a:xfrm>
                <a:custGeom>
                  <a:avLst/>
                  <a:gdLst/>
                  <a:ahLst/>
                  <a:cxnLst/>
                  <a:rect l="0" t="0" r="0" b="0"/>
                  <a:pathLst>
                    <a:path w="438150" h="428625">
                      <a:moveTo>
                        <a:pt x="220028" y="21431"/>
                      </a:moveTo>
                      <a:cubicBezTo>
                        <a:pt x="222885" y="21431"/>
                        <a:pt x="224790" y="22384"/>
                        <a:pt x="226695" y="24289"/>
                      </a:cubicBezTo>
                      <a:lnTo>
                        <a:pt x="269557" y="66199"/>
                      </a:lnTo>
                      <a:cubicBezTo>
                        <a:pt x="277178" y="73819"/>
                        <a:pt x="286703" y="77629"/>
                        <a:pt x="297180" y="77629"/>
                      </a:cubicBezTo>
                      <a:lnTo>
                        <a:pt x="351473" y="77629"/>
                      </a:lnTo>
                      <a:cubicBezTo>
                        <a:pt x="357188" y="77629"/>
                        <a:pt x="361950" y="82391"/>
                        <a:pt x="361950" y="88106"/>
                      </a:cubicBezTo>
                      <a:lnTo>
                        <a:pt x="361950" y="139541"/>
                      </a:lnTo>
                      <a:cubicBezTo>
                        <a:pt x="361950" y="150019"/>
                        <a:pt x="365760" y="160496"/>
                        <a:pt x="373380" y="167164"/>
                      </a:cubicBezTo>
                      <a:lnTo>
                        <a:pt x="415290" y="208121"/>
                      </a:lnTo>
                      <a:cubicBezTo>
                        <a:pt x="417195" y="210026"/>
                        <a:pt x="418148" y="212884"/>
                        <a:pt x="418148" y="215741"/>
                      </a:cubicBezTo>
                      <a:cubicBezTo>
                        <a:pt x="418148" y="218599"/>
                        <a:pt x="417195" y="221456"/>
                        <a:pt x="415290" y="223361"/>
                      </a:cubicBezTo>
                      <a:lnTo>
                        <a:pt x="369570" y="268129"/>
                      </a:lnTo>
                      <a:cubicBezTo>
                        <a:pt x="364807" y="272891"/>
                        <a:pt x="361950" y="279559"/>
                        <a:pt x="361950" y="287179"/>
                      </a:cubicBezTo>
                      <a:lnTo>
                        <a:pt x="361950" y="354806"/>
                      </a:lnTo>
                      <a:lnTo>
                        <a:pt x="292418" y="354806"/>
                      </a:lnTo>
                      <a:cubicBezTo>
                        <a:pt x="285750" y="354806"/>
                        <a:pt x="279082" y="357664"/>
                        <a:pt x="274320" y="362426"/>
                      </a:cubicBezTo>
                      <a:lnTo>
                        <a:pt x="220980" y="414814"/>
                      </a:lnTo>
                      <a:lnTo>
                        <a:pt x="167640" y="362426"/>
                      </a:lnTo>
                      <a:cubicBezTo>
                        <a:pt x="162878" y="357664"/>
                        <a:pt x="156210" y="354806"/>
                        <a:pt x="149543" y="354806"/>
                      </a:cubicBezTo>
                      <a:lnTo>
                        <a:pt x="80010" y="354806"/>
                      </a:lnTo>
                      <a:lnTo>
                        <a:pt x="80010" y="287179"/>
                      </a:lnTo>
                      <a:cubicBezTo>
                        <a:pt x="80010" y="280511"/>
                        <a:pt x="77152" y="272891"/>
                        <a:pt x="72390" y="268129"/>
                      </a:cubicBezTo>
                      <a:lnTo>
                        <a:pt x="26670" y="223361"/>
                      </a:lnTo>
                      <a:cubicBezTo>
                        <a:pt x="24765" y="221456"/>
                        <a:pt x="23813" y="218599"/>
                        <a:pt x="23813" y="215741"/>
                      </a:cubicBezTo>
                      <a:cubicBezTo>
                        <a:pt x="23813" y="212884"/>
                        <a:pt x="24765" y="210026"/>
                        <a:pt x="26670" y="208121"/>
                      </a:cubicBezTo>
                      <a:lnTo>
                        <a:pt x="68580" y="167164"/>
                      </a:lnTo>
                      <a:cubicBezTo>
                        <a:pt x="76200" y="159544"/>
                        <a:pt x="80010" y="150019"/>
                        <a:pt x="80010" y="139541"/>
                      </a:cubicBezTo>
                      <a:lnTo>
                        <a:pt x="80010" y="87154"/>
                      </a:lnTo>
                      <a:cubicBezTo>
                        <a:pt x="80010" y="81439"/>
                        <a:pt x="84773" y="76676"/>
                        <a:pt x="90487" y="76676"/>
                      </a:cubicBezTo>
                      <a:lnTo>
                        <a:pt x="144780" y="76676"/>
                      </a:lnTo>
                      <a:cubicBezTo>
                        <a:pt x="155258" y="76676"/>
                        <a:pt x="164783" y="72866"/>
                        <a:pt x="172403" y="65246"/>
                      </a:cubicBezTo>
                      <a:lnTo>
                        <a:pt x="215265" y="23336"/>
                      </a:lnTo>
                      <a:cubicBezTo>
                        <a:pt x="215265" y="22384"/>
                        <a:pt x="218123" y="21431"/>
                        <a:pt x="220028" y="21431"/>
                      </a:cubicBezTo>
                      <a:moveTo>
                        <a:pt x="220028" y="7144"/>
                      </a:moveTo>
                      <a:cubicBezTo>
                        <a:pt x="214312" y="7144"/>
                        <a:pt x="207645" y="9049"/>
                        <a:pt x="202883" y="13811"/>
                      </a:cubicBezTo>
                      <a:lnTo>
                        <a:pt x="160020" y="55721"/>
                      </a:lnTo>
                      <a:cubicBezTo>
                        <a:pt x="155258" y="60484"/>
                        <a:pt x="149543" y="62389"/>
                        <a:pt x="142875" y="62389"/>
                      </a:cubicBezTo>
                      <a:lnTo>
                        <a:pt x="88583" y="62389"/>
                      </a:lnTo>
                      <a:cubicBezTo>
                        <a:pt x="75248" y="62389"/>
                        <a:pt x="63818" y="72866"/>
                        <a:pt x="63818" y="87154"/>
                      </a:cubicBezTo>
                      <a:lnTo>
                        <a:pt x="63818" y="139541"/>
                      </a:lnTo>
                      <a:cubicBezTo>
                        <a:pt x="63818" y="146209"/>
                        <a:pt x="60960" y="152876"/>
                        <a:pt x="56197" y="156686"/>
                      </a:cubicBezTo>
                      <a:lnTo>
                        <a:pt x="14288" y="197644"/>
                      </a:lnTo>
                      <a:cubicBezTo>
                        <a:pt x="4763" y="207169"/>
                        <a:pt x="4763" y="223361"/>
                        <a:pt x="14288" y="232886"/>
                      </a:cubicBezTo>
                      <a:lnTo>
                        <a:pt x="60008" y="277654"/>
                      </a:lnTo>
                      <a:cubicBezTo>
                        <a:pt x="61913" y="279559"/>
                        <a:pt x="63818" y="283369"/>
                        <a:pt x="63818" y="286226"/>
                      </a:cubicBezTo>
                      <a:lnTo>
                        <a:pt x="63818" y="356711"/>
                      </a:lnTo>
                      <a:cubicBezTo>
                        <a:pt x="63818" y="363379"/>
                        <a:pt x="69533" y="369094"/>
                        <a:pt x="76200" y="369094"/>
                      </a:cubicBezTo>
                      <a:lnTo>
                        <a:pt x="148590" y="369094"/>
                      </a:lnTo>
                      <a:cubicBezTo>
                        <a:pt x="151448" y="369094"/>
                        <a:pt x="155258" y="370046"/>
                        <a:pt x="157162" y="372904"/>
                      </a:cubicBezTo>
                      <a:lnTo>
                        <a:pt x="212408" y="427196"/>
                      </a:lnTo>
                      <a:cubicBezTo>
                        <a:pt x="214312" y="429101"/>
                        <a:pt x="218123" y="431006"/>
                        <a:pt x="220980" y="431006"/>
                      </a:cubicBezTo>
                      <a:cubicBezTo>
                        <a:pt x="223837" y="431006"/>
                        <a:pt x="226695" y="430054"/>
                        <a:pt x="229553" y="427196"/>
                      </a:cubicBezTo>
                      <a:lnTo>
                        <a:pt x="284798" y="372904"/>
                      </a:lnTo>
                      <a:cubicBezTo>
                        <a:pt x="286703" y="370999"/>
                        <a:pt x="290513" y="369094"/>
                        <a:pt x="293370" y="369094"/>
                      </a:cubicBezTo>
                      <a:lnTo>
                        <a:pt x="365760" y="369094"/>
                      </a:lnTo>
                      <a:cubicBezTo>
                        <a:pt x="372428" y="369094"/>
                        <a:pt x="378143" y="363379"/>
                        <a:pt x="378143" y="356711"/>
                      </a:cubicBezTo>
                      <a:lnTo>
                        <a:pt x="378143" y="286226"/>
                      </a:lnTo>
                      <a:cubicBezTo>
                        <a:pt x="378143" y="283369"/>
                        <a:pt x="379095" y="279559"/>
                        <a:pt x="381953" y="277654"/>
                      </a:cubicBezTo>
                      <a:lnTo>
                        <a:pt x="427673" y="232886"/>
                      </a:lnTo>
                      <a:cubicBezTo>
                        <a:pt x="437198" y="223361"/>
                        <a:pt x="437198" y="207169"/>
                        <a:pt x="427673" y="197644"/>
                      </a:cubicBezTo>
                      <a:lnTo>
                        <a:pt x="385763" y="156686"/>
                      </a:lnTo>
                      <a:cubicBezTo>
                        <a:pt x="381000" y="151924"/>
                        <a:pt x="378143" y="146209"/>
                        <a:pt x="378143" y="139541"/>
                      </a:cubicBezTo>
                      <a:lnTo>
                        <a:pt x="378143" y="87154"/>
                      </a:lnTo>
                      <a:cubicBezTo>
                        <a:pt x="378143" y="73819"/>
                        <a:pt x="366713" y="62389"/>
                        <a:pt x="353378" y="62389"/>
                      </a:cubicBezTo>
                      <a:lnTo>
                        <a:pt x="299085" y="62389"/>
                      </a:lnTo>
                      <a:cubicBezTo>
                        <a:pt x="292418" y="62389"/>
                        <a:pt x="286703" y="59531"/>
                        <a:pt x="281940" y="55721"/>
                      </a:cubicBezTo>
                      <a:lnTo>
                        <a:pt x="239078" y="13811"/>
                      </a:lnTo>
                      <a:cubicBezTo>
                        <a:pt x="232410" y="9049"/>
                        <a:pt x="226695" y="7144"/>
                        <a:pt x="220028" y="7144"/>
                      </a:cubicBezTo>
                      <a:lnTo>
                        <a:pt x="220028" y="7144"/>
                      </a:ln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5BAEAB95-11FC-413E-BA0D-319BD8118A99}"/>
                    </a:ext>
                  </a:extLst>
                </p:cNvPr>
                <p:cNvSpPr/>
                <p:nvPr/>
              </p:nvSpPr>
              <p:spPr>
                <a:xfrm>
                  <a:off x="10431012" y="3307049"/>
                  <a:ext cx="128813" cy="93031"/>
                </a:xfrm>
                <a:custGeom>
                  <a:avLst/>
                  <a:gdLst/>
                  <a:ahLst/>
                  <a:cxnLst/>
                  <a:rect l="0" t="0" r="0" b="0"/>
                  <a:pathLst>
                    <a:path w="171450" h="123825">
                      <a:moveTo>
                        <a:pt x="56912" y="118824"/>
                      </a:moveTo>
                      <a:cubicBezTo>
                        <a:pt x="53102" y="118824"/>
                        <a:pt x="50244" y="117872"/>
                        <a:pt x="47387" y="115014"/>
                      </a:cubicBezTo>
                      <a:lnTo>
                        <a:pt x="9287" y="76914"/>
                      </a:lnTo>
                      <a:cubicBezTo>
                        <a:pt x="6429" y="74057"/>
                        <a:pt x="6429" y="69294"/>
                        <a:pt x="9287" y="66437"/>
                      </a:cubicBezTo>
                      <a:cubicBezTo>
                        <a:pt x="12144" y="63579"/>
                        <a:pt x="16907" y="63579"/>
                        <a:pt x="19764" y="66437"/>
                      </a:cubicBezTo>
                      <a:lnTo>
                        <a:pt x="57864" y="104537"/>
                      </a:lnTo>
                      <a:lnTo>
                        <a:pt x="155019" y="9287"/>
                      </a:lnTo>
                      <a:cubicBezTo>
                        <a:pt x="157877" y="6429"/>
                        <a:pt x="162639" y="6429"/>
                        <a:pt x="165497" y="9287"/>
                      </a:cubicBezTo>
                      <a:cubicBezTo>
                        <a:pt x="168354" y="12144"/>
                        <a:pt x="168354" y="16907"/>
                        <a:pt x="165497" y="19764"/>
                      </a:cubicBezTo>
                      <a:lnTo>
                        <a:pt x="67389" y="115014"/>
                      </a:lnTo>
                      <a:cubicBezTo>
                        <a:pt x="63579" y="117872"/>
                        <a:pt x="60722" y="118824"/>
                        <a:pt x="56912" y="118824"/>
                      </a:cubicBezTo>
                      <a:close/>
                    </a:path>
                  </a:pathLst>
                </a:custGeom>
                <a:grpFill/>
                <a:ln w="9525" cap="rnd">
                  <a:solidFill>
                    <a:srgbClr val="00BCF2">
                      <a:alpha val="0"/>
                    </a:srgbClr>
                  </a:solidFill>
                  <a:prstDash val="solid"/>
                  <a:round/>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374C25DB-D432-467B-A289-CB3F767B7EF4}"/>
                    </a:ext>
                  </a:extLst>
                </p:cNvPr>
                <p:cNvSpPr/>
                <p:nvPr/>
              </p:nvSpPr>
              <p:spPr>
                <a:xfrm>
                  <a:off x="10505090" y="3525807"/>
                  <a:ext cx="162643" cy="188665"/>
                </a:xfrm>
                <a:custGeom>
                  <a:avLst/>
                  <a:gdLst/>
                  <a:ahLst/>
                  <a:cxnLst/>
                  <a:rect l="0" t="0" r="0" b="0"/>
                  <a:pathLst>
                    <a:path w="238125" h="276225">
                      <a:moveTo>
                        <a:pt x="67151" y="270034"/>
                      </a:moveTo>
                      <a:lnTo>
                        <a:pt x="230981" y="216694"/>
                      </a:lnTo>
                      <a:cubicBezTo>
                        <a:pt x="233839" y="215741"/>
                        <a:pt x="234791" y="212884"/>
                        <a:pt x="233839" y="210979"/>
                      </a:cubicBezTo>
                      <a:lnTo>
                        <a:pt x="173831" y="7144"/>
                      </a:lnTo>
                      <a:lnTo>
                        <a:pt x="95726" y="7144"/>
                      </a:lnTo>
                      <a:lnTo>
                        <a:pt x="20479" y="81439"/>
                      </a:lnTo>
                      <a:cubicBezTo>
                        <a:pt x="16669" y="85249"/>
                        <a:pt x="11906" y="88106"/>
                        <a:pt x="7144" y="90011"/>
                      </a:cubicBezTo>
                      <a:lnTo>
                        <a:pt x="60484" y="267176"/>
                      </a:lnTo>
                      <a:cubicBezTo>
                        <a:pt x="61436" y="269081"/>
                        <a:pt x="62389" y="270034"/>
                        <a:pt x="63341" y="270034"/>
                      </a:cubicBezTo>
                      <a:cubicBezTo>
                        <a:pt x="64294" y="270034"/>
                        <a:pt x="65246" y="270986"/>
                        <a:pt x="67151" y="270034"/>
                      </a:cubicBez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76B916CF-9AA2-4CBA-96A5-86FC3E32536D}"/>
                    </a:ext>
                  </a:extLst>
                </p:cNvPr>
                <p:cNvSpPr/>
                <p:nvPr/>
              </p:nvSpPr>
              <p:spPr>
                <a:xfrm>
                  <a:off x="10321844" y="3525807"/>
                  <a:ext cx="162643" cy="188665"/>
                </a:xfrm>
                <a:custGeom>
                  <a:avLst/>
                  <a:gdLst/>
                  <a:ahLst/>
                  <a:cxnLst/>
                  <a:rect l="0" t="0" r="0" b="0"/>
                  <a:pathLst>
                    <a:path w="238125" h="276225">
                      <a:moveTo>
                        <a:pt x="11202" y="216694"/>
                      </a:moveTo>
                      <a:lnTo>
                        <a:pt x="175032" y="270034"/>
                      </a:lnTo>
                      <a:cubicBezTo>
                        <a:pt x="176937" y="270986"/>
                        <a:pt x="177889" y="270034"/>
                        <a:pt x="178842" y="270034"/>
                      </a:cubicBezTo>
                      <a:cubicBezTo>
                        <a:pt x="179794" y="270034"/>
                        <a:pt x="180747" y="269081"/>
                        <a:pt x="181699" y="267176"/>
                      </a:cubicBezTo>
                      <a:lnTo>
                        <a:pt x="235039" y="90011"/>
                      </a:lnTo>
                      <a:cubicBezTo>
                        <a:pt x="230277" y="88106"/>
                        <a:pt x="225514" y="85249"/>
                        <a:pt x="220752" y="81439"/>
                      </a:cubicBezTo>
                      <a:lnTo>
                        <a:pt x="145504" y="7144"/>
                      </a:lnTo>
                      <a:lnTo>
                        <a:pt x="68352" y="7144"/>
                      </a:lnTo>
                      <a:lnTo>
                        <a:pt x="7392" y="210979"/>
                      </a:lnTo>
                      <a:cubicBezTo>
                        <a:pt x="6439" y="212884"/>
                        <a:pt x="8344" y="215741"/>
                        <a:pt x="11202" y="216694"/>
                      </a:cubicBez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grpSp>
        <p:nvGrpSpPr>
          <p:cNvPr id="198" name="Group 197">
            <a:extLst>
              <a:ext uri="{FF2B5EF4-FFF2-40B4-BE49-F238E27FC236}">
                <a16:creationId xmlns:a16="http://schemas.microsoft.com/office/drawing/2014/main" id="{1FFB9288-64D2-4B04-9012-6184337DC9E5}"/>
              </a:ext>
            </a:extLst>
          </p:cNvPr>
          <p:cNvGrpSpPr>
            <a:grpSpLocks noChangeAspect="1"/>
          </p:cNvGrpSpPr>
          <p:nvPr/>
        </p:nvGrpSpPr>
        <p:grpSpPr>
          <a:xfrm>
            <a:off x="5713969" y="272259"/>
            <a:ext cx="760551" cy="760551"/>
            <a:chOff x="4259589" y="2443403"/>
            <a:chExt cx="1487170" cy="1487170"/>
          </a:xfrm>
        </p:grpSpPr>
        <p:sp>
          <p:nvSpPr>
            <p:cNvPr id="199" name="Oval 198">
              <a:extLst>
                <a:ext uri="{FF2B5EF4-FFF2-40B4-BE49-F238E27FC236}">
                  <a16:creationId xmlns:a16="http://schemas.microsoft.com/office/drawing/2014/main" id="{FA7E2E6B-4DCA-4996-9F97-7ECDEC5AA527}"/>
                </a:ext>
              </a:extLst>
            </p:cNvPr>
            <p:cNvSpPr/>
            <p:nvPr/>
          </p:nvSpPr>
          <p:spPr bwMode="auto">
            <a:xfrm>
              <a:off x="4259589" y="2443403"/>
              <a:ext cx="1487170" cy="1487170"/>
            </a:xfrm>
            <a:prstGeom prst="ellipse">
              <a:avLst/>
            </a:prstGeom>
            <a:solidFill>
              <a:srgbClr val="FFFFFF"/>
            </a:solidFill>
            <a:ln w="9525" cap="flat" cmpd="sng" algn="ctr">
              <a:noFill/>
              <a:prstDash val="solid"/>
            </a:ln>
            <a:effectLst>
              <a:outerShdw blurRad="190500" dist="50800" dir="2700000" sx="101000" sy="101000" algn="tl" rotWithShape="0">
                <a:prstClr val="black">
                  <a:alpha val="25000"/>
                </a:prstClr>
              </a:outerShdw>
            </a:effectLst>
          </p:spPr>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0" name="Group 199">
              <a:extLst>
                <a:ext uri="{FF2B5EF4-FFF2-40B4-BE49-F238E27FC236}">
                  <a16:creationId xmlns:a16="http://schemas.microsoft.com/office/drawing/2014/main" id="{A8151402-E5A0-41C7-9013-0F020109EE8B}"/>
                </a:ext>
              </a:extLst>
            </p:cNvPr>
            <p:cNvGrpSpPr/>
            <p:nvPr/>
          </p:nvGrpSpPr>
          <p:grpSpPr>
            <a:xfrm>
              <a:off x="4674875" y="2824621"/>
              <a:ext cx="656598" cy="724734"/>
              <a:chOff x="4991454" y="3105098"/>
              <a:chExt cx="510150" cy="563090"/>
            </a:xfrm>
          </p:grpSpPr>
          <p:grpSp>
            <p:nvGrpSpPr>
              <p:cNvPr id="201" name="Group 200">
                <a:extLst>
                  <a:ext uri="{FF2B5EF4-FFF2-40B4-BE49-F238E27FC236}">
                    <a16:creationId xmlns:a16="http://schemas.microsoft.com/office/drawing/2014/main" id="{63DC5940-0A95-426D-AA09-D5232FE23D4D}"/>
                  </a:ext>
                </a:extLst>
              </p:cNvPr>
              <p:cNvGrpSpPr/>
              <p:nvPr/>
            </p:nvGrpSpPr>
            <p:grpSpPr>
              <a:xfrm>
                <a:off x="4991454" y="3105098"/>
                <a:ext cx="510150" cy="563090"/>
                <a:chOff x="7543263" y="3128964"/>
                <a:chExt cx="481524" cy="531494"/>
              </a:xfrm>
            </p:grpSpPr>
            <p:grpSp>
              <p:nvGrpSpPr>
                <p:cNvPr id="210" name="Group 209">
                  <a:extLst>
                    <a:ext uri="{FF2B5EF4-FFF2-40B4-BE49-F238E27FC236}">
                      <a16:creationId xmlns:a16="http://schemas.microsoft.com/office/drawing/2014/main" id="{F45F853F-C139-4061-818A-86ED40593F7F}"/>
                    </a:ext>
                  </a:extLst>
                </p:cNvPr>
                <p:cNvGrpSpPr/>
                <p:nvPr/>
              </p:nvGrpSpPr>
              <p:grpSpPr>
                <a:xfrm>
                  <a:off x="7543263" y="3128964"/>
                  <a:ext cx="481524" cy="531494"/>
                  <a:chOff x="4791177" y="2725299"/>
                  <a:chExt cx="583305" cy="643837"/>
                </a:xfrm>
              </p:grpSpPr>
              <p:grpSp>
                <p:nvGrpSpPr>
                  <p:cNvPr id="212" name="Group 211">
                    <a:extLst>
                      <a:ext uri="{FF2B5EF4-FFF2-40B4-BE49-F238E27FC236}">
                        <a16:creationId xmlns:a16="http://schemas.microsoft.com/office/drawing/2014/main" id="{BA5018A9-434B-4ED6-8640-328BB602D598}"/>
                      </a:ext>
                    </a:extLst>
                  </p:cNvPr>
                  <p:cNvGrpSpPr/>
                  <p:nvPr/>
                </p:nvGrpSpPr>
                <p:grpSpPr>
                  <a:xfrm>
                    <a:off x="4869000" y="2981610"/>
                    <a:ext cx="505482" cy="387526"/>
                    <a:chOff x="4764224" y="2905384"/>
                    <a:chExt cx="614227" cy="470895"/>
                  </a:xfrm>
                </p:grpSpPr>
                <p:grpSp>
                  <p:nvGrpSpPr>
                    <p:cNvPr id="217" name="Group 216">
                      <a:extLst>
                        <a:ext uri="{FF2B5EF4-FFF2-40B4-BE49-F238E27FC236}">
                          <a16:creationId xmlns:a16="http://schemas.microsoft.com/office/drawing/2014/main" id="{F0C2DBDE-BFD8-4D15-A3DA-91A09141F9A7}"/>
                        </a:ext>
                      </a:extLst>
                    </p:cNvPr>
                    <p:cNvGrpSpPr/>
                    <p:nvPr/>
                  </p:nvGrpSpPr>
                  <p:grpSpPr>
                    <a:xfrm>
                      <a:off x="4764224" y="2988137"/>
                      <a:ext cx="347088" cy="388142"/>
                      <a:chOff x="1175042" y="1972326"/>
                      <a:chExt cx="147106" cy="164506"/>
                    </a:xfrm>
                    <a:solidFill>
                      <a:srgbClr val="409AE1"/>
                    </a:solidFill>
                  </p:grpSpPr>
                  <p:sp>
                    <p:nvSpPr>
                      <p:cNvPr id="222" name="Freeform 5">
                        <a:extLst>
                          <a:ext uri="{FF2B5EF4-FFF2-40B4-BE49-F238E27FC236}">
                            <a16:creationId xmlns:a16="http://schemas.microsoft.com/office/drawing/2014/main" id="{A9527615-139D-4F7C-BD18-16AD6D373D12}"/>
                          </a:ext>
                        </a:extLst>
                      </p:cNvPr>
                      <p:cNvSpPr>
                        <a:spLocks/>
                      </p:cNvSpPr>
                      <p:nvPr/>
                    </p:nvSpPr>
                    <p:spPr bwMode="auto">
                      <a:xfrm>
                        <a:off x="1175042" y="2061697"/>
                        <a:ext cx="147106" cy="75135"/>
                      </a:xfrm>
                      <a:custGeom>
                        <a:avLst/>
                        <a:gdLst>
                          <a:gd name="T0" fmla="*/ 117 w 151"/>
                          <a:gd name="T1" fmla="*/ 0 h 77"/>
                          <a:gd name="T2" fmla="*/ 35 w 151"/>
                          <a:gd name="T3" fmla="*/ 0 h 77"/>
                          <a:gd name="T4" fmla="*/ 0 w 151"/>
                          <a:gd name="T5" fmla="*/ 35 h 77"/>
                          <a:gd name="T6" fmla="*/ 0 w 151"/>
                          <a:gd name="T7" fmla="*/ 77 h 77"/>
                          <a:gd name="T8" fmla="*/ 151 w 151"/>
                          <a:gd name="T9" fmla="*/ 77 h 77"/>
                          <a:gd name="T10" fmla="*/ 151 w 151"/>
                          <a:gd name="T11" fmla="*/ 35 h 77"/>
                          <a:gd name="T12" fmla="*/ 117 w 151"/>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51" h="77">
                            <a:moveTo>
                              <a:pt x="117" y="0"/>
                            </a:moveTo>
                            <a:cubicBezTo>
                              <a:pt x="35" y="0"/>
                              <a:pt x="35" y="0"/>
                              <a:pt x="35" y="0"/>
                            </a:cubicBezTo>
                            <a:cubicBezTo>
                              <a:pt x="16" y="0"/>
                              <a:pt x="0" y="16"/>
                              <a:pt x="0" y="35"/>
                            </a:cubicBezTo>
                            <a:cubicBezTo>
                              <a:pt x="0" y="77"/>
                              <a:pt x="0" y="77"/>
                              <a:pt x="0" y="77"/>
                            </a:cubicBezTo>
                            <a:cubicBezTo>
                              <a:pt x="151" y="77"/>
                              <a:pt x="151" y="77"/>
                              <a:pt x="151" y="77"/>
                            </a:cubicBezTo>
                            <a:cubicBezTo>
                              <a:pt x="151" y="35"/>
                              <a:pt x="151" y="35"/>
                              <a:pt x="151" y="35"/>
                            </a:cubicBezTo>
                            <a:cubicBezTo>
                              <a:pt x="151" y="16"/>
                              <a:pt x="136" y="0"/>
                              <a:pt x="117" y="0"/>
                            </a:cubicBezTo>
                            <a:close/>
                          </a:path>
                        </a:pathLst>
                      </a:custGeom>
                      <a:solidFill>
                        <a:srgbClr val="3C3C41"/>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3" name="Oval 6">
                        <a:extLst>
                          <a:ext uri="{FF2B5EF4-FFF2-40B4-BE49-F238E27FC236}">
                            <a16:creationId xmlns:a16="http://schemas.microsoft.com/office/drawing/2014/main" id="{58236E6A-4D28-4374-8909-0D0B96DC4B79}"/>
                          </a:ext>
                        </a:extLst>
                      </p:cNvPr>
                      <p:cNvSpPr>
                        <a:spLocks noChangeArrowheads="1"/>
                      </p:cNvSpPr>
                      <p:nvPr/>
                    </p:nvSpPr>
                    <p:spPr bwMode="auto">
                      <a:xfrm>
                        <a:off x="1212214" y="1972326"/>
                        <a:ext cx="72762" cy="71971"/>
                      </a:xfrm>
                      <a:prstGeom prst="ellipse">
                        <a:avLst/>
                      </a:prstGeom>
                      <a:solidFill>
                        <a:srgbClr val="3C3C41"/>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218" name="Group 217">
                      <a:extLst>
                        <a:ext uri="{FF2B5EF4-FFF2-40B4-BE49-F238E27FC236}">
                          <a16:creationId xmlns:a16="http://schemas.microsoft.com/office/drawing/2014/main" id="{897388A2-CBF2-4BE2-AFC0-A98611DC6BCF}"/>
                        </a:ext>
                      </a:extLst>
                    </p:cNvPr>
                    <p:cNvGrpSpPr/>
                    <p:nvPr/>
                  </p:nvGrpSpPr>
                  <p:grpSpPr>
                    <a:xfrm>
                      <a:off x="5031363" y="2905384"/>
                      <a:ext cx="347088" cy="388142"/>
                      <a:chOff x="1175042" y="1972326"/>
                      <a:chExt cx="147106" cy="164506"/>
                    </a:xfrm>
                  </p:grpSpPr>
                  <p:sp>
                    <p:nvSpPr>
                      <p:cNvPr id="220" name="Freeform 5">
                        <a:extLst>
                          <a:ext uri="{FF2B5EF4-FFF2-40B4-BE49-F238E27FC236}">
                            <a16:creationId xmlns:a16="http://schemas.microsoft.com/office/drawing/2014/main" id="{6761FB7A-ED44-4F94-9144-8C8AE61F592F}"/>
                          </a:ext>
                        </a:extLst>
                      </p:cNvPr>
                      <p:cNvSpPr>
                        <a:spLocks/>
                      </p:cNvSpPr>
                      <p:nvPr/>
                    </p:nvSpPr>
                    <p:spPr bwMode="auto">
                      <a:xfrm>
                        <a:off x="1175042" y="2061697"/>
                        <a:ext cx="147106" cy="75135"/>
                      </a:xfrm>
                      <a:custGeom>
                        <a:avLst/>
                        <a:gdLst>
                          <a:gd name="T0" fmla="*/ 117 w 151"/>
                          <a:gd name="T1" fmla="*/ 0 h 77"/>
                          <a:gd name="T2" fmla="*/ 35 w 151"/>
                          <a:gd name="T3" fmla="*/ 0 h 77"/>
                          <a:gd name="T4" fmla="*/ 0 w 151"/>
                          <a:gd name="T5" fmla="*/ 35 h 77"/>
                          <a:gd name="T6" fmla="*/ 0 w 151"/>
                          <a:gd name="T7" fmla="*/ 77 h 77"/>
                          <a:gd name="T8" fmla="*/ 151 w 151"/>
                          <a:gd name="T9" fmla="*/ 77 h 77"/>
                          <a:gd name="T10" fmla="*/ 151 w 151"/>
                          <a:gd name="T11" fmla="*/ 35 h 77"/>
                          <a:gd name="T12" fmla="*/ 117 w 151"/>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51" h="77">
                            <a:moveTo>
                              <a:pt x="117" y="0"/>
                            </a:moveTo>
                            <a:cubicBezTo>
                              <a:pt x="35" y="0"/>
                              <a:pt x="35" y="0"/>
                              <a:pt x="35" y="0"/>
                            </a:cubicBezTo>
                            <a:cubicBezTo>
                              <a:pt x="16" y="0"/>
                              <a:pt x="0" y="16"/>
                              <a:pt x="0" y="35"/>
                            </a:cubicBezTo>
                            <a:cubicBezTo>
                              <a:pt x="0" y="77"/>
                              <a:pt x="0" y="77"/>
                              <a:pt x="0" y="77"/>
                            </a:cubicBezTo>
                            <a:cubicBezTo>
                              <a:pt x="151" y="77"/>
                              <a:pt x="151" y="77"/>
                              <a:pt x="151" y="77"/>
                            </a:cubicBezTo>
                            <a:cubicBezTo>
                              <a:pt x="151" y="35"/>
                              <a:pt x="151" y="35"/>
                              <a:pt x="151" y="35"/>
                            </a:cubicBezTo>
                            <a:cubicBezTo>
                              <a:pt x="151" y="16"/>
                              <a:pt x="136" y="0"/>
                              <a:pt x="117" y="0"/>
                            </a:cubicBezTo>
                            <a:close/>
                          </a:path>
                        </a:pathLst>
                      </a:custGeom>
                      <a:solidFill>
                        <a:srgbClr val="30E5D0"/>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1" name="Oval 6">
                        <a:extLst>
                          <a:ext uri="{FF2B5EF4-FFF2-40B4-BE49-F238E27FC236}">
                            <a16:creationId xmlns:a16="http://schemas.microsoft.com/office/drawing/2014/main" id="{BF09DA7D-0E60-4A47-9C05-C6184F32AA69}"/>
                          </a:ext>
                        </a:extLst>
                      </p:cNvPr>
                      <p:cNvSpPr>
                        <a:spLocks noChangeArrowheads="1"/>
                      </p:cNvSpPr>
                      <p:nvPr/>
                    </p:nvSpPr>
                    <p:spPr bwMode="auto">
                      <a:xfrm>
                        <a:off x="1212214" y="1972326"/>
                        <a:ext cx="72762" cy="71971"/>
                      </a:xfrm>
                      <a:prstGeom prst="ellipse">
                        <a:avLst/>
                      </a:prstGeom>
                      <a:solidFill>
                        <a:srgbClr val="30E5D0"/>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sp>
                  <p:nvSpPr>
                    <p:cNvPr id="219" name="Freeform 28">
                      <a:extLst>
                        <a:ext uri="{FF2B5EF4-FFF2-40B4-BE49-F238E27FC236}">
                          <a16:creationId xmlns:a16="http://schemas.microsoft.com/office/drawing/2014/main" id="{971D4347-F6A9-4623-AA28-4B900AB8F24D}"/>
                        </a:ext>
                      </a:extLst>
                    </p:cNvPr>
                    <p:cNvSpPr>
                      <a:spLocks/>
                    </p:cNvSpPr>
                    <p:nvPr/>
                  </p:nvSpPr>
                  <p:spPr bwMode="auto">
                    <a:xfrm>
                      <a:off x="5031302" y="3198875"/>
                      <a:ext cx="82025" cy="94508"/>
                    </a:xfrm>
                    <a:custGeom>
                      <a:avLst/>
                      <a:gdLst>
                        <a:gd name="T0" fmla="*/ 23 w 23"/>
                        <a:gd name="T1" fmla="*/ 22 h 27"/>
                        <a:gd name="T2" fmla="*/ 1 w 23"/>
                        <a:gd name="T3" fmla="*/ 0 h 27"/>
                        <a:gd name="T4" fmla="*/ 0 w 23"/>
                        <a:gd name="T5" fmla="*/ 0 h 27"/>
                        <a:gd name="T6" fmla="*/ 0 w 23"/>
                        <a:gd name="T7" fmla="*/ 27 h 27"/>
                        <a:gd name="T8" fmla="*/ 23 w 23"/>
                        <a:gd name="T9" fmla="*/ 27 h 27"/>
                        <a:gd name="T10" fmla="*/ 23 w 23"/>
                        <a:gd name="T11" fmla="*/ 22 h 27"/>
                      </a:gdLst>
                      <a:ahLst/>
                      <a:cxnLst>
                        <a:cxn ang="0">
                          <a:pos x="T0" y="T1"/>
                        </a:cxn>
                        <a:cxn ang="0">
                          <a:pos x="T2" y="T3"/>
                        </a:cxn>
                        <a:cxn ang="0">
                          <a:pos x="T4" y="T5"/>
                        </a:cxn>
                        <a:cxn ang="0">
                          <a:pos x="T6" y="T7"/>
                        </a:cxn>
                        <a:cxn ang="0">
                          <a:pos x="T8" y="T9"/>
                        </a:cxn>
                        <a:cxn ang="0">
                          <a:pos x="T10" y="T11"/>
                        </a:cxn>
                      </a:cxnLst>
                      <a:rect l="0" t="0" r="r" b="b"/>
                      <a:pathLst>
                        <a:path w="23" h="27">
                          <a:moveTo>
                            <a:pt x="23" y="22"/>
                          </a:moveTo>
                          <a:cubicBezTo>
                            <a:pt x="23" y="10"/>
                            <a:pt x="14" y="0"/>
                            <a:pt x="1" y="0"/>
                          </a:cubicBezTo>
                          <a:cubicBezTo>
                            <a:pt x="1" y="0"/>
                            <a:pt x="0" y="0"/>
                            <a:pt x="0" y="0"/>
                          </a:cubicBezTo>
                          <a:cubicBezTo>
                            <a:pt x="0" y="26"/>
                            <a:pt x="0" y="27"/>
                            <a:pt x="0" y="27"/>
                          </a:cubicBezTo>
                          <a:cubicBezTo>
                            <a:pt x="8" y="27"/>
                            <a:pt x="16" y="27"/>
                            <a:pt x="23" y="27"/>
                          </a:cubicBezTo>
                          <a:cubicBezTo>
                            <a:pt x="23" y="22"/>
                            <a:pt x="23" y="22"/>
                            <a:pt x="23" y="22"/>
                          </a:cubicBezTo>
                          <a:close/>
                        </a:path>
                      </a:pathLst>
                    </a:custGeom>
                    <a:solidFill>
                      <a:srgbClr val="30E5D0"/>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213" name="Group 212">
                    <a:extLst>
                      <a:ext uri="{FF2B5EF4-FFF2-40B4-BE49-F238E27FC236}">
                        <a16:creationId xmlns:a16="http://schemas.microsoft.com/office/drawing/2014/main" id="{FA8A6A19-BC5E-4E80-8410-75D57E0B82F5}"/>
                      </a:ext>
                    </a:extLst>
                  </p:cNvPr>
                  <p:cNvGrpSpPr/>
                  <p:nvPr/>
                </p:nvGrpSpPr>
                <p:grpSpPr>
                  <a:xfrm>
                    <a:off x="4791177" y="2725299"/>
                    <a:ext cx="324620" cy="292851"/>
                    <a:chOff x="4764983" y="2720537"/>
                    <a:chExt cx="324620" cy="292851"/>
                  </a:xfrm>
                </p:grpSpPr>
                <p:sp>
                  <p:nvSpPr>
                    <p:cNvPr id="215" name="Rectangle: Rounded Corners 214">
                      <a:extLst>
                        <a:ext uri="{FF2B5EF4-FFF2-40B4-BE49-F238E27FC236}">
                          <a16:creationId xmlns:a16="http://schemas.microsoft.com/office/drawing/2014/main" id="{9565ECE7-1E4F-44D1-84D7-4F3804F80087}"/>
                        </a:ext>
                      </a:extLst>
                    </p:cNvPr>
                    <p:cNvSpPr/>
                    <p:nvPr/>
                  </p:nvSpPr>
                  <p:spPr bwMode="auto">
                    <a:xfrm>
                      <a:off x="4764983" y="2720537"/>
                      <a:ext cx="324620" cy="238440"/>
                    </a:xfrm>
                    <a:prstGeom prst="roundRect">
                      <a:avLst>
                        <a:gd name="adj" fmla="val 23959"/>
                      </a:avLst>
                    </a:prstGeom>
                    <a:solidFill>
                      <a:srgbClr val="30E5D0"/>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Rectangle 128">
                      <a:extLst>
                        <a:ext uri="{FF2B5EF4-FFF2-40B4-BE49-F238E27FC236}">
                          <a16:creationId xmlns:a16="http://schemas.microsoft.com/office/drawing/2014/main" id="{2D0BB379-8AC3-40A2-A9FC-C27D044D2563}"/>
                        </a:ext>
                      </a:extLst>
                    </p:cNvPr>
                    <p:cNvSpPr/>
                    <p:nvPr/>
                  </p:nvSpPr>
                  <p:spPr bwMode="auto">
                    <a:xfrm>
                      <a:off x="4978226" y="2902011"/>
                      <a:ext cx="111377" cy="111377"/>
                    </a:xfrm>
                    <a:custGeom>
                      <a:avLst/>
                      <a:gdLst>
                        <a:gd name="connsiteX0" fmla="*/ 0 w 259812"/>
                        <a:gd name="connsiteY0" fmla="*/ 0 h 259812"/>
                        <a:gd name="connsiteX1" fmla="*/ 259812 w 259812"/>
                        <a:gd name="connsiteY1" fmla="*/ 0 h 259812"/>
                        <a:gd name="connsiteX2" fmla="*/ 259812 w 259812"/>
                        <a:gd name="connsiteY2" fmla="*/ 259812 h 259812"/>
                        <a:gd name="connsiteX3" fmla="*/ 0 w 259812"/>
                        <a:gd name="connsiteY3" fmla="*/ 259812 h 259812"/>
                        <a:gd name="connsiteX4" fmla="*/ 0 w 259812"/>
                        <a:gd name="connsiteY4" fmla="*/ 0 h 259812"/>
                        <a:gd name="connsiteX0" fmla="*/ 0 w 259812"/>
                        <a:gd name="connsiteY0" fmla="*/ 0 h 259812"/>
                        <a:gd name="connsiteX1" fmla="*/ 259812 w 259812"/>
                        <a:gd name="connsiteY1" fmla="*/ 0 h 259812"/>
                        <a:gd name="connsiteX2" fmla="*/ 259812 w 259812"/>
                        <a:gd name="connsiteY2" fmla="*/ 259812 h 259812"/>
                        <a:gd name="connsiteX3" fmla="*/ 0 w 259812"/>
                        <a:gd name="connsiteY3" fmla="*/ 0 h 259812"/>
                      </a:gdLst>
                      <a:ahLst/>
                      <a:cxnLst>
                        <a:cxn ang="0">
                          <a:pos x="connsiteX0" y="connsiteY0"/>
                        </a:cxn>
                        <a:cxn ang="0">
                          <a:pos x="connsiteX1" y="connsiteY1"/>
                        </a:cxn>
                        <a:cxn ang="0">
                          <a:pos x="connsiteX2" y="connsiteY2"/>
                        </a:cxn>
                        <a:cxn ang="0">
                          <a:pos x="connsiteX3" y="connsiteY3"/>
                        </a:cxn>
                      </a:cxnLst>
                      <a:rect l="l" t="t" r="r" b="b"/>
                      <a:pathLst>
                        <a:path w="259812" h="259812">
                          <a:moveTo>
                            <a:pt x="0" y="0"/>
                          </a:moveTo>
                          <a:lnTo>
                            <a:pt x="259812" y="0"/>
                          </a:lnTo>
                          <a:lnTo>
                            <a:pt x="259812" y="259812"/>
                          </a:lnTo>
                          <a:lnTo>
                            <a:pt x="0" y="0"/>
                          </a:lnTo>
                          <a:close/>
                        </a:path>
                      </a:pathLst>
                    </a:custGeom>
                    <a:solidFill>
                      <a:srgbClr val="30E5D0"/>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14" name="Freeform 33">
                    <a:extLst>
                      <a:ext uri="{FF2B5EF4-FFF2-40B4-BE49-F238E27FC236}">
                        <a16:creationId xmlns:a16="http://schemas.microsoft.com/office/drawing/2014/main" id="{B7C1B5BC-D654-40A5-87DD-D89EF2B2DD06}"/>
                      </a:ext>
                    </a:extLst>
                  </p:cNvPr>
                  <p:cNvSpPr>
                    <a:spLocks noEditPoints="1"/>
                  </p:cNvSpPr>
                  <p:nvPr/>
                </p:nvSpPr>
                <p:spPr bwMode="auto">
                  <a:xfrm flipH="1">
                    <a:off x="4962794" y="2846627"/>
                    <a:ext cx="81022" cy="79928"/>
                  </a:xfrm>
                  <a:custGeom>
                    <a:avLst/>
                    <a:gdLst>
                      <a:gd name="T0" fmla="*/ 13 w 41"/>
                      <a:gd name="T1" fmla="*/ 20 h 41"/>
                      <a:gd name="T2" fmla="*/ 28 w 41"/>
                      <a:gd name="T3" fmla="*/ 20 h 41"/>
                      <a:gd name="T4" fmla="*/ 40 w 41"/>
                      <a:gd name="T5" fmla="*/ 17 h 41"/>
                      <a:gd name="T6" fmla="*/ 35 w 41"/>
                      <a:gd name="T7" fmla="*/ 16 h 41"/>
                      <a:gd name="T8" fmla="*/ 34 w 41"/>
                      <a:gd name="T9" fmla="*/ 14 h 41"/>
                      <a:gd name="T10" fmla="*/ 37 w 41"/>
                      <a:gd name="T11" fmla="*/ 8 h 41"/>
                      <a:gd name="T12" fmla="*/ 35 w 41"/>
                      <a:gd name="T13" fmla="*/ 5 h 41"/>
                      <a:gd name="T14" fmla="*/ 29 w 41"/>
                      <a:gd name="T15" fmla="*/ 7 h 41"/>
                      <a:gd name="T16" fmla="*/ 25 w 41"/>
                      <a:gd name="T17" fmla="*/ 6 h 41"/>
                      <a:gd name="T18" fmla="*/ 24 w 41"/>
                      <a:gd name="T19" fmla="*/ 1 h 41"/>
                      <a:gd name="T20" fmla="*/ 20 w 41"/>
                      <a:gd name="T21" fmla="*/ 0 h 41"/>
                      <a:gd name="T22" fmla="*/ 17 w 41"/>
                      <a:gd name="T23" fmla="*/ 4 h 41"/>
                      <a:gd name="T24" fmla="*/ 14 w 41"/>
                      <a:gd name="T25" fmla="*/ 7 h 41"/>
                      <a:gd name="T26" fmla="*/ 9 w 41"/>
                      <a:gd name="T27" fmla="*/ 5 h 41"/>
                      <a:gd name="T28" fmla="*/ 6 w 41"/>
                      <a:gd name="T29" fmla="*/ 7 h 41"/>
                      <a:gd name="T30" fmla="*/ 8 w 41"/>
                      <a:gd name="T31" fmla="*/ 12 h 41"/>
                      <a:gd name="T32" fmla="*/ 8 w 41"/>
                      <a:gd name="T33" fmla="*/ 14 h 41"/>
                      <a:gd name="T34" fmla="*/ 8 w 41"/>
                      <a:gd name="T35" fmla="*/ 16 h 41"/>
                      <a:gd name="T36" fmla="*/ 1 w 41"/>
                      <a:gd name="T37" fmla="*/ 17 h 41"/>
                      <a:gd name="T38" fmla="*/ 0 w 41"/>
                      <a:gd name="T39" fmla="*/ 21 h 41"/>
                      <a:gd name="T40" fmla="*/ 6 w 41"/>
                      <a:gd name="T41" fmla="*/ 23 h 41"/>
                      <a:gd name="T42" fmla="*/ 8 w 41"/>
                      <a:gd name="T43" fmla="*/ 25 h 41"/>
                      <a:gd name="T44" fmla="*/ 8 w 41"/>
                      <a:gd name="T45" fmla="*/ 27 h 41"/>
                      <a:gd name="T46" fmla="*/ 6 w 41"/>
                      <a:gd name="T47" fmla="*/ 32 h 41"/>
                      <a:gd name="T48" fmla="*/ 8 w 41"/>
                      <a:gd name="T49" fmla="*/ 35 h 41"/>
                      <a:gd name="T50" fmla="*/ 12 w 41"/>
                      <a:gd name="T51" fmla="*/ 33 h 41"/>
                      <a:gd name="T52" fmla="*/ 14 w 41"/>
                      <a:gd name="T53" fmla="*/ 33 h 41"/>
                      <a:gd name="T54" fmla="*/ 16 w 41"/>
                      <a:gd name="T55" fmla="*/ 34 h 41"/>
                      <a:gd name="T56" fmla="*/ 19 w 41"/>
                      <a:gd name="T57" fmla="*/ 40 h 41"/>
                      <a:gd name="T58" fmla="*/ 23 w 41"/>
                      <a:gd name="T59" fmla="*/ 41 h 41"/>
                      <a:gd name="T60" fmla="*/ 24 w 41"/>
                      <a:gd name="T61" fmla="*/ 36 h 41"/>
                      <a:gd name="T62" fmla="*/ 26 w 41"/>
                      <a:gd name="T63" fmla="*/ 34 h 41"/>
                      <a:gd name="T64" fmla="*/ 27 w 41"/>
                      <a:gd name="T65" fmla="*/ 33 h 41"/>
                      <a:gd name="T66" fmla="*/ 33 w 41"/>
                      <a:gd name="T67" fmla="*/ 35 h 41"/>
                      <a:gd name="T68" fmla="*/ 37 w 41"/>
                      <a:gd name="T69" fmla="*/ 33 h 41"/>
                      <a:gd name="T70" fmla="*/ 34 w 41"/>
                      <a:gd name="T71" fmla="*/ 29 h 41"/>
                      <a:gd name="T72" fmla="*/ 34 w 41"/>
                      <a:gd name="T73" fmla="*/ 27 h 41"/>
                      <a:gd name="T74" fmla="*/ 35 w 41"/>
                      <a:gd name="T75" fmla="*/ 25 h 41"/>
                      <a:gd name="T76" fmla="*/ 40 w 41"/>
                      <a:gd name="T77" fmla="*/ 23 h 41"/>
                      <a:gd name="T78" fmla="*/ 41 w 41"/>
                      <a:gd name="T79"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41">
                        <a:moveTo>
                          <a:pt x="21" y="28"/>
                        </a:moveTo>
                        <a:cubicBezTo>
                          <a:pt x="16" y="28"/>
                          <a:pt x="13" y="25"/>
                          <a:pt x="13" y="20"/>
                        </a:cubicBezTo>
                        <a:cubicBezTo>
                          <a:pt x="13" y="16"/>
                          <a:pt x="16" y="13"/>
                          <a:pt x="21" y="13"/>
                        </a:cubicBezTo>
                        <a:cubicBezTo>
                          <a:pt x="25" y="13"/>
                          <a:pt x="28" y="16"/>
                          <a:pt x="28" y="20"/>
                        </a:cubicBezTo>
                        <a:cubicBezTo>
                          <a:pt x="28" y="25"/>
                          <a:pt x="25" y="28"/>
                          <a:pt x="21" y="28"/>
                        </a:cubicBezTo>
                        <a:close/>
                        <a:moveTo>
                          <a:pt x="40" y="17"/>
                        </a:moveTo>
                        <a:cubicBezTo>
                          <a:pt x="37" y="17"/>
                          <a:pt x="37" y="17"/>
                          <a:pt x="37" y="17"/>
                        </a:cubicBezTo>
                        <a:cubicBezTo>
                          <a:pt x="35" y="17"/>
                          <a:pt x="35" y="16"/>
                          <a:pt x="35" y="16"/>
                        </a:cubicBezTo>
                        <a:cubicBezTo>
                          <a:pt x="35" y="16"/>
                          <a:pt x="35" y="16"/>
                          <a:pt x="35" y="16"/>
                        </a:cubicBezTo>
                        <a:cubicBezTo>
                          <a:pt x="35" y="15"/>
                          <a:pt x="34" y="15"/>
                          <a:pt x="34" y="14"/>
                        </a:cubicBezTo>
                        <a:cubicBezTo>
                          <a:pt x="34" y="13"/>
                          <a:pt x="34" y="13"/>
                          <a:pt x="34" y="12"/>
                        </a:cubicBezTo>
                        <a:cubicBezTo>
                          <a:pt x="37" y="8"/>
                          <a:pt x="37" y="8"/>
                          <a:pt x="37" y="8"/>
                        </a:cubicBezTo>
                        <a:cubicBezTo>
                          <a:pt x="37" y="7"/>
                          <a:pt x="37" y="7"/>
                          <a:pt x="37" y="7"/>
                        </a:cubicBezTo>
                        <a:cubicBezTo>
                          <a:pt x="35" y="5"/>
                          <a:pt x="35" y="5"/>
                          <a:pt x="35" y="5"/>
                        </a:cubicBezTo>
                        <a:cubicBezTo>
                          <a:pt x="34" y="4"/>
                          <a:pt x="34" y="4"/>
                          <a:pt x="33" y="5"/>
                        </a:cubicBezTo>
                        <a:cubicBezTo>
                          <a:pt x="29" y="7"/>
                          <a:pt x="29" y="7"/>
                          <a:pt x="29" y="7"/>
                        </a:cubicBezTo>
                        <a:cubicBezTo>
                          <a:pt x="28" y="7"/>
                          <a:pt x="28" y="7"/>
                          <a:pt x="27" y="7"/>
                        </a:cubicBezTo>
                        <a:cubicBezTo>
                          <a:pt x="27" y="7"/>
                          <a:pt x="26" y="7"/>
                          <a:pt x="25" y="6"/>
                        </a:cubicBezTo>
                        <a:cubicBezTo>
                          <a:pt x="25" y="6"/>
                          <a:pt x="24" y="6"/>
                          <a:pt x="24" y="5"/>
                        </a:cubicBezTo>
                        <a:cubicBezTo>
                          <a:pt x="24" y="1"/>
                          <a:pt x="24" y="1"/>
                          <a:pt x="24" y="1"/>
                        </a:cubicBezTo>
                        <a:cubicBezTo>
                          <a:pt x="24" y="0"/>
                          <a:pt x="23" y="0"/>
                          <a:pt x="23" y="0"/>
                        </a:cubicBezTo>
                        <a:cubicBezTo>
                          <a:pt x="20" y="0"/>
                          <a:pt x="20" y="0"/>
                          <a:pt x="20" y="0"/>
                        </a:cubicBezTo>
                        <a:cubicBezTo>
                          <a:pt x="19" y="0"/>
                          <a:pt x="19" y="0"/>
                          <a:pt x="19" y="1"/>
                        </a:cubicBezTo>
                        <a:cubicBezTo>
                          <a:pt x="17" y="4"/>
                          <a:pt x="17" y="4"/>
                          <a:pt x="17" y="4"/>
                        </a:cubicBezTo>
                        <a:cubicBezTo>
                          <a:pt x="17" y="6"/>
                          <a:pt x="17" y="6"/>
                          <a:pt x="16" y="6"/>
                        </a:cubicBezTo>
                        <a:cubicBezTo>
                          <a:pt x="15" y="7"/>
                          <a:pt x="15" y="7"/>
                          <a:pt x="14" y="7"/>
                        </a:cubicBezTo>
                        <a:cubicBezTo>
                          <a:pt x="14" y="7"/>
                          <a:pt x="13" y="7"/>
                          <a:pt x="12" y="7"/>
                        </a:cubicBezTo>
                        <a:cubicBezTo>
                          <a:pt x="9" y="5"/>
                          <a:pt x="9" y="5"/>
                          <a:pt x="9" y="5"/>
                        </a:cubicBezTo>
                        <a:cubicBezTo>
                          <a:pt x="9" y="4"/>
                          <a:pt x="8" y="4"/>
                          <a:pt x="8" y="5"/>
                        </a:cubicBezTo>
                        <a:cubicBezTo>
                          <a:pt x="6" y="7"/>
                          <a:pt x="6" y="7"/>
                          <a:pt x="6" y="7"/>
                        </a:cubicBezTo>
                        <a:cubicBezTo>
                          <a:pt x="4" y="7"/>
                          <a:pt x="4" y="8"/>
                          <a:pt x="6" y="8"/>
                        </a:cubicBezTo>
                        <a:cubicBezTo>
                          <a:pt x="8" y="12"/>
                          <a:pt x="8" y="12"/>
                          <a:pt x="8" y="12"/>
                        </a:cubicBezTo>
                        <a:cubicBezTo>
                          <a:pt x="9" y="13"/>
                          <a:pt x="9" y="13"/>
                          <a:pt x="8" y="14"/>
                        </a:cubicBezTo>
                        <a:cubicBezTo>
                          <a:pt x="8" y="14"/>
                          <a:pt x="8" y="14"/>
                          <a:pt x="8" y="14"/>
                        </a:cubicBezTo>
                        <a:cubicBezTo>
                          <a:pt x="8" y="15"/>
                          <a:pt x="8" y="15"/>
                          <a:pt x="8" y="16"/>
                        </a:cubicBezTo>
                        <a:cubicBezTo>
                          <a:pt x="8" y="16"/>
                          <a:pt x="8" y="16"/>
                          <a:pt x="8" y="16"/>
                        </a:cubicBezTo>
                        <a:cubicBezTo>
                          <a:pt x="7" y="16"/>
                          <a:pt x="7" y="17"/>
                          <a:pt x="6" y="17"/>
                        </a:cubicBezTo>
                        <a:cubicBezTo>
                          <a:pt x="1" y="17"/>
                          <a:pt x="1" y="17"/>
                          <a:pt x="1" y="17"/>
                        </a:cubicBezTo>
                        <a:cubicBezTo>
                          <a:pt x="1" y="18"/>
                          <a:pt x="0" y="18"/>
                          <a:pt x="0" y="19"/>
                        </a:cubicBezTo>
                        <a:cubicBezTo>
                          <a:pt x="0" y="21"/>
                          <a:pt x="0" y="21"/>
                          <a:pt x="0" y="21"/>
                        </a:cubicBezTo>
                        <a:cubicBezTo>
                          <a:pt x="0" y="22"/>
                          <a:pt x="1" y="22"/>
                          <a:pt x="1" y="23"/>
                        </a:cubicBezTo>
                        <a:cubicBezTo>
                          <a:pt x="6" y="23"/>
                          <a:pt x="6" y="23"/>
                          <a:pt x="6" y="23"/>
                        </a:cubicBezTo>
                        <a:cubicBezTo>
                          <a:pt x="7" y="23"/>
                          <a:pt x="7" y="25"/>
                          <a:pt x="8" y="25"/>
                        </a:cubicBezTo>
                        <a:cubicBezTo>
                          <a:pt x="8" y="25"/>
                          <a:pt x="8" y="25"/>
                          <a:pt x="8" y="25"/>
                        </a:cubicBezTo>
                        <a:cubicBezTo>
                          <a:pt x="8" y="26"/>
                          <a:pt x="8" y="26"/>
                          <a:pt x="8" y="27"/>
                        </a:cubicBezTo>
                        <a:cubicBezTo>
                          <a:pt x="8" y="27"/>
                          <a:pt x="8" y="27"/>
                          <a:pt x="8" y="27"/>
                        </a:cubicBezTo>
                        <a:cubicBezTo>
                          <a:pt x="9" y="28"/>
                          <a:pt x="9" y="28"/>
                          <a:pt x="8" y="29"/>
                        </a:cubicBezTo>
                        <a:cubicBezTo>
                          <a:pt x="6" y="32"/>
                          <a:pt x="6" y="32"/>
                          <a:pt x="6" y="32"/>
                        </a:cubicBezTo>
                        <a:cubicBezTo>
                          <a:pt x="4" y="32"/>
                          <a:pt x="4" y="33"/>
                          <a:pt x="6" y="33"/>
                        </a:cubicBezTo>
                        <a:cubicBezTo>
                          <a:pt x="8" y="35"/>
                          <a:pt x="8" y="35"/>
                          <a:pt x="8" y="35"/>
                        </a:cubicBezTo>
                        <a:cubicBezTo>
                          <a:pt x="8" y="36"/>
                          <a:pt x="9" y="36"/>
                          <a:pt x="9" y="35"/>
                        </a:cubicBezTo>
                        <a:cubicBezTo>
                          <a:pt x="12" y="33"/>
                          <a:pt x="12" y="33"/>
                          <a:pt x="12" y="33"/>
                        </a:cubicBezTo>
                        <a:cubicBezTo>
                          <a:pt x="13" y="33"/>
                          <a:pt x="14" y="33"/>
                          <a:pt x="14" y="33"/>
                        </a:cubicBezTo>
                        <a:cubicBezTo>
                          <a:pt x="14" y="33"/>
                          <a:pt x="14" y="33"/>
                          <a:pt x="14" y="33"/>
                        </a:cubicBezTo>
                        <a:cubicBezTo>
                          <a:pt x="15" y="33"/>
                          <a:pt x="15" y="33"/>
                          <a:pt x="16" y="34"/>
                        </a:cubicBezTo>
                        <a:cubicBezTo>
                          <a:pt x="16" y="34"/>
                          <a:pt x="16" y="34"/>
                          <a:pt x="16" y="34"/>
                        </a:cubicBezTo>
                        <a:cubicBezTo>
                          <a:pt x="17" y="34"/>
                          <a:pt x="17" y="34"/>
                          <a:pt x="17" y="35"/>
                        </a:cubicBezTo>
                        <a:cubicBezTo>
                          <a:pt x="19" y="40"/>
                          <a:pt x="19" y="40"/>
                          <a:pt x="19" y="40"/>
                        </a:cubicBezTo>
                        <a:cubicBezTo>
                          <a:pt x="19" y="41"/>
                          <a:pt x="19" y="41"/>
                          <a:pt x="20" y="41"/>
                        </a:cubicBezTo>
                        <a:cubicBezTo>
                          <a:pt x="23" y="41"/>
                          <a:pt x="23" y="41"/>
                          <a:pt x="23" y="41"/>
                        </a:cubicBezTo>
                        <a:cubicBezTo>
                          <a:pt x="23" y="41"/>
                          <a:pt x="24" y="41"/>
                          <a:pt x="24" y="40"/>
                        </a:cubicBezTo>
                        <a:cubicBezTo>
                          <a:pt x="24" y="36"/>
                          <a:pt x="24" y="36"/>
                          <a:pt x="24" y="36"/>
                        </a:cubicBezTo>
                        <a:cubicBezTo>
                          <a:pt x="24" y="34"/>
                          <a:pt x="25" y="34"/>
                          <a:pt x="25" y="34"/>
                        </a:cubicBezTo>
                        <a:cubicBezTo>
                          <a:pt x="26" y="34"/>
                          <a:pt x="26" y="34"/>
                          <a:pt x="26" y="34"/>
                        </a:cubicBezTo>
                        <a:cubicBezTo>
                          <a:pt x="26" y="33"/>
                          <a:pt x="27" y="33"/>
                          <a:pt x="27" y="33"/>
                        </a:cubicBezTo>
                        <a:cubicBezTo>
                          <a:pt x="27" y="33"/>
                          <a:pt x="27" y="33"/>
                          <a:pt x="27" y="33"/>
                        </a:cubicBezTo>
                        <a:cubicBezTo>
                          <a:pt x="28" y="33"/>
                          <a:pt x="28" y="33"/>
                          <a:pt x="29" y="33"/>
                        </a:cubicBezTo>
                        <a:cubicBezTo>
                          <a:pt x="33" y="35"/>
                          <a:pt x="33" y="35"/>
                          <a:pt x="33" y="35"/>
                        </a:cubicBezTo>
                        <a:cubicBezTo>
                          <a:pt x="33" y="36"/>
                          <a:pt x="34" y="36"/>
                          <a:pt x="35" y="35"/>
                        </a:cubicBezTo>
                        <a:cubicBezTo>
                          <a:pt x="37" y="33"/>
                          <a:pt x="37" y="33"/>
                          <a:pt x="37" y="33"/>
                        </a:cubicBezTo>
                        <a:cubicBezTo>
                          <a:pt x="37" y="32"/>
                          <a:pt x="37" y="32"/>
                          <a:pt x="37" y="32"/>
                        </a:cubicBezTo>
                        <a:cubicBezTo>
                          <a:pt x="34" y="29"/>
                          <a:pt x="34" y="29"/>
                          <a:pt x="34" y="29"/>
                        </a:cubicBezTo>
                        <a:cubicBezTo>
                          <a:pt x="34" y="28"/>
                          <a:pt x="34" y="28"/>
                          <a:pt x="34" y="27"/>
                        </a:cubicBezTo>
                        <a:cubicBezTo>
                          <a:pt x="34" y="27"/>
                          <a:pt x="34" y="27"/>
                          <a:pt x="34" y="27"/>
                        </a:cubicBezTo>
                        <a:cubicBezTo>
                          <a:pt x="34" y="26"/>
                          <a:pt x="35" y="26"/>
                          <a:pt x="35" y="25"/>
                        </a:cubicBezTo>
                        <a:cubicBezTo>
                          <a:pt x="35" y="25"/>
                          <a:pt x="35" y="25"/>
                          <a:pt x="35" y="25"/>
                        </a:cubicBezTo>
                        <a:cubicBezTo>
                          <a:pt x="35" y="25"/>
                          <a:pt x="35" y="23"/>
                          <a:pt x="37" y="23"/>
                        </a:cubicBezTo>
                        <a:cubicBezTo>
                          <a:pt x="40" y="23"/>
                          <a:pt x="40" y="23"/>
                          <a:pt x="40" y="23"/>
                        </a:cubicBezTo>
                        <a:cubicBezTo>
                          <a:pt x="41" y="22"/>
                          <a:pt x="41" y="22"/>
                          <a:pt x="41" y="21"/>
                        </a:cubicBezTo>
                        <a:cubicBezTo>
                          <a:pt x="41" y="19"/>
                          <a:pt x="41" y="19"/>
                          <a:pt x="41" y="19"/>
                        </a:cubicBezTo>
                        <a:cubicBezTo>
                          <a:pt x="41" y="18"/>
                          <a:pt x="41" y="18"/>
                          <a:pt x="40" y="17"/>
                        </a:cubicBezTo>
                        <a:close/>
                      </a:path>
                    </a:pathLst>
                  </a:custGeom>
                  <a:solidFill>
                    <a:srgbClr val="3C3C41"/>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sp>
              <p:nvSpPr>
                <p:cNvPr id="211" name="Freeform 57">
                  <a:extLst>
                    <a:ext uri="{FF2B5EF4-FFF2-40B4-BE49-F238E27FC236}">
                      <a16:creationId xmlns:a16="http://schemas.microsoft.com/office/drawing/2014/main" id="{9186EA34-9E8D-4F6F-B7B9-7818E347D2F0}"/>
                    </a:ext>
                  </a:extLst>
                </p:cNvPr>
                <p:cNvSpPr>
                  <a:spLocks noEditPoints="1"/>
                </p:cNvSpPr>
                <p:nvPr/>
              </p:nvSpPr>
              <p:spPr bwMode="auto">
                <a:xfrm>
                  <a:off x="7596187" y="3162302"/>
                  <a:ext cx="103187" cy="103186"/>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3C3C41"/>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202" name="Group 201">
                <a:extLst>
                  <a:ext uri="{FF2B5EF4-FFF2-40B4-BE49-F238E27FC236}">
                    <a16:creationId xmlns:a16="http://schemas.microsoft.com/office/drawing/2014/main" id="{BB708101-A525-423B-8C51-1432B92616BE}"/>
                  </a:ext>
                </a:extLst>
              </p:cNvPr>
              <p:cNvGrpSpPr/>
              <p:nvPr/>
            </p:nvGrpSpPr>
            <p:grpSpPr>
              <a:xfrm>
                <a:off x="5196134" y="3400865"/>
                <a:ext cx="102684" cy="63196"/>
                <a:chOff x="7131063" y="3379202"/>
                <a:chExt cx="519133" cy="319492"/>
              </a:xfrm>
              <a:solidFill>
                <a:srgbClr val="0084D9">
                  <a:alpha val="0"/>
                </a:srgbClr>
              </a:solidFill>
            </p:grpSpPr>
            <p:sp>
              <p:nvSpPr>
                <p:cNvPr id="203" name="Freeform 34">
                  <a:extLst>
                    <a:ext uri="{FF2B5EF4-FFF2-40B4-BE49-F238E27FC236}">
                      <a16:creationId xmlns:a16="http://schemas.microsoft.com/office/drawing/2014/main" id="{04715AEB-FB87-40A0-B938-4BBDE24C3D80}"/>
                    </a:ext>
                  </a:extLst>
                </p:cNvPr>
                <p:cNvSpPr>
                  <a:spLocks/>
                </p:cNvSpPr>
                <p:nvPr/>
              </p:nvSpPr>
              <p:spPr bwMode="auto">
                <a:xfrm>
                  <a:off x="7264057" y="3392960"/>
                  <a:ext cx="386139" cy="61147"/>
                </a:xfrm>
                <a:custGeom>
                  <a:avLst/>
                  <a:gdLst>
                    <a:gd name="T0" fmla="*/ 251 w 269"/>
                    <a:gd name="T1" fmla="*/ 37 h 37"/>
                    <a:gd name="T2" fmla="*/ 19 w 269"/>
                    <a:gd name="T3" fmla="*/ 37 h 37"/>
                    <a:gd name="T4" fmla="*/ 0 w 269"/>
                    <a:gd name="T5" fmla="*/ 19 h 37"/>
                    <a:gd name="T6" fmla="*/ 0 w 269"/>
                    <a:gd name="T7" fmla="*/ 19 h 37"/>
                    <a:gd name="T8" fmla="*/ 19 w 269"/>
                    <a:gd name="T9" fmla="*/ 0 h 37"/>
                    <a:gd name="T10" fmla="*/ 251 w 269"/>
                    <a:gd name="T11" fmla="*/ 0 h 37"/>
                    <a:gd name="T12" fmla="*/ 269 w 269"/>
                    <a:gd name="T13" fmla="*/ 19 h 37"/>
                    <a:gd name="T14" fmla="*/ 269 w 269"/>
                    <a:gd name="T15" fmla="*/ 19 h 37"/>
                    <a:gd name="T16" fmla="*/ 251 w 269"/>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37">
                      <a:moveTo>
                        <a:pt x="251" y="37"/>
                      </a:moveTo>
                      <a:cubicBezTo>
                        <a:pt x="19" y="37"/>
                        <a:pt x="19" y="37"/>
                        <a:pt x="19" y="37"/>
                      </a:cubicBezTo>
                      <a:cubicBezTo>
                        <a:pt x="8" y="37"/>
                        <a:pt x="0" y="29"/>
                        <a:pt x="0" y="19"/>
                      </a:cubicBezTo>
                      <a:cubicBezTo>
                        <a:pt x="0" y="19"/>
                        <a:pt x="0" y="19"/>
                        <a:pt x="0" y="19"/>
                      </a:cubicBezTo>
                      <a:cubicBezTo>
                        <a:pt x="0" y="9"/>
                        <a:pt x="8" y="0"/>
                        <a:pt x="19" y="0"/>
                      </a:cubicBezTo>
                      <a:cubicBezTo>
                        <a:pt x="251" y="0"/>
                        <a:pt x="251" y="0"/>
                        <a:pt x="251" y="0"/>
                      </a:cubicBezTo>
                      <a:cubicBezTo>
                        <a:pt x="261" y="0"/>
                        <a:pt x="269" y="9"/>
                        <a:pt x="269" y="19"/>
                      </a:cubicBezTo>
                      <a:cubicBezTo>
                        <a:pt x="269" y="19"/>
                        <a:pt x="269" y="19"/>
                        <a:pt x="269" y="19"/>
                      </a:cubicBezTo>
                      <a:cubicBezTo>
                        <a:pt x="269" y="29"/>
                        <a:pt x="261" y="37"/>
                        <a:pt x="25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4" name="Freeform 35">
                  <a:extLst>
                    <a:ext uri="{FF2B5EF4-FFF2-40B4-BE49-F238E27FC236}">
                      <a16:creationId xmlns:a16="http://schemas.microsoft.com/office/drawing/2014/main" id="{F3BA0DB4-2513-4E53-B31A-1F3704DDB87E}"/>
                    </a:ext>
                  </a:extLst>
                </p:cNvPr>
                <p:cNvSpPr>
                  <a:spLocks/>
                </p:cNvSpPr>
                <p:nvPr/>
              </p:nvSpPr>
              <p:spPr bwMode="auto">
                <a:xfrm>
                  <a:off x="7264057" y="3515254"/>
                  <a:ext cx="386139" cy="61147"/>
                </a:xfrm>
                <a:custGeom>
                  <a:avLst/>
                  <a:gdLst>
                    <a:gd name="T0" fmla="*/ 251 w 269"/>
                    <a:gd name="T1" fmla="*/ 37 h 37"/>
                    <a:gd name="T2" fmla="*/ 19 w 269"/>
                    <a:gd name="T3" fmla="*/ 37 h 37"/>
                    <a:gd name="T4" fmla="*/ 0 w 269"/>
                    <a:gd name="T5" fmla="*/ 19 h 37"/>
                    <a:gd name="T6" fmla="*/ 0 w 269"/>
                    <a:gd name="T7" fmla="*/ 19 h 37"/>
                    <a:gd name="T8" fmla="*/ 19 w 269"/>
                    <a:gd name="T9" fmla="*/ 0 h 37"/>
                    <a:gd name="T10" fmla="*/ 251 w 269"/>
                    <a:gd name="T11" fmla="*/ 0 h 37"/>
                    <a:gd name="T12" fmla="*/ 269 w 269"/>
                    <a:gd name="T13" fmla="*/ 19 h 37"/>
                    <a:gd name="T14" fmla="*/ 269 w 269"/>
                    <a:gd name="T15" fmla="*/ 19 h 37"/>
                    <a:gd name="T16" fmla="*/ 251 w 269"/>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37">
                      <a:moveTo>
                        <a:pt x="251" y="37"/>
                      </a:moveTo>
                      <a:cubicBezTo>
                        <a:pt x="19" y="37"/>
                        <a:pt x="19" y="37"/>
                        <a:pt x="19" y="37"/>
                      </a:cubicBezTo>
                      <a:cubicBezTo>
                        <a:pt x="8" y="37"/>
                        <a:pt x="0" y="29"/>
                        <a:pt x="0" y="19"/>
                      </a:cubicBezTo>
                      <a:cubicBezTo>
                        <a:pt x="0" y="19"/>
                        <a:pt x="0" y="19"/>
                        <a:pt x="0" y="19"/>
                      </a:cubicBezTo>
                      <a:cubicBezTo>
                        <a:pt x="0" y="9"/>
                        <a:pt x="8" y="0"/>
                        <a:pt x="19" y="0"/>
                      </a:cubicBezTo>
                      <a:cubicBezTo>
                        <a:pt x="251" y="0"/>
                        <a:pt x="251" y="0"/>
                        <a:pt x="251" y="0"/>
                      </a:cubicBezTo>
                      <a:cubicBezTo>
                        <a:pt x="261" y="0"/>
                        <a:pt x="269" y="9"/>
                        <a:pt x="269" y="19"/>
                      </a:cubicBezTo>
                      <a:cubicBezTo>
                        <a:pt x="269" y="19"/>
                        <a:pt x="269" y="19"/>
                        <a:pt x="269" y="19"/>
                      </a:cubicBezTo>
                      <a:cubicBezTo>
                        <a:pt x="269" y="29"/>
                        <a:pt x="261" y="37"/>
                        <a:pt x="25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5" name="Freeform 36">
                  <a:extLst>
                    <a:ext uri="{FF2B5EF4-FFF2-40B4-BE49-F238E27FC236}">
                      <a16:creationId xmlns:a16="http://schemas.microsoft.com/office/drawing/2014/main" id="{0E395D7C-9F62-44F1-9094-23257180699B}"/>
                    </a:ext>
                  </a:extLst>
                </p:cNvPr>
                <p:cNvSpPr>
                  <a:spLocks/>
                </p:cNvSpPr>
                <p:nvPr/>
              </p:nvSpPr>
              <p:spPr bwMode="auto">
                <a:xfrm>
                  <a:off x="7264057" y="3637547"/>
                  <a:ext cx="386139" cy="61147"/>
                </a:xfrm>
                <a:custGeom>
                  <a:avLst/>
                  <a:gdLst>
                    <a:gd name="T0" fmla="*/ 251 w 269"/>
                    <a:gd name="T1" fmla="*/ 37 h 37"/>
                    <a:gd name="T2" fmla="*/ 19 w 269"/>
                    <a:gd name="T3" fmla="*/ 37 h 37"/>
                    <a:gd name="T4" fmla="*/ 0 w 269"/>
                    <a:gd name="T5" fmla="*/ 19 h 37"/>
                    <a:gd name="T6" fmla="*/ 0 w 269"/>
                    <a:gd name="T7" fmla="*/ 19 h 37"/>
                    <a:gd name="T8" fmla="*/ 19 w 269"/>
                    <a:gd name="T9" fmla="*/ 0 h 37"/>
                    <a:gd name="T10" fmla="*/ 251 w 269"/>
                    <a:gd name="T11" fmla="*/ 0 h 37"/>
                    <a:gd name="T12" fmla="*/ 269 w 269"/>
                    <a:gd name="T13" fmla="*/ 19 h 37"/>
                    <a:gd name="T14" fmla="*/ 269 w 269"/>
                    <a:gd name="T15" fmla="*/ 19 h 37"/>
                    <a:gd name="T16" fmla="*/ 251 w 269"/>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37">
                      <a:moveTo>
                        <a:pt x="251" y="37"/>
                      </a:moveTo>
                      <a:cubicBezTo>
                        <a:pt x="19" y="37"/>
                        <a:pt x="19" y="37"/>
                        <a:pt x="19" y="37"/>
                      </a:cubicBezTo>
                      <a:cubicBezTo>
                        <a:pt x="8" y="37"/>
                        <a:pt x="0" y="29"/>
                        <a:pt x="0" y="19"/>
                      </a:cubicBezTo>
                      <a:cubicBezTo>
                        <a:pt x="0" y="19"/>
                        <a:pt x="0" y="19"/>
                        <a:pt x="0" y="19"/>
                      </a:cubicBezTo>
                      <a:cubicBezTo>
                        <a:pt x="0" y="9"/>
                        <a:pt x="8" y="0"/>
                        <a:pt x="19" y="0"/>
                      </a:cubicBezTo>
                      <a:cubicBezTo>
                        <a:pt x="251" y="0"/>
                        <a:pt x="251" y="0"/>
                        <a:pt x="251" y="0"/>
                      </a:cubicBezTo>
                      <a:cubicBezTo>
                        <a:pt x="261" y="0"/>
                        <a:pt x="269" y="9"/>
                        <a:pt x="269" y="19"/>
                      </a:cubicBezTo>
                      <a:cubicBezTo>
                        <a:pt x="269" y="19"/>
                        <a:pt x="269" y="19"/>
                        <a:pt x="269" y="19"/>
                      </a:cubicBezTo>
                      <a:cubicBezTo>
                        <a:pt x="269" y="29"/>
                        <a:pt x="261" y="37"/>
                        <a:pt x="25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6" name="Oval 38">
                  <a:extLst>
                    <a:ext uri="{FF2B5EF4-FFF2-40B4-BE49-F238E27FC236}">
                      <a16:creationId xmlns:a16="http://schemas.microsoft.com/office/drawing/2014/main" id="{8E8DC71A-02DA-4D86-992A-D9870FFD5248}"/>
                    </a:ext>
                  </a:extLst>
                </p:cNvPr>
                <p:cNvSpPr>
                  <a:spLocks noChangeArrowheads="1"/>
                </p:cNvSpPr>
                <p:nvPr/>
              </p:nvSpPr>
              <p:spPr bwMode="auto">
                <a:xfrm>
                  <a:off x="7131063" y="3379202"/>
                  <a:ext cx="87134" cy="87134"/>
                </a:xfrm>
                <a:prstGeom prst="ellipse">
                  <a:avLst/>
                </a:prstGeom>
                <a:grp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7" name="Freeform 39">
                  <a:extLst>
                    <a:ext uri="{FF2B5EF4-FFF2-40B4-BE49-F238E27FC236}">
                      <a16:creationId xmlns:a16="http://schemas.microsoft.com/office/drawing/2014/main" id="{2A4AE5D8-8A94-43F3-B042-166ABC5D173F}"/>
                    </a:ext>
                  </a:extLst>
                </p:cNvPr>
                <p:cNvSpPr>
                  <a:spLocks/>
                </p:cNvSpPr>
                <p:nvPr/>
              </p:nvSpPr>
              <p:spPr bwMode="auto">
                <a:xfrm>
                  <a:off x="7144821" y="3383788"/>
                  <a:ext cx="81020" cy="56561"/>
                </a:xfrm>
                <a:custGeom>
                  <a:avLst/>
                  <a:gdLst>
                    <a:gd name="T0" fmla="*/ 19 w 49"/>
                    <a:gd name="T1" fmla="*/ 34 h 34"/>
                    <a:gd name="T2" fmla="*/ 16 w 49"/>
                    <a:gd name="T3" fmla="*/ 33 h 34"/>
                    <a:gd name="T4" fmla="*/ 0 w 49"/>
                    <a:gd name="T5" fmla="*/ 17 h 34"/>
                    <a:gd name="T6" fmla="*/ 7 w 49"/>
                    <a:gd name="T7" fmla="*/ 10 h 34"/>
                    <a:gd name="T8" fmla="*/ 19 w 49"/>
                    <a:gd name="T9" fmla="*/ 23 h 34"/>
                    <a:gd name="T10" fmla="*/ 42 w 49"/>
                    <a:gd name="T11" fmla="*/ 0 h 34"/>
                    <a:gd name="T12" fmla="*/ 49 w 49"/>
                    <a:gd name="T13" fmla="*/ 7 h 34"/>
                    <a:gd name="T14" fmla="*/ 23 w 49"/>
                    <a:gd name="T15" fmla="*/ 33 h 34"/>
                    <a:gd name="T16" fmla="*/ 19 w 49"/>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34">
                      <a:moveTo>
                        <a:pt x="19" y="34"/>
                      </a:moveTo>
                      <a:cubicBezTo>
                        <a:pt x="18" y="34"/>
                        <a:pt x="17" y="34"/>
                        <a:pt x="16" y="33"/>
                      </a:cubicBezTo>
                      <a:cubicBezTo>
                        <a:pt x="0" y="17"/>
                        <a:pt x="0" y="17"/>
                        <a:pt x="0" y="17"/>
                      </a:cubicBezTo>
                      <a:cubicBezTo>
                        <a:pt x="7" y="10"/>
                        <a:pt x="7" y="10"/>
                        <a:pt x="7" y="10"/>
                      </a:cubicBezTo>
                      <a:cubicBezTo>
                        <a:pt x="19" y="23"/>
                        <a:pt x="19" y="23"/>
                        <a:pt x="19" y="23"/>
                      </a:cubicBezTo>
                      <a:cubicBezTo>
                        <a:pt x="42" y="0"/>
                        <a:pt x="42" y="0"/>
                        <a:pt x="42" y="0"/>
                      </a:cubicBezTo>
                      <a:cubicBezTo>
                        <a:pt x="49" y="7"/>
                        <a:pt x="49" y="7"/>
                        <a:pt x="49" y="7"/>
                      </a:cubicBezTo>
                      <a:cubicBezTo>
                        <a:pt x="23" y="33"/>
                        <a:pt x="23" y="33"/>
                        <a:pt x="23" y="33"/>
                      </a:cubicBezTo>
                      <a:cubicBezTo>
                        <a:pt x="22" y="34"/>
                        <a:pt x="21" y="34"/>
                        <a:pt x="19" y="34"/>
                      </a:cubicBezTo>
                      <a:close/>
                    </a:path>
                  </a:pathLst>
                </a:custGeom>
                <a:grp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8" name="Oval 40">
                  <a:extLst>
                    <a:ext uri="{FF2B5EF4-FFF2-40B4-BE49-F238E27FC236}">
                      <a16:creationId xmlns:a16="http://schemas.microsoft.com/office/drawing/2014/main" id="{B7B37248-EA91-48F8-AAC3-10839C27C6B3}"/>
                    </a:ext>
                  </a:extLst>
                </p:cNvPr>
                <p:cNvSpPr>
                  <a:spLocks noChangeArrowheads="1"/>
                </p:cNvSpPr>
                <p:nvPr/>
              </p:nvSpPr>
              <p:spPr bwMode="auto">
                <a:xfrm>
                  <a:off x="7131063" y="3501496"/>
                  <a:ext cx="87134" cy="87134"/>
                </a:xfrm>
                <a:prstGeom prst="ellipse">
                  <a:avLst/>
                </a:prstGeom>
                <a:grp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9" name="Freeform 41">
                  <a:extLst>
                    <a:ext uri="{FF2B5EF4-FFF2-40B4-BE49-F238E27FC236}">
                      <a16:creationId xmlns:a16="http://schemas.microsoft.com/office/drawing/2014/main" id="{3FE363D6-0F26-445E-B31B-C575805C30B5}"/>
                    </a:ext>
                  </a:extLst>
                </p:cNvPr>
                <p:cNvSpPr>
                  <a:spLocks/>
                </p:cNvSpPr>
                <p:nvPr/>
              </p:nvSpPr>
              <p:spPr bwMode="auto">
                <a:xfrm>
                  <a:off x="7144821" y="3506082"/>
                  <a:ext cx="81020" cy="56561"/>
                </a:xfrm>
                <a:custGeom>
                  <a:avLst/>
                  <a:gdLst>
                    <a:gd name="T0" fmla="*/ 19 w 49"/>
                    <a:gd name="T1" fmla="*/ 34 h 34"/>
                    <a:gd name="T2" fmla="*/ 16 w 49"/>
                    <a:gd name="T3" fmla="*/ 33 h 34"/>
                    <a:gd name="T4" fmla="*/ 0 w 49"/>
                    <a:gd name="T5" fmla="*/ 17 h 34"/>
                    <a:gd name="T6" fmla="*/ 7 w 49"/>
                    <a:gd name="T7" fmla="*/ 10 h 34"/>
                    <a:gd name="T8" fmla="*/ 19 w 49"/>
                    <a:gd name="T9" fmla="*/ 23 h 34"/>
                    <a:gd name="T10" fmla="*/ 42 w 49"/>
                    <a:gd name="T11" fmla="*/ 0 h 34"/>
                    <a:gd name="T12" fmla="*/ 49 w 49"/>
                    <a:gd name="T13" fmla="*/ 7 h 34"/>
                    <a:gd name="T14" fmla="*/ 23 w 49"/>
                    <a:gd name="T15" fmla="*/ 33 h 34"/>
                    <a:gd name="T16" fmla="*/ 19 w 49"/>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34">
                      <a:moveTo>
                        <a:pt x="19" y="34"/>
                      </a:moveTo>
                      <a:cubicBezTo>
                        <a:pt x="18" y="34"/>
                        <a:pt x="17" y="34"/>
                        <a:pt x="16" y="33"/>
                      </a:cubicBezTo>
                      <a:cubicBezTo>
                        <a:pt x="0" y="17"/>
                        <a:pt x="0" y="17"/>
                        <a:pt x="0" y="17"/>
                      </a:cubicBezTo>
                      <a:cubicBezTo>
                        <a:pt x="7" y="10"/>
                        <a:pt x="7" y="10"/>
                        <a:pt x="7" y="10"/>
                      </a:cubicBezTo>
                      <a:cubicBezTo>
                        <a:pt x="19" y="23"/>
                        <a:pt x="19" y="23"/>
                        <a:pt x="19" y="23"/>
                      </a:cubicBezTo>
                      <a:cubicBezTo>
                        <a:pt x="42" y="0"/>
                        <a:pt x="42" y="0"/>
                        <a:pt x="42" y="0"/>
                      </a:cubicBezTo>
                      <a:cubicBezTo>
                        <a:pt x="49" y="7"/>
                        <a:pt x="49" y="7"/>
                        <a:pt x="49" y="7"/>
                      </a:cubicBezTo>
                      <a:cubicBezTo>
                        <a:pt x="23" y="33"/>
                        <a:pt x="23" y="33"/>
                        <a:pt x="23" y="33"/>
                      </a:cubicBezTo>
                      <a:cubicBezTo>
                        <a:pt x="22" y="34"/>
                        <a:pt x="21" y="34"/>
                        <a:pt x="19" y="34"/>
                      </a:cubicBezTo>
                      <a:close/>
                    </a:path>
                  </a:pathLst>
                </a:custGeom>
                <a:grp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grpSp>
        <p:nvGrpSpPr>
          <p:cNvPr id="224" name="Group 223">
            <a:extLst>
              <a:ext uri="{FF2B5EF4-FFF2-40B4-BE49-F238E27FC236}">
                <a16:creationId xmlns:a16="http://schemas.microsoft.com/office/drawing/2014/main" id="{76D41CEF-FE4D-41F5-A427-5FCB68E7AD1A}"/>
              </a:ext>
            </a:extLst>
          </p:cNvPr>
          <p:cNvGrpSpPr>
            <a:grpSpLocks noChangeAspect="1"/>
          </p:cNvGrpSpPr>
          <p:nvPr/>
        </p:nvGrpSpPr>
        <p:grpSpPr>
          <a:xfrm>
            <a:off x="537129" y="3181866"/>
            <a:ext cx="760551" cy="760551"/>
            <a:chOff x="1930400" y="2443403"/>
            <a:chExt cx="1487170" cy="1487170"/>
          </a:xfrm>
        </p:grpSpPr>
        <p:sp>
          <p:nvSpPr>
            <p:cNvPr id="225" name="Oval 224">
              <a:extLst>
                <a:ext uri="{FF2B5EF4-FFF2-40B4-BE49-F238E27FC236}">
                  <a16:creationId xmlns:a16="http://schemas.microsoft.com/office/drawing/2014/main" id="{344F339C-9AE0-4382-A843-685F37CF6EB5}"/>
                </a:ext>
              </a:extLst>
            </p:cNvPr>
            <p:cNvSpPr/>
            <p:nvPr/>
          </p:nvSpPr>
          <p:spPr bwMode="auto">
            <a:xfrm>
              <a:off x="1930400" y="2443403"/>
              <a:ext cx="1487170" cy="1487170"/>
            </a:xfrm>
            <a:prstGeom prst="ellipse">
              <a:avLst/>
            </a:prstGeom>
            <a:solidFill>
              <a:srgbClr val="FFFFFF"/>
            </a:solidFill>
            <a:ln w="9525" cap="flat" cmpd="sng" algn="ctr">
              <a:noFill/>
              <a:prstDash val="solid"/>
            </a:ln>
            <a:effectLst>
              <a:outerShdw blurRad="190500" dist="50800" dir="2700000" sx="101000" sy="101000" algn="tl" rotWithShape="0">
                <a:prstClr val="black">
                  <a:alpha val="25000"/>
                </a:prstClr>
              </a:outerShdw>
            </a:effectLst>
          </p:spPr>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6" name="Group 225">
              <a:extLst>
                <a:ext uri="{FF2B5EF4-FFF2-40B4-BE49-F238E27FC236}">
                  <a16:creationId xmlns:a16="http://schemas.microsoft.com/office/drawing/2014/main" id="{ED657434-40A1-4B7D-B42E-99BA3F02B6C6}"/>
                </a:ext>
              </a:extLst>
            </p:cNvPr>
            <p:cNvGrpSpPr/>
            <p:nvPr/>
          </p:nvGrpSpPr>
          <p:grpSpPr>
            <a:xfrm>
              <a:off x="2441424" y="2828985"/>
              <a:ext cx="465122" cy="716006"/>
              <a:chOff x="3405808" y="3173125"/>
              <a:chExt cx="323811" cy="498475"/>
            </a:xfrm>
          </p:grpSpPr>
          <p:grpSp>
            <p:nvGrpSpPr>
              <p:cNvPr id="227" name="Group 226">
                <a:extLst>
                  <a:ext uri="{FF2B5EF4-FFF2-40B4-BE49-F238E27FC236}">
                    <a16:creationId xmlns:a16="http://schemas.microsoft.com/office/drawing/2014/main" id="{C23E439B-92C9-4819-8BDD-32819360D8E9}"/>
                  </a:ext>
                </a:extLst>
              </p:cNvPr>
              <p:cNvGrpSpPr/>
              <p:nvPr/>
            </p:nvGrpSpPr>
            <p:grpSpPr>
              <a:xfrm>
                <a:off x="3405808" y="3173125"/>
                <a:ext cx="323811" cy="498475"/>
                <a:chOff x="5964276" y="3176588"/>
                <a:chExt cx="323811" cy="498475"/>
              </a:xfrm>
            </p:grpSpPr>
            <p:grpSp>
              <p:nvGrpSpPr>
                <p:cNvPr id="231" name="Group 4">
                  <a:extLst>
                    <a:ext uri="{FF2B5EF4-FFF2-40B4-BE49-F238E27FC236}">
                      <a16:creationId xmlns:a16="http://schemas.microsoft.com/office/drawing/2014/main" id="{BF7BF490-188F-4C81-9511-914D9D00E5E9}"/>
                    </a:ext>
                  </a:extLst>
                </p:cNvPr>
                <p:cNvGrpSpPr>
                  <a:grpSpLocks noChangeAspect="1"/>
                </p:cNvGrpSpPr>
                <p:nvPr/>
              </p:nvGrpSpPr>
              <p:grpSpPr bwMode="auto">
                <a:xfrm flipV="1">
                  <a:off x="5964276" y="3197229"/>
                  <a:ext cx="76200" cy="465138"/>
                  <a:chOff x="3757" y="2014"/>
                  <a:chExt cx="48" cy="293"/>
                </a:xfrm>
              </p:grpSpPr>
              <p:sp>
                <p:nvSpPr>
                  <p:cNvPr id="233" name="Rectangle 5">
                    <a:extLst>
                      <a:ext uri="{FF2B5EF4-FFF2-40B4-BE49-F238E27FC236}">
                        <a16:creationId xmlns:a16="http://schemas.microsoft.com/office/drawing/2014/main" id="{323E2527-C7AD-457E-A4ED-889CF109FD60}"/>
                      </a:ext>
                    </a:extLst>
                  </p:cNvPr>
                  <p:cNvSpPr>
                    <a:spLocks noChangeArrowheads="1"/>
                  </p:cNvSpPr>
                  <p:nvPr/>
                </p:nvSpPr>
                <p:spPr bwMode="auto">
                  <a:xfrm>
                    <a:off x="3774" y="2124"/>
                    <a:ext cx="14" cy="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4" name="Rectangle 6">
                    <a:extLst>
                      <a:ext uri="{FF2B5EF4-FFF2-40B4-BE49-F238E27FC236}">
                        <a16:creationId xmlns:a16="http://schemas.microsoft.com/office/drawing/2014/main" id="{BAA30F4C-6AB3-4850-A1C3-22A620372983}"/>
                      </a:ext>
                    </a:extLst>
                  </p:cNvPr>
                  <p:cNvSpPr>
                    <a:spLocks noChangeArrowheads="1"/>
                  </p:cNvSpPr>
                  <p:nvPr/>
                </p:nvSpPr>
                <p:spPr bwMode="auto">
                  <a:xfrm>
                    <a:off x="3774" y="2124"/>
                    <a:ext cx="14" cy="157"/>
                  </a:xfrm>
                  <a:prstGeom prst="rect">
                    <a:avLst/>
                  </a:prstGeom>
                  <a:solidFill>
                    <a:srgbClr val="75757A"/>
                  </a:solidFill>
                  <a:ln w="9525">
                    <a:solidFill>
                      <a:srgbClr val="75757A"/>
                    </a:solidFill>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5" name="Freeform 7">
                    <a:extLst>
                      <a:ext uri="{FF2B5EF4-FFF2-40B4-BE49-F238E27FC236}">
                        <a16:creationId xmlns:a16="http://schemas.microsoft.com/office/drawing/2014/main" id="{328050C8-E4A6-4776-A508-7B0D6D20EDCC}"/>
                      </a:ext>
                    </a:extLst>
                  </p:cNvPr>
                  <p:cNvSpPr>
                    <a:spLocks/>
                  </p:cNvSpPr>
                  <p:nvPr/>
                </p:nvSpPr>
                <p:spPr bwMode="auto">
                  <a:xfrm>
                    <a:off x="3757" y="2014"/>
                    <a:ext cx="48" cy="141"/>
                  </a:xfrm>
                  <a:custGeom>
                    <a:avLst/>
                    <a:gdLst>
                      <a:gd name="T0" fmla="*/ 0 w 50"/>
                      <a:gd name="T1" fmla="*/ 58 h 190"/>
                      <a:gd name="T2" fmla="*/ 0 w 50"/>
                      <a:gd name="T3" fmla="*/ 190 h 190"/>
                      <a:gd name="T4" fmla="*/ 50 w 50"/>
                      <a:gd name="T5" fmla="*/ 190 h 190"/>
                      <a:gd name="T6" fmla="*/ 50 w 50"/>
                      <a:gd name="T7" fmla="*/ 58 h 190"/>
                      <a:gd name="T8" fmla="*/ 40 w 50"/>
                      <a:gd name="T9" fmla="*/ 44 h 190"/>
                      <a:gd name="T10" fmla="*/ 50 w 50"/>
                      <a:gd name="T11" fmla="*/ 29 h 190"/>
                      <a:gd name="T12" fmla="*/ 50 w 50"/>
                      <a:gd name="T13" fmla="*/ 20 h 190"/>
                      <a:gd name="T14" fmla="*/ 29 w 50"/>
                      <a:gd name="T15" fmla="*/ 0 h 190"/>
                      <a:gd name="T16" fmla="*/ 20 w 50"/>
                      <a:gd name="T17" fmla="*/ 0 h 190"/>
                      <a:gd name="T18" fmla="*/ 0 w 50"/>
                      <a:gd name="T19" fmla="*/ 20 h 190"/>
                      <a:gd name="T20" fmla="*/ 0 w 50"/>
                      <a:gd name="T21" fmla="*/ 29 h 190"/>
                      <a:gd name="T22" fmla="*/ 10 w 50"/>
                      <a:gd name="T23" fmla="*/ 44 h 190"/>
                      <a:gd name="T24" fmla="*/ 0 w 50"/>
                      <a:gd name="T25" fmla="*/ 5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90">
                        <a:moveTo>
                          <a:pt x="0" y="58"/>
                        </a:moveTo>
                        <a:cubicBezTo>
                          <a:pt x="0" y="190"/>
                          <a:pt x="0" y="190"/>
                          <a:pt x="0" y="190"/>
                        </a:cubicBezTo>
                        <a:cubicBezTo>
                          <a:pt x="50" y="190"/>
                          <a:pt x="50" y="190"/>
                          <a:pt x="50" y="190"/>
                        </a:cubicBezTo>
                        <a:cubicBezTo>
                          <a:pt x="50" y="58"/>
                          <a:pt x="50" y="58"/>
                          <a:pt x="50" y="58"/>
                        </a:cubicBezTo>
                        <a:cubicBezTo>
                          <a:pt x="44" y="56"/>
                          <a:pt x="40" y="50"/>
                          <a:pt x="40" y="44"/>
                        </a:cubicBezTo>
                        <a:cubicBezTo>
                          <a:pt x="40" y="37"/>
                          <a:pt x="44" y="31"/>
                          <a:pt x="50" y="29"/>
                        </a:cubicBezTo>
                        <a:cubicBezTo>
                          <a:pt x="50" y="20"/>
                          <a:pt x="50" y="20"/>
                          <a:pt x="50" y="20"/>
                        </a:cubicBezTo>
                        <a:cubicBezTo>
                          <a:pt x="50" y="9"/>
                          <a:pt x="41" y="0"/>
                          <a:pt x="29" y="0"/>
                        </a:cubicBezTo>
                        <a:cubicBezTo>
                          <a:pt x="20" y="0"/>
                          <a:pt x="20" y="0"/>
                          <a:pt x="20" y="0"/>
                        </a:cubicBezTo>
                        <a:cubicBezTo>
                          <a:pt x="9" y="0"/>
                          <a:pt x="0" y="9"/>
                          <a:pt x="0" y="20"/>
                        </a:cubicBezTo>
                        <a:cubicBezTo>
                          <a:pt x="0" y="29"/>
                          <a:pt x="0" y="29"/>
                          <a:pt x="0" y="29"/>
                        </a:cubicBezTo>
                        <a:cubicBezTo>
                          <a:pt x="5" y="31"/>
                          <a:pt x="10" y="37"/>
                          <a:pt x="10" y="44"/>
                        </a:cubicBezTo>
                        <a:cubicBezTo>
                          <a:pt x="10" y="50"/>
                          <a:pt x="5" y="56"/>
                          <a:pt x="0" y="58"/>
                        </a:cubicBezTo>
                        <a:close/>
                      </a:path>
                    </a:pathLst>
                  </a:custGeom>
                  <a:solidFill>
                    <a:srgbClr val="FF3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6" name="Freeform 8">
                    <a:extLst>
                      <a:ext uri="{FF2B5EF4-FFF2-40B4-BE49-F238E27FC236}">
                        <a16:creationId xmlns:a16="http://schemas.microsoft.com/office/drawing/2014/main" id="{CB28B664-B05F-4CAB-9C00-1FAE5CC6FBF1}"/>
                      </a:ext>
                    </a:extLst>
                  </p:cNvPr>
                  <p:cNvSpPr>
                    <a:spLocks/>
                  </p:cNvSpPr>
                  <p:nvPr/>
                </p:nvSpPr>
                <p:spPr bwMode="auto">
                  <a:xfrm>
                    <a:off x="3757" y="2014"/>
                    <a:ext cx="48" cy="141"/>
                  </a:xfrm>
                  <a:custGeom>
                    <a:avLst/>
                    <a:gdLst>
                      <a:gd name="T0" fmla="*/ 0 w 50"/>
                      <a:gd name="T1" fmla="*/ 58 h 190"/>
                      <a:gd name="T2" fmla="*/ 0 w 50"/>
                      <a:gd name="T3" fmla="*/ 190 h 190"/>
                      <a:gd name="T4" fmla="*/ 50 w 50"/>
                      <a:gd name="T5" fmla="*/ 190 h 190"/>
                      <a:gd name="T6" fmla="*/ 50 w 50"/>
                      <a:gd name="T7" fmla="*/ 58 h 190"/>
                      <a:gd name="T8" fmla="*/ 40 w 50"/>
                      <a:gd name="T9" fmla="*/ 44 h 190"/>
                      <a:gd name="T10" fmla="*/ 50 w 50"/>
                      <a:gd name="T11" fmla="*/ 29 h 190"/>
                      <a:gd name="T12" fmla="*/ 50 w 50"/>
                      <a:gd name="T13" fmla="*/ 20 h 190"/>
                      <a:gd name="T14" fmla="*/ 29 w 50"/>
                      <a:gd name="T15" fmla="*/ 0 h 190"/>
                      <a:gd name="T16" fmla="*/ 20 w 50"/>
                      <a:gd name="T17" fmla="*/ 0 h 190"/>
                      <a:gd name="T18" fmla="*/ 0 w 50"/>
                      <a:gd name="T19" fmla="*/ 20 h 190"/>
                      <a:gd name="T20" fmla="*/ 0 w 50"/>
                      <a:gd name="T21" fmla="*/ 29 h 190"/>
                      <a:gd name="T22" fmla="*/ 10 w 50"/>
                      <a:gd name="T23" fmla="*/ 44 h 190"/>
                      <a:gd name="T24" fmla="*/ 0 w 50"/>
                      <a:gd name="T25" fmla="*/ 5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90">
                        <a:moveTo>
                          <a:pt x="0" y="58"/>
                        </a:moveTo>
                        <a:cubicBezTo>
                          <a:pt x="0" y="190"/>
                          <a:pt x="0" y="190"/>
                          <a:pt x="0" y="190"/>
                        </a:cubicBezTo>
                        <a:cubicBezTo>
                          <a:pt x="50" y="190"/>
                          <a:pt x="50" y="190"/>
                          <a:pt x="50" y="190"/>
                        </a:cubicBezTo>
                        <a:cubicBezTo>
                          <a:pt x="50" y="58"/>
                          <a:pt x="50" y="58"/>
                          <a:pt x="50" y="58"/>
                        </a:cubicBezTo>
                        <a:cubicBezTo>
                          <a:pt x="44" y="56"/>
                          <a:pt x="40" y="50"/>
                          <a:pt x="40" y="44"/>
                        </a:cubicBezTo>
                        <a:cubicBezTo>
                          <a:pt x="40" y="37"/>
                          <a:pt x="44" y="31"/>
                          <a:pt x="50" y="29"/>
                        </a:cubicBezTo>
                        <a:cubicBezTo>
                          <a:pt x="50" y="20"/>
                          <a:pt x="50" y="20"/>
                          <a:pt x="50" y="20"/>
                        </a:cubicBezTo>
                        <a:cubicBezTo>
                          <a:pt x="50" y="9"/>
                          <a:pt x="41" y="0"/>
                          <a:pt x="29" y="0"/>
                        </a:cubicBezTo>
                        <a:cubicBezTo>
                          <a:pt x="20" y="0"/>
                          <a:pt x="20" y="0"/>
                          <a:pt x="20" y="0"/>
                        </a:cubicBezTo>
                        <a:cubicBezTo>
                          <a:pt x="9" y="0"/>
                          <a:pt x="0" y="9"/>
                          <a:pt x="0" y="20"/>
                        </a:cubicBezTo>
                        <a:cubicBezTo>
                          <a:pt x="0" y="29"/>
                          <a:pt x="0" y="29"/>
                          <a:pt x="0" y="29"/>
                        </a:cubicBezTo>
                        <a:cubicBezTo>
                          <a:pt x="5" y="31"/>
                          <a:pt x="10" y="37"/>
                          <a:pt x="10" y="44"/>
                        </a:cubicBezTo>
                        <a:cubicBezTo>
                          <a:pt x="10" y="50"/>
                          <a:pt x="5" y="56"/>
                          <a:pt x="0" y="58"/>
                        </a:cubicBezTo>
                        <a:close/>
                      </a:path>
                    </a:pathLst>
                  </a:custGeom>
                  <a:solidFill>
                    <a:srgbClr val="30E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7" name="Freeform 9">
                    <a:extLst>
                      <a:ext uri="{FF2B5EF4-FFF2-40B4-BE49-F238E27FC236}">
                        <a16:creationId xmlns:a16="http://schemas.microsoft.com/office/drawing/2014/main" id="{11A9E638-6954-4ED0-8396-C7BDCEC474F4}"/>
                      </a:ext>
                    </a:extLst>
                  </p:cNvPr>
                  <p:cNvSpPr>
                    <a:spLocks/>
                  </p:cNvSpPr>
                  <p:nvPr/>
                </p:nvSpPr>
                <p:spPr bwMode="auto">
                  <a:xfrm>
                    <a:off x="3766" y="2014"/>
                    <a:ext cx="29" cy="22"/>
                  </a:xfrm>
                  <a:custGeom>
                    <a:avLst/>
                    <a:gdLst>
                      <a:gd name="T0" fmla="*/ 0 w 31"/>
                      <a:gd name="T1" fmla="*/ 30 h 30"/>
                      <a:gd name="T2" fmla="*/ 31 w 31"/>
                      <a:gd name="T3" fmla="*/ 30 h 30"/>
                      <a:gd name="T4" fmla="*/ 31 w 31"/>
                      <a:gd name="T5" fmla="*/ 3 h 30"/>
                      <a:gd name="T6" fmla="*/ 20 w 31"/>
                      <a:gd name="T7" fmla="*/ 0 h 30"/>
                      <a:gd name="T8" fmla="*/ 11 w 31"/>
                      <a:gd name="T9" fmla="*/ 0 h 30"/>
                      <a:gd name="T10" fmla="*/ 0 w 31"/>
                      <a:gd name="T11" fmla="*/ 3 h 30"/>
                      <a:gd name="T12" fmla="*/ 0 w 31"/>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31" h="30">
                        <a:moveTo>
                          <a:pt x="0" y="30"/>
                        </a:moveTo>
                        <a:cubicBezTo>
                          <a:pt x="31" y="30"/>
                          <a:pt x="31" y="30"/>
                          <a:pt x="31" y="30"/>
                        </a:cubicBezTo>
                        <a:cubicBezTo>
                          <a:pt x="31" y="3"/>
                          <a:pt x="31" y="3"/>
                          <a:pt x="31" y="3"/>
                        </a:cubicBezTo>
                        <a:cubicBezTo>
                          <a:pt x="28" y="1"/>
                          <a:pt x="24" y="0"/>
                          <a:pt x="20" y="0"/>
                        </a:cubicBezTo>
                        <a:cubicBezTo>
                          <a:pt x="11" y="0"/>
                          <a:pt x="11" y="0"/>
                          <a:pt x="11" y="0"/>
                        </a:cubicBezTo>
                        <a:cubicBezTo>
                          <a:pt x="7" y="0"/>
                          <a:pt x="3" y="1"/>
                          <a:pt x="0" y="3"/>
                        </a:cubicBezTo>
                        <a:lnTo>
                          <a:pt x="0" y="3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8" name="Rectangle 10">
                    <a:extLst>
                      <a:ext uri="{FF2B5EF4-FFF2-40B4-BE49-F238E27FC236}">
                        <a16:creationId xmlns:a16="http://schemas.microsoft.com/office/drawing/2014/main" id="{AFDD9175-1B61-4B31-A7C5-46AB080CAAAA}"/>
                      </a:ext>
                    </a:extLst>
                  </p:cNvPr>
                  <p:cNvSpPr>
                    <a:spLocks noChangeArrowheads="1"/>
                  </p:cNvSpPr>
                  <p:nvPr/>
                </p:nvSpPr>
                <p:spPr bwMode="auto">
                  <a:xfrm>
                    <a:off x="3766" y="2058"/>
                    <a:ext cx="29" cy="97"/>
                  </a:xfrm>
                  <a:prstGeom prst="rect">
                    <a:avLst/>
                  </a:prstGeom>
                  <a:solidFill>
                    <a:srgbClr val="3C3C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9" name="Freeform 11">
                    <a:extLst>
                      <a:ext uri="{FF2B5EF4-FFF2-40B4-BE49-F238E27FC236}">
                        <a16:creationId xmlns:a16="http://schemas.microsoft.com/office/drawing/2014/main" id="{A0280B5E-1F01-408F-B0A3-5F4E2E569BC6}"/>
                      </a:ext>
                    </a:extLst>
                  </p:cNvPr>
                  <p:cNvSpPr>
                    <a:spLocks/>
                  </p:cNvSpPr>
                  <p:nvPr/>
                </p:nvSpPr>
                <p:spPr bwMode="auto">
                  <a:xfrm>
                    <a:off x="3774" y="2283"/>
                    <a:ext cx="14" cy="24"/>
                  </a:xfrm>
                  <a:custGeom>
                    <a:avLst/>
                    <a:gdLst>
                      <a:gd name="T0" fmla="*/ 12 w 14"/>
                      <a:gd name="T1" fmla="*/ 24 h 24"/>
                      <a:gd name="T2" fmla="*/ 1 w 14"/>
                      <a:gd name="T3" fmla="*/ 24 h 24"/>
                      <a:gd name="T4" fmla="*/ 0 w 14"/>
                      <a:gd name="T5" fmla="*/ 0 h 24"/>
                      <a:gd name="T6" fmla="*/ 14 w 14"/>
                      <a:gd name="T7" fmla="*/ 0 h 24"/>
                      <a:gd name="T8" fmla="*/ 12 w 14"/>
                      <a:gd name="T9" fmla="*/ 24 h 24"/>
                    </a:gdLst>
                    <a:ahLst/>
                    <a:cxnLst>
                      <a:cxn ang="0">
                        <a:pos x="T0" y="T1"/>
                      </a:cxn>
                      <a:cxn ang="0">
                        <a:pos x="T2" y="T3"/>
                      </a:cxn>
                      <a:cxn ang="0">
                        <a:pos x="T4" y="T5"/>
                      </a:cxn>
                      <a:cxn ang="0">
                        <a:pos x="T6" y="T7"/>
                      </a:cxn>
                      <a:cxn ang="0">
                        <a:pos x="T8" y="T9"/>
                      </a:cxn>
                    </a:cxnLst>
                    <a:rect l="0" t="0" r="r" b="b"/>
                    <a:pathLst>
                      <a:path w="14" h="24">
                        <a:moveTo>
                          <a:pt x="12" y="24"/>
                        </a:moveTo>
                        <a:lnTo>
                          <a:pt x="1" y="24"/>
                        </a:lnTo>
                        <a:lnTo>
                          <a:pt x="0" y="0"/>
                        </a:lnTo>
                        <a:lnTo>
                          <a:pt x="14" y="0"/>
                        </a:lnTo>
                        <a:lnTo>
                          <a:pt x="12" y="24"/>
                        </a:lnTo>
                        <a:close/>
                      </a:path>
                    </a:pathLst>
                  </a:custGeom>
                  <a:solidFill>
                    <a:srgbClr val="3C3C41"/>
                  </a:solidFill>
                  <a:ln w="9525">
                    <a:solidFill>
                      <a:srgbClr val="3C3C41"/>
                    </a:solidFill>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sp>
              <p:nvSpPr>
                <p:cNvPr id="232" name="Freeform 15">
                  <a:extLst>
                    <a:ext uri="{FF2B5EF4-FFF2-40B4-BE49-F238E27FC236}">
                      <a16:creationId xmlns:a16="http://schemas.microsoft.com/office/drawing/2014/main" id="{7532D8E0-1A49-4648-AF8E-C81DB18E3E3D}"/>
                    </a:ext>
                  </a:extLst>
                </p:cNvPr>
                <p:cNvSpPr>
                  <a:spLocks noEditPoints="1"/>
                </p:cNvSpPr>
                <p:nvPr/>
              </p:nvSpPr>
              <p:spPr bwMode="auto">
                <a:xfrm flipV="1">
                  <a:off x="6140450" y="3176588"/>
                  <a:ext cx="147637" cy="498475"/>
                </a:xfrm>
                <a:custGeom>
                  <a:avLst/>
                  <a:gdLst>
                    <a:gd name="T0" fmla="*/ 55 w 73"/>
                    <a:gd name="T1" fmla="*/ 190 h 255"/>
                    <a:gd name="T2" fmla="*/ 55 w 73"/>
                    <a:gd name="T3" fmla="*/ 68 h 255"/>
                    <a:gd name="T4" fmla="*/ 73 w 73"/>
                    <a:gd name="T5" fmla="*/ 37 h 255"/>
                    <a:gd name="T6" fmla="*/ 36 w 73"/>
                    <a:gd name="T7" fmla="*/ 0 h 255"/>
                    <a:gd name="T8" fmla="*/ 0 w 73"/>
                    <a:gd name="T9" fmla="*/ 37 h 255"/>
                    <a:gd name="T10" fmla="*/ 18 w 73"/>
                    <a:gd name="T11" fmla="*/ 68 h 255"/>
                    <a:gd name="T12" fmla="*/ 18 w 73"/>
                    <a:gd name="T13" fmla="*/ 190 h 255"/>
                    <a:gd name="T14" fmla="*/ 0 w 73"/>
                    <a:gd name="T15" fmla="*/ 221 h 255"/>
                    <a:gd name="T16" fmla="*/ 22 w 73"/>
                    <a:gd name="T17" fmla="*/ 255 h 255"/>
                    <a:gd name="T18" fmla="*/ 22 w 73"/>
                    <a:gd name="T19" fmla="*/ 212 h 255"/>
                    <a:gd name="T20" fmla="*/ 50 w 73"/>
                    <a:gd name="T21" fmla="*/ 212 h 255"/>
                    <a:gd name="T22" fmla="*/ 50 w 73"/>
                    <a:gd name="T23" fmla="*/ 255 h 255"/>
                    <a:gd name="T24" fmla="*/ 73 w 73"/>
                    <a:gd name="T25" fmla="*/ 221 h 255"/>
                    <a:gd name="T26" fmla="*/ 55 w 73"/>
                    <a:gd name="T27" fmla="*/ 190 h 255"/>
                    <a:gd name="T28" fmla="*/ 26 w 73"/>
                    <a:gd name="T29" fmla="*/ 18 h 255"/>
                    <a:gd name="T30" fmla="*/ 47 w 73"/>
                    <a:gd name="T31" fmla="*/ 18 h 255"/>
                    <a:gd name="T32" fmla="*/ 58 w 73"/>
                    <a:gd name="T33" fmla="*/ 37 h 255"/>
                    <a:gd name="T34" fmla="*/ 47 w 73"/>
                    <a:gd name="T35" fmla="*/ 55 h 255"/>
                    <a:gd name="T36" fmla="*/ 26 w 73"/>
                    <a:gd name="T37" fmla="*/ 55 h 255"/>
                    <a:gd name="T38" fmla="*/ 15 w 73"/>
                    <a:gd name="T39" fmla="*/ 37 h 255"/>
                    <a:gd name="T40" fmla="*/ 26 w 73"/>
                    <a:gd name="T41" fmla="*/ 1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255">
                      <a:moveTo>
                        <a:pt x="55" y="190"/>
                      </a:moveTo>
                      <a:cubicBezTo>
                        <a:pt x="55" y="68"/>
                        <a:pt x="55" y="68"/>
                        <a:pt x="55" y="68"/>
                      </a:cubicBezTo>
                      <a:cubicBezTo>
                        <a:pt x="66" y="62"/>
                        <a:pt x="73" y="50"/>
                        <a:pt x="73" y="37"/>
                      </a:cubicBezTo>
                      <a:cubicBezTo>
                        <a:pt x="73" y="17"/>
                        <a:pt x="57" y="0"/>
                        <a:pt x="36" y="0"/>
                      </a:cubicBezTo>
                      <a:cubicBezTo>
                        <a:pt x="16" y="0"/>
                        <a:pt x="0" y="17"/>
                        <a:pt x="0" y="37"/>
                      </a:cubicBezTo>
                      <a:cubicBezTo>
                        <a:pt x="0" y="50"/>
                        <a:pt x="7" y="62"/>
                        <a:pt x="18" y="68"/>
                      </a:cubicBezTo>
                      <a:cubicBezTo>
                        <a:pt x="18" y="190"/>
                        <a:pt x="18" y="190"/>
                        <a:pt x="18" y="190"/>
                      </a:cubicBezTo>
                      <a:cubicBezTo>
                        <a:pt x="7" y="196"/>
                        <a:pt x="0" y="208"/>
                        <a:pt x="0" y="221"/>
                      </a:cubicBezTo>
                      <a:cubicBezTo>
                        <a:pt x="0" y="237"/>
                        <a:pt x="9" y="250"/>
                        <a:pt x="22" y="255"/>
                      </a:cubicBezTo>
                      <a:cubicBezTo>
                        <a:pt x="22" y="212"/>
                        <a:pt x="22" y="212"/>
                        <a:pt x="22" y="212"/>
                      </a:cubicBezTo>
                      <a:cubicBezTo>
                        <a:pt x="50" y="212"/>
                        <a:pt x="50" y="212"/>
                        <a:pt x="50" y="212"/>
                      </a:cubicBezTo>
                      <a:cubicBezTo>
                        <a:pt x="50" y="255"/>
                        <a:pt x="50" y="255"/>
                        <a:pt x="50" y="255"/>
                      </a:cubicBezTo>
                      <a:cubicBezTo>
                        <a:pt x="64" y="250"/>
                        <a:pt x="73" y="237"/>
                        <a:pt x="73" y="221"/>
                      </a:cubicBezTo>
                      <a:cubicBezTo>
                        <a:pt x="73" y="208"/>
                        <a:pt x="66" y="196"/>
                        <a:pt x="55" y="190"/>
                      </a:cubicBezTo>
                      <a:close/>
                      <a:moveTo>
                        <a:pt x="26" y="18"/>
                      </a:moveTo>
                      <a:cubicBezTo>
                        <a:pt x="47" y="18"/>
                        <a:pt x="47" y="18"/>
                        <a:pt x="47" y="18"/>
                      </a:cubicBezTo>
                      <a:cubicBezTo>
                        <a:pt x="58" y="37"/>
                        <a:pt x="58" y="37"/>
                        <a:pt x="58" y="37"/>
                      </a:cubicBezTo>
                      <a:cubicBezTo>
                        <a:pt x="47" y="55"/>
                        <a:pt x="47" y="55"/>
                        <a:pt x="47" y="55"/>
                      </a:cubicBezTo>
                      <a:cubicBezTo>
                        <a:pt x="26" y="55"/>
                        <a:pt x="26" y="55"/>
                        <a:pt x="26" y="55"/>
                      </a:cubicBezTo>
                      <a:cubicBezTo>
                        <a:pt x="15" y="37"/>
                        <a:pt x="15" y="37"/>
                        <a:pt x="15" y="37"/>
                      </a:cubicBezTo>
                      <a:lnTo>
                        <a:pt x="26" y="18"/>
                      </a:lnTo>
                      <a:close/>
                    </a:path>
                  </a:pathLst>
                </a:custGeom>
                <a:solidFill>
                  <a:srgbClr val="3C3C41"/>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228" name="Group 227">
                <a:extLst>
                  <a:ext uri="{FF2B5EF4-FFF2-40B4-BE49-F238E27FC236}">
                    <a16:creationId xmlns:a16="http://schemas.microsoft.com/office/drawing/2014/main" id="{9AF1F457-E075-4A1A-B616-492820165199}"/>
                  </a:ext>
                </a:extLst>
              </p:cNvPr>
              <p:cNvGrpSpPr>
                <a:grpSpLocks noChangeAspect="1"/>
              </p:cNvGrpSpPr>
              <p:nvPr/>
            </p:nvGrpSpPr>
            <p:grpSpPr>
              <a:xfrm>
                <a:off x="3497920" y="3378425"/>
                <a:ext cx="122296" cy="108076"/>
                <a:chOff x="8530659" y="3276160"/>
                <a:chExt cx="495586" cy="437960"/>
              </a:xfrm>
            </p:grpSpPr>
            <p:sp>
              <p:nvSpPr>
                <p:cNvPr id="229" name="Freeform: Shape 228">
                  <a:extLst>
                    <a:ext uri="{FF2B5EF4-FFF2-40B4-BE49-F238E27FC236}">
                      <a16:creationId xmlns:a16="http://schemas.microsoft.com/office/drawing/2014/main" id="{733EC0E8-977E-4C75-B387-AB1EE3870C7B}"/>
                    </a:ext>
                  </a:extLst>
                </p:cNvPr>
                <p:cNvSpPr/>
                <p:nvPr/>
              </p:nvSpPr>
              <p:spPr>
                <a:xfrm>
                  <a:off x="8530659" y="3276160"/>
                  <a:ext cx="495586" cy="437960"/>
                </a:xfrm>
                <a:custGeom>
                  <a:avLst/>
                  <a:gdLst/>
                  <a:ahLst/>
                  <a:cxnLst/>
                  <a:rect l="0" t="0" r="0" b="0"/>
                  <a:pathLst>
                    <a:path w="409575" h="361950">
                      <a:moveTo>
                        <a:pt x="205007" y="357232"/>
                      </a:moveTo>
                      <a:cubicBezTo>
                        <a:pt x="-181708" y="147682"/>
                        <a:pt x="99280" y="-108541"/>
                        <a:pt x="205007" y="63862"/>
                      </a:cubicBezTo>
                      <a:cubicBezTo>
                        <a:pt x="310735" y="-107588"/>
                        <a:pt x="590770" y="147682"/>
                        <a:pt x="205007" y="357232"/>
                      </a:cubicBezTo>
                      <a:lnTo>
                        <a:pt x="205007" y="357232"/>
                      </a:lnTo>
                      <a:close/>
                    </a:path>
                  </a:pathLst>
                </a:custGeom>
                <a:solidFill>
                  <a:srgbClr val="0084D9">
                    <a:alpha val="0"/>
                  </a:srgbClr>
                </a:solid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0" name="Freeform: Shape 229">
                  <a:extLst>
                    <a:ext uri="{FF2B5EF4-FFF2-40B4-BE49-F238E27FC236}">
                      <a16:creationId xmlns:a16="http://schemas.microsoft.com/office/drawing/2014/main" id="{2795008D-C0C1-4CFD-9B11-B19159E6EFC6}"/>
                    </a:ext>
                  </a:extLst>
                </p:cNvPr>
                <p:cNvSpPr/>
                <p:nvPr/>
              </p:nvSpPr>
              <p:spPr>
                <a:xfrm>
                  <a:off x="8884443" y="3335837"/>
                  <a:ext cx="92202" cy="115253"/>
                </a:xfrm>
                <a:custGeom>
                  <a:avLst/>
                  <a:gdLst/>
                  <a:ahLst/>
                  <a:cxnLst/>
                  <a:rect l="0" t="0" r="0" b="0"/>
                  <a:pathLst>
                    <a:path w="76200" h="95250">
                      <a:moveTo>
                        <a:pt x="64071" y="91694"/>
                      </a:moveTo>
                      <a:cubicBezTo>
                        <a:pt x="59309" y="91694"/>
                        <a:pt x="55499" y="87884"/>
                        <a:pt x="54546" y="83121"/>
                      </a:cubicBezTo>
                      <a:cubicBezTo>
                        <a:pt x="51689" y="55499"/>
                        <a:pt x="30734" y="32639"/>
                        <a:pt x="12636" y="25019"/>
                      </a:cubicBezTo>
                      <a:cubicBezTo>
                        <a:pt x="7874" y="23114"/>
                        <a:pt x="5969" y="17399"/>
                        <a:pt x="7874" y="12636"/>
                      </a:cubicBezTo>
                      <a:cubicBezTo>
                        <a:pt x="9779" y="7874"/>
                        <a:pt x="15494" y="5969"/>
                        <a:pt x="20256" y="7874"/>
                      </a:cubicBezTo>
                      <a:cubicBezTo>
                        <a:pt x="44069" y="18351"/>
                        <a:pt x="69786" y="46926"/>
                        <a:pt x="73596" y="82169"/>
                      </a:cubicBezTo>
                      <a:cubicBezTo>
                        <a:pt x="74549" y="86931"/>
                        <a:pt x="70739" y="91694"/>
                        <a:pt x="65024" y="92646"/>
                      </a:cubicBezTo>
                      <a:cubicBezTo>
                        <a:pt x="65024" y="91694"/>
                        <a:pt x="65024" y="91694"/>
                        <a:pt x="64071" y="91694"/>
                      </a:cubicBezTo>
                      <a:close/>
                    </a:path>
                  </a:pathLst>
                </a:custGeom>
                <a:solidFill>
                  <a:srgbClr val="0084D9">
                    <a:alpha val="0"/>
                  </a:srgbClr>
                </a:solid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grpSp>
        <p:nvGrpSpPr>
          <p:cNvPr id="240" name="Group 239">
            <a:extLst>
              <a:ext uri="{FF2B5EF4-FFF2-40B4-BE49-F238E27FC236}">
                <a16:creationId xmlns:a16="http://schemas.microsoft.com/office/drawing/2014/main" id="{F88FA316-6CED-4932-A597-FB1CD2CB959F}"/>
              </a:ext>
            </a:extLst>
          </p:cNvPr>
          <p:cNvGrpSpPr>
            <a:grpSpLocks noChangeAspect="1"/>
          </p:cNvGrpSpPr>
          <p:nvPr/>
        </p:nvGrpSpPr>
        <p:grpSpPr>
          <a:xfrm>
            <a:off x="10878448" y="3181867"/>
            <a:ext cx="760551" cy="760551"/>
            <a:chOff x="6584957" y="2443403"/>
            <a:chExt cx="1487170" cy="1487170"/>
          </a:xfrm>
        </p:grpSpPr>
        <p:sp>
          <p:nvSpPr>
            <p:cNvPr id="241" name="Oval 240">
              <a:extLst>
                <a:ext uri="{FF2B5EF4-FFF2-40B4-BE49-F238E27FC236}">
                  <a16:creationId xmlns:a16="http://schemas.microsoft.com/office/drawing/2014/main" id="{2A68C99F-BC4B-48BC-BD9F-8F2DB8456A86}"/>
                </a:ext>
              </a:extLst>
            </p:cNvPr>
            <p:cNvSpPr/>
            <p:nvPr/>
          </p:nvSpPr>
          <p:spPr bwMode="auto">
            <a:xfrm>
              <a:off x="6584957" y="2443403"/>
              <a:ext cx="1487170" cy="1487170"/>
            </a:xfrm>
            <a:prstGeom prst="ellipse">
              <a:avLst/>
            </a:prstGeom>
            <a:solidFill>
              <a:srgbClr val="FFFFFF"/>
            </a:solidFill>
            <a:ln w="9525" cap="flat" cmpd="sng" algn="ctr">
              <a:noFill/>
              <a:prstDash val="solid"/>
            </a:ln>
            <a:effectLst>
              <a:outerShdw blurRad="190500" dist="50800" dir="2700000" sx="101000" sy="101000" algn="tl" rotWithShape="0">
                <a:prstClr val="black">
                  <a:alpha val="25000"/>
                </a:prstClr>
              </a:outerShdw>
            </a:effectLst>
          </p:spPr>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2" name="Group 241">
              <a:extLst>
                <a:ext uri="{FF2B5EF4-FFF2-40B4-BE49-F238E27FC236}">
                  <a16:creationId xmlns:a16="http://schemas.microsoft.com/office/drawing/2014/main" id="{C03136F7-2F9F-4E39-98D6-7E8AE953EB6D}"/>
                </a:ext>
              </a:extLst>
            </p:cNvPr>
            <p:cNvGrpSpPr/>
            <p:nvPr/>
          </p:nvGrpSpPr>
          <p:grpSpPr>
            <a:xfrm>
              <a:off x="6938784" y="2796201"/>
              <a:ext cx="779516" cy="781574"/>
              <a:chOff x="6631874" y="3128116"/>
              <a:chExt cx="586942" cy="588492"/>
            </a:xfrm>
          </p:grpSpPr>
          <p:grpSp>
            <p:nvGrpSpPr>
              <p:cNvPr id="243" name="Group 242">
                <a:extLst>
                  <a:ext uri="{FF2B5EF4-FFF2-40B4-BE49-F238E27FC236}">
                    <a16:creationId xmlns:a16="http://schemas.microsoft.com/office/drawing/2014/main" id="{5E66B393-BD25-4529-AE05-31A35CDBD254}"/>
                  </a:ext>
                </a:extLst>
              </p:cNvPr>
              <p:cNvGrpSpPr/>
              <p:nvPr/>
            </p:nvGrpSpPr>
            <p:grpSpPr>
              <a:xfrm>
                <a:off x="6925605" y="3366650"/>
                <a:ext cx="82008" cy="90858"/>
                <a:chOff x="8543547" y="3091207"/>
                <a:chExt cx="557385" cy="617538"/>
              </a:xfrm>
              <a:solidFill>
                <a:srgbClr val="0078D4">
                  <a:alpha val="0"/>
                </a:srgbClr>
              </a:solidFill>
            </p:grpSpPr>
            <p:sp>
              <p:nvSpPr>
                <p:cNvPr id="275" name="Freeform 88">
                  <a:extLst>
                    <a:ext uri="{FF2B5EF4-FFF2-40B4-BE49-F238E27FC236}">
                      <a16:creationId xmlns:a16="http://schemas.microsoft.com/office/drawing/2014/main" id="{6C73B18E-448C-4808-A22A-7F45F6D6896F}"/>
                    </a:ext>
                  </a:extLst>
                </p:cNvPr>
                <p:cNvSpPr>
                  <a:spLocks/>
                </p:cNvSpPr>
                <p:nvPr/>
              </p:nvSpPr>
              <p:spPr bwMode="auto">
                <a:xfrm>
                  <a:off x="8558169" y="3091207"/>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6" name="Freeform 89">
                  <a:extLst>
                    <a:ext uri="{FF2B5EF4-FFF2-40B4-BE49-F238E27FC236}">
                      <a16:creationId xmlns:a16="http://schemas.microsoft.com/office/drawing/2014/main" id="{5C67AEE0-B9D1-4068-9AE1-BE78C3940D3C}"/>
                    </a:ext>
                  </a:extLst>
                </p:cNvPr>
                <p:cNvSpPr>
                  <a:spLocks/>
                </p:cNvSpPr>
                <p:nvPr/>
              </p:nvSpPr>
              <p:spPr bwMode="auto">
                <a:xfrm>
                  <a:off x="8558169" y="3091207"/>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7" name="Line 90">
                  <a:extLst>
                    <a:ext uri="{FF2B5EF4-FFF2-40B4-BE49-F238E27FC236}">
                      <a16:creationId xmlns:a16="http://schemas.microsoft.com/office/drawing/2014/main" id="{522A76A0-D527-4EDE-AD51-3C74795D7667}"/>
                    </a:ext>
                  </a:extLst>
                </p:cNvPr>
                <p:cNvSpPr>
                  <a:spLocks noChangeShapeType="1"/>
                </p:cNvSpPr>
                <p:nvPr/>
              </p:nvSpPr>
              <p:spPr bwMode="auto">
                <a:xfrm>
                  <a:off x="8616906" y="3237257"/>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8" name="Line 91">
                  <a:extLst>
                    <a:ext uri="{FF2B5EF4-FFF2-40B4-BE49-F238E27FC236}">
                      <a16:creationId xmlns:a16="http://schemas.microsoft.com/office/drawing/2014/main" id="{145F79D5-103A-4E8A-A60D-C72C26BF0FD8}"/>
                    </a:ext>
                  </a:extLst>
                </p:cNvPr>
                <p:cNvSpPr>
                  <a:spLocks noChangeShapeType="1"/>
                </p:cNvSpPr>
                <p:nvPr/>
              </p:nvSpPr>
              <p:spPr bwMode="auto">
                <a:xfrm>
                  <a:off x="8616906" y="3291232"/>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9" name="Freeform 88">
                  <a:extLst>
                    <a:ext uri="{FF2B5EF4-FFF2-40B4-BE49-F238E27FC236}">
                      <a16:creationId xmlns:a16="http://schemas.microsoft.com/office/drawing/2014/main" id="{07347D44-14C5-4244-A87C-E37C3B7643D1}"/>
                    </a:ext>
                  </a:extLst>
                </p:cNvPr>
                <p:cNvSpPr>
                  <a:spLocks/>
                </p:cNvSpPr>
                <p:nvPr/>
              </p:nvSpPr>
              <p:spPr bwMode="auto">
                <a:xfrm>
                  <a:off x="8805819" y="3224557"/>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0" name="Freeform 89">
                  <a:extLst>
                    <a:ext uri="{FF2B5EF4-FFF2-40B4-BE49-F238E27FC236}">
                      <a16:creationId xmlns:a16="http://schemas.microsoft.com/office/drawing/2014/main" id="{71361D95-ADCB-498E-A5F2-B6CC194CA7EE}"/>
                    </a:ext>
                  </a:extLst>
                </p:cNvPr>
                <p:cNvSpPr>
                  <a:spLocks/>
                </p:cNvSpPr>
                <p:nvPr/>
              </p:nvSpPr>
              <p:spPr bwMode="auto">
                <a:xfrm>
                  <a:off x="8805819" y="3224557"/>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1" name="Line 90">
                  <a:extLst>
                    <a:ext uri="{FF2B5EF4-FFF2-40B4-BE49-F238E27FC236}">
                      <a16:creationId xmlns:a16="http://schemas.microsoft.com/office/drawing/2014/main" id="{F5CFCDBE-12CA-431C-AC95-DE20624359E0}"/>
                    </a:ext>
                  </a:extLst>
                </p:cNvPr>
                <p:cNvSpPr>
                  <a:spLocks noChangeShapeType="1"/>
                </p:cNvSpPr>
                <p:nvPr/>
              </p:nvSpPr>
              <p:spPr bwMode="auto">
                <a:xfrm>
                  <a:off x="8864556" y="3370607"/>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2" name="Line 91">
                  <a:extLst>
                    <a:ext uri="{FF2B5EF4-FFF2-40B4-BE49-F238E27FC236}">
                      <a16:creationId xmlns:a16="http://schemas.microsoft.com/office/drawing/2014/main" id="{A8D29DE8-8795-4913-9669-F8FC7B3B70BE}"/>
                    </a:ext>
                  </a:extLst>
                </p:cNvPr>
                <p:cNvSpPr>
                  <a:spLocks noChangeShapeType="1"/>
                </p:cNvSpPr>
                <p:nvPr/>
              </p:nvSpPr>
              <p:spPr bwMode="auto">
                <a:xfrm>
                  <a:off x="8864556" y="3424582"/>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3" name="Freeform 88">
                  <a:extLst>
                    <a:ext uri="{FF2B5EF4-FFF2-40B4-BE49-F238E27FC236}">
                      <a16:creationId xmlns:a16="http://schemas.microsoft.com/office/drawing/2014/main" id="{57314F5B-EA7B-4746-85BB-E2D225DB0B62}"/>
                    </a:ext>
                  </a:extLst>
                </p:cNvPr>
                <p:cNvSpPr>
                  <a:spLocks/>
                </p:cNvSpPr>
                <p:nvPr/>
              </p:nvSpPr>
              <p:spPr bwMode="auto">
                <a:xfrm>
                  <a:off x="8553407" y="3429345"/>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4" name="Freeform 89">
                  <a:extLst>
                    <a:ext uri="{FF2B5EF4-FFF2-40B4-BE49-F238E27FC236}">
                      <a16:creationId xmlns:a16="http://schemas.microsoft.com/office/drawing/2014/main" id="{A29B2D8F-CF5E-474A-98ED-637EC9D0678E}"/>
                    </a:ext>
                  </a:extLst>
                </p:cNvPr>
                <p:cNvSpPr>
                  <a:spLocks/>
                </p:cNvSpPr>
                <p:nvPr/>
              </p:nvSpPr>
              <p:spPr bwMode="auto">
                <a:xfrm>
                  <a:off x="8553407" y="3429345"/>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5" name="Line 90">
                  <a:extLst>
                    <a:ext uri="{FF2B5EF4-FFF2-40B4-BE49-F238E27FC236}">
                      <a16:creationId xmlns:a16="http://schemas.microsoft.com/office/drawing/2014/main" id="{851A2E7E-C3A2-41F0-8616-6757049ADACF}"/>
                    </a:ext>
                  </a:extLst>
                </p:cNvPr>
                <p:cNvSpPr>
                  <a:spLocks noChangeShapeType="1"/>
                </p:cNvSpPr>
                <p:nvPr/>
              </p:nvSpPr>
              <p:spPr bwMode="auto">
                <a:xfrm>
                  <a:off x="8612144" y="3575395"/>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6" name="Line 91">
                  <a:extLst>
                    <a:ext uri="{FF2B5EF4-FFF2-40B4-BE49-F238E27FC236}">
                      <a16:creationId xmlns:a16="http://schemas.microsoft.com/office/drawing/2014/main" id="{7E4B7AA3-7870-4234-9F8E-FB320D2C630D}"/>
                    </a:ext>
                  </a:extLst>
                </p:cNvPr>
                <p:cNvSpPr>
                  <a:spLocks noChangeShapeType="1"/>
                </p:cNvSpPr>
                <p:nvPr/>
              </p:nvSpPr>
              <p:spPr bwMode="auto">
                <a:xfrm>
                  <a:off x="8612144" y="3629370"/>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7" name="Arrow: Right 286">
                  <a:extLst>
                    <a:ext uri="{FF2B5EF4-FFF2-40B4-BE49-F238E27FC236}">
                      <a16:creationId xmlns:a16="http://schemas.microsoft.com/office/drawing/2014/main" id="{54C2A538-CBD5-47F5-83E1-6CDE995EC21F}"/>
                    </a:ext>
                  </a:extLst>
                </p:cNvPr>
                <p:cNvSpPr/>
                <p:nvPr/>
              </p:nvSpPr>
              <p:spPr bwMode="auto">
                <a:xfrm>
                  <a:off x="8543547" y="3448863"/>
                  <a:ext cx="557385" cy="189687"/>
                </a:xfrm>
                <a:prstGeom prst="rightArrow">
                  <a:avLst>
                    <a:gd name="adj1" fmla="val 50000"/>
                    <a:gd name="adj2" fmla="val 63809"/>
                  </a:avLst>
                </a:prstGeom>
                <a:grpFill/>
                <a:ln w="15875" cap="flat" cmpd="sng" algn="ctr">
                  <a:solidFill>
                    <a:srgbClr val="E6E6E6"/>
                  </a:solidFill>
                  <a:prstDash val="solid"/>
                  <a:miter lim="800000"/>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4" name="Group 243">
                <a:extLst>
                  <a:ext uri="{FF2B5EF4-FFF2-40B4-BE49-F238E27FC236}">
                    <a16:creationId xmlns:a16="http://schemas.microsoft.com/office/drawing/2014/main" id="{137B3C68-23F5-4186-BC17-BA7BD7D3EFE1}"/>
                  </a:ext>
                </a:extLst>
              </p:cNvPr>
              <p:cNvGrpSpPr/>
              <p:nvPr/>
            </p:nvGrpSpPr>
            <p:grpSpPr>
              <a:xfrm>
                <a:off x="6631874" y="3128116"/>
                <a:ext cx="586942" cy="588492"/>
                <a:chOff x="6926803" y="2751484"/>
                <a:chExt cx="732998" cy="734934"/>
              </a:xfrm>
            </p:grpSpPr>
            <p:grpSp>
              <p:nvGrpSpPr>
                <p:cNvPr id="245" name="Group 37">
                  <a:extLst>
                    <a:ext uri="{FF2B5EF4-FFF2-40B4-BE49-F238E27FC236}">
                      <a16:creationId xmlns:a16="http://schemas.microsoft.com/office/drawing/2014/main" id="{D02BEF9B-1210-4BD5-AFE0-887F8A9F6C92}"/>
                    </a:ext>
                  </a:extLst>
                </p:cNvPr>
                <p:cNvGrpSpPr>
                  <a:grpSpLocks noChangeAspect="1"/>
                </p:cNvGrpSpPr>
                <p:nvPr/>
              </p:nvGrpSpPr>
              <p:grpSpPr bwMode="auto">
                <a:xfrm>
                  <a:off x="6926803" y="2751484"/>
                  <a:ext cx="732998" cy="734934"/>
                  <a:chOff x="4323" y="1765"/>
                  <a:chExt cx="379" cy="380"/>
                </a:xfrm>
              </p:grpSpPr>
              <p:sp>
                <p:nvSpPr>
                  <p:cNvPr id="272" name="Freeform 38">
                    <a:extLst>
                      <a:ext uri="{FF2B5EF4-FFF2-40B4-BE49-F238E27FC236}">
                        <a16:creationId xmlns:a16="http://schemas.microsoft.com/office/drawing/2014/main" id="{1D6AD791-4659-44C7-BAD5-11C9C619342E}"/>
                      </a:ext>
                    </a:extLst>
                  </p:cNvPr>
                  <p:cNvSpPr>
                    <a:spLocks/>
                  </p:cNvSpPr>
                  <p:nvPr/>
                </p:nvSpPr>
                <p:spPr bwMode="auto">
                  <a:xfrm>
                    <a:off x="4323" y="1854"/>
                    <a:ext cx="379" cy="291"/>
                  </a:xfrm>
                  <a:custGeom>
                    <a:avLst/>
                    <a:gdLst>
                      <a:gd name="T0" fmla="*/ 13 w 169"/>
                      <a:gd name="T1" fmla="*/ 0 h 130"/>
                      <a:gd name="T2" fmla="*/ 0 w 169"/>
                      <a:gd name="T3" fmla="*/ 45 h 130"/>
                      <a:gd name="T4" fmla="*/ 84 w 169"/>
                      <a:gd name="T5" fmla="*/ 130 h 130"/>
                      <a:gd name="T6" fmla="*/ 169 w 169"/>
                      <a:gd name="T7" fmla="*/ 45 h 130"/>
                      <a:gd name="T8" fmla="*/ 84 w 169"/>
                      <a:gd name="T9" fmla="*/ 45 h 130"/>
                      <a:gd name="T10" fmla="*/ 13 w 169"/>
                      <a:gd name="T11" fmla="*/ 0 h 130"/>
                    </a:gdLst>
                    <a:ahLst/>
                    <a:cxnLst>
                      <a:cxn ang="0">
                        <a:pos x="T0" y="T1"/>
                      </a:cxn>
                      <a:cxn ang="0">
                        <a:pos x="T2" y="T3"/>
                      </a:cxn>
                      <a:cxn ang="0">
                        <a:pos x="T4" y="T5"/>
                      </a:cxn>
                      <a:cxn ang="0">
                        <a:pos x="T6" y="T7"/>
                      </a:cxn>
                      <a:cxn ang="0">
                        <a:pos x="T8" y="T9"/>
                      </a:cxn>
                      <a:cxn ang="0">
                        <a:pos x="T10" y="T11"/>
                      </a:cxn>
                    </a:cxnLst>
                    <a:rect l="0" t="0" r="r" b="b"/>
                    <a:pathLst>
                      <a:path w="169" h="130">
                        <a:moveTo>
                          <a:pt x="13" y="0"/>
                        </a:moveTo>
                        <a:cubicBezTo>
                          <a:pt x="4" y="13"/>
                          <a:pt x="0" y="29"/>
                          <a:pt x="0" y="45"/>
                        </a:cubicBezTo>
                        <a:cubicBezTo>
                          <a:pt x="0" y="91"/>
                          <a:pt x="38" y="130"/>
                          <a:pt x="84" y="130"/>
                        </a:cubicBezTo>
                        <a:cubicBezTo>
                          <a:pt x="132" y="130"/>
                          <a:pt x="169" y="91"/>
                          <a:pt x="169" y="45"/>
                        </a:cubicBezTo>
                        <a:cubicBezTo>
                          <a:pt x="84" y="45"/>
                          <a:pt x="84" y="45"/>
                          <a:pt x="84" y="45"/>
                        </a:cubicBezTo>
                        <a:lnTo>
                          <a:pt x="13"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3" name="Freeform 39">
                    <a:extLst>
                      <a:ext uri="{FF2B5EF4-FFF2-40B4-BE49-F238E27FC236}">
                        <a16:creationId xmlns:a16="http://schemas.microsoft.com/office/drawing/2014/main" id="{BB66BB76-512F-4387-A4EE-F8E6AFEE9867}"/>
                      </a:ext>
                    </a:extLst>
                  </p:cNvPr>
                  <p:cNvSpPr>
                    <a:spLocks/>
                  </p:cNvSpPr>
                  <p:nvPr/>
                </p:nvSpPr>
                <p:spPr bwMode="auto">
                  <a:xfrm>
                    <a:off x="4511" y="1765"/>
                    <a:ext cx="191" cy="190"/>
                  </a:xfrm>
                  <a:custGeom>
                    <a:avLst/>
                    <a:gdLst>
                      <a:gd name="T0" fmla="*/ 0 w 85"/>
                      <a:gd name="T1" fmla="*/ 0 h 85"/>
                      <a:gd name="T2" fmla="*/ 0 w 85"/>
                      <a:gd name="T3" fmla="*/ 85 h 85"/>
                      <a:gd name="T4" fmla="*/ 85 w 85"/>
                      <a:gd name="T5" fmla="*/ 85 h 85"/>
                      <a:gd name="T6" fmla="*/ 0 w 85"/>
                      <a:gd name="T7" fmla="*/ 0 h 85"/>
                    </a:gdLst>
                    <a:ahLst/>
                    <a:cxnLst>
                      <a:cxn ang="0">
                        <a:pos x="T0" y="T1"/>
                      </a:cxn>
                      <a:cxn ang="0">
                        <a:pos x="T2" y="T3"/>
                      </a:cxn>
                      <a:cxn ang="0">
                        <a:pos x="T4" y="T5"/>
                      </a:cxn>
                      <a:cxn ang="0">
                        <a:pos x="T6" y="T7"/>
                      </a:cxn>
                    </a:cxnLst>
                    <a:rect l="0" t="0" r="r" b="b"/>
                    <a:pathLst>
                      <a:path w="85" h="85">
                        <a:moveTo>
                          <a:pt x="0" y="0"/>
                        </a:moveTo>
                        <a:cubicBezTo>
                          <a:pt x="0" y="85"/>
                          <a:pt x="0" y="85"/>
                          <a:pt x="0" y="85"/>
                        </a:cubicBezTo>
                        <a:cubicBezTo>
                          <a:pt x="85" y="85"/>
                          <a:pt x="85" y="85"/>
                          <a:pt x="85" y="85"/>
                        </a:cubicBezTo>
                        <a:cubicBezTo>
                          <a:pt x="85" y="39"/>
                          <a:pt x="47" y="0"/>
                          <a:pt x="0" y="0"/>
                        </a:cubicBez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4" name="Freeform 40">
                    <a:extLst>
                      <a:ext uri="{FF2B5EF4-FFF2-40B4-BE49-F238E27FC236}">
                        <a16:creationId xmlns:a16="http://schemas.microsoft.com/office/drawing/2014/main" id="{2A98C3E2-2FB4-4CD4-808D-5F8E17EA2AB6}"/>
                      </a:ext>
                    </a:extLst>
                  </p:cNvPr>
                  <p:cNvSpPr>
                    <a:spLocks/>
                  </p:cNvSpPr>
                  <p:nvPr/>
                </p:nvSpPr>
                <p:spPr bwMode="auto">
                  <a:xfrm>
                    <a:off x="4379" y="1765"/>
                    <a:ext cx="132" cy="190"/>
                  </a:xfrm>
                  <a:custGeom>
                    <a:avLst/>
                    <a:gdLst>
                      <a:gd name="T0" fmla="*/ 59 w 59"/>
                      <a:gd name="T1" fmla="*/ 85 h 85"/>
                      <a:gd name="T2" fmla="*/ 59 w 59"/>
                      <a:gd name="T3" fmla="*/ 0 h 85"/>
                      <a:gd name="T4" fmla="*/ 0 w 59"/>
                      <a:gd name="T5" fmla="*/ 25 h 85"/>
                      <a:gd name="T6" fmla="*/ 59 w 59"/>
                      <a:gd name="T7" fmla="*/ 85 h 85"/>
                    </a:gdLst>
                    <a:ahLst/>
                    <a:cxnLst>
                      <a:cxn ang="0">
                        <a:pos x="T0" y="T1"/>
                      </a:cxn>
                      <a:cxn ang="0">
                        <a:pos x="T2" y="T3"/>
                      </a:cxn>
                      <a:cxn ang="0">
                        <a:pos x="T4" y="T5"/>
                      </a:cxn>
                      <a:cxn ang="0">
                        <a:pos x="T6" y="T7"/>
                      </a:cxn>
                    </a:cxnLst>
                    <a:rect l="0" t="0" r="r" b="b"/>
                    <a:pathLst>
                      <a:path w="59" h="85">
                        <a:moveTo>
                          <a:pt x="59" y="85"/>
                        </a:moveTo>
                        <a:cubicBezTo>
                          <a:pt x="59" y="0"/>
                          <a:pt x="59" y="0"/>
                          <a:pt x="59" y="0"/>
                        </a:cubicBezTo>
                        <a:cubicBezTo>
                          <a:pt x="36" y="0"/>
                          <a:pt x="15" y="10"/>
                          <a:pt x="0" y="25"/>
                        </a:cubicBezTo>
                        <a:lnTo>
                          <a:pt x="59" y="85"/>
                        </a:lnTo>
                        <a:close/>
                      </a:path>
                    </a:pathLst>
                  </a:custGeom>
                  <a:solidFill>
                    <a:srgbClr val="30E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246" name="Group 28">
                  <a:extLst>
                    <a:ext uri="{FF2B5EF4-FFF2-40B4-BE49-F238E27FC236}">
                      <a16:creationId xmlns:a16="http://schemas.microsoft.com/office/drawing/2014/main" id="{4B6E4C6B-BC3D-4D14-BE29-871CFDD59BF1}"/>
                    </a:ext>
                  </a:extLst>
                </p:cNvPr>
                <p:cNvGrpSpPr>
                  <a:grpSpLocks noChangeAspect="1"/>
                </p:cNvGrpSpPr>
                <p:nvPr/>
              </p:nvGrpSpPr>
              <p:grpSpPr bwMode="auto">
                <a:xfrm>
                  <a:off x="7065970" y="2890838"/>
                  <a:ext cx="452438" cy="454025"/>
                  <a:chOff x="4451" y="1821"/>
                  <a:chExt cx="285" cy="286"/>
                </a:xfrm>
                <a:solidFill>
                  <a:srgbClr val="FFFFFF"/>
                </a:solidFill>
              </p:grpSpPr>
              <p:sp>
                <p:nvSpPr>
                  <p:cNvPr id="247" name="Freeform 29">
                    <a:extLst>
                      <a:ext uri="{FF2B5EF4-FFF2-40B4-BE49-F238E27FC236}">
                        <a16:creationId xmlns:a16="http://schemas.microsoft.com/office/drawing/2014/main" id="{AA4DB17C-A926-4437-9708-1F8AD09781CE}"/>
                      </a:ext>
                    </a:extLst>
                  </p:cNvPr>
                  <p:cNvSpPr>
                    <a:spLocks/>
                  </p:cNvSpPr>
                  <p:nvPr/>
                </p:nvSpPr>
                <p:spPr bwMode="auto">
                  <a:xfrm>
                    <a:off x="4568" y="1821"/>
                    <a:ext cx="40" cy="71"/>
                  </a:xfrm>
                  <a:custGeom>
                    <a:avLst/>
                    <a:gdLst>
                      <a:gd name="T0" fmla="*/ 28 w 28"/>
                      <a:gd name="T1" fmla="*/ 40 h 49"/>
                      <a:gd name="T2" fmla="*/ 22 w 28"/>
                      <a:gd name="T3" fmla="*/ 47 h 49"/>
                      <a:gd name="T4" fmla="*/ 7 w 28"/>
                      <a:gd name="T5" fmla="*/ 48 h 49"/>
                      <a:gd name="T6" fmla="*/ 0 w 28"/>
                      <a:gd name="T7" fmla="*/ 42 h 49"/>
                      <a:gd name="T8" fmla="*/ 3 w 28"/>
                      <a:gd name="T9" fmla="*/ 8 h 49"/>
                      <a:gd name="T10" fmla="*/ 11 w 28"/>
                      <a:gd name="T11" fmla="*/ 0 h 49"/>
                      <a:gd name="T12" fmla="*/ 12 w 28"/>
                      <a:gd name="T13" fmla="*/ 0 h 49"/>
                      <a:gd name="T14" fmla="*/ 21 w 28"/>
                      <a:gd name="T15" fmla="*/ 7 h 49"/>
                      <a:gd name="T16" fmla="*/ 28 w 28"/>
                      <a:gd name="T17" fmla="*/ 4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9">
                        <a:moveTo>
                          <a:pt x="28" y="40"/>
                        </a:moveTo>
                        <a:cubicBezTo>
                          <a:pt x="28" y="44"/>
                          <a:pt x="26" y="47"/>
                          <a:pt x="22" y="47"/>
                        </a:cubicBezTo>
                        <a:cubicBezTo>
                          <a:pt x="7" y="48"/>
                          <a:pt x="7" y="48"/>
                          <a:pt x="7" y="48"/>
                        </a:cubicBezTo>
                        <a:cubicBezTo>
                          <a:pt x="3" y="49"/>
                          <a:pt x="0" y="46"/>
                          <a:pt x="0" y="42"/>
                        </a:cubicBezTo>
                        <a:cubicBezTo>
                          <a:pt x="3" y="8"/>
                          <a:pt x="3" y="8"/>
                          <a:pt x="3" y="8"/>
                        </a:cubicBezTo>
                        <a:cubicBezTo>
                          <a:pt x="3" y="4"/>
                          <a:pt x="6" y="1"/>
                          <a:pt x="11" y="0"/>
                        </a:cubicBezTo>
                        <a:cubicBezTo>
                          <a:pt x="12" y="0"/>
                          <a:pt x="12" y="0"/>
                          <a:pt x="12" y="0"/>
                        </a:cubicBezTo>
                        <a:cubicBezTo>
                          <a:pt x="16" y="0"/>
                          <a:pt x="20" y="3"/>
                          <a:pt x="21" y="7"/>
                        </a:cubicBezTo>
                        <a:lnTo>
                          <a:pt x="28"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8" name="Freeform 30">
                    <a:extLst>
                      <a:ext uri="{FF2B5EF4-FFF2-40B4-BE49-F238E27FC236}">
                        <a16:creationId xmlns:a16="http://schemas.microsoft.com/office/drawing/2014/main" id="{3A6F782C-2C8A-4C5E-AF80-58D902F4DE13}"/>
                      </a:ext>
                    </a:extLst>
                  </p:cNvPr>
                  <p:cNvSpPr>
                    <a:spLocks/>
                  </p:cNvSpPr>
                  <p:nvPr/>
                </p:nvSpPr>
                <p:spPr bwMode="auto">
                  <a:xfrm>
                    <a:off x="4578" y="2036"/>
                    <a:ext cx="42" cy="71"/>
                  </a:xfrm>
                  <a:custGeom>
                    <a:avLst/>
                    <a:gdLst>
                      <a:gd name="T0" fmla="*/ 1 w 29"/>
                      <a:gd name="T1" fmla="*/ 9 h 49"/>
                      <a:gd name="T2" fmla="*/ 7 w 29"/>
                      <a:gd name="T3" fmla="*/ 2 h 49"/>
                      <a:gd name="T4" fmla="*/ 21 w 29"/>
                      <a:gd name="T5" fmla="*/ 1 h 49"/>
                      <a:gd name="T6" fmla="*/ 28 w 29"/>
                      <a:gd name="T7" fmla="*/ 8 h 49"/>
                      <a:gd name="T8" fmla="*/ 26 w 29"/>
                      <a:gd name="T9" fmla="*/ 41 h 49"/>
                      <a:gd name="T10" fmla="*/ 18 w 29"/>
                      <a:gd name="T11" fmla="*/ 49 h 49"/>
                      <a:gd name="T12" fmla="*/ 17 w 29"/>
                      <a:gd name="T13" fmla="*/ 49 h 49"/>
                      <a:gd name="T14" fmla="*/ 8 w 29"/>
                      <a:gd name="T15" fmla="*/ 42 h 49"/>
                      <a:gd name="T16" fmla="*/ 1 w 29"/>
                      <a:gd name="T17"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49">
                        <a:moveTo>
                          <a:pt x="1" y="9"/>
                        </a:moveTo>
                        <a:cubicBezTo>
                          <a:pt x="0" y="5"/>
                          <a:pt x="3" y="2"/>
                          <a:pt x="7" y="2"/>
                        </a:cubicBezTo>
                        <a:cubicBezTo>
                          <a:pt x="21" y="1"/>
                          <a:pt x="21" y="1"/>
                          <a:pt x="21" y="1"/>
                        </a:cubicBezTo>
                        <a:cubicBezTo>
                          <a:pt x="26" y="0"/>
                          <a:pt x="29" y="4"/>
                          <a:pt x="28" y="8"/>
                        </a:cubicBezTo>
                        <a:cubicBezTo>
                          <a:pt x="26" y="41"/>
                          <a:pt x="26" y="41"/>
                          <a:pt x="26" y="41"/>
                        </a:cubicBezTo>
                        <a:cubicBezTo>
                          <a:pt x="26" y="45"/>
                          <a:pt x="22" y="49"/>
                          <a:pt x="18" y="49"/>
                        </a:cubicBezTo>
                        <a:cubicBezTo>
                          <a:pt x="17" y="49"/>
                          <a:pt x="17" y="49"/>
                          <a:pt x="17" y="49"/>
                        </a:cubicBezTo>
                        <a:cubicBezTo>
                          <a:pt x="13" y="49"/>
                          <a:pt x="9" y="46"/>
                          <a:pt x="8" y="42"/>
                        </a:cubicBezTo>
                        <a:lnTo>
                          <a:pt x="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9" name="Freeform 31">
                    <a:extLst>
                      <a:ext uri="{FF2B5EF4-FFF2-40B4-BE49-F238E27FC236}">
                        <a16:creationId xmlns:a16="http://schemas.microsoft.com/office/drawing/2014/main" id="{5A9A316A-A8CE-4165-A2BD-AF37AA353937}"/>
                      </a:ext>
                    </a:extLst>
                  </p:cNvPr>
                  <p:cNvSpPr>
                    <a:spLocks/>
                  </p:cNvSpPr>
                  <p:nvPr/>
                </p:nvSpPr>
                <p:spPr bwMode="auto">
                  <a:xfrm>
                    <a:off x="4451" y="1949"/>
                    <a:ext cx="70" cy="40"/>
                  </a:xfrm>
                  <a:custGeom>
                    <a:avLst/>
                    <a:gdLst>
                      <a:gd name="T0" fmla="*/ 40 w 49"/>
                      <a:gd name="T1" fmla="*/ 1 h 28"/>
                      <a:gd name="T2" fmla="*/ 48 w 49"/>
                      <a:gd name="T3" fmla="*/ 7 h 28"/>
                      <a:gd name="T4" fmla="*/ 49 w 49"/>
                      <a:gd name="T5" fmla="*/ 21 h 28"/>
                      <a:gd name="T6" fmla="*/ 42 w 49"/>
                      <a:gd name="T7" fmla="*/ 28 h 28"/>
                      <a:gd name="T8" fmla="*/ 8 w 49"/>
                      <a:gd name="T9" fmla="*/ 26 h 28"/>
                      <a:gd name="T10" fmla="*/ 0 w 49"/>
                      <a:gd name="T11" fmla="*/ 18 h 28"/>
                      <a:gd name="T12" fmla="*/ 0 w 49"/>
                      <a:gd name="T13" fmla="*/ 16 h 28"/>
                      <a:gd name="T14" fmla="*/ 7 w 49"/>
                      <a:gd name="T15" fmla="*/ 8 h 28"/>
                      <a:gd name="T16" fmla="*/ 40 w 49"/>
                      <a:gd name="T17"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8">
                        <a:moveTo>
                          <a:pt x="40" y="1"/>
                        </a:moveTo>
                        <a:cubicBezTo>
                          <a:pt x="44" y="0"/>
                          <a:pt x="47" y="3"/>
                          <a:pt x="48" y="7"/>
                        </a:cubicBezTo>
                        <a:cubicBezTo>
                          <a:pt x="49" y="21"/>
                          <a:pt x="49" y="21"/>
                          <a:pt x="49" y="21"/>
                        </a:cubicBezTo>
                        <a:cubicBezTo>
                          <a:pt x="49" y="25"/>
                          <a:pt x="46" y="28"/>
                          <a:pt x="42" y="28"/>
                        </a:cubicBezTo>
                        <a:cubicBezTo>
                          <a:pt x="8" y="26"/>
                          <a:pt x="8" y="26"/>
                          <a:pt x="8" y="26"/>
                        </a:cubicBezTo>
                        <a:cubicBezTo>
                          <a:pt x="4" y="25"/>
                          <a:pt x="1" y="22"/>
                          <a:pt x="0" y="18"/>
                        </a:cubicBezTo>
                        <a:cubicBezTo>
                          <a:pt x="0" y="16"/>
                          <a:pt x="0" y="16"/>
                          <a:pt x="0" y="16"/>
                        </a:cubicBezTo>
                        <a:cubicBezTo>
                          <a:pt x="0" y="12"/>
                          <a:pt x="3" y="8"/>
                          <a:pt x="7" y="8"/>
                        </a:cubicBezTo>
                        <a:lnTo>
                          <a:pt x="4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0" name="Freeform 32">
                    <a:extLst>
                      <a:ext uri="{FF2B5EF4-FFF2-40B4-BE49-F238E27FC236}">
                        <a16:creationId xmlns:a16="http://schemas.microsoft.com/office/drawing/2014/main" id="{E690BC60-DC9C-4A4B-B71F-5BF0CAE04D5F}"/>
                      </a:ext>
                    </a:extLst>
                  </p:cNvPr>
                  <p:cNvSpPr>
                    <a:spLocks/>
                  </p:cNvSpPr>
                  <p:nvPr/>
                </p:nvSpPr>
                <p:spPr bwMode="auto">
                  <a:xfrm>
                    <a:off x="4667" y="1939"/>
                    <a:ext cx="69" cy="40"/>
                  </a:xfrm>
                  <a:custGeom>
                    <a:avLst/>
                    <a:gdLst>
                      <a:gd name="T0" fmla="*/ 9 w 48"/>
                      <a:gd name="T1" fmla="*/ 27 h 28"/>
                      <a:gd name="T2" fmla="*/ 1 w 48"/>
                      <a:gd name="T3" fmla="*/ 22 h 28"/>
                      <a:gd name="T4" fmla="*/ 0 w 48"/>
                      <a:gd name="T5" fmla="*/ 7 h 28"/>
                      <a:gd name="T6" fmla="*/ 7 w 48"/>
                      <a:gd name="T7" fmla="*/ 0 h 28"/>
                      <a:gd name="T8" fmla="*/ 40 w 48"/>
                      <a:gd name="T9" fmla="*/ 2 h 28"/>
                      <a:gd name="T10" fmla="*/ 48 w 48"/>
                      <a:gd name="T11" fmla="*/ 10 h 28"/>
                      <a:gd name="T12" fmla="*/ 48 w 48"/>
                      <a:gd name="T13" fmla="*/ 12 h 28"/>
                      <a:gd name="T14" fmla="*/ 41 w 48"/>
                      <a:gd name="T15" fmla="*/ 21 h 28"/>
                      <a:gd name="T16" fmla="*/ 9 w 48"/>
                      <a:gd name="T1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8">
                        <a:moveTo>
                          <a:pt x="9" y="27"/>
                        </a:moveTo>
                        <a:cubicBezTo>
                          <a:pt x="5" y="28"/>
                          <a:pt x="1" y="26"/>
                          <a:pt x="1" y="22"/>
                        </a:cubicBezTo>
                        <a:cubicBezTo>
                          <a:pt x="0" y="7"/>
                          <a:pt x="0" y="7"/>
                          <a:pt x="0" y="7"/>
                        </a:cubicBezTo>
                        <a:cubicBezTo>
                          <a:pt x="0" y="3"/>
                          <a:pt x="3" y="0"/>
                          <a:pt x="7" y="0"/>
                        </a:cubicBezTo>
                        <a:cubicBezTo>
                          <a:pt x="40" y="2"/>
                          <a:pt x="40" y="2"/>
                          <a:pt x="40" y="2"/>
                        </a:cubicBezTo>
                        <a:cubicBezTo>
                          <a:pt x="44" y="3"/>
                          <a:pt x="48" y="6"/>
                          <a:pt x="48" y="10"/>
                        </a:cubicBezTo>
                        <a:cubicBezTo>
                          <a:pt x="48" y="12"/>
                          <a:pt x="48" y="12"/>
                          <a:pt x="48" y="12"/>
                        </a:cubicBezTo>
                        <a:cubicBezTo>
                          <a:pt x="48" y="16"/>
                          <a:pt x="45" y="20"/>
                          <a:pt x="41" y="21"/>
                        </a:cubicBezTo>
                        <a:lnTo>
                          <a:pt x="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1" name="Freeform 33">
                    <a:extLst>
                      <a:ext uri="{FF2B5EF4-FFF2-40B4-BE49-F238E27FC236}">
                        <a16:creationId xmlns:a16="http://schemas.microsoft.com/office/drawing/2014/main" id="{9D5ADE78-1A2A-4BEF-850F-EF4E34A6AD9D}"/>
                      </a:ext>
                    </a:extLst>
                  </p:cNvPr>
                  <p:cNvSpPr>
                    <a:spLocks/>
                  </p:cNvSpPr>
                  <p:nvPr/>
                </p:nvSpPr>
                <p:spPr bwMode="auto">
                  <a:xfrm>
                    <a:off x="4482" y="1864"/>
                    <a:ext cx="66" cy="63"/>
                  </a:xfrm>
                  <a:custGeom>
                    <a:avLst/>
                    <a:gdLst>
                      <a:gd name="T0" fmla="*/ 42 w 46"/>
                      <a:gd name="T1" fmla="*/ 20 h 44"/>
                      <a:gd name="T2" fmla="*/ 44 w 46"/>
                      <a:gd name="T3" fmla="*/ 30 h 44"/>
                      <a:gd name="T4" fmla="*/ 34 w 46"/>
                      <a:gd name="T5" fmla="*/ 41 h 44"/>
                      <a:gd name="T6" fmla="*/ 24 w 46"/>
                      <a:gd name="T7" fmla="*/ 41 h 44"/>
                      <a:gd name="T8" fmla="*/ 2 w 46"/>
                      <a:gd name="T9" fmla="*/ 16 h 44"/>
                      <a:gd name="T10" fmla="*/ 2 w 46"/>
                      <a:gd name="T11" fmla="*/ 5 h 44"/>
                      <a:gd name="T12" fmla="*/ 3 w 46"/>
                      <a:gd name="T13" fmla="*/ 3 h 44"/>
                      <a:gd name="T14" fmla="*/ 14 w 46"/>
                      <a:gd name="T15" fmla="*/ 2 h 44"/>
                      <a:gd name="T16" fmla="*/ 42 w 46"/>
                      <a:gd name="T17"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4">
                        <a:moveTo>
                          <a:pt x="42" y="20"/>
                        </a:moveTo>
                        <a:cubicBezTo>
                          <a:pt x="46" y="23"/>
                          <a:pt x="46" y="27"/>
                          <a:pt x="44" y="30"/>
                        </a:cubicBezTo>
                        <a:cubicBezTo>
                          <a:pt x="34" y="41"/>
                          <a:pt x="34" y="41"/>
                          <a:pt x="34" y="41"/>
                        </a:cubicBezTo>
                        <a:cubicBezTo>
                          <a:pt x="31" y="44"/>
                          <a:pt x="27" y="44"/>
                          <a:pt x="24" y="41"/>
                        </a:cubicBezTo>
                        <a:cubicBezTo>
                          <a:pt x="2" y="16"/>
                          <a:pt x="2" y="16"/>
                          <a:pt x="2" y="16"/>
                        </a:cubicBezTo>
                        <a:cubicBezTo>
                          <a:pt x="0" y="13"/>
                          <a:pt x="0" y="8"/>
                          <a:pt x="2" y="5"/>
                        </a:cubicBezTo>
                        <a:cubicBezTo>
                          <a:pt x="3" y="3"/>
                          <a:pt x="3" y="3"/>
                          <a:pt x="3" y="3"/>
                        </a:cubicBezTo>
                        <a:cubicBezTo>
                          <a:pt x="6" y="0"/>
                          <a:pt x="11" y="0"/>
                          <a:pt x="14" y="2"/>
                        </a:cubicBezTo>
                        <a:lnTo>
                          <a:pt x="42"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2" name="Freeform 34">
                    <a:extLst>
                      <a:ext uri="{FF2B5EF4-FFF2-40B4-BE49-F238E27FC236}">
                        <a16:creationId xmlns:a16="http://schemas.microsoft.com/office/drawing/2014/main" id="{B24D2622-A080-4A50-84B8-AA4864799FF4}"/>
                      </a:ext>
                    </a:extLst>
                  </p:cNvPr>
                  <p:cNvSpPr>
                    <a:spLocks/>
                  </p:cNvSpPr>
                  <p:nvPr/>
                </p:nvSpPr>
                <p:spPr bwMode="auto">
                  <a:xfrm>
                    <a:off x="4639" y="2001"/>
                    <a:ext cx="67" cy="63"/>
                  </a:xfrm>
                  <a:custGeom>
                    <a:avLst/>
                    <a:gdLst>
                      <a:gd name="T0" fmla="*/ 4 w 47"/>
                      <a:gd name="T1" fmla="*/ 24 h 44"/>
                      <a:gd name="T2" fmla="*/ 3 w 47"/>
                      <a:gd name="T3" fmla="*/ 14 h 44"/>
                      <a:gd name="T4" fmla="*/ 13 w 47"/>
                      <a:gd name="T5" fmla="*/ 3 h 44"/>
                      <a:gd name="T6" fmla="*/ 22 w 47"/>
                      <a:gd name="T7" fmla="*/ 3 h 44"/>
                      <a:gd name="T8" fmla="*/ 44 w 47"/>
                      <a:gd name="T9" fmla="*/ 28 h 44"/>
                      <a:gd name="T10" fmla="*/ 44 w 47"/>
                      <a:gd name="T11" fmla="*/ 40 h 44"/>
                      <a:gd name="T12" fmla="*/ 43 w 47"/>
                      <a:gd name="T13" fmla="*/ 41 h 44"/>
                      <a:gd name="T14" fmla="*/ 32 w 47"/>
                      <a:gd name="T15" fmla="*/ 42 h 44"/>
                      <a:gd name="T16" fmla="*/ 4 w 47"/>
                      <a:gd name="T17"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4">
                        <a:moveTo>
                          <a:pt x="4" y="24"/>
                        </a:moveTo>
                        <a:cubicBezTo>
                          <a:pt x="1" y="22"/>
                          <a:pt x="0" y="17"/>
                          <a:pt x="3" y="14"/>
                        </a:cubicBezTo>
                        <a:cubicBezTo>
                          <a:pt x="13" y="3"/>
                          <a:pt x="13" y="3"/>
                          <a:pt x="13" y="3"/>
                        </a:cubicBezTo>
                        <a:cubicBezTo>
                          <a:pt x="15" y="0"/>
                          <a:pt x="20" y="0"/>
                          <a:pt x="22" y="3"/>
                        </a:cubicBezTo>
                        <a:cubicBezTo>
                          <a:pt x="44" y="28"/>
                          <a:pt x="44" y="28"/>
                          <a:pt x="44" y="28"/>
                        </a:cubicBezTo>
                        <a:cubicBezTo>
                          <a:pt x="47" y="32"/>
                          <a:pt x="47" y="37"/>
                          <a:pt x="44" y="40"/>
                        </a:cubicBezTo>
                        <a:cubicBezTo>
                          <a:pt x="43" y="41"/>
                          <a:pt x="43" y="41"/>
                          <a:pt x="43" y="41"/>
                        </a:cubicBezTo>
                        <a:cubicBezTo>
                          <a:pt x="40" y="44"/>
                          <a:pt x="35" y="44"/>
                          <a:pt x="32" y="42"/>
                        </a:cubicBezTo>
                        <a:lnTo>
                          <a:pt x="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3" name="Freeform 35">
                    <a:extLst>
                      <a:ext uri="{FF2B5EF4-FFF2-40B4-BE49-F238E27FC236}">
                        <a16:creationId xmlns:a16="http://schemas.microsoft.com/office/drawing/2014/main" id="{13CBB5EE-91B5-4B39-8E10-421EFB16E7EA}"/>
                      </a:ext>
                    </a:extLst>
                  </p:cNvPr>
                  <p:cNvSpPr>
                    <a:spLocks/>
                  </p:cNvSpPr>
                  <p:nvPr/>
                </p:nvSpPr>
                <p:spPr bwMode="auto">
                  <a:xfrm>
                    <a:off x="4494" y="2009"/>
                    <a:ext cx="63" cy="68"/>
                  </a:xfrm>
                  <a:custGeom>
                    <a:avLst/>
                    <a:gdLst>
                      <a:gd name="T0" fmla="*/ 20 w 44"/>
                      <a:gd name="T1" fmla="*/ 4 h 47"/>
                      <a:gd name="T2" fmla="*/ 30 w 44"/>
                      <a:gd name="T3" fmla="*/ 3 h 47"/>
                      <a:gd name="T4" fmla="*/ 41 w 44"/>
                      <a:gd name="T5" fmla="*/ 12 h 47"/>
                      <a:gd name="T6" fmla="*/ 41 w 44"/>
                      <a:gd name="T7" fmla="*/ 22 h 47"/>
                      <a:gd name="T8" fmla="*/ 16 w 44"/>
                      <a:gd name="T9" fmla="*/ 44 h 47"/>
                      <a:gd name="T10" fmla="*/ 5 w 44"/>
                      <a:gd name="T11" fmla="*/ 44 h 47"/>
                      <a:gd name="T12" fmla="*/ 4 w 44"/>
                      <a:gd name="T13" fmla="*/ 43 h 47"/>
                      <a:gd name="T14" fmla="*/ 2 w 44"/>
                      <a:gd name="T15" fmla="*/ 32 h 47"/>
                      <a:gd name="T16" fmla="*/ 20 w 44"/>
                      <a:gd name="T17"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7">
                        <a:moveTo>
                          <a:pt x="20" y="4"/>
                        </a:moveTo>
                        <a:cubicBezTo>
                          <a:pt x="23" y="1"/>
                          <a:pt x="27" y="0"/>
                          <a:pt x="30" y="3"/>
                        </a:cubicBezTo>
                        <a:cubicBezTo>
                          <a:pt x="41" y="12"/>
                          <a:pt x="41" y="12"/>
                          <a:pt x="41" y="12"/>
                        </a:cubicBezTo>
                        <a:cubicBezTo>
                          <a:pt x="44" y="15"/>
                          <a:pt x="44" y="19"/>
                          <a:pt x="41" y="22"/>
                        </a:cubicBezTo>
                        <a:cubicBezTo>
                          <a:pt x="16" y="44"/>
                          <a:pt x="16" y="44"/>
                          <a:pt x="16" y="44"/>
                        </a:cubicBezTo>
                        <a:cubicBezTo>
                          <a:pt x="13" y="47"/>
                          <a:pt x="8" y="46"/>
                          <a:pt x="5" y="44"/>
                        </a:cubicBezTo>
                        <a:cubicBezTo>
                          <a:pt x="4" y="43"/>
                          <a:pt x="4" y="43"/>
                          <a:pt x="4" y="43"/>
                        </a:cubicBezTo>
                        <a:cubicBezTo>
                          <a:pt x="1" y="40"/>
                          <a:pt x="0" y="35"/>
                          <a:pt x="2" y="32"/>
                        </a:cubicBezTo>
                        <a:lnTo>
                          <a:pt x="2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4" name="Freeform 36">
                    <a:extLst>
                      <a:ext uri="{FF2B5EF4-FFF2-40B4-BE49-F238E27FC236}">
                        <a16:creationId xmlns:a16="http://schemas.microsoft.com/office/drawing/2014/main" id="{EA5CE6DA-E76D-4E41-9054-6E3B8632DE1D}"/>
                      </a:ext>
                    </a:extLst>
                  </p:cNvPr>
                  <p:cNvSpPr>
                    <a:spLocks/>
                  </p:cNvSpPr>
                  <p:nvPr/>
                </p:nvSpPr>
                <p:spPr bwMode="auto">
                  <a:xfrm>
                    <a:off x="4630" y="1853"/>
                    <a:ext cx="64" cy="66"/>
                  </a:xfrm>
                  <a:custGeom>
                    <a:avLst/>
                    <a:gdLst>
                      <a:gd name="T0" fmla="*/ 24 w 45"/>
                      <a:gd name="T1" fmla="*/ 42 h 46"/>
                      <a:gd name="T2" fmla="*/ 14 w 45"/>
                      <a:gd name="T3" fmla="*/ 43 h 46"/>
                      <a:gd name="T4" fmla="*/ 3 w 45"/>
                      <a:gd name="T5" fmla="*/ 34 h 46"/>
                      <a:gd name="T6" fmla="*/ 3 w 45"/>
                      <a:gd name="T7" fmla="*/ 24 h 46"/>
                      <a:gd name="T8" fmla="*/ 29 w 45"/>
                      <a:gd name="T9" fmla="*/ 2 h 46"/>
                      <a:gd name="T10" fmla="*/ 40 w 45"/>
                      <a:gd name="T11" fmla="*/ 2 h 46"/>
                      <a:gd name="T12" fmla="*/ 41 w 45"/>
                      <a:gd name="T13" fmla="*/ 3 h 46"/>
                      <a:gd name="T14" fmla="*/ 42 w 45"/>
                      <a:gd name="T15" fmla="*/ 14 h 46"/>
                      <a:gd name="T16" fmla="*/ 24 w 45"/>
                      <a:gd name="T17"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6">
                        <a:moveTo>
                          <a:pt x="24" y="42"/>
                        </a:moveTo>
                        <a:cubicBezTo>
                          <a:pt x="22" y="46"/>
                          <a:pt x="17" y="46"/>
                          <a:pt x="14" y="43"/>
                        </a:cubicBezTo>
                        <a:cubicBezTo>
                          <a:pt x="3" y="34"/>
                          <a:pt x="3" y="34"/>
                          <a:pt x="3" y="34"/>
                        </a:cubicBezTo>
                        <a:cubicBezTo>
                          <a:pt x="0" y="31"/>
                          <a:pt x="0" y="27"/>
                          <a:pt x="3" y="24"/>
                        </a:cubicBezTo>
                        <a:cubicBezTo>
                          <a:pt x="29" y="2"/>
                          <a:pt x="29" y="2"/>
                          <a:pt x="29" y="2"/>
                        </a:cubicBezTo>
                        <a:cubicBezTo>
                          <a:pt x="32" y="0"/>
                          <a:pt x="37" y="0"/>
                          <a:pt x="40" y="2"/>
                        </a:cubicBezTo>
                        <a:cubicBezTo>
                          <a:pt x="41" y="3"/>
                          <a:pt x="41" y="3"/>
                          <a:pt x="41" y="3"/>
                        </a:cubicBezTo>
                        <a:cubicBezTo>
                          <a:pt x="44" y="6"/>
                          <a:pt x="45" y="11"/>
                          <a:pt x="42" y="14"/>
                        </a:cubicBezTo>
                        <a:lnTo>
                          <a:pt x="2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5" name="Freeform 37">
                    <a:extLst>
                      <a:ext uri="{FF2B5EF4-FFF2-40B4-BE49-F238E27FC236}">
                        <a16:creationId xmlns:a16="http://schemas.microsoft.com/office/drawing/2014/main" id="{F540E468-863C-4302-A99E-E1B43DF9E86F}"/>
                      </a:ext>
                    </a:extLst>
                  </p:cNvPr>
                  <p:cNvSpPr>
                    <a:spLocks/>
                  </p:cNvSpPr>
                  <p:nvPr/>
                </p:nvSpPr>
                <p:spPr bwMode="auto">
                  <a:xfrm>
                    <a:off x="4568" y="1821"/>
                    <a:ext cx="40" cy="71"/>
                  </a:xfrm>
                  <a:custGeom>
                    <a:avLst/>
                    <a:gdLst>
                      <a:gd name="T0" fmla="*/ 28 w 28"/>
                      <a:gd name="T1" fmla="*/ 40 h 49"/>
                      <a:gd name="T2" fmla="*/ 22 w 28"/>
                      <a:gd name="T3" fmla="*/ 47 h 49"/>
                      <a:gd name="T4" fmla="*/ 7 w 28"/>
                      <a:gd name="T5" fmla="*/ 48 h 49"/>
                      <a:gd name="T6" fmla="*/ 0 w 28"/>
                      <a:gd name="T7" fmla="*/ 42 h 49"/>
                      <a:gd name="T8" fmla="*/ 3 w 28"/>
                      <a:gd name="T9" fmla="*/ 8 h 49"/>
                      <a:gd name="T10" fmla="*/ 11 w 28"/>
                      <a:gd name="T11" fmla="*/ 0 h 49"/>
                      <a:gd name="T12" fmla="*/ 12 w 28"/>
                      <a:gd name="T13" fmla="*/ 0 h 49"/>
                      <a:gd name="T14" fmla="*/ 21 w 28"/>
                      <a:gd name="T15" fmla="*/ 7 h 49"/>
                      <a:gd name="T16" fmla="*/ 28 w 28"/>
                      <a:gd name="T17" fmla="*/ 4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9">
                        <a:moveTo>
                          <a:pt x="28" y="40"/>
                        </a:moveTo>
                        <a:cubicBezTo>
                          <a:pt x="28" y="44"/>
                          <a:pt x="26" y="47"/>
                          <a:pt x="22" y="47"/>
                        </a:cubicBezTo>
                        <a:cubicBezTo>
                          <a:pt x="7" y="48"/>
                          <a:pt x="7" y="48"/>
                          <a:pt x="7" y="48"/>
                        </a:cubicBezTo>
                        <a:cubicBezTo>
                          <a:pt x="3" y="49"/>
                          <a:pt x="0" y="46"/>
                          <a:pt x="0" y="42"/>
                        </a:cubicBezTo>
                        <a:cubicBezTo>
                          <a:pt x="3" y="8"/>
                          <a:pt x="3" y="8"/>
                          <a:pt x="3" y="8"/>
                        </a:cubicBezTo>
                        <a:cubicBezTo>
                          <a:pt x="3" y="4"/>
                          <a:pt x="6" y="1"/>
                          <a:pt x="11" y="0"/>
                        </a:cubicBezTo>
                        <a:cubicBezTo>
                          <a:pt x="12" y="0"/>
                          <a:pt x="12" y="0"/>
                          <a:pt x="12" y="0"/>
                        </a:cubicBezTo>
                        <a:cubicBezTo>
                          <a:pt x="16" y="0"/>
                          <a:pt x="20" y="3"/>
                          <a:pt x="21" y="7"/>
                        </a:cubicBezTo>
                        <a:lnTo>
                          <a:pt x="28"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6" name="Freeform 38">
                    <a:extLst>
                      <a:ext uri="{FF2B5EF4-FFF2-40B4-BE49-F238E27FC236}">
                        <a16:creationId xmlns:a16="http://schemas.microsoft.com/office/drawing/2014/main" id="{DC616C44-2019-4C0D-870F-A0C17A6F0E12}"/>
                      </a:ext>
                    </a:extLst>
                  </p:cNvPr>
                  <p:cNvSpPr>
                    <a:spLocks/>
                  </p:cNvSpPr>
                  <p:nvPr/>
                </p:nvSpPr>
                <p:spPr bwMode="auto">
                  <a:xfrm>
                    <a:off x="4578" y="2036"/>
                    <a:ext cx="42" cy="71"/>
                  </a:xfrm>
                  <a:custGeom>
                    <a:avLst/>
                    <a:gdLst>
                      <a:gd name="T0" fmla="*/ 1 w 29"/>
                      <a:gd name="T1" fmla="*/ 9 h 49"/>
                      <a:gd name="T2" fmla="*/ 7 w 29"/>
                      <a:gd name="T3" fmla="*/ 2 h 49"/>
                      <a:gd name="T4" fmla="*/ 21 w 29"/>
                      <a:gd name="T5" fmla="*/ 1 h 49"/>
                      <a:gd name="T6" fmla="*/ 28 w 29"/>
                      <a:gd name="T7" fmla="*/ 8 h 49"/>
                      <a:gd name="T8" fmla="*/ 26 w 29"/>
                      <a:gd name="T9" fmla="*/ 41 h 49"/>
                      <a:gd name="T10" fmla="*/ 18 w 29"/>
                      <a:gd name="T11" fmla="*/ 49 h 49"/>
                      <a:gd name="T12" fmla="*/ 17 w 29"/>
                      <a:gd name="T13" fmla="*/ 49 h 49"/>
                      <a:gd name="T14" fmla="*/ 8 w 29"/>
                      <a:gd name="T15" fmla="*/ 42 h 49"/>
                      <a:gd name="T16" fmla="*/ 1 w 29"/>
                      <a:gd name="T17"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49">
                        <a:moveTo>
                          <a:pt x="1" y="9"/>
                        </a:moveTo>
                        <a:cubicBezTo>
                          <a:pt x="0" y="5"/>
                          <a:pt x="3" y="2"/>
                          <a:pt x="7" y="2"/>
                        </a:cubicBezTo>
                        <a:cubicBezTo>
                          <a:pt x="21" y="1"/>
                          <a:pt x="21" y="1"/>
                          <a:pt x="21" y="1"/>
                        </a:cubicBezTo>
                        <a:cubicBezTo>
                          <a:pt x="26" y="0"/>
                          <a:pt x="29" y="4"/>
                          <a:pt x="28" y="8"/>
                        </a:cubicBezTo>
                        <a:cubicBezTo>
                          <a:pt x="26" y="41"/>
                          <a:pt x="26" y="41"/>
                          <a:pt x="26" y="41"/>
                        </a:cubicBezTo>
                        <a:cubicBezTo>
                          <a:pt x="26" y="45"/>
                          <a:pt x="22" y="49"/>
                          <a:pt x="18" y="49"/>
                        </a:cubicBezTo>
                        <a:cubicBezTo>
                          <a:pt x="17" y="49"/>
                          <a:pt x="17" y="49"/>
                          <a:pt x="17" y="49"/>
                        </a:cubicBezTo>
                        <a:cubicBezTo>
                          <a:pt x="13" y="49"/>
                          <a:pt x="9" y="46"/>
                          <a:pt x="8" y="42"/>
                        </a:cubicBezTo>
                        <a:lnTo>
                          <a:pt x="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7" name="Freeform 39">
                    <a:extLst>
                      <a:ext uri="{FF2B5EF4-FFF2-40B4-BE49-F238E27FC236}">
                        <a16:creationId xmlns:a16="http://schemas.microsoft.com/office/drawing/2014/main" id="{F69E9DE6-C805-47DC-AFB8-A44B2712EF54}"/>
                      </a:ext>
                    </a:extLst>
                  </p:cNvPr>
                  <p:cNvSpPr>
                    <a:spLocks/>
                  </p:cNvSpPr>
                  <p:nvPr/>
                </p:nvSpPr>
                <p:spPr bwMode="auto">
                  <a:xfrm>
                    <a:off x="4451" y="1949"/>
                    <a:ext cx="70" cy="40"/>
                  </a:xfrm>
                  <a:custGeom>
                    <a:avLst/>
                    <a:gdLst>
                      <a:gd name="T0" fmla="*/ 40 w 49"/>
                      <a:gd name="T1" fmla="*/ 1 h 28"/>
                      <a:gd name="T2" fmla="*/ 48 w 49"/>
                      <a:gd name="T3" fmla="*/ 7 h 28"/>
                      <a:gd name="T4" fmla="*/ 49 w 49"/>
                      <a:gd name="T5" fmla="*/ 21 h 28"/>
                      <a:gd name="T6" fmla="*/ 42 w 49"/>
                      <a:gd name="T7" fmla="*/ 28 h 28"/>
                      <a:gd name="T8" fmla="*/ 8 w 49"/>
                      <a:gd name="T9" fmla="*/ 26 h 28"/>
                      <a:gd name="T10" fmla="*/ 0 w 49"/>
                      <a:gd name="T11" fmla="*/ 18 h 28"/>
                      <a:gd name="T12" fmla="*/ 0 w 49"/>
                      <a:gd name="T13" fmla="*/ 16 h 28"/>
                      <a:gd name="T14" fmla="*/ 7 w 49"/>
                      <a:gd name="T15" fmla="*/ 8 h 28"/>
                      <a:gd name="T16" fmla="*/ 40 w 49"/>
                      <a:gd name="T17"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8">
                        <a:moveTo>
                          <a:pt x="40" y="1"/>
                        </a:moveTo>
                        <a:cubicBezTo>
                          <a:pt x="44" y="0"/>
                          <a:pt x="47" y="3"/>
                          <a:pt x="48" y="7"/>
                        </a:cubicBezTo>
                        <a:cubicBezTo>
                          <a:pt x="49" y="21"/>
                          <a:pt x="49" y="21"/>
                          <a:pt x="49" y="21"/>
                        </a:cubicBezTo>
                        <a:cubicBezTo>
                          <a:pt x="49" y="25"/>
                          <a:pt x="46" y="28"/>
                          <a:pt x="42" y="28"/>
                        </a:cubicBezTo>
                        <a:cubicBezTo>
                          <a:pt x="8" y="26"/>
                          <a:pt x="8" y="26"/>
                          <a:pt x="8" y="26"/>
                        </a:cubicBezTo>
                        <a:cubicBezTo>
                          <a:pt x="4" y="25"/>
                          <a:pt x="1" y="22"/>
                          <a:pt x="0" y="18"/>
                        </a:cubicBezTo>
                        <a:cubicBezTo>
                          <a:pt x="0" y="16"/>
                          <a:pt x="0" y="16"/>
                          <a:pt x="0" y="16"/>
                        </a:cubicBezTo>
                        <a:cubicBezTo>
                          <a:pt x="0" y="12"/>
                          <a:pt x="3" y="8"/>
                          <a:pt x="7" y="8"/>
                        </a:cubicBezTo>
                        <a:lnTo>
                          <a:pt x="4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8" name="Freeform 40">
                    <a:extLst>
                      <a:ext uri="{FF2B5EF4-FFF2-40B4-BE49-F238E27FC236}">
                        <a16:creationId xmlns:a16="http://schemas.microsoft.com/office/drawing/2014/main" id="{BA7079CA-E1EF-4196-ABAF-5C092D50D7AE}"/>
                      </a:ext>
                    </a:extLst>
                  </p:cNvPr>
                  <p:cNvSpPr>
                    <a:spLocks/>
                  </p:cNvSpPr>
                  <p:nvPr/>
                </p:nvSpPr>
                <p:spPr bwMode="auto">
                  <a:xfrm>
                    <a:off x="4667" y="1939"/>
                    <a:ext cx="69" cy="40"/>
                  </a:xfrm>
                  <a:custGeom>
                    <a:avLst/>
                    <a:gdLst>
                      <a:gd name="T0" fmla="*/ 9 w 48"/>
                      <a:gd name="T1" fmla="*/ 27 h 28"/>
                      <a:gd name="T2" fmla="*/ 1 w 48"/>
                      <a:gd name="T3" fmla="*/ 22 h 28"/>
                      <a:gd name="T4" fmla="*/ 0 w 48"/>
                      <a:gd name="T5" fmla="*/ 7 h 28"/>
                      <a:gd name="T6" fmla="*/ 7 w 48"/>
                      <a:gd name="T7" fmla="*/ 0 h 28"/>
                      <a:gd name="T8" fmla="*/ 40 w 48"/>
                      <a:gd name="T9" fmla="*/ 2 h 28"/>
                      <a:gd name="T10" fmla="*/ 48 w 48"/>
                      <a:gd name="T11" fmla="*/ 10 h 28"/>
                      <a:gd name="T12" fmla="*/ 48 w 48"/>
                      <a:gd name="T13" fmla="*/ 12 h 28"/>
                      <a:gd name="T14" fmla="*/ 41 w 48"/>
                      <a:gd name="T15" fmla="*/ 21 h 28"/>
                      <a:gd name="T16" fmla="*/ 9 w 48"/>
                      <a:gd name="T1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8">
                        <a:moveTo>
                          <a:pt x="9" y="27"/>
                        </a:moveTo>
                        <a:cubicBezTo>
                          <a:pt x="5" y="28"/>
                          <a:pt x="1" y="26"/>
                          <a:pt x="1" y="22"/>
                        </a:cubicBezTo>
                        <a:cubicBezTo>
                          <a:pt x="0" y="7"/>
                          <a:pt x="0" y="7"/>
                          <a:pt x="0" y="7"/>
                        </a:cubicBezTo>
                        <a:cubicBezTo>
                          <a:pt x="0" y="3"/>
                          <a:pt x="3" y="0"/>
                          <a:pt x="7" y="0"/>
                        </a:cubicBezTo>
                        <a:cubicBezTo>
                          <a:pt x="40" y="2"/>
                          <a:pt x="40" y="2"/>
                          <a:pt x="40" y="2"/>
                        </a:cubicBezTo>
                        <a:cubicBezTo>
                          <a:pt x="44" y="3"/>
                          <a:pt x="48" y="6"/>
                          <a:pt x="48" y="10"/>
                        </a:cubicBezTo>
                        <a:cubicBezTo>
                          <a:pt x="48" y="12"/>
                          <a:pt x="48" y="12"/>
                          <a:pt x="48" y="12"/>
                        </a:cubicBezTo>
                        <a:cubicBezTo>
                          <a:pt x="48" y="16"/>
                          <a:pt x="45" y="20"/>
                          <a:pt x="41" y="21"/>
                        </a:cubicBezTo>
                        <a:lnTo>
                          <a:pt x="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9" name="Freeform 41">
                    <a:extLst>
                      <a:ext uri="{FF2B5EF4-FFF2-40B4-BE49-F238E27FC236}">
                        <a16:creationId xmlns:a16="http://schemas.microsoft.com/office/drawing/2014/main" id="{14032613-DF25-4628-93DC-A5FCDFE1C3AD}"/>
                      </a:ext>
                    </a:extLst>
                  </p:cNvPr>
                  <p:cNvSpPr>
                    <a:spLocks/>
                  </p:cNvSpPr>
                  <p:nvPr/>
                </p:nvSpPr>
                <p:spPr bwMode="auto">
                  <a:xfrm>
                    <a:off x="4482" y="1864"/>
                    <a:ext cx="66" cy="63"/>
                  </a:xfrm>
                  <a:custGeom>
                    <a:avLst/>
                    <a:gdLst>
                      <a:gd name="T0" fmla="*/ 42 w 46"/>
                      <a:gd name="T1" fmla="*/ 20 h 44"/>
                      <a:gd name="T2" fmla="*/ 44 w 46"/>
                      <a:gd name="T3" fmla="*/ 30 h 44"/>
                      <a:gd name="T4" fmla="*/ 34 w 46"/>
                      <a:gd name="T5" fmla="*/ 41 h 44"/>
                      <a:gd name="T6" fmla="*/ 24 w 46"/>
                      <a:gd name="T7" fmla="*/ 41 h 44"/>
                      <a:gd name="T8" fmla="*/ 2 w 46"/>
                      <a:gd name="T9" fmla="*/ 16 h 44"/>
                      <a:gd name="T10" fmla="*/ 2 w 46"/>
                      <a:gd name="T11" fmla="*/ 5 h 44"/>
                      <a:gd name="T12" fmla="*/ 3 w 46"/>
                      <a:gd name="T13" fmla="*/ 3 h 44"/>
                      <a:gd name="T14" fmla="*/ 14 w 46"/>
                      <a:gd name="T15" fmla="*/ 2 h 44"/>
                      <a:gd name="T16" fmla="*/ 42 w 46"/>
                      <a:gd name="T17"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4">
                        <a:moveTo>
                          <a:pt x="42" y="20"/>
                        </a:moveTo>
                        <a:cubicBezTo>
                          <a:pt x="46" y="23"/>
                          <a:pt x="46" y="27"/>
                          <a:pt x="44" y="30"/>
                        </a:cubicBezTo>
                        <a:cubicBezTo>
                          <a:pt x="34" y="41"/>
                          <a:pt x="34" y="41"/>
                          <a:pt x="34" y="41"/>
                        </a:cubicBezTo>
                        <a:cubicBezTo>
                          <a:pt x="31" y="44"/>
                          <a:pt x="27" y="44"/>
                          <a:pt x="24" y="41"/>
                        </a:cubicBezTo>
                        <a:cubicBezTo>
                          <a:pt x="2" y="16"/>
                          <a:pt x="2" y="16"/>
                          <a:pt x="2" y="16"/>
                        </a:cubicBezTo>
                        <a:cubicBezTo>
                          <a:pt x="0" y="13"/>
                          <a:pt x="0" y="8"/>
                          <a:pt x="2" y="5"/>
                        </a:cubicBezTo>
                        <a:cubicBezTo>
                          <a:pt x="3" y="3"/>
                          <a:pt x="3" y="3"/>
                          <a:pt x="3" y="3"/>
                        </a:cubicBezTo>
                        <a:cubicBezTo>
                          <a:pt x="6" y="0"/>
                          <a:pt x="11" y="0"/>
                          <a:pt x="14" y="2"/>
                        </a:cubicBezTo>
                        <a:lnTo>
                          <a:pt x="42"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0" name="Freeform 42">
                    <a:extLst>
                      <a:ext uri="{FF2B5EF4-FFF2-40B4-BE49-F238E27FC236}">
                        <a16:creationId xmlns:a16="http://schemas.microsoft.com/office/drawing/2014/main" id="{205ED2FC-94F7-420E-9F4B-3F9DD96D2539}"/>
                      </a:ext>
                    </a:extLst>
                  </p:cNvPr>
                  <p:cNvSpPr>
                    <a:spLocks/>
                  </p:cNvSpPr>
                  <p:nvPr/>
                </p:nvSpPr>
                <p:spPr bwMode="auto">
                  <a:xfrm>
                    <a:off x="4639" y="2001"/>
                    <a:ext cx="67" cy="63"/>
                  </a:xfrm>
                  <a:custGeom>
                    <a:avLst/>
                    <a:gdLst>
                      <a:gd name="T0" fmla="*/ 4 w 47"/>
                      <a:gd name="T1" fmla="*/ 24 h 44"/>
                      <a:gd name="T2" fmla="*/ 3 w 47"/>
                      <a:gd name="T3" fmla="*/ 14 h 44"/>
                      <a:gd name="T4" fmla="*/ 13 w 47"/>
                      <a:gd name="T5" fmla="*/ 3 h 44"/>
                      <a:gd name="T6" fmla="*/ 22 w 47"/>
                      <a:gd name="T7" fmla="*/ 3 h 44"/>
                      <a:gd name="T8" fmla="*/ 44 w 47"/>
                      <a:gd name="T9" fmla="*/ 28 h 44"/>
                      <a:gd name="T10" fmla="*/ 44 w 47"/>
                      <a:gd name="T11" fmla="*/ 40 h 44"/>
                      <a:gd name="T12" fmla="*/ 43 w 47"/>
                      <a:gd name="T13" fmla="*/ 41 h 44"/>
                      <a:gd name="T14" fmla="*/ 32 w 47"/>
                      <a:gd name="T15" fmla="*/ 42 h 44"/>
                      <a:gd name="T16" fmla="*/ 4 w 47"/>
                      <a:gd name="T17"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4">
                        <a:moveTo>
                          <a:pt x="4" y="24"/>
                        </a:moveTo>
                        <a:cubicBezTo>
                          <a:pt x="1" y="22"/>
                          <a:pt x="0" y="17"/>
                          <a:pt x="3" y="14"/>
                        </a:cubicBezTo>
                        <a:cubicBezTo>
                          <a:pt x="13" y="3"/>
                          <a:pt x="13" y="3"/>
                          <a:pt x="13" y="3"/>
                        </a:cubicBezTo>
                        <a:cubicBezTo>
                          <a:pt x="15" y="0"/>
                          <a:pt x="20" y="0"/>
                          <a:pt x="22" y="3"/>
                        </a:cubicBezTo>
                        <a:cubicBezTo>
                          <a:pt x="44" y="28"/>
                          <a:pt x="44" y="28"/>
                          <a:pt x="44" y="28"/>
                        </a:cubicBezTo>
                        <a:cubicBezTo>
                          <a:pt x="47" y="32"/>
                          <a:pt x="47" y="37"/>
                          <a:pt x="44" y="40"/>
                        </a:cubicBezTo>
                        <a:cubicBezTo>
                          <a:pt x="43" y="41"/>
                          <a:pt x="43" y="41"/>
                          <a:pt x="43" y="41"/>
                        </a:cubicBezTo>
                        <a:cubicBezTo>
                          <a:pt x="40" y="44"/>
                          <a:pt x="35" y="44"/>
                          <a:pt x="32" y="42"/>
                        </a:cubicBezTo>
                        <a:lnTo>
                          <a:pt x="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1" name="Freeform 43">
                    <a:extLst>
                      <a:ext uri="{FF2B5EF4-FFF2-40B4-BE49-F238E27FC236}">
                        <a16:creationId xmlns:a16="http://schemas.microsoft.com/office/drawing/2014/main" id="{5C82A110-ED03-45D1-A28C-9BED9CF280CD}"/>
                      </a:ext>
                    </a:extLst>
                  </p:cNvPr>
                  <p:cNvSpPr>
                    <a:spLocks/>
                  </p:cNvSpPr>
                  <p:nvPr/>
                </p:nvSpPr>
                <p:spPr bwMode="auto">
                  <a:xfrm>
                    <a:off x="4494" y="2009"/>
                    <a:ext cx="63" cy="68"/>
                  </a:xfrm>
                  <a:custGeom>
                    <a:avLst/>
                    <a:gdLst>
                      <a:gd name="T0" fmla="*/ 20 w 44"/>
                      <a:gd name="T1" fmla="*/ 4 h 47"/>
                      <a:gd name="T2" fmla="*/ 30 w 44"/>
                      <a:gd name="T3" fmla="*/ 3 h 47"/>
                      <a:gd name="T4" fmla="*/ 41 w 44"/>
                      <a:gd name="T5" fmla="*/ 12 h 47"/>
                      <a:gd name="T6" fmla="*/ 41 w 44"/>
                      <a:gd name="T7" fmla="*/ 22 h 47"/>
                      <a:gd name="T8" fmla="*/ 16 w 44"/>
                      <a:gd name="T9" fmla="*/ 44 h 47"/>
                      <a:gd name="T10" fmla="*/ 5 w 44"/>
                      <a:gd name="T11" fmla="*/ 44 h 47"/>
                      <a:gd name="T12" fmla="*/ 4 w 44"/>
                      <a:gd name="T13" fmla="*/ 43 h 47"/>
                      <a:gd name="T14" fmla="*/ 2 w 44"/>
                      <a:gd name="T15" fmla="*/ 32 h 47"/>
                      <a:gd name="T16" fmla="*/ 20 w 44"/>
                      <a:gd name="T17"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7">
                        <a:moveTo>
                          <a:pt x="20" y="4"/>
                        </a:moveTo>
                        <a:cubicBezTo>
                          <a:pt x="23" y="1"/>
                          <a:pt x="27" y="0"/>
                          <a:pt x="30" y="3"/>
                        </a:cubicBezTo>
                        <a:cubicBezTo>
                          <a:pt x="41" y="12"/>
                          <a:pt x="41" y="12"/>
                          <a:pt x="41" y="12"/>
                        </a:cubicBezTo>
                        <a:cubicBezTo>
                          <a:pt x="44" y="15"/>
                          <a:pt x="44" y="19"/>
                          <a:pt x="41" y="22"/>
                        </a:cubicBezTo>
                        <a:cubicBezTo>
                          <a:pt x="16" y="44"/>
                          <a:pt x="16" y="44"/>
                          <a:pt x="16" y="44"/>
                        </a:cubicBezTo>
                        <a:cubicBezTo>
                          <a:pt x="13" y="47"/>
                          <a:pt x="8" y="46"/>
                          <a:pt x="5" y="44"/>
                        </a:cubicBezTo>
                        <a:cubicBezTo>
                          <a:pt x="4" y="43"/>
                          <a:pt x="4" y="43"/>
                          <a:pt x="4" y="43"/>
                        </a:cubicBezTo>
                        <a:cubicBezTo>
                          <a:pt x="1" y="40"/>
                          <a:pt x="0" y="35"/>
                          <a:pt x="2" y="32"/>
                        </a:cubicBezTo>
                        <a:lnTo>
                          <a:pt x="2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2" name="Freeform 44">
                    <a:extLst>
                      <a:ext uri="{FF2B5EF4-FFF2-40B4-BE49-F238E27FC236}">
                        <a16:creationId xmlns:a16="http://schemas.microsoft.com/office/drawing/2014/main" id="{7F52157E-3E7F-4B1C-849A-24A581566C14}"/>
                      </a:ext>
                    </a:extLst>
                  </p:cNvPr>
                  <p:cNvSpPr>
                    <a:spLocks/>
                  </p:cNvSpPr>
                  <p:nvPr/>
                </p:nvSpPr>
                <p:spPr bwMode="auto">
                  <a:xfrm>
                    <a:off x="4630" y="1853"/>
                    <a:ext cx="64" cy="66"/>
                  </a:xfrm>
                  <a:custGeom>
                    <a:avLst/>
                    <a:gdLst>
                      <a:gd name="T0" fmla="*/ 24 w 45"/>
                      <a:gd name="T1" fmla="*/ 42 h 46"/>
                      <a:gd name="T2" fmla="*/ 14 w 45"/>
                      <a:gd name="T3" fmla="*/ 43 h 46"/>
                      <a:gd name="T4" fmla="*/ 3 w 45"/>
                      <a:gd name="T5" fmla="*/ 34 h 46"/>
                      <a:gd name="T6" fmla="*/ 3 w 45"/>
                      <a:gd name="T7" fmla="*/ 24 h 46"/>
                      <a:gd name="T8" fmla="*/ 29 w 45"/>
                      <a:gd name="T9" fmla="*/ 2 h 46"/>
                      <a:gd name="T10" fmla="*/ 40 w 45"/>
                      <a:gd name="T11" fmla="*/ 2 h 46"/>
                      <a:gd name="T12" fmla="*/ 41 w 45"/>
                      <a:gd name="T13" fmla="*/ 3 h 46"/>
                      <a:gd name="T14" fmla="*/ 42 w 45"/>
                      <a:gd name="T15" fmla="*/ 14 h 46"/>
                      <a:gd name="T16" fmla="*/ 24 w 45"/>
                      <a:gd name="T17"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6">
                        <a:moveTo>
                          <a:pt x="24" y="42"/>
                        </a:moveTo>
                        <a:cubicBezTo>
                          <a:pt x="22" y="46"/>
                          <a:pt x="17" y="46"/>
                          <a:pt x="14" y="43"/>
                        </a:cubicBezTo>
                        <a:cubicBezTo>
                          <a:pt x="3" y="34"/>
                          <a:pt x="3" y="34"/>
                          <a:pt x="3" y="34"/>
                        </a:cubicBezTo>
                        <a:cubicBezTo>
                          <a:pt x="0" y="31"/>
                          <a:pt x="0" y="27"/>
                          <a:pt x="3" y="24"/>
                        </a:cubicBezTo>
                        <a:cubicBezTo>
                          <a:pt x="29" y="2"/>
                          <a:pt x="29" y="2"/>
                          <a:pt x="29" y="2"/>
                        </a:cubicBezTo>
                        <a:cubicBezTo>
                          <a:pt x="32" y="0"/>
                          <a:pt x="37" y="0"/>
                          <a:pt x="40" y="2"/>
                        </a:cubicBezTo>
                        <a:cubicBezTo>
                          <a:pt x="41" y="3"/>
                          <a:pt x="41" y="3"/>
                          <a:pt x="41" y="3"/>
                        </a:cubicBezTo>
                        <a:cubicBezTo>
                          <a:pt x="44" y="6"/>
                          <a:pt x="45" y="11"/>
                          <a:pt x="42" y="14"/>
                        </a:cubicBezTo>
                        <a:lnTo>
                          <a:pt x="2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3" name="Freeform 45">
                    <a:extLst>
                      <a:ext uri="{FF2B5EF4-FFF2-40B4-BE49-F238E27FC236}">
                        <a16:creationId xmlns:a16="http://schemas.microsoft.com/office/drawing/2014/main" id="{F11824A7-4709-4172-B1A6-90F69AC2CD18}"/>
                      </a:ext>
                    </a:extLst>
                  </p:cNvPr>
                  <p:cNvSpPr>
                    <a:spLocks/>
                  </p:cNvSpPr>
                  <p:nvPr/>
                </p:nvSpPr>
                <p:spPr bwMode="auto">
                  <a:xfrm>
                    <a:off x="4521" y="1834"/>
                    <a:ext cx="56" cy="71"/>
                  </a:xfrm>
                  <a:custGeom>
                    <a:avLst/>
                    <a:gdLst>
                      <a:gd name="T0" fmla="*/ 36 w 39"/>
                      <a:gd name="T1" fmla="*/ 32 h 49"/>
                      <a:gd name="T2" fmla="*/ 34 w 39"/>
                      <a:gd name="T3" fmla="*/ 41 h 49"/>
                      <a:gd name="T4" fmla="*/ 21 w 39"/>
                      <a:gd name="T5" fmla="*/ 48 h 49"/>
                      <a:gd name="T6" fmla="*/ 12 w 39"/>
                      <a:gd name="T7" fmla="*/ 44 h 49"/>
                      <a:gd name="T8" fmla="*/ 1 w 39"/>
                      <a:gd name="T9" fmla="*/ 12 h 49"/>
                      <a:gd name="T10" fmla="*/ 5 w 39"/>
                      <a:gd name="T11" fmla="*/ 2 h 49"/>
                      <a:gd name="T12" fmla="*/ 7 w 39"/>
                      <a:gd name="T13" fmla="*/ 1 h 49"/>
                      <a:gd name="T14" fmla="*/ 17 w 39"/>
                      <a:gd name="T15" fmla="*/ 4 h 49"/>
                      <a:gd name="T16" fmla="*/ 36 w 39"/>
                      <a:gd name="T17"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49">
                        <a:moveTo>
                          <a:pt x="36" y="32"/>
                        </a:moveTo>
                        <a:cubicBezTo>
                          <a:pt x="39" y="35"/>
                          <a:pt x="38" y="39"/>
                          <a:pt x="34" y="41"/>
                        </a:cubicBezTo>
                        <a:cubicBezTo>
                          <a:pt x="21" y="48"/>
                          <a:pt x="21" y="48"/>
                          <a:pt x="21" y="48"/>
                        </a:cubicBezTo>
                        <a:cubicBezTo>
                          <a:pt x="17" y="49"/>
                          <a:pt x="13" y="48"/>
                          <a:pt x="12" y="44"/>
                        </a:cubicBezTo>
                        <a:cubicBezTo>
                          <a:pt x="1" y="12"/>
                          <a:pt x="1" y="12"/>
                          <a:pt x="1" y="12"/>
                        </a:cubicBezTo>
                        <a:cubicBezTo>
                          <a:pt x="0" y="8"/>
                          <a:pt x="2" y="4"/>
                          <a:pt x="5" y="2"/>
                        </a:cubicBezTo>
                        <a:cubicBezTo>
                          <a:pt x="7" y="1"/>
                          <a:pt x="7" y="1"/>
                          <a:pt x="7" y="1"/>
                        </a:cubicBezTo>
                        <a:cubicBezTo>
                          <a:pt x="10" y="0"/>
                          <a:pt x="15" y="1"/>
                          <a:pt x="17" y="4"/>
                        </a:cubicBezTo>
                        <a:lnTo>
                          <a:pt x="36"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4" name="Freeform 46">
                    <a:extLst>
                      <a:ext uri="{FF2B5EF4-FFF2-40B4-BE49-F238E27FC236}">
                        <a16:creationId xmlns:a16="http://schemas.microsoft.com/office/drawing/2014/main" id="{C9DF08CE-69E8-40DB-8640-BAF6F4B53486}"/>
                      </a:ext>
                    </a:extLst>
                  </p:cNvPr>
                  <p:cNvSpPr>
                    <a:spLocks/>
                  </p:cNvSpPr>
                  <p:nvPr/>
                </p:nvSpPr>
                <p:spPr bwMode="auto">
                  <a:xfrm>
                    <a:off x="4611" y="2023"/>
                    <a:ext cx="56" cy="72"/>
                  </a:xfrm>
                  <a:custGeom>
                    <a:avLst/>
                    <a:gdLst>
                      <a:gd name="T0" fmla="*/ 2 w 39"/>
                      <a:gd name="T1" fmla="*/ 17 h 50"/>
                      <a:gd name="T2" fmla="*/ 4 w 39"/>
                      <a:gd name="T3" fmla="*/ 8 h 50"/>
                      <a:gd name="T4" fmla="*/ 18 w 39"/>
                      <a:gd name="T5" fmla="*/ 1 h 50"/>
                      <a:gd name="T6" fmla="*/ 27 w 39"/>
                      <a:gd name="T7" fmla="*/ 5 h 50"/>
                      <a:gd name="T8" fmla="*/ 37 w 39"/>
                      <a:gd name="T9" fmla="*/ 37 h 50"/>
                      <a:gd name="T10" fmla="*/ 33 w 39"/>
                      <a:gd name="T11" fmla="*/ 47 h 50"/>
                      <a:gd name="T12" fmla="*/ 32 w 39"/>
                      <a:gd name="T13" fmla="*/ 48 h 50"/>
                      <a:gd name="T14" fmla="*/ 21 w 39"/>
                      <a:gd name="T15" fmla="*/ 45 h 50"/>
                      <a:gd name="T16" fmla="*/ 2 w 39"/>
                      <a:gd name="T17"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50">
                        <a:moveTo>
                          <a:pt x="2" y="17"/>
                        </a:moveTo>
                        <a:cubicBezTo>
                          <a:pt x="0" y="14"/>
                          <a:pt x="1" y="10"/>
                          <a:pt x="4" y="8"/>
                        </a:cubicBezTo>
                        <a:cubicBezTo>
                          <a:pt x="18" y="1"/>
                          <a:pt x="18" y="1"/>
                          <a:pt x="18" y="1"/>
                        </a:cubicBezTo>
                        <a:cubicBezTo>
                          <a:pt x="21" y="0"/>
                          <a:pt x="25" y="1"/>
                          <a:pt x="27" y="5"/>
                        </a:cubicBezTo>
                        <a:cubicBezTo>
                          <a:pt x="37" y="37"/>
                          <a:pt x="37" y="37"/>
                          <a:pt x="37" y="37"/>
                        </a:cubicBezTo>
                        <a:cubicBezTo>
                          <a:pt x="39" y="41"/>
                          <a:pt x="37" y="45"/>
                          <a:pt x="33" y="47"/>
                        </a:cubicBezTo>
                        <a:cubicBezTo>
                          <a:pt x="32" y="48"/>
                          <a:pt x="32" y="48"/>
                          <a:pt x="32" y="48"/>
                        </a:cubicBezTo>
                        <a:cubicBezTo>
                          <a:pt x="28" y="50"/>
                          <a:pt x="23" y="48"/>
                          <a:pt x="21" y="45"/>
                        </a:cubicBezTo>
                        <a:lnTo>
                          <a:pt x="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5" name="Freeform 47">
                    <a:extLst>
                      <a:ext uri="{FF2B5EF4-FFF2-40B4-BE49-F238E27FC236}">
                        <a16:creationId xmlns:a16="http://schemas.microsoft.com/office/drawing/2014/main" id="{B0F0E9E5-5D06-4ED0-BCDA-0754FCF0A6AE}"/>
                      </a:ext>
                    </a:extLst>
                  </p:cNvPr>
                  <p:cNvSpPr>
                    <a:spLocks/>
                  </p:cNvSpPr>
                  <p:nvPr/>
                </p:nvSpPr>
                <p:spPr bwMode="auto">
                  <a:xfrm>
                    <a:off x="4464" y="1982"/>
                    <a:ext cx="71" cy="54"/>
                  </a:xfrm>
                  <a:custGeom>
                    <a:avLst/>
                    <a:gdLst>
                      <a:gd name="T0" fmla="*/ 32 w 50"/>
                      <a:gd name="T1" fmla="*/ 2 h 38"/>
                      <a:gd name="T2" fmla="*/ 41 w 50"/>
                      <a:gd name="T3" fmla="*/ 4 h 38"/>
                      <a:gd name="T4" fmla="*/ 48 w 50"/>
                      <a:gd name="T5" fmla="*/ 17 h 38"/>
                      <a:gd name="T6" fmla="*/ 44 w 50"/>
                      <a:gd name="T7" fmla="*/ 26 h 38"/>
                      <a:gd name="T8" fmla="*/ 12 w 50"/>
                      <a:gd name="T9" fmla="*/ 37 h 38"/>
                      <a:gd name="T10" fmla="*/ 2 w 50"/>
                      <a:gd name="T11" fmla="*/ 33 h 38"/>
                      <a:gd name="T12" fmla="*/ 2 w 50"/>
                      <a:gd name="T13" fmla="*/ 32 h 38"/>
                      <a:gd name="T14" fmla="*/ 4 w 50"/>
                      <a:gd name="T15" fmla="*/ 21 h 38"/>
                      <a:gd name="T16" fmla="*/ 32 w 50"/>
                      <a:gd name="T17"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8">
                        <a:moveTo>
                          <a:pt x="32" y="2"/>
                        </a:moveTo>
                        <a:cubicBezTo>
                          <a:pt x="35" y="0"/>
                          <a:pt x="39" y="1"/>
                          <a:pt x="41" y="4"/>
                        </a:cubicBezTo>
                        <a:cubicBezTo>
                          <a:pt x="48" y="17"/>
                          <a:pt x="48" y="17"/>
                          <a:pt x="48" y="17"/>
                        </a:cubicBezTo>
                        <a:cubicBezTo>
                          <a:pt x="50" y="21"/>
                          <a:pt x="48" y="25"/>
                          <a:pt x="44" y="26"/>
                        </a:cubicBezTo>
                        <a:cubicBezTo>
                          <a:pt x="12" y="37"/>
                          <a:pt x="12" y="37"/>
                          <a:pt x="12" y="37"/>
                        </a:cubicBezTo>
                        <a:cubicBezTo>
                          <a:pt x="9" y="38"/>
                          <a:pt x="4" y="37"/>
                          <a:pt x="2" y="33"/>
                        </a:cubicBezTo>
                        <a:cubicBezTo>
                          <a:pt x="2" y="32"/>
                          <a:pt x="2" y="32"/>
                          <a:pt x="2" y="32"/>
                        </a:cubicBezTo>
                        <a:cubicBezTo>
                          <a:pt x="0" y="28"/>
                          <a:pt x="1" y="23"/>
                          <a:pt x="4" y="21"/>
                        </a:cubicBezTo>
                        <a:lnTo>
                          <a:pt x="3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6" name="Freeform 48">
                    <a:extLst>
                      <a:ext uri="{FF2B5EF4-FFF2-40B4-BE49-F238E27FC236}">
                        <a16:creationId xmlns:a16="http://schemas.microsoft.com/office/drawing/2014/main" id="{278B8112-14E2-4B56-B1E9-46E096260B8D}"/>
                      </a:ext>
                    </a:extLst>
                  </p:cNvPr>
                  <p:cNvSpPr>
                    <a:spLocks/>
                  </p:cNvSpPr>
                  <p:nvPr/>
                </p:nvSpPr>
                <p:spPr bwMode="auto">
                  <a:xfrm>
                    <a:off x="4653" y="1892"/>
                    <a:ext cx="72" cy="56"/>
                  </a:xfrm>
                  <a:custGeom>
                    <a:avLst/>
                    <a:gdLst>
                      <a:gd name="T0" fmla="*/ 18 w 50"/>
                      <a:gd name="T1" fmla="*/ 36 h 39"/>
                      <a:gd name="T2" fmla="*/ 8 w 50"/>
                      <a:gd name="T3" fmla="*/ 34 h 39"/>
                      <a:gd name="T4" fmla="*/ 2 w 50"/>
                      <a:gd name="T5" fmla="*/ 21 h 39"/>
                      <a:gd name="T6" fmla="*/ 5 w 50"/>
                      <a:gd name="T7" fmla="*/ 12 h 39"/>
                      <a:gd name="T8" fmla="*/ 37 w 50"/>
                      <a:gd name="T9" fmla="*/ 1 h 39"/>
                      <a:gd name="T10" fmla="*/ 47 w 50"/>
                      <a:gd name="T11" fmla="*/ 5 h 39"/>
                      <a:gd name="T12" fmla="*/ 48 w 50"/>
                      <a:gd name="T13" fmla="*/ 6 h 39"/>
                      <a:gd name="T14" fmla="*/ 45 w 50"/>
                      <a:gd name="T15" fmla="*/ 17 h 39"/>
                      <a:gd name="T16" fmla="*/ 18 w 50"/>
                      <a:gd name="T17" fmla="*/ 3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9">
                        <a:moveTo>
                          <a:pt x="18" y="36"/>
                        </a:moveTo>
                        <a:cubicBezTo>
                          <a:pt x="14" y="39"/>
                          <a:pt x="10" y="38"/>
                          <a:pt x="8" y="34"/>
                        </a:cubicBezTo>
                        <a:cubicBezTo>
                          <a:pt x="2" y="21"/>
                          <a:pt x="2" y="21"/>
                          <a:pt x="2" y="21"/>
                        </a:cubicBezTo>
                        <a:cubicBezTo>
                          <a:pt x="0" y="17"/>
                          <a:pt x="1" y="13"/>
                          <a:pt x="5" y="12"/>
                        </a:cubicBezTo>
                        <a:cubicBezTo>
                          <a:pt x="37" y="1"/>
                          <a:pt x="37" y="1"/>
                          <a:pt x="37" y="1"/>
                        </a:cubicBezTo>
                        <a:cubicBezTo>
                          <a:pt x="41" y="0"/>
                          <a:pt x="45" y="2"/>
                          <a:pt x="47" y="5"/>
                        </a:cubicBezTo>
                        <a:cubicBezTo>
                          <a:pt x="48" y="6"/>
                          <a:pt x="48" y="6"/>
                          <a:pt x="48" y="6"/>
                        </a:cubicBezTo>
                        <a:cubicBezTo>
                          <a:pt x="50" y="10"/>
                          <a:pt x="48" y="15"/>
                          <a:pt x="45" y="17"/>
                        </a:cubicBezTo>
                        <a:lnTo>
                          <a:pt x="1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7" name="Freeform 49">
                    <a:extLst>
                      <a:ext uri="{FF2B5EF4-FFF2-40B4-BE49-F238E27FC236}">
                        <a16:creationId xmlns:a16="http://schemas.microsoft.com/office/drawing/2014/main" id="{EEAA3AB6-E216-4DD4-809E-5153BF3CD77B}"/>
                      </a:ext>
                    </a:extLst>
                  </p:cNvPr>
                  <p:cNvSpPr>
                    <a:spLocks/>
                  </p:cNvSpPr>
                  <p:nvPr/>
                </p:nvSpPr>
                <p:spPr bwMode="auto">
                  <a:xfrm>
                    <a:off x="4456" y="1909"/>
                    <a:ext cx="72" cy="50"/>
                  </a:xfrm>
                  <a:custGeom>
                    <a:avLst/>
                    <a:gdLst>
                      <a:gd name="T0" fmla="*/ 44 w 50"/>
                      <a:gd name="T1" fmla="*/ 7 h 35"/>
                      <a:gd name="T2" fmla="*/ 49 w 50"/>
                      <a:gd name="T3" fmla="*/ 15 h 35"/>
                      <a:gd name="T4" fmla="*/ 44 w 50"/>
                      <a:gd name="T5" fmla="*/ 29 h 35"/>
                      <a:gd name="T6" fmla="*/ 35 w 50"/>
                      <a:gd name="T7" fmla="*/ 33 h 35"/>
                      <a:gd name="T8" fmla="*/ 5 w 50"/>
                      <a:gd name="T9" fmla="*/ 18 h 35"/>
                      <a:gd name="T10" fmla="*/ 1 w 50"/>
                      <a:gd name="T11" fmla="*/ 8 h 35"/>
                      <a:gd name="T12" fmla="*/ 1 w 50"/>
                      <a:gd name="T13" fmla="*/ 7 h 35"/>
                      <a:gd name="T14" fmla="*/ 11 w 50"/>
                      <a:gd name="T15" fmla="*/ 1 h 35"/>
                      <a:gd name="T16" fmla="*/ 44 w 50"/>
                      <a:gd name="T17"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5">
                        <a:moveTo>
                          <a:pt x="44" y="7"/>
                        </a:moveTo>
                        <a:cubicBezTo>
                          <a:pt x="48" y="8"/>
                          <a:pt x="50" y="11"/>
                          <a:pt x="49" y="15"/>
                        </a:cubicBezTo>
                        <a:cubicBezTo>
                          <a:pt x="44" y="29"/>
                          <a:pt x="44" y="29"/>
                          <a:pt x="44" y="29"/>
                        </a:cubicBezTo>
                        <a:cubicBezTo>
                          <a:pt x="43" y="33"/>
                          <a:pt x="39" y="35"/>
                          <a:pt x="35" y="33"/>
                        </a:cubicBezTo>
                        <a:cubicBezTo>
                          <a:pt x="5" y="18"/>
                          <a:pt x="5" y="18"/>
                          <a:pt x="5" y="18"/>
                        </a:cubicBezTo>
                        <a:cubicBezTo>
                          <a:pt x="2" y="16"/>
                          <a:pt x="0" y="12"/>
                          <a:pt x="1" y="8"/>
                        </a:cubicBezTo>
                        <a:cubicBezTo>
                          <a:pt x="1" y="7"/>
                          <a:pt x="1" y="7"/>
                          <a:pt x="1" y="7"/>
                        </a:cubicBezTo>
                        <a:cubicBezTo>
                          <a:pt x="3" y="3"/>
                          <a:pt x="7" y="0"/>
                          <a:pt x="11" y="1"/>
                        </a:cubicBezTo>
                        <a:lnTo>
                          <a:pt x="4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8" name="Freeform 50">
                    <a:extLst>
                      <a:ext uri="{FF2B5EF4-FFF2-40B4-BE49-F238E27FC236}">
                        <a16:creationId xmlns:a16="http://schemas.microsoft.com/office/drawing/2014/main" id="{4F4D6CA4-5076-4CC7-B4D0-61502AB56A7D}"/>
                      </a:ext>
                    </a:extLst>
                  </p:cNvPr>
                  <p:cNvSpPr>
                    <a:spLocks/>
                  </p:cNvSpPr>
                  <p:nvPr/>
                </p:nvSpPr>
                <p:spPr bwMode="auto">
                  <a:xfrm>
                    <a:off x="4659" y="1969"/>
                    <a:ext cx="73" cy="50"/>
                  </a:xfrm>
                  <a:custGeom>
                    <a:avLst/>
                    <a:gdLst>
                      <a:gd name="T0" fmla="*/ 6 w 51"/>
                      <a:gd name="T1" fmla="*/ 28 h 35"/>
                      <a:gd name="T2" fmla="*/ 2 w 51"/>
                      <a:gd name="T3" fmla="*/ 20 h 35"/>
                      <a:gd name="T4" fmla="*/ 6 w 51"/>
                      <a:gd name="T5" fmla="*/ 6 h 35"/>
                      <a:gd name="T6" fmla="*/ 15 w 51"/>
                      <a:gd name="T7" fmla="*/ 2 h 35"/>
                      <a:gd name="T8" fmla="*/ 45 w 51"/>
                      <a:gd name="T9" fmla="*/ 17 h 35"/>
                      <a:gd name="T10" fmla="*/ 49 w 51"/>
                      <a:gd name="T11" fmla="*/ 27 h 35"/>
                      <a:gd name="T12" fmla="*/ 49 w 51"/>
                      <a:gd name="T13" fmla="*/ 28 h 35"/>
                      <a:gd name="T14" fmla="*/ 39 w 51"/>
                      <a:gd name="T15" fmla="*/ 34 h 35"/>
                      <a:gd name="T16" fmla="*/ 6 w 51"/>
                      <a:gd name="T17"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35">
                        <a:moveTo>
                          <a:pt x="6" y="28"/>
                        </a:moveTo>
                        <a:cubicBezTo>
                          <a:pt x="2" y="27"/>
                          <a:pt x="0" y="24"/>
                          <a:pt x="2" y="20"/>
                        </a:cubicBezTo>
                        <a:cubicBezTo>
                          <a:pt x="6" y="6"/>
                          <a:pt x="6" y="6"/>
                          <a:pt x="6" y="6"/>
                        </a:cubicBezTo>
                        <a:cubicBezTo>
                          <a:pt x="7" y="2"/>
                          <a:pt x="11" y="0"/>
                          <a:pt x="15" y="2"/>
                        </a:cubicBezTo>
                        <a:cubicBezTo>
                          <a:pt x="45" y="17"/>
                          <a:pt x="45" y="17"/>
                          <a:pt x="45" y="17"/>
                        </a:cubicBezTo>
                        <a:cubicBezTo>
                          <a:pt x="49" y="19"/>
                          <a:pt x="51" y="23"/>
                          <a:pt x="49" y="27"/>
                        </a:cubicBezTo>
                        <a:cubicBezTo>
                          <a:pt x="49" y="28"/>
                          <a:pt x="49" y="28"/>
                          <a:pt x="49" y="28"/>
                        </a:cubicBezTo>
                        <a:cubicBezTo>
                          <a:pt x="48" y="32"/>
                          <a:pt x="43" y="35"/>
                          <a:pt x="39" y="34"/>
                        </a:cubicBezTo>
                        <a:lnTo>
                          <a:pt x="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9" name="Freeform 51">
                    <a:extLst>
                      <a:ext uri="{FF2B5EF4-FFF2-40B4-BE49-F238E27FC236}">
                        <a16:creationId xmlns:a16="http://schemas.microsoft.com/office/drawing/2014/main" id="{0988F633-EF5E-4A90-AF6C-3651103A9794}"/>
                      </a:ext>
                    </a:extLst>
                  </p:cNvPr>
                  <p:cNvSpPr>
                    <a:spLocks/>
                  </p:cNvSpPr>
                  <p:nvPr/>
                </p:nvSpPr>
                <p:spPr bwMode="auto">
                  <a:xfrm>
                    <a:off x="4538" y="2029"/>
                    <a:ext cx="50" cy="73"/>
                  </a:xfrm>
                  <a:custGeom>
                    <a:avLst/>
                    <a:gdLst>
                      <a:gd name="T0" fmla="*/ 7 w 35"/>
                      <a:gd name="T1" fmla="*/ 6 h 51"/>
                      <a:gd name="T2" fmla="*/ 15 w 35"/>
                      <a:gd name="T3" fmla="*/ 1 h 51"/>
                      <a:gd name="T4" fmla="*/ 29 w 35"/>
                      <a:gd name="T5" fmla="*/ 6 h 51"/>
                      <a:gd name="T6" fmla="*/ 33 w 35"/>
                      <a:gd name="T7" fmla="*/ 15 h 51"/>
                      <a:gd name="T8" fmla="*/ 18 w 35"/>
                      <a:gd name="T9" fmla="*/ 45 h 51"/>
                      <a:gd name="T10" fmla="*/ 8 w 35"/>
                      <a:gd name="T11" fmla="*/ 49 h 51"/>
                      <a:gd name="T12" fmla="*/ 7 w 35"/>
                      <a:gd name="T13" fmla="*/ 49 h 51"/>
                      <a:gd name="T14" fmla="*/ 1 w 35"/>
                      <a:gd name="T15" fmla="*/ 39 h 51"/>
                      <a:gd name="T16" fmla="*/ 7 w 35"/>
                      <a:gd name="T17" fmla="*/ 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51">
                        <a:moveTo>
                          <a:pt x="7" y="6"/>
                        </a:moveTo>
                        <a:cubicBezTo>
                          <a:pt x="8" y="2"/>
                          <a:pt x="12" y="0"/>
                          <a:pt x="15" y="1"/>
                        </a:cubicBezTo>
                        <a:cubicBezTo>
                          <a:pt x="29" y="6"/>
                          <a:pt x="29" y="6"/>
                          <a:pt x="29" y="6"/>
                        </a:cubicBezTo>
                        <a:cubicBezTo>
                          <a:pt x="33" y="7"/>
                          <a:pt x="35" y="11"/>
                          <a:pt x="33" y="15"/>
                        </a:cubicBezTo>
                        <a:cubicBezTo>
                          <a:pt x="18" y="45"/>
                          <a:pt x="18" y="45"/>
                          <a:pt x="18" y="45"/>
                        </a:cubicBezTo>
                        <a:cubicBezTo>
                          <a:pt x="17" y="49"/>
                          <a:pt x="12" y="51"/>
                          <a:pt x="8" y="49"/>
                        </a:cubicBezTo>
                        <a:cubicBezTo>
                          <a:pt x="7" y="49"/>
                          <a:pt x="7" y="49"/>
                          <a:pt x="7" y="49"/>
                        </a:cubicBezTo>
                        <a:cubicBezTo>
                          <a:pt x="3" y="48"/>
                          <a:pt x="0" y="43"/>
                          <a:pt x="1" y="39"/>
                        </a:cubicBezTo>
                        <a:lnTo>
                          <a:pt x="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0" name="Freeform 52">
                    <a:extLst>
                      <a:ext uri="{FF2B5EF4-FFF2-40B4-BE49-F238E27FC236}">
                        <a16:creationId xmlns:a16="http://schemas.microsoft.com/office/drawing/2014/main" id="{EF37FD48-E528-4C8D-A0CC-A1D464BFDA08}"/>
                      </a:ext>
                    </a:extLst>
                  </p:cNvPr>
                  <p:cNvSpPr>
                    <a:spLocks/>
                  </p:cNvSpPr>
                  <p:nvPr/>
                </p:nvSpPr>
                <p:spPr bwMode="auto">
                  <a:xfrm>
                    <a:off x="4598" y="1827"/>
                    <a:ext cx="51" cy="72"/>
                  </a:xfrm>
                  <a:custGeom>
                    <a:avLst/>
                    <a:gdLst>
                      <a:gd name="T0" fmla="*/ 28 w 35"/>
                      <a:gd name="T1" fmla="*/ 44 h 50"/>
                      <a:gd name="T2" fmla="*/ 20 w 35"/>
                      <a:gd name="T3" fmla="*/ 49 h 50"/>
                      <a:gd name="T4" fmla="*/ 6 w 35"/>
                      <a:gd name="T5" fmla="*/ 44 h 50"/>
                      <a:gd name="T6" fmla="*/ 2 w 35"/>
                      <a:gd name="T7" fmla="*/ 35 h 50"/>
                      <a:gd name="T8" fmla="*/ 17 w 35"/>
                      <a:gd name="T9" fmla="*/ 5 h 50"/>
                      <a:gd name="T10" fmla="*/ 27 w 35"/>
                      <a:gd name="T11" fmla="*/ 1 h 50"/>
                      <a:gd name="T12" fmla="*/ 29 w 35"/>
                      <a:gd name="T13" fmla="*/ 1 h 50"/>
                      <a:gd name="T14" fmla="*/ 34 w 35"/>
                      <a:gd name="T15" fmla="*/ 11 h 50"/>
                      <a:gd name="T16" fmla="*/ 28 w 35"/>
                      <a:gd name="T17"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50">
                        <a:moveTo>
                          <a:pt x="28" y="44"/>
                        </a:moveTo>
                        <a:cubicBezTo>
                          <a:pt x="28" y="48"/>
                          <a:pt x="24" y="50"/>
                          <a:pt x="20" y="49"/>
                        </a:cubicBezTo>
                        <a:cubicBezTo>
                          <a:pt x="6" y="44"/>
                          <a:pt x="6" y="44"/>
                          <a:pt x="6" y="44"/>
                        </a:cubicBezTo>
                        <a:cubicBezTo>
                          <a:pt x="2" y="43"/>
                          <a:pt x="0" y="39"/>
                          <a:pt x="2" y="35"/>
                        </a:cubicBezTo>
                        <a:cubicBezTo>
                          <a:pt x="17" y="5"/>
                          <a:pt x="17" y="5"/>
                          <a:pt x="17" y="5"/>
                        </a:cubicBezTo>
                        <a:cubicBezTo>
                          <a:pt x="19" y="2"/>
                          <a:pt x="23" y="0"/>
                          <a:pt x="27" y="1"/>
                        </a:cubicBezTo>
                        <a:cubicBezTo>
                          <a:pt x="29" y="1"/>
                          <a:pt x="29" y="1"/>
                          <a:pt x="29" y="1"/>
                        </a:cubicBezTo>
                        <a:cubicBezTo>
                          <a:pt x="32" y="3"/>
                          <a:pt x="35" y="7"/>
                          <a:pt x="34" y="11"/>
                        </a:cubicBezTo>
                        <a:lnTo>
                          <a:pt x="2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1" name="Freeform 53">
                    <a:extLst>
                      <a:ext uri="{FF2B5EF4-FFF2-40B4-BE49-F238E27FC236}">
                        <a16:creationId xmlns:a16="http://schemas.microsoft.com/office/drawing/2014/main" id="{50AD2B3A-3E28-4592-9B58-385310E79EDA}"/>
                      </a:ext>
                    </a:extLst>
                  </p:cNvPr>
                  <p:cNvSpPr>
                    <a:spLocks noEditPoints="1"/>
                  </p:cNvSpPr>
                  <p:nvPr/>
                </p:nvSpPr>
                <p:spPr bwMode="auto">
                  <a:xfrm>
                    <a:off x="4475" y="1846"/>
                    <a:ext cx="238" cy="238"/>
                  </a:xfrm>
                  <a:custGeom>
                    <a:avLst/>
                    <a:gdLst>
                      <a:gd name="T0" fmla="*/ 163 w 166"/>
                      <a:gd name="T1" fmla="*/ 77 h 166"/>
                      <a:gd name="T2" fmla="*/ 77 w 166"/>
                      <a:gd name="T3" fmla="*/ 2 h 166"/>
                      <a:gd name="T4" fmla="*/ 3 w 166"/>
                      <a:gd name="T5" fmla="*/ 88 h 166"/>
                      <a:gd name="T6" fmla="*/ 88 w 166"/>
                      <a:gd name="T7" fmla="*/ 163 h 166"/>
                      <a:gd name="T8" fmla="*/ 163 w 166"/>
                      <a:gd name="T9" fmla="*/ 77 h 166"/>
                      <a:gd name="T10" fmla="*/ 83 w 166"/>
                      <a:gd name="T11" fmla="*/ 131 h 166"/>
                      <a:gd name="T12" fmla="*/ 34 w 166"/>
                      <a:gd name="T13" fmla="*/ 83 h 166"/>
                      <a:gd name="T14" fmla="*/ 83 w 166"/>
                      <a:gd name="T15" fmla="*/ 34 h 166"/>
                      <a:gd name="T16" fmla="*/ 131 w 166"/>
                      <a:gd name="T17" fmla="*/ 83 h 166"/>
                      <a:gd name="T18" fmla="*/ 83 w 166"/>
                      <a:gd name="T19" fmla="*/ 13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166">
                        <a:moveTo>
                          <a:pt x="163" y="77"/>
                        </a:moveTo>
                        <a:cubicBezTo>
                          <a:pt x="160" y="33"/>
                          <a:pt x="122" y="0"/>
                          <a:pt x="77" y="2"/>
                        </a:cubicBezTo>
                        <a:cubicBezTo>
                          <a:pt x="33" y="5"/>
                          <a:pt x="0" y="44"/>
                          <a:pt x="3" y="88"/>
                        </a:cubicBezTo>
                        <a:cubicBezTo>
                          <a:pt x="6" y="132"/>
                          <a:pt x="44" y="166"/>
                          <a:pt x="88" y="163"/>
                        </a:cubicBezTo>
                        <a:cubicBezTo>
                          <a:pt x="132" y="160"/>
                          <a:pt x="166" y="122"/>
                          <a:pt x="163" y="77"/>
                        </a:cubicBezTo>
                        <a:close/>
                        <a:moveTo>
                          <a:pt x="83" y="131"/>
                        </a:moveTo>
                        <a:cubicBezTo>
                          <a:pt x="56" y="131"/>
                          <a:pt x="34" y="109"/>
                          <a:pt x="34" y="83"/>
                        </a:cubicBezTo>
                        <a:cubicBezTo>
                          <a:pt x="34" y="56"/>
                          <a:pt x="56" y="34"/>
                          <a:pt x="83" y="34"/>
                        </a:cubicBezTo>
                        <a:cubicBezTo>
                          <a:pt x="109" y="34"/>
                          <a:pt x="131" y="56"/>
                          <a:pt x="131" y="83"/>
                        </a:cubicBezTo>
                        <a:cubicBezTo>
                          <a:pt x="131" y="109"/>
                          <a:pt x="109" y="131"/>
                          <a:pt x="83" y="1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grpSp>
      <p:sp>
        <p:nvSpPr>
          <p:cNvPr id="288" name="empower">
            <a:extLst>
              <a:ext uri="{FF2B5EF4-FFF2-40B4-BE49-F238E27FC236}">
                <a16:creationId xmlns:a16="http://schemas.microsoft.com/office/drawing/2014/main" id="{DFADAE2D-C773-417C-9F4A-BC3FDEFAB120}"/>
              </a:ext>
            </a:extLst>
          </p:cNvPr>
          <p:cNvSpPr/>
          <p:nvPr/>
        </p:nvSpPr>
        <p:spPr bwMode="auto">
          <a:xfrm>
            <a:off x="5733919" y="1149802"/>
            <a:ext cx="716543" cy="35086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838641" rtl="0" eaLnBrk="1" fontAlgn="base" latinLnBrk="0" hangingPunct="1">
              <a:lnSpc>
                <a:spcPct val="95000"/>
              </a:lnSpc>
              <a:spcBef>
                <a:spcPct val="0"/>
              </a:spcBef>
              <a:spcAft>
                <a:spcPct val="0"/>
              </a:spcAft>
              <a:buClrTx/>
              <a:buSzTx/>
              <a:buFontTx/>
              <a:buNone/>
              <a:tabLst/>
              <a:defRPr/>
            </a:pPr>
            <a:r>
              <a:rPr kumimoji="0" lang="en-US" sz="12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Engage</a:t>
            </a:r>
            <a:br>
              <a:rPr kumimoji="0" lang="en-US" sz="12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br>
            <a:r>
              <a:rPr kumimoji="0" lang="en-US" sz="12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customers</a:t>
            </a:r>
          </a:p>
        </p:txBody>
      </p:sp>
      <p:sp>
        <p:nvSpPr>
          <p:cNvPr id="289" name="empower">
            <a:extLst>
              <a:ext uri="{FF2B5EF4-FFF2-40B4-BE49-F238E27FC236}">
                <a16:creationId xmlns:a16="http://schemas.microsoft.com/office/drawing/2014/main" id="{42E44540-5849-4F28-BBF8-ADC119FC2ACE}"/>
              </a:ext>
            </a:extLst>
          </p:cNvPr>
          <p:cNvSpPr/>
          <p:nvPr/>
        </p:nvSpPr>
        <p:spPr bwMode="auto">
          <a:xfrm>
            <a:off x="5733920" y="5455990"/>
            <a:ext cx="716543" cy="35086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838641" rtl="0" eaLnBrk="1" fontAlgn="base" latinLnBrk="0" hangingPunct="1">
              <a:lnSpc>
                <a:spcPct val="95000"/>
              </a:lnSpc>
              <a:spcBef>
                <a:spcPct val="0"/>
              </a:spcBef>
              <a:spcAft>
                <a:spcPct val="0"/>
              </a:spcAft>
              <a:buClrTx/>
              <a:buSzTx/>
              <a:buFontTx/>
              <a:buNone/>
              <a:tabLst/>
              <a:defRPr/>
            </a:pPr>
            <a:r>
              <a:rPr kumimoji="0" lang="en-US" sz="12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Transform</a:t>
            </a:r>
            <a:br>
              <a:rPr kumimoji="0" lang="en-US" sz="12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br>
            <a:r>
              <a:rPr kumimoji="0" lang="en-US" sz="12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products</a:t>
            </a:r>
          </a:p>
        </p:txBody>
      </p:sp>
      <p:sp>
        <p:nvSpPr>
          <p:cNvPr id="290" name="empower">
            <a:extLst>
              <a:ext uri="{FF2B5EF4-FFF2-40B4-BE49-F238E27FC236}">
                <a16:creationId xmlns:a16="http://schemas.microsoft.com/office/drawing/2014/main" id="{E7670FDD-2726-4372-8559-7958BBE36B5E}"/>
              </a:ext>
            </a:extLst>
          </p:cNvPr>
          <p:cNvSpPr/>
          <p:nvPr/>
        </p:nvSpPr>
        <p:spPr bwMode="auto">
          <a:xfrm>
            <a:off x="10024547" y="3408212"/>
            <a:ext cx="747000" cy="35086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838641" rtl="0" eaLnBrk="1" fontAlgn="base" latinLnBrk="0" hangingPunct="1">
              <a:lnSpc>
                <a:spcPct val="95000"/>
              </a:lnSpc>
              <a:spcBef>
                <a:spcPct val="0"/>
              </a:spcBef>
              <a:spcAft>
                <a:spcPct val="0"/>
              </a:spcAft>
              <a:buClrTx/>
              <a:buSzTx/>
              <a:buFontTx/>
              <a:buNone/>
              <a:tabLst/>
              <a:defRPr/>
            </a:pPr>
            <a:r>
              <a:rPr kumimoji="0" lang="en-US" sz="12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Optimize</a:t>
            </a:r>
            <a:br>
              <a:rPr kumimoji="0" lang="en-US" sz="12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br>
            <a:r>
              <a:rPr kumimoji="0" lang="en-US" sz="12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operations</a:t>
            </a:r>
          </a:p>
        </p:txBody>
      </p:sp>
      <p:sp>
        <p:nvSpPr>
          <p:cNvPr id="291" name="empower">
            <a:extLst>
              <a:ext uri="{FF2B5EF4-FFF2-40B4-BE49-F238E27FC236}">
                <a16:creationId xmlns:a16="http://schemas.microsoft.com/office/drawing/2014/main" id="{8A3E5F8D-A248-461B-89F3-6BCD164E8CEA}"/>
              </a:ext>
            </a:extLst>
          </p:cNvPr>
          <p:cNvSpPr/>
          <p:nvPr/>
        </p:nvSpPr>
        <p:spPr bwMode="auto">
          <a:xfrm>
            <a:off x="1424742" y="3386759"/>
            <a:ext cx="750205" cy="35086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838641" rtl="0" eaLnBrk="1" fontAlgn="base" latinLnBrk="0" hangingPunct="1">
              <a:lnSpc>
                <a:spcPct val="95000"/>
              </a:lnSpc>
              <a:spcBef>
                <a:spcPct val="0"/>
              </a:spcBef>
              <a:spcAft>
                <a:spcPct val="0"/>
              </a:spcAft>
              <a:buClrTx/>
              <a:buSzTx/>
              <a:buFontTx/>
              <a:buNone/>
              <a:tabLst/>
              <a:defRPr/>
            </a:pPr>
            <a:r>
              <a:rPr kumimoji="0" lang="en-US" sz="1200" b="0" i="0" u="none" strike="noStrike" kern="0" cap="none" spc="0" normalizeH="0" baseline="0" noProof="0">
                <a:ln>
                  <a:noFill/>
                </a:ln>
                <a:gradFill>
                  <a:gsLst>
                    <a:gs pos="2917">
                      <a:srgbClr val="EBEBEB">
                        <a:lumMod val="10000"/>
                      </a:srgbClr>
                    </a:gs>
                    <a:gs pos="30000">
                      <a:srgbClr val="3C3C41">
                        <a:lumMod val="50000"/>
                      </a:srgbClr>
                    </a:gs>
                  </a:gsLst>
                  <a:lin ang="5400000" scaled="0"/>
                </a:gradFill>
                <a:effectLst/>
                <a:uLnTx/>
                <a:uFillTx/>
                <a:latin typeface="Segoe UI Semibold"/>
                <a:ea typeface="+mn-ea"/>
                <a:cs typeface="Segoe UI" panose="020B0502040204020203" pitchFamily="34" charset="0"/>
              </a:rPr>
              <a:t>Empower</a:t>
            </a:r>
            <a:br>
              <a:rPr kumimoji="0" lang="en-US" sz="1200" b="0" i="0" u="none" strike="noStrike" kern="0" cap="none" spc="0" normalizeH="0" baseline="0" noProof="0">
                <a:ln>
                  <a:noFill/>
                </a:ln>
                <a:gradFill>
                  <a:gsLst>
                    <a:gs pos="2917">
                      <a:srgbClr val="EBEBEB">
                        <a:lumMod val="10000"/>
                      </a:srgbClr>
                    </a:gs>
                    <a:gs pos="30000">
                      <a:srgbClr val="3C3C41">
                        <a:lumMod val="50000"/>
                      </a:srgbClr>
                    </a:gs>
                  </a:gsLst>
                  <a:lin ang="5400000" scaled="0"/>
                </a:gradFill>
                <a:effectLst/>
                <a:uLnTx/>
                <a:uFillTx/>
                <a:latin typeface="Segoe UI Semibold"/>
                <a:ea typeface="+mn-ea"/>
                <a:cs typeface="Segoe UI" panose="020B0502040204020203" pitchFamily="34" charset="0"/>
              </a:rPr>
            </a:br>
            <a:r>
              <a:rPr kumimoji="0" lang="en-US" sz="1200" b="0" i="0" u="none" strike="noStrike" kern="0" cap="none" spc="0" normalizeH="0" baseline="0" noProof="0">
                <a:ln>
                  <a:noFill/>
                </a:ln>
                <a:gradFill>
                  <a:gsLst>
                    <a:gs pos="2917">
                      <a:srgbClr val="EBEBEB">
                        <a:lumMod val="10000"/>
                      </a:srgbClr>
                    </a:gs>
                    <a:gs pos="30000">
                      <a:srgbClr val="3C3C41">
                        <a:lumMod val="50000"/>
                      </a:srgbClr>
                    </a:gs>
                  </a:gsLst>
                  <a:lin ang="5400000" scaled="0"/>
                </a:gradFill>
                <a:effectLst/>
                <a:uLnTx/>
                <a:uFillTx/>
                <a:latin typeface="Segoe UI Semibold"/>
                <a:ea typeface="+mn-ea"/>
                <a:cs typeface="Segoe UI" panose="020B0502040204020203" pitchFamily="34" charset="0"/>
              </a:rPr>
              <a:t>employees</a:t>
            </a:r>
          </a:p>
        </p:txBody>
      </p:sp>
    </p:spTree>
    <p:extLst>
      <p:ext uri="{BB962C8B-B14F-4D97-AF65-F5344CB8AC3E}">
        <p14:creationId xmlns:p14="http://schemas.microsoft.com/office/powerpoint/2010/main" val="12556932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68844-929F-4323-8361-3EC6E7550DC8}"/>
              </a:ext>
            </a:extLst>
          </p:cNvPr>
          <p:cNvSpPr>
            <a:spLocks noGrp="1"/>
          </p:cNvSpPr>
          <p:nvPr>
            <p:ph type="title"/>
          </p:nvPr>
        </p:nvSpPr>
        <p:spPr>
          <a:xfrm>
            <a:off x="269240" y="289511"/>
            <a:ext cx="11655840" cy="899665"/>
          </a:xfrm>
        </p:spPr>
        <p:txBody>
          <a:bodyPr>
            <a:normAutofit fontScale="90000"/>
          </a:bodyPr>
          <a:lstStyle/>
          <a:p>
            <a:r>
              <a:rPr lang="en-US"/>
              <a:t>Current methods of building trust add friction by design</a:t>
            </a:r>
            <a:endParaRPr lang="en-IN"/>
          </a:p>
        </p:txBody>
      </p:sp>
      <p:grpSp>
        <p:nvGrpSpPr>
          <p:cNvPr id="3" name="Group 2">
            <a:extLst>
              <a:ext uri="{FF2B5EF4-FFF2-40B4-BE49-F238E27FC236}">
                <a16:creationId xmlns:a16="http://schemas.microsoft.com/office/drawing/2014/main" id="{299B85B3-FF87-4DEB-8EBC-227E0E346F20}"/>
              </a:ext>
            </a:extLst>
          </p:cNvPr>
          <p:cNvGrpSpPr/>
          <p:nvPr/>
        </p:nvGrpSpPr>
        <p:grpSpPr>
          <a:xfrm>
            <a:off x="7267575" y="3517440"/>
            <a:ext cx="3676650" cy="1851946"/>
            <a:chOff x="6940246" y="2972399"/>
            <a:chExt cx="4296846" cy="2164343"/>
          </a:xfrm>
        </p:grpSpPr>
        <p:grpSp>
          <p:nvGrpSpPr>
            <p:cNvPr id="4" name="Group 3">
              <a:extLst>
                <a:ext uri="{FF2B5EF4-FFF2-40B4-BE49-F238E27FC236}">
                  <a16:creationId xmlns:a16="http://schemas.microsoft.com/office/drawing/2014/main" id="{C941C228-6DFD-4786-87FB-B5D879216B1D}"/>
                </a:ext>
              </a:extLst>
            </p:cNvPr>
            <p:cNvGrpSpPr/>
            <p:nvPr/>
          </p:nvGrpSpPr>
          <p:grpSpPr>
            <a:xfrm>
              <a:off x="8152864" y="2972399"/>
              <a:ext cx="1871609" cy="2164343"/>
              <a:chOff x="8105244" y="2391512"/>
              <a:chExt cx="2815584" cy="3255964"/>
            </a:xfrm>
          </p:grpSpPr>
          <p:grpSp>
            <p:nvGrpSpPr>
              <p:cNvPr id="5" name="Group 4">
                <a:extLst>
                  <a:ext uri="{FF2B5EF4-FFF2-40B4-BE49-F238E27FC236}">
                    <a16:creationId xmlns:a16="http://schemas.microsoft.com/office/drawing/2014/main" id="{19F77646-E38D-4EB5-AA54-240AFA292F60}"/>
                  </a:ext>
                </a:extLst>
              </p:cNvPr>
              <p:cNvGrpSpPr/>
              <p:nvPr/>
            </p:nvGrpSpPr>
            <p:grpSpPr>
              <a:xfrm>
                <a:off x="8105244" y="2391512"/>
                <a:ext cx="2815584" cy="3255964"/>
                <a:chOff x="4376224" y="1566862"/>
                <a:chExt cx="3439434" cy="3977389"/>
              </a:xfrm>
            </p:grpSpPr>
            <p:sp>
              <p:nvSpPr>
                <p:cNvPr id="15" name="Hexagon 14">
                  <a:extLst>
                    <a:ext uri="{FF2B5EF4-FFF2-40B4-BE49-F238E27FC236}">
                      <a16:creationId xmlns:a16="http://schemas.microsoft.com/office/drawing/2014/main" id="{4AC8EFC9-CE09-4C41-AE1A-94BA7A81988F}"/>
                    </a:ext>
                  </a:extLst>
                </p:cNvPr>
                <p:cNvSpPr/>
                <p:nvPr/>
              </p:nvSpPr>
              <p:spPr bwMode="auto">
                <a:xfrm rot="5400000">
                  <a:off x="4173131" y="1862327"/>
                  <a:ext cx="3912347" cy="3372706"/>
                </a:xfrm>
                <a:prstGeom prst="hexagon">
                  <a:avLst/>
                </a:prstGeom>
                <a:solidFill>
                  <a:srgbClr val="00000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Hexagon 15">
                  <a:extLst>
                    <a:ext uri="{FF2B5EF4-FFF2-40B4-BE49-F238E27FC236}">
                      <a16:creationId xmlns:a16="http://schemas.microsoft.com/office/drawing/2014/main" id="{22755B65-BE20-439F-A537-4C5F659A9C8C}"/>
                    </a:ext>
                  </a:extLst>
                </p:cNvPr>
                <p:cNvSpPr/>
                <p:nvPr/>
              </p:nvSpPr>
              <p:spPr bwMode="auto">
                <a:xfrm rot="5400000">
                  <a:off x="4130074" y="1870017"/>
                  <a:ext cx="3931852" cy="3389520"/>
                </a:xfrm>
                <a:prstGeom prst="hexagon">
                  <a:avLst/>
                </a:prstGeom>
                <a:solidFill>
                  <a:srgbClr val="000000"/>
                </a:solidFill>
                <a:ln w="349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7" name="Picture 16">
                  <a:extLst>
                    <a:ext uri="{FF2B5EF4-FFF2-40B4-BE49-F238E27FC236}">
                      <a16:creationId xmlns:a16="http://schemas.microsoft.com/office/drawing/2014/main" id="{DB140C33-A3E8-4B7E-946F-528B1083D64E}"/>
                    </a:ext>
                  </a:extLst>
                </p:cNvPr>
                <p:cNvPicPr>
                  <a:picLocks noChangeAspect="1"/>
                </p:cNvPicPr>
                <p:nvPr/>
              </p:nvPicPr>
              <p:blipFill>
                <a:blip r:embed="rId3"/>
                <a:srcRect l="35890" t="22847" r="35978" b="19156"/>
                <a:stretch>
                  <a:fillRect/>
                </a:stretch>
              </p:blipFill>
              <p:spPr>
                <a:xfrm>
                  <a:off x="4376226" y="1566862"/>
                  <a:ext cx="3428775" cy="3977389"/>
                </a:xfrm>
                <a:custGeom>
                  <a:avLst/>
                  <a:gdLst>
                    <a:gd name="connsiteX0" fmla="*/ 1714388 w 3428775"/>
                    <a:gd name="connsiteY0" fmla="*/ 0 h 3977389"/>
                    <a:gd name="connsiteX1" fmla="*/ 3428775 w 3428775"/>
                    <a:gd name="connsiteY1" fmla="*/ 857194 h 3977389"/>
                    <a:gd name="connsiteX2" fmla="*/ 3428775 w 3428775"/>
                    <a:gd name="connsiteY2" fmla="*/ 3120195 h 3977389"/>
                    <a:gd name="connsiteX3" fmla="*/ 1714388 w 3428775"/>
                    <a:gd name="connsiteY3" fmla="*/ 3977389 h 3977389"/>
                    <a:gd name="connsiteX4" fmla="*/ 0 w 3428775"/>
                    <a:gd name="connsiteY4" fmla="*/ 3120195 h 3977389"/>
                    <a:gd name="connsiteX5" fmla="*/ 0 w 3428775"/>
                    <a:gd name="connsiteY5" fmla="*/ 857194 h 3977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28775" h="3977389">
                      <a:moveTo>
                        <a:pt x="1714388" y="0"/>
                      </a:moveTo>
                      <a:lnTo>
                        <a:pt x="3428775" y="857194"/>
                      </a:lnTo>
                      <a:lnTo>
                        <a:pt x="3428775" y="3120195"/>
                      </a:lnTo>
                      <a:lnTo>
                        <a:pt x="1714388" y="3977389"/>
                      </a:lnTo>
                      <a:lnTo>
                        <a:pt x="0" y="3120195"/>
                      </a:lnTo>
                      <a:lnTo>
                        <a:pt x="0" y="857194"/>
                      </a:lnTo>
                      <a:close/>
                    </a:path>
                  </a:pathLst>
                </a:custGeom>
              </p:spPr>
            </p:pic>
            <p:sp>
              <p:nvSpPr>
                <p:cNvPr id="18" name="Hexagon 17">
                  <a:extLst>
                    <a:ext uri="{FF2B5EF4-FFF2-40B4-BE49-F238E27FC236}">
                      <a16:creationId xmlns:a16="http://schemas.microsoft.com/office/drawing/2014/main" id="{5BF84B09-2075-4774-BFA3-5CDB3B29BC5B}"/>
                    </a:ext>
                  </a:extLst>
                </p:cNvPr>
                <p:cNvSpPr/>
                <p:nvPr/>
              </p:nvSpPr>
              <p:spPr bwMode="auto">
                <a:xfrm rot="5400000">
                  <a:off x="4101918" y="1841168"/>
                  <a:ext cx="3977389" cy="3428777"/>
                </a:xfrm>
                <a:prstGeom prst="hexagon">
                  <a:avLst/>
                </a:prstGeom>
                <a:solidFill>
                  <a:srgbClr val="0070C0">
                    <a:alpha val="90000"/>
                  </a:srgbClr>
                </a:solidFill>
                <a:ln w="254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6" name="Group 5">
                <a:extLst>
                  <a:ext uri="{FF2B5EF4-FFF2-40B4-BE49-F238E27FC236}">
                    <a16:creationId xmlns:a16="http://schemas.microsoft.com/office/drawing/2014/main" id="{3D65E889-4EAF-4CC9-9717-D748BC20079B}"/>
                  </a:ext>
                </a:extLst>
              </p:cNvPr>
              <p:cNvGrpSpPr/>
              <p:nvPr/>
            </p:nvGrpSpPr>
            <p:grpSpPr>
              <a:xfrm>
                <a:off x="9126659" y="3497140"/>
                <a:ext cx="825095" cy="957112"/>
                <a:chOff x="5677731" y="3043493"/>
                <a:chExt cx="825095" cy="957112"/>
              </a:xfrm>
            </p:grpSpPr>
            <p:grpSp>
              <p:nvGrpSpPr>
                <p:cNvPr id="7" name="Group 6">
                  <a:extLst>
                    <a:ext uri="{FF2B5EF4-FFF2-40B4-BE49-F238E27FC236}">
                      <a16:creationId xmlns:a16="http://schemas.microsoft.com/office/drawing/2014/main" id="{F07E613D-A554-479E-BACF-D44D64668290}"/>
                    </a:ext>
                  </a:extLst>
                </p:cNvPr>
                <p:cNvGrpSpPr/>
                <p:nvPr/>
              </p:nvGrpSpPr>
              <p:grpSpPr>
                <a:xfrm>
                  <a:off x="5677731" y="3043493"/>
                  <a:ext cx="825095" cy="957112"/>
                  <a:chOff x="7189487" y="2271533"/>
                  <a:chExt cx="2131420" cy="2472452"/>
                </a:xfrm>
              </p:grpSpPr>
              <p:sp>
                <p:nvSpPr>
                  <p:cNvPr id="13" name="Hexagon 12">
                    <a:extLst>
                      <a:ext uri="{FF2B5EF4-FFF2-40B4-BE49-F238E27FC236}">
                        <a16:creationId xmlns:a16="http://schemas.microsoft.com/office/drawing/2014/main" id="{32A7845A-AEAB-4972-886F-D79FB14D54B0}"/>
                      </a:ext>
                    </a:extLst>
                  </p:cNvPr>
                  <p:cNvSpPr/>
                  <p:nvPr/>
                </p:nvSpPr>
                <p:spPr bwMode="auto">
                  <a:xfrm rot="5400000">
                    <a:off x="7018971" y="2442049"/>
                    <a:ext cx="2472452" cy="2131420"/>
                  </a:xfrm>
                  <a:prstGeom prst="hexagon">
                    <a:avLst/>
                  </a:prstGeom>
                  <a:solidFill>
                    <a:schemeClr val="tx1"/>
                  </a:solidFill>
                  <a:ln w="349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Hexagon 13">
                    <a:extLst>
                      <a:ext uri="{FF2B5EF4-FFF2-40B4-BE49-F238E27FC236}">
                        <a16:creationId xmlns:a16="http://schemas.microsoft.com/office/drawing/2014/main" id="{9F256235-9C26-4C8E-8EB2-D52DCB9D0B96}"/>
                      </a:ext>
                    </a:extLst>
                  </p:cNvPr>
                  <p:cNvSpPr/>
                  <p:nvPr/>
                </p:nvSpPr>
                <p:spPr bwMode="auto">
                  <a:xfrm rot="5400000">
                    <a:off x="7247323" y="2661380"/>
                    <a:ext cx="2009463" cy="1732296"/>
                  </a:xfrm>
                  <a:prstGeom prst="hexagon">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B209AFF6-FAB5-411E-B181-0F75230844C5}"/>
                    </a:ext>
                  </a:extLst>
                </p:cNvPr>
                <p:cNvGrpSpPr/>
                <p:nvPr/>
              </p:nvGrpSpPr>
              <p:grpSpPr>
                <a:xfrm rot="10800000">
                  <a:off x="5854005" y="3285780"/>
                  <a:ext cx="470114" cy="457872"/>
                  <a:chOff x="10822595" y="2867354"/>
                  <a:chExt cx="470114" cy="457872"/>
                </a:xfrm>
              </p:grpSpPr>
              <p:sp>
                <p:nvSpPr>
                  <p:cNvPr id="9" name="Freeform 6">
                    <a:extLst>
                      <a:ext uri="{FF2B5EF4-FFF2-40B4-BE49-F238E27FC236}">
                        <a16:creationId xmlns:a16="http://schemas.microsoft.com/office/drawing/2014/main" id="{D95ADAB7-FC9E-4F16-8818-A32329F89B26}"/>
                      </a:ext>
                    </a:extLst>
                  </p:cNvPr>
                  <p:cNvSpPr>
                    <a:spLocks/>
                  </p:cNvSpPr>
                  <p:nvPr/>
                </p:nvSpPr>
                <p:spPr bwMode="auto">
                  <a:xfrm>
                    <a:off x="10822595" y="2981210"/>
                    <a:ext cx="79576" cy="230160"/>
                  </a:xfrm>
                  <a:custGeom>
                    <a:avLst/>
                    <a:gdLst>
                      <a:gd name="T0" fmla="*/ 160 w 235"/>
                      <a:gd name="T1" fmla="*/ 342 h 683"/>
                      <a:gd name="T2" fmla="*/ 235 w 235"/>
                      <a:gd name="T3" fmla="*/ 63 h 683"/>
                      <a:gd name="T4" fmla="*/ 126 w 235"/>
                      <a:gd name="T5" fmla="*/ 0 h 683"/>
                      <a:gd name="T6" fmla="*/ 126 w 235"/>
                      <a:gd name="T7" fmla="*/ 683 h 683"/>
                      <a:gd name="T8" fmla="*/ 235 w 235"/>
                      <a:gd name="T9" fmla="*/ 620 h 683"/>
                      <a:gd name="T10" fmla="*/ 160 w 235"/>
                      <a:gd name="T11" fmla="*/ 342 h 683"/>
                    </a:gdLst>
                    <a:ahLst/>
                    <a:cxnLst>
                      <a:cxn ang="0">
                        <a:pos x="T0" y="T1"/>
                      </a:cxn>
                      <a:cxn ang="0">
                        <a:pos x="T2" y="T3"/>
                      </a:cxn>
                      <a:cxn ang="0">
                        <a:pos x="T4" y="T5"/>
                      </a:cxn>
                      <a:cxn ang="0">
                        <a:pos x="T6" y="T7"/>
                      </a:cxn>
                      <a:cxn ang="0">
                        <a:pos x="T8" y="T9"/>
                      </a:cxn>
                      <a:cxn ang="0">
                        <a:pos x="T10" y="T11"/>
                      </a:cxn>
                    </a:cxnLst>
                    <a:rect l="0" t="0" r="r" b="b"/>
                    <a:pathLst>
                      <a:path w="235" h="683">
                        <a:moveTo>
                          <a:pt x="160" y="342"/>
                        </a:moveTo>
                        <a:cubicBezTo>
                          <a:pt x="160" y="240"/>
                          <a:pt x="187" y="145"/>
                          <a:pt x="235" y="63"/>
                        </a:cubicBezTo>
                        <a:cubicBezTo>
                          <a:pt x="126" y="0"/>
                          <a:pt x="126" y="0"/>
                          <a:pt x="126" y="0"/>
                        </a:cubicBezTo>
                        <a:cubicBezTo>
                          <a:pt x="0" y="218"/>
                          <a:pt x="0" y="465"/>
                          <a:pt x="126" y="683"/>
                        </a:cubicBezTo>
                        <a:cubicBezTo>
                          <a:pt x="235" y="620"/>
                          <a:pt x="235" y="620"/>
                          <a:pt x="235" y="620"/>
                        </a:cubicBezTo>
                        <a:cubicBezTo>
                          <a:pt x="187" y="538"/>
                          <a:pt x="160" y="443"/>
                          <a:pt x="160" y="34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 name="Freeform 7">
                    <a:extLst>
                      <a:ext uri="{FF2B5EF4-FFF2-40B4-BE49-F238E27FC236}">
                        <a16:creationId xmlns:a16="http://schemas.microsoft.com/office/drawing/2014/main" id="{02E832B3-7791-4151-A3AD-4C57868592B4}"/>
                      </a:ext>
                    </a:extLst>
                  </p:cNvPr>
                  <p:cNvSpPr>
                    <a:spLocks/>
                  </p:cNvSpPr>
                  <p:nvPr/>
                </p:nvSpPr>
                <p:spPr bwMode="auto">
                  <a:xfrm>
                    <a:off x="10865444" y="3189333"/>
                    <a:ext cx="198330" cy="135893"/>
                  </a:xfrm>
                  <a:custGeom>
                    <a:avLst/>
                    <a:gdLst>
                      <a:gd name="T0" fmla="*/ 588 w 590"/>
                      <a:gd name="T1" fmla="*/ 276 h 404"/>
                      <a:gd name="T2" fmla="*/ 109 w 590"/>
                      <a:gd name="T3" fmla="*/ 0 h 404"/>
                      <a:gd name="T4" fmla="*/ 0 w 590"/>
                      <a:gd name="T5" fmla="*/ 63 h 404"/>
                      <a:gd name="T6" fmla="*/ 590 w 590"/>
                      <a:gd name="T7" fmla="*/ 404 h 404"/>
                      <a:gd name="T8" fmla="*/ 590 w 590"/>
                      <a:gd name="T9" fmla="*/ 276 h 404"/>
                      <a:gd name="T10" fmla="*/ 588 w 590"/>
                      <a:gd name="T11" fmla="*/ 276 h 404"/>
                    </a:gdLst>
                    <a:ahLst/>
                    <a:cxnLst>
                      <a:cxn ang="0">
                        <a:pos x="T0" y="T1"/>
                      </a:cxn>
                      <a:cxn ang="0">
                        <a:pos x="T2" y="T3"/>
                      </a:cxn>
                      <a:cxn ang="0">
                        <a:pos x="T4" y="T5"/>
                      </a:cxn>
                      <a:cxn ang="0">
                        <a:pos x="T6" y="T7"/>
                      </a:cxn>
                      <a:cxn ang="0">
                        <a:pos x="T8" y="T9"/>
                      </a:cxn>
                      <a:cxn ang="0">
                        <a:pos x="T10" y="T11"/>
                      </a:cxn>
                    </a:cxnLst>
                    <a:rect l="0" t="0" r="r" b="b"/>
                    <a:pathLst>
                      <a:path w="590" h="404">
                        <a:moveTo>
                          <a:pt x="588" y="276"/>
                        </a:moveTo>
                        <a:cubicBezTo>
                          <a:pt x="383" y="276"/>
                          <a:pt x="205" y="165"/>
                          <a:pt x="109" y="0"/>
                        </a:cubicBezTo>
                        <a:cubicBezTo>
                          <a:pt x="0" y="63"/>
                          <a:pt x="0" y="63"/>
                          <a:pt x="0" y="63"/>
                        </a:cubicBezTo>
                        <a:cubicBezTo>
                          <a:pt x="125" y="280"/>
                          <a:pt x="339" y="404"/>
                          <a:pt x="590" y="404"/>
                        </a:cubicBezTo>
                        <a:cubicBezTo>
                          <a:pt x="590" y="276"/>
                          <a:pt x="590" y="276"/>
                          <a:pt x="590" y="276"/>
                        </a:cubicBezTo>
                        <a:cubicBezTo>
                          <a:pt x="589" y="276"/>
                          <a:pt x="589" y="276"/>
                          <a:pt x="588" y="276"/>
                        </a:cubicBezTo>
                        <a:close/>
                      </a:path>
                    </a:pathLst>
                  </a:custGeom>
                  <a:solidFill>
                    <a:srgbClr val="0067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 name="Freeform 8">
                    <a:extLst>
                      <a:ext uri="{FF2B5EF4-FFF2-40B4-BE49-F238E27FC236}">
                        <a16:creationId xmlns:a16="http://schemas.microsoft.com/office/drawing/2014/main" id="{FB502771-779E-45AC-BCD4-64A53F1D3645}"/>
                      </a:ext>
                    </a:extLst>
                  </p:cNvPr>
                  <p:cNvSpPr>
                    <a:spLocks/>
                  </p:cNvSpPr>
                  <p:nvPr/>
                </p:nvSpPr>
                <p:spPr bwMode="auto">
                  <a:xfrm>
                    <a:off x="11063773" y="2867354"/>
                    <a:ext cx="228936" cy="457871"/>
                  </a:xfrm>
                  <a:custGeom>
                    <a:avLst/>
                    <a:gdLst>
                      <a:gd name="T0" fmla="*/ 0 w 681"/>
                      <a:gd name="T1" fmla="*/ 0 h 1365"/>
                      <a:gd name="T2" fmla="*/ 0 w 681"/>
                      <a:gd name="T3" fmla="*/ 128 h 1365"/>
                      <a:gd name="T4" fmla="*/ 553 w 681"/>
                      <a:gd name="T5" fmla="*/ 683 h 1365"/>
                      <a:gd name="T6" fmla="*/ 0 w 681"/>
                      <a:gd name="T7" fmla="*/ 1237 h 1365"/>
                      <a:gd name="T8" fmla="*/ 0 w 681"/>
                      <a:gd name="T9" fmla="*/ 1365 h 1365"/>
                      <a:gd name="T10" fmla="*/ 681 w 681"/>
                      <a:gd name="T11" fmla="*/ 682 h 1365"/>
                      <a:gd name="T12" fmla="*/ 0 w 681"/>
                      <a:gd name="T13" fmla="*/ 0 h 1365"/>
                    </a:gdLst>
                    <a:ahLst/>
                    <a:cxnLst>
                      <a:cxn ang="0">
                        <a:pos x="T0" y="T1"/>
                      </a:cxn>
                      <a:cxn ang="0">
                        <a:pos x="T2" y="T3"/>
                      </a:cxn>
                      <a:cxn ang="0">
                        <a:pos x="T4" y="T5"/>
                      </a:cxn>
                      <a:cxn ang="0">
                        <a:pos x="T6" y="T7"/>
                      </a:cxn>
                      <a:cxn ang="0">
                        <a:pos x="T8" y="T9"/>
                      </a:cxn>
                      <a:cxn ang="0">
                        <a:pos x="T10" y="T11"/>
                      </a:cxn>
                      <a:cxn ang="0">
                        <a:pos x="T12" y="T13"/>
                      </a:cxn>
                    </a:cxnLst>
                    <a:rect l="0" t="0" r="r" b="b"/>
                    <a:pathLst>
                      <a:path w="681" h="1365">
                        <a:moveTo>
                          <a:pt x="0" y="0"/>
                        </a:moveTo>
                        <a:cubicBezTo>
                          <a:pt x="0" y="128"/>
                          <a:pt x="0" y="128"/>
                          <a:pt x="0" y="128"/>
                        </a:cubicBezTo>
                        <a:cubicBezTo>
                          <a:pt x="305" y="129"/>
                          <a:pt x="553" y="377"/>
                          <a:pt x="553" y="683"/>
                        </a:cubicBezTo>
                        <a:cubicBezTo>
                          <a:pt x="553" y="989"/>
                          <a:pt x="305" y="1237"/>
                          <a:pt x="0" y="1237"/>
                        </a:cubicBezTo>
                        <a:cubicBezTo>
                          <a:pt x="0" y="1365"/>
                          <a:pt x="0" y="1365"/>
                          <a:pt x="0" y="1365"/>
                        </a:cubicBezTo>
                        <a:cubicBezTo>
                          <a:pt x="376" y="1365"/>
                          <a:pt x="681" y="1059"/>
                          <a:pt x="681" y="682"/>
                        </a:cubicBezTo>
                        <a:cubicBezTo>
                          <a:pt x="681" y="305"/>
                          <a:pt x="376" y="0"/>
                          <a:pt x="0" y="0"/>
                        </a:cubicBezTo>
                        <a:close/>
                      </a:path>
                    </a:pathLst>
                  </a:custGeom>
                  <a:solidFill>
                    <a:srgbClr val="0067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 name="Freeform 9">
                    <a:extLst>
                      <a:ext uri="{FF2B5EF4-FFF2-40B4-BE49-F238E27FC236}">
                        <a16:creationId xmlns:a16="http://schemas.microsoft.com/office/drawing/2014/main" id="{29FD1FDD-CB46-4D96-9C2A-5D3E29EFD1F7}"/>
                      </a:ext>
                    </a:extLst>
                  </p:cNvPr>
                  <p:cNvSpPr>
                    <a:spLocks noEditPoints="1"/>
                  </p:cNvSpPr>
                  <p:nvPr/>
                </p:nvSpPr>
                <p:spPr bwMode="auto">
                  <a:xfrm flipH="1" flipV="1">
                    <a:off x="11006233" y="2987331"/>
                    <a:ext cx="113856" cy="217917"/>
                  </a:xfrm>
                  <a:custGeom>
                    <a:avLst/>
                    <a:gdLst>
                      <a:gd name="T0" fmla="*/ 341 w 341"/>
                      <a:gd name="T1" fmla="*/ 434 h 651"/>
                      <a:gd name="T2" fmla="*/ 304 w 341"/>
                      <a:gd name="T3" fmla="*/ 529 h 651"/>
                      <a:gd name="T4" fmla="*/ 196 w 341"/>
                      <a:gd name="T5" fmla="*/ 573 h 651"/>
                      <a:gd name="T6" fmla="*/ 196 w 341"/>
                      <a:gd name="T7" fmla="*/ 651 h 651"/>
                      <a:gd name="T8" fmla="*/ 144 w 341"/>
                      <a:gd name="T9" fmla="*/ 651 h 651"/>
                      <a:gd name="T10" fmla="*/ 144 w 341"/>
                      <a:gd name="T11" fmla="*/ 576 h 651"/>
                      <a:gd name="T12" fmla="*/ 9 w 341"/>
                      <a:gd name="T13" fmla="*/ 543 h 651"/>
                      <a:gd name="T14" fmla="*/ 9 w 341"/>
                      <a:gd name="T15" fmla="*/ 444 h 651"/>
                      <a:gd name="T16" fmla="*/ 71 w 341"/>
                      <a:gd name="T17" fmla="*/ 475 h 651"/>
                      <a:gd name="T18" fmla="*/ 144 w 341"/>
                      <a:gd name="T19" fmla="*/ 492 h 651"/>
                      <a:gd name="T20" fmla="*/ 144 w 341"/>
                      <a:gd name="T21" fmla="*/ 362 h 651"/>
                      <a:gd name="T22" fmla="*/ 32 w 341"/>
                      <a:gd name="T23" fmla="*/ 298 h 651"/>
                      <a:gd name="T24" fmla="*/ 0 w 341"/>
                      <a:gd name="T25" fmla="*/ 207 h 651"/>
                      <a:gd name="T26" fmla="*/ 40 w 341"/>
                      <a:gd name="T27" fmla="*/ 112 h 651"/>
                      <a:gd name="T28" fmla="*/ 144 w 341"/>
                      <a:gd name="T29" fmla="*/ 66 h 651"/>
                      <a:gd name="T30" fmla="*/ 144 w 341"/>
                      <a:gd name="T31" fmla="*/ 0 h 651"/>
                      <a:gd name="T32" fmla="*/ 196 w 341"/>
                      <a:gd name="T33" fmla="*/ 0 h 651"/>
                      <a:gd name="T34" fmla="*/ 196 w 341"/>
                      <a:gd name="T35" fmla="*/ 65 h 651"/>
                      <a:gd name="T36" fmla="*/ 308 w 341"/>
                      <a:gd name="T37" fmla="*/ 89 h 651"/>
                      <a:gd name="T38" fmla="*/ 308 w 341"/>
                      <a:gd name="T39" fmla="*/ 185 h 651"/>
                      <a:gd name="T40" fmla="*/ 196 w 341"/>
                      <a:gd name="T41" fmla="*/ 148 h 651"/>
                      <a:gd name="T42" fmla="*/ 196 w 341"/>
                      <a:gd name="T43" fmla="*/ 283 h 651"/>
                      <a:gd name="T44" fmla="*/ 308 w 341"/>
                      <a:gd name="T45" fmla="*/ 347 h 651"/>
                      <a:gd name="T46" fmla="*/ 341 w 341"/>
                      <a:gd name="T47" fmla="*/ 434 h 651"/>
                      <a:gd name="T48" fmla="*/ 144 w 341"/>
                      <a:gd name="T49" fmla="*/ 262 h 651"/>
                      <a:gd name="T50" fmla="*/ 144 w 341"/>
                      <a:gd name="T51" fmla="*/ 150 h 651"/>
                      <a:gd name="T52" fmla="*/ 94 w 341"/>
                      <a:gd name="T53" fmla="*/ 201 h 651"/>
                      <a:gd name="T54" fmla="*/ 144 w 341"/>
                      <a:gd name="T55" fmla="*/ 262 h 651"/>
                      <a:gd name="T56" fmla="*/ 246 w 341"/>
                      <a:gd name="T57" fmla="*/ 439 h 651"/>
                      <a:gd name="T58" fmla="*/ 196 w 341"/>
                      <a:gd name="T59" fmla="*/ 382 h 651"/>
                      <a:gd name="T60" fmla="*/ 196 w 341"/>
                      <a:gd name="T61" fmla="*/ 490 h 651"/>
                      <a:gd name="T62" fmla="*/ 246 w 341"/>
                      <a:gd name="T63" fmla="*/ 439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1">
                        <a:moveTo>
                          <a:pt x="341" y="434"/>
                        </a:moveTo>
                        <a:cubicBezTo>
                          <a:pt x="341" y="474"/>
                          <a:pt x="329" y="505"/>
                          <a:pt x="304" y="529"/>
                        </a:cubicBezTo>
                        <a:cubicBezTo>
                          <a:pt x="279" y="553"/>
                          <a:pt x="243" y="568"/>
                          <a:pt x="196" y="573"/>
                        </a:cubicBezTo>
                        <a:cubicBezTo>
                          <a:pt x="196" y="651"/>
                          <a:pt x="196" y="651"/>
                          <a:pt x="196" y="651"/>
                        </a:cubicBezTo>
                        <a:cubicBezTo>
                          <a:pt x="144" y="651"/>
                          <a:pt x="144" y="651"/>
                          <a:pt x="144" y="651"/>
                        </a:cubicBezTo>
                        <a:cubicBezTo>
                          <a:pt x="144" y="576"/>
                          <a:pt x="144" y="576"/>
                          <a:pt x="144" y="576"/>
                        </a:cubicBezTo>
                        <a:cubicBezTo>
                          <a:pt x="95" y="575"/>
                          <a:pt x="50" y="564"/>
                          <a:pt x="9" y="543"/>
                        </a:cubicBezTo>
                        <a:cubicBezTo>
                          <a:pt x="9" y="444"/>
                          <a:pt x="9" y="444"/>
                          <a:pt x="9" y="444"/>
                        </a:cubicBezTo>
                        <a:cubicBezTo>
                          <a:pt x="22" y="455"/>
                          <a:pt x="43" y="465"/>
                          <a:pt x="71" y="475"/>
                        </a:cubicBezTo>
                        <a:cubicBezTo>
                          <a:pt x="99" y="485"/>
                          <a:pt x="123" y="490"/>
                          <a:pt x="144" y="492"/>
                        </a:cubicBezTo>
                        <a:cubicBezTo>
                          <a:pt x="144" y="362"/>
                          <a:pt x="144" y="362"/>
                          <a:pt x="144" y="362"/>
                        </a:cubicBezTo>
                        <a:cubicBezTo>
                          <a:pt x="91" y="343"/>
                          <a:pt x="54" y="322"/>
                          <a:pt x="32" y="298"/>
                        </a:cubicBezTo>
                        <a:cubicBezTo>
                          <a:pt x="11" y="275"/>
                          <a:pt x="0" y="245"/>
                          <a:pt x="0" y="207"/>
                        </a:cubicBezTo>
                        <a:cubicBezTo>
                          <a:pt x="0" y="169"/>
                          <a:pt x="13" y="138"/>
                          <a:pt x="40" y="112"/>
                        </a:cubicBezTo>
                        <a:cubicBezTo>
                          <a:pt x="67" y="86"/>
                          <a:pt x="101" y="71"/>
                          <a:pt x="144" y="66"/>
                        </a:cubicBezTo>
                        <a:cubicBezTo>
                          <a:pt x="144" y="0"/>
                          <a:pt x="144" y="0"/>
                          <a:pt x="144" y="0"/>
                        </a:cubicBezTo>
                        <a:cubicBezTo>
                          <a:pt x="196" y="0"/>
                          <a:pt x="196" y="0"/>
                          <a:pt x="196" y="0"/>
                        </a:cubicBezTo>
                        <a:cubicBezTo>
                          <a:pt x="196" y="65"/>
                          <a:pt x="196" y="65"/>
                          <a:pt x="196" y="65"/>
                        </a:cubicBezTo>
                        <a:cubicBezTo>
                          <a:pt x="246" y="67"/>
                          <a:pt x="283" y="75"/>
                          <a:pt x="308" y="89"/>
                        </a:cubicBezTo>
                        <a:cubicBezTo>
                          <a:pt x="308" y="185"/>
                          <a:pt x="308" y="185"/>
                          <a:pt x="308" y="185"/>
                        </a:cubicBezTo>
                        <a:cubicBezTo>
                          <a:pt x="275" y="165"/>
                          <a:pt x="237" y="153"/>
                          <a:pt x="196" y="148"/>
                        </a:cubicBezTo>
                        <a:cubicBezTo>
                          <a:pt x="196" y="283"/>
                          <a:pt x="196" y="283"/>
                          <a:pt x="196" y="283"/>
                        </a:cubicBezTo>
                        <a:cubicBezTo>
                          <a:pt x="248" y="302"/>
                          <a:pt x="285" y="323"/>
                          <a:pt x="308" y="347"/>
                        </a:cubicBezTo>
                        <a:cubicBezTo>
                          <a:pt x="330" y="371"/>
                          <a:pt x="341" y="400"/>
                          <a:pt x="341" y="434"/>
                        </a:cubicBezTo>
                        <a:close/>
                        <a:moveTo>
                          <a:pt x="144" y="262"/>
                        </a:moveTo>
                        <a:cubicBezTo>
                          <a:pt x="144" y="150"/>
                          <a:pt x="144" y="150"/>
                          <a:pt x="144" y="150"/>
                        </a:cubicBezTo>
                        <a:cubicBezTo>
                          <a:pt x="111" y="156"/>
                          <a:pt x="94" y="173"/>
                          <a:pt x="94" y="201"/>
                        </a:cubicBezTo>
                        <a:cubicBezTo>
                          <a:pt x="94" y="226"/>
                          <a:pt x="111" y="246"/>
                          <a:pt x="144" y="262"/>
                        </a:cubicBezTo>
                        <a:close/>
                        <a:moveTo>
                          <a:pt x="246" y="439"/>
                        </a:moveTo>
                        <a:cubicBezTo>
                          <a:pt x="246" y="416"/>
                          <a:pt x="230" y="397"/>
                          <a:pt x="196" y="382"/>
                        </a:cubicBezTo>
                        <a:cubicBezTo>
                          <a:pt x="196" y="490"/>
                          <a:pt x="196" y="490"/>
                          <a:pt x="196" y="490"/>
                        </a:cubicBezTo>
                        <a:cubicBezTo>
                          <a:pt x="230" y="485"/>
                          <a:pt x="246" y="468"/>
                          <a:pt x="246" y="4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grpSp>
          <p:nvGrpSpPr>
            <p:cNvPr id="19" name="Group 18">
              <a:extLst>
                <a:ext uri="{FF2B5EF4-FFF2-40B4-BE49-F238E27FC236}">
                  <a16:creationId xmlns:a16="http://schemas.microsoft.com/office/drawing/2014/main" id="{A7F64310-6867-407C-8DD1-5E2515A02B63}"/>
                </a:ext>
              </a:extLst>
            </p:cNvPr>
            <p:cNvGrpSpPr/>
            <p:nvPr/>
          </p:nvGrpSpPr>
          <p:grpSpPr>
            <a:xfrm>
              <a:off x="9888960" y="3272652"/>
              <a:ext cx="1348132" cy="1563836"/>
              <a:chOff x="9861938" y="1690092"/>
              <a:chExt cx="1529994" cy="1774796"/>
            </a:xfrm>
          </p:grpSpPr>
          <p:sp>
            <p:nvSpPr>
              <p:cNvPr id="20" name="Hexagon 19">
                <a:extLst>
                  <a:ext uri="{FF2B5EF4-FFF2-40B4-BE49-F238E27FC236}">
                    <a16:creationId xmlns:a16="http://schemas.microsoft.com/office/drawing/2014/main" id="{ECADFD2A-B0A8-4E99-9F52-DE78E2025FBC}"/>
                  </a:ext>
                </a:extLst>
              </p:cNvPr>
              <p:cNvSpPr/>
              <p:nvPr/>
            </p:nvSpPr>
            <p:spPr bwMode="auto">
              <a:xfrm rot="5400000">
                <a:off x="9739537" y="1812493"/>
                <a:ext cx="1774796" cy="1529994"/>
              </a:xfrm>
              <a:prstGeom prst="hexagon">
                <a:avLst/>
              </a:prstGeom>
              <a:solidFill>
                <a:srgbClr val="0070C0"/>
              </a:solidFill>
              <a:ln w="349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Hexagon 20">
                <a:extLst>
                  <a:ext uri="{FF2B5EF4-FFF2-40B4-BE49-F238E27FC236}">
                    <a16:creationId xmlns:a16="http://schemas.microsoft.com/office/drawing/2014/main" id="{DD605CF9-FED4-417F-BC19-124A0C1E0BA6}"/>
                  </a:ext>
                </a:extLst>
              </p:cNvPr>
              <p:cNvSpPr/>
              <p:nvPr/>
            </p:nvSpPr>
            <p:spPr bwMode="auto">
              <a:xfrm rot="5400000">
                <a:off x="9909787" y="1946385"/>
                <a:ext cx="1442449" cy="1243491"/>
              </a:xfrm>
              <a:prstGeom prst="hexagon">
                <a:avLst/>
              </a:prstGeom>
              <a:solidFill>
                <a:schemeClr val="accent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2" name="Group 21">
                <a:extLst>
                  <a:ext uri="{FF2B5EF4-FFF2-40B4-BE49-F238E27FC236}">
                    <a16:creationId xmlns:a16="http://schemas.microsoft.com/office/drawing/2014/main" id="{9A8BF4D2-D8B2-4000-9EF0-FA5E4EBD4A8A}"/>
                  </a:ext>
                </a:extLst>
              </p:cNvPr>
              <p:cNvGrpSpPr/>
              <p:nvPr/>
            </p:nvGrpSpPr>
            <p:grpSpPr>
              <a:xfrm flipH="1">
                <a:off x="10230693" y="2159857"/>
                <a:ext cx="744552" cy="744552"/>
                <a:chOff x="8537690" y="3341197"/>
                <a:chExt cx="330487" cy="329883"/>
              </a:xfrm>
            </p:grpSpPr>
            <p:sp>
              <p:nvSpPr>
                <p:cNvPr id="23" name="Trapezoid 22">
                  <a:extLst>
                    <a:ext uri="{FF2B5EF4-FFF2-40B4-BE49-F238E27FC236}">
                      <a16:creationId xmlns:a16="http://schemas.microsoft.com/office/drawing/2014/main" id="{2E0F7E40-89F6-4A2D-A3E7-6CD6695AB1F5}"/>
                    </a:ext>
                  </a:extLst>
                </p:cNvPr>
                <p:cNvSpPr/>
                <p:nvPr/>
              </p:nvSpPr>
              <p:spPr bwMode="auto">
                <a:xfrm>
                  <a:off x="8603203" y="3341197"/>
                  <a:ext cx="63011" cy="328902"/>
                </a:xfrm>
                <a:prstGeom prst="trapezoid">
                  <a:avLst>
                    <a:gd name="adj" fmla="val 2174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Trapezoid 23">
                  <a:extLst>
                    <a:ext uri="{FF2B5EF4-FFF2-40B4-BE49-F238E27FC236}">
                      <a16:creationId xmlns:a16="http://schemas.microsoft.com/office/drawing/2014/main" id="{6B666AEC-3194-4DE6-829D-E4428C749F96}"/>
                    </a:ext>
                  </a:extLst>
                </p:cNvPr>
                <p:cNvSpPr/>
                <p:nvPr/>
              </p:nvSpPr>
              <p:spPr bwMode="auto">
                <a:xfrm>
                  <a:off x="8547125" y="3388228"/>
                  <a:ext cx="63011" cy="278924"/>
                </a:xfrm>
                <a:prstGeom prst="trapezoid">
                  <a:avLst>
                    <a:gd name="adj" fmla="val 2174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Rectangle 24">
                  <a:extLst>
                    <a:ext uri="{FF2B5EF4-FFF2-40B4-BE49-F238E27FC236}">
                      <a16:creationId xmlns:a16="http://schemas.microsoft.com/office/drawing/2014/main" id="{271976D1-7C1B-427E-B325-981AF803427C}"/>
                    </a:ext>
                  </a:extLst>
                </p:cNvPr>
                <p:cNvSpPr/>
                <p:nvPr/>
              </p:nvSpPr>
              <p:spPr bwMode="auto">
                <a:xfrm>
                  <a:off x="8537690" y="3529268"/>
                  <a:ext cx="330487" cy="14181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Right Triangle 25">
                  <a:extLst>
                    <a:ext uri="{FF2B5EF4-FFF2-40B4-BE49-F238E27FC236}">
                      <a16:creationId xmlns:a16="http://schemas.microsoft.com/office/drawing/2014/main" id="{BFD7E3C7-733B-4F02-AE9D-2CC4014FD46D}"/>
                    </a:ext>
                  </a:extLst>
                </p:cNvPr>
                <p:cNvSpPr/>
                <p:nvPr/>
              </p:nvSpPr>
              <p:spPr bwMode="auto">
                <a:xfrm>
                  <a:off x="8743876" y="3487343"/>
                  <a:ext cx="57009" cy="42061"/>
                </a:xfrm>
                <a:prstGeom prst="rtTriangl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ight Triangle 26">
                  <a:extLst>
                    <a:ext uri="{FF2B5EF4-FFF2-40B4-BE49-F238E27FC236}">
                      <a16:creationId xmlns:a16="http://schemas.microsoft.com/office/drawing/2014/main" id="{449BCBAE-A8F0-4269-8E6F-3BD710798EDD}"/>
                    </a:ext>
                  </a:extLst>
                </p:cNvPr>
                <p:cNvSpPr/>
                <p:nvPr/>
              </p:nvSpPr>
              <p:spPr bwMode="auto">
                <a:xfrm>
                  <a:off x="8676586" y="3487343"/>
                  <a:ext cx="57009" cy="42061"/>
                </a:xfrm>
                <a:prstGeom prst="rtTriangl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Right Triangle 27">
                  <a:extLst>
                    <a:ext uri="{FF2B5EF4-FFF2-40B4-BE49-F238E27FC236}">
                      <a16:creationId xmlns:a16="http://schemas.microsoft.com/office/drawing/2014/main" id="{4AE45AB8-7493-4554-9784-178B1ECA2CEC}"/>
                    </a:ext>
                  </a:extLst>
                </p:cNvPr>
                <p:cNvSpPr/>
                <p:nvPr/>
              </p:nvSpPr>
              <p:spPr bwMode="auto">
                <a:xfrm>
                  <a:off x="8811167" y="3487343"/>
                  <a:ext cx="57009" cy="42061"/>
                </a:xfrm>
                <a:prstGeom prst="rtTriangl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Rectangle 28">
                  <a:extLst>
                    <a:ext uri="{FF2B5EF4-FFF2-40B4-BE49-F238E27FC236}">
                      <a16:creationId xmlns:a16="http://schemas.microsoft.com/office/drawing/2014/main" id="{6402D016-D7FC-46B7-987E-BD0BDA158E49}"/>
                    </a:ext>
                  </a:extLst>
                </p:cNvPr>
                <p:cNvSpPr/>
                <p:nvPr/>
              </p:nvSpPr>
              <p:spPr bwMode="auto">
                <a:xfrm>
                  <a:off x="8709958" y="3594494"/>
                  <a:ext cx="127055" cy="76586"/>
                </a:xfrm>
                <a:prstGeom prst="rect">
                  <a:avLst/>
                </a:prstGeom>
                <a:solidFill>
                  <a:srgbClr val="353535">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Rectangle 29">
                  <a:extLst>
                    <a:ext uri="{FF2B5EF4-FFF2-40B4-BE49-F238E27FC236}">
                      <a16:creationId xmlns:a16="http://schemas.microsoft.com/office/drawing/2014/main" id="{7BE77CA1-7B67-49B6-A64A-D01059E17C49}"/>
                    </a:ext>
                  </a:extLst>
                </p:cNvPr>
                <p:cNvSpPr/>
                <p:nvPr/>
              </p:nvSpPr>
              <p:spPr bwMode="auto">
                <a:xfrm>
                  <a:off x="8709951" y="3556460"/>
                  <a:ext cx="127055" cy="20689"/>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Rectangle 30">
                  <a:extLst>
                    <a:ext uri="{FF2B5EF4-FFF2-40B4-BE49-F238E27FC236}">
                      <a16:creationId xmlns:a16="http://schemas.microsoft.com/office/drawing/2014/main" id="{01C64DEB-559A-490E-9918-5B90509A200F}"/>
                    </a:ext>
                  </a:extLst>
                </p:cNvPr>
                <p:cNvSpPr/>
                <p:nvPr/>
              </p:nvSpPr>
              <p:spPr bwMode="auto">
                <a:xfrm>
                  <a:off x="8562195" y="3556460"/>
                  <a:ext cx="127055" cy="20689"/>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32" name="Group 31">
              <a:extLst>
                <a:ext uri="{FF2B5EF4-FFF2-40B4-BE49-F238E27FC236}">
                  <a16:creationId xmlns:a16="http://schemas.microsoft.com/office/drawing/2014/main" id="{A9F5B1B6-DAF0-46CD-B276-419EB8D29433}"/>
                </a:ext>
              </a:extLst>
            </p:cNvPr>
            <p:cNvGrpSpPr/>
            <p:nvPr/>
          </p:nvGrpSpPr>
          <p:grpSpPr>
            <a:xfrm>
              <a:off x="6940246" y="3272652"/>
              <a:ext cx="1348132" cy="1563836"/>
              <a:chOff x="9861938" y="4574099"/>
              <a:chExt cx="1529994" cy="1774796"/>
            </a:xfrm>
          </p:grpSpPr>
          <p:sp>
            <p:nvSpPr>
              <p:cNvPr id="33" name="Hexagon 32">
                <a:extLst>
                  <a:ext uri="{FF2B5EF4-FFF2-40B4-BE49-F238E27FC236}">
                    <a16:creationId xmlns:a16="http://schemas.microsoft.com/office/drawing/2014/main" id="{8E2D8A11-68B7-4983-B817-C7B7C380478E}"/>
                  </a:ext>
                </a:extLst>
              </p:cNvPr>
              <p:cNvSpPr/>
              <p:nvPr/>
            </p:nvSpPr>
            <p:spPr bwMode="auto">
              <a:xfrm rot="5400000">
                <a:off x="9739537" y="4696500"/>
                <a:ext cx="1774796" cy="1529994"/>
              </a:xfrm>
              <a:prstGeom prst="hexagon">
                <a:avLst/>
              </a:prstGeom>
              <a:solidFill>
                <a:srgbClr val="0070C0"/>
              </a:solidFill>
              <a:ln w="349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Hexagon 33">
                <a:extLst>
                  <a:ext uri="{FF2B5EF4-FFF2-40B4-BE49-F238E27FC236}">
                    <a16:creationId xmlns:a16="http://schemas.microsoft.com/office/drawing/2014/main" id="{0C5002F0-F802-4CC5-8B78-550931E50E13}"/>
                  </a:ext>
                </a:extLst>
              </p:cNvPr>
              <p:cNvSpPr/>
              <p:nvPr/>
            </p:nvSpPr>
            <p:spPr bwMode="auto">
              <a:xfrm rot="5400000">
                <a:off x="9905711" y="4839751"/>
                <a:ext cx="1442449" cy="1243491"/>
              </a:xfrm>
              <a:prstGeom prst="hexagon">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5" name="Group 34">
                <a:extLst>
                  <a:ext uri="{FF2B5EF4-FFF2-40B4-BE49-F238E27FC236}">
                    <a16:creationId xmlns:a16="http://schemas.microsoft.com/office/drawing/2014/main" id="{19A9F18E-68FE-4FF0-B89D-3325728D95DD}"/>
                  </a:ext>
                </a:extLst>
              </p:cNvPr>
              <p:cNvGrpSpPr/>
              <p:nvPr/>
            </p:nvGrpSpPr>
            <p:grpSpPr>
              <a:xfrm>
                <a:off x="10236588" y="5115709"/>
                <a:ext cx="744554" cy="743434"/>
                <a:chOff x="5191907" y="8508971"/>
                <a:chExt cx="1005840" cy="1004327"/>
              </a:xfrm>
            </p:grpSpPr>
            <p:grpSp>
              <p:nvGrpSpPr>
                <p:cNvPr id="36" name="Group 35">
                  <a:extLst>
                    <a:ext uri="{FF2B5EF4-FFF2-40B4-BE49-F238E27FC236}">
                      <a16:creationId xmlns:a16="http://schemas.microsoft.com/office/drawing/2014/main" id="{6E7138F4-821D-4787-8EAF-814A80A7F223}"/>
                    </a:ext>
                  </a:extLst>
                </p:cNvPr>
                <p:cNvGrpSpPr/>
                <p:nvPr/>
              </p:nvGrpSpPr>
              <p:grpSpPr>
                <a:xfrm>
                  <a:off x="5191907" y="8508971"/>
                  <a:ext cx="1005840" cy="1004327"/>
                  <a:chOff x="402281" y="7770427"/>
                  <a:chExt cx="1827338" cy="1828800"/>
                </a:xfrm>
              </p:grpSpPr>
              <p:sp>
                <p:nvSpPr>
                  <p:cNvPr id="49" name="Rectangle 48">
                    <a:extLst>
                      <a:ext uri="{FF2B5EF4-FFF2-40B4-BE49-F238E27FC236}">
                        <a16:creationId xmlns:a16="http://schemas.microsoft.com/office/drawing/2014/main" id="{D556EE1A-85C1-4EF4-9420-94C60BF8B04D}"/>
                      </a:ext>
                    </a:extLst>
                  </p:cNvPr>
                  <p:cNvSpPr/>
                  <p:nvPr/>
                </p:nvSpPr>
                <p:spPr bwMode="auto">
                  <a:xfrm>
                    <a:off x="402281" y="7770427"/>
                    <a:ext cx="914400" cy="182880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 name="Rectangle 49">
                    <a:extLst>
                      <a:ext uri="{FF2B5EF4-FFF2-40B4-BE49-F238E27FC236}">
                        <a16:creationId xmlns:a16="http://schemas.microsoft.com/office/drawing/2014/main" id="{4D2D56F5-7D60-457A-8D9B-7646477B66A7}"/>
                      </a:ext>
                    </a:extLst>
                  </p:cNvPr>
                  <p:cNvSpPr/>
                  <p:nvPr/>
                </p:nvSpPr>
                <p:spPr bwMode="auto">
                  <a:xfrm>
                    <a:off x="1315219" y="8684825"/>
                    <a:ext cx="914400" cy="91440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 name="Rectangle 36">
                  <a:extLst>
                    <a:ext uri="{FF2B5EF4-FFF2-40B4-BE49-F238E27FC236}">
                      <a16:creationId xmlns:a16="http://schemas.microsoft.com/office/drawing/2014/main" id="{5188316A-BFCB-4D6E-B84D-7B2F401628A0}"/>
                    </a:ext>
                  </a:extLst>
                </p:cNvPr>
                <p:cNvSpPr/>
                <p:nvPr/>
              </p:nvSpPr>
              <p:spPr bwMode="auto">
                <a:xfrm>
                  <a:off x="5880761" y="9374718"/>
                  <a:ext cx="138899" cy="138580"/>
                </a:xfrm>
                <a:prstGeom prst="rect">
                  <a:avLst/>
                </a:prstGeom>
                <a:solidFill>
                  <a:srgbClr val="353535">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Rectangle 37">
                  <a:extLst>
                    <a:ext uri="{FF2B5EF4-FFF2-40B4-BE49-F238E27FC236}">
                      <a16:creationId xmlns:a16="http://schemas.microsoft.com/office/drawing/2014/main" id="{AFCA38AA-D868-4047-8688-AFC76EA3D4FC}"/>
                    </a:ext>
                  </a:extLst>
                </p:cNvPr>
                <p:cNvSpPr/>
                <p:nvPr/>
              </p:nvSpPr>
              <p:spPr bwMode="auto">
                <a:xfrm>
                  <a:off x="5978958" y="912138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 name="Rectangle 38">
                  <a:extLst>
                    <a:ext uri="{FF2B5EF4-FFF2-40B4-BE49-F238E27FC236}">
                      <a16:creationId xmlns:a16="http://schemas.microsoft.com/office/drawing/2014/main" id="{76F60AE6-0A75-49C6-B597-B9297F93E432}"/>
                    </a:ext>
                  </a:extLst>
                </p:cNvPr>
                <p:cNvSpPr/>
                <p:nvPr/>
              </p:nvSpPr>
              <p:spPr bwMode="auto">
                <a:xfrm>
                  <a:off x="5806584" y="912138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 name="Rectangle 39">
                  <a:extLst>
                    <a:ext uri="{FF2B5EF4-FFF2-40B4-BE49-F238E27FC236}">
                      <a16:creationId xmlns:a16="http://schemas.microsoft.com/office/drawing/2014/main" id="{F9B9E056-9FD1-461D-861B-1AED76FFDC77}"/>
                    </a:ext>
                  </a:extLst>
                </p:cNvPr>
                <p:cNvSpPr/>
                <p:nvPr/>
              </p:nvSpPr>
              <p:spPr bwMode="auto">
                <a:xfrm>
                  <a:off x="5477817" y="912138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Rectangle 40">
                  <a:extLst>
                    <a:ext uri="{FF2B5EF4-FFF2-40B4-BE49-F238E27FC236}">
                      <a16:creationId xmlns:a16="http://schemas.microsoft.com/office/drawing/2014/main" id="{952C33C1-536E-4BAA-85C1-991AE0D60215}"/>
                    </a:ext>
                  </a:extLst>
                </p:cNvPr>
                <p:cNvSpPr/>
                <p:nvPr/>
              </p:nvSpPr>
              <p:spPr bwMode="auto">
                <a:xfrm>
                  <a:off x="5305443" y="912138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 name="Rectangle 41">
                  <a:extLst>
                    <a:ext uri="{FF2B5EF4-FFF2-40B4-BE49-F238E27FC236}">
                      <a16:creationId xmlns:a16="http://schemas.microsoft.com/office/drawing/2014/main" id="{5DF888C2-6107-438B-974D-3389F730F4DD}"/>
                    </a:ext>
                  </a:extLst>
                </p:cNvPr>
                <p:cNvSpPr/>
                <p:nvPr/>
              </p:nvSpPr>
              <p:spPr bwMode="auto">
                <a:xfrm>
                  <a:off x="5477817" y="895333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 name="Rectangle 42">
                  <a:extLst>
                    <a:ext uri="{FF2B5EF4-FFF2-40B4-BE49-F238E27FC236}">
                      <a16:creationId xmlns:a16="http://schemas.microsoft.com/office/drawing/2014/main" id="{907A3FB5-040F-44F1-A85B-FC511557B988}"/>
                    </a:ext>
                  </a:extLst>
                </p:cNvPr>
                <p:cNvSpPr/>
                <p:nvPr/>
              </p:nvSpPr>
              <p:spPr bwMode="auto">
                <a:xfrm>
                  <a:off x="5305443" y="895333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Rectangle 43">
                  <a:extLst>
                    <a:ext uri="{FF2B5EF4-FFF2-40B4-BE49-F238E27FC236}">
                      <a16:creationId xmlns:a16="http://schemas.microsoft.com/office/drawing/2014/main" id="{DF4B308C-26B7-404E-B3D1-29002174D861}"/>
                    </a:ext>
                  </a:extLst>
                </p:cNvPr>
                <p:cNvSpPr/>
                <p:nvPr/>
              </p:nvSpPr>
              <p:spPr bwMode="auto">
                <a:xfrm>
                  <a:off x="5477817" y="8788054"/>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 name="Rectangle 44">
                  <a:extLst>
                    <a:ext uri="{FF2B5EF4-FFF2-40B4-BE49-F238E27FC236}">
                      <a16:creationId xmlns:a16="http://schemas.microsoft.com/office/drawing/2014/main" id="{B6A4BFFD-1754-420B-BA0C-3A31AF813315}"/>
                    </a:ext>
                  </a:extLst>
                </p:cNvPr>
                <p:cNvSpPr/>
                <p:nvPr/>
              </p:nvSpPr>
              <p:spPr bwMode="auto">
                <a:xfrm>
                  <a:off x="5305443" y="8788054"/>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 name="Rectangle 45">
                  <a:extLst>
                    <a:ext uri="{FF2B5EF4-FFF2-40B4-BE49-F238E27FC236}">
                      <a16:creationId xmlns:a16="http://schemas.microsoft.com/office/drawing/2014/main" id="{49F12620-5DF0-4402-A526-A12084FF38B9}"/>
                    </a:ext>
                  </a:extLst>
                </p:cNvPr>
                <p:cNvSpPr/>
                <p:nvPr/>
              </p:nvSpPr>
              <p:spPr bwMode="auto">
                <a:xfrm>
                  <a:off x="5477817" y="8619814"/>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Rectangle 46">
                  <a:extLst>
                    <a:ext uri="{FF2B5EF4-FFF2-40B4-BE49-F238E27FC236}">
                      <a16:creationId xmlns:a16="http://schemas.microsoft.com/office/drawing/2014/main" id="{D90B85BA-CEC2-452A-9FFD-74BAA011BCBB}"/>
                    </a:ext>
                  </a:extLst>
                </p:cNvPr>
                <p:cNvSpPr/>
                <p:nvPr/>
              </p:nvSpPr>
              <p:spPr bwMode="auto">
                <a:xfrm>
                  <a:off x="5305443" y="8619814"/>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 name="Rectangle 47">
                  <a:extLst>
                    <a:ext uri="{FF2B5EF4-FFF2-40B4-BE49-F238E27FC236}">
                      <a16:creationId xmlns:a16="http://schemas.microsoft.com/office/drawing/2014/main" id="{3ACFA696-47B1-4681-B615-DCE5A623CF93}"/>
                    </a:ext>
                  </a:extLst>
                </p:cNvPr>
                <p:cNvSpPr/>
                <p:nvPr/>
              </p:nvSpPr>
              <p:spPr bwMode="auto">
                <a:xfrm>
                  <a:off x="5374940" y="9374718"/>
                  <a:ext cx="138899" cy="138580"/>
                </a:xfrm>
                <a:prstGeom prst="rect">
                  <a:avLst/>
                </a:prstGeom>
                <a:solidFill>
                  <a:srgbClr val="353535">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sp>
        <p:nvSpPr>
          <p:cNvPr id="51" name="Rectangle 50">
            <a:extLst>
              <a:ext uri="{FF2B5EF4-FFF2-40B4-BE49-F238E27FC236}">
                <a16:creationId xmlns:a16="http://schemas.microsoft.com/office/drawing/2014/main" id="{A6DE1D8F-08EF-470B-9BE0-8A83964C2F7D}"/>
              </a:ext>
            </a:extLst>
          </p:cNvPr>
          <p:cNvSpPr/>
          <p:nvPr/>
        </p:nvSpPr>
        <p:spPr bwMode="auto">
          <a:xfrm>
            <a:off x="6605312" y="1713891"/>
            <a:ext cx="5001176" cy="997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To a blockchain network that </a:t>
            </a:r>
            <a:r>
              <a:rPr kumimoji="0" lang="en-US" sz="24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rPr>
              <a:t>reduces cost, saves time, and lowers risk</a:t>
            </a:r>
          </a:p>
        </p:txBody>
      </p:sp>
      <p:sp>
        <p:nvSpPr>
          <p:cNvPr id="53" name="Rectangle 52">
            <a:extLst>
              <a:ext uri="{FF2B5EF4-FFF2-40B4-BE49-F238E27FC236}">
                <a16:creationId xmlns:a16="http://schemas.microsoft.com/office/drawing/2014/main" id="{7C0FF567-861A-48C7-8425-024FCA06F556}"/>
              </a:ext>
            </a:extLst>
          </p:cNvPr>
          <p:cNvSpPr/>
          <p:nvPr/>
        </p:nvSpPr>
        <p:spPr bwMode="auto">
          <a:xfrm>
            <a:off x="585512" y="1713891"/>
            <a:ext cx="5303838" cy="997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Move from intermediaries and manual verification methods </a:t>
            </a:r>
            <a:r>
              <a:rPr kumimoji="0" lang="en-US" sz="24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rPr>
              <a:t>that are slow and costly…</a:t>
            </a:r>
          </a:p>
        </p:txBody>
      </p:sp>
      <p:grpSp>
        <p:nvGrpSpPr>
          <p:cNvPr id="54" name="Group 53">
            <a:extLst>
              <a:ext uri="{FF2B5EF4-FFF2-40B4-BE49-F238E27FC236}">
                <a16:creationId xmlns:a16="http://schemas.microsoft.com/office/drawing/2014/main" id="{4E4297BC-4BE3-4A56-A0B3-D0C87AEE249A}"/>
              </a:ext>
            </a:extLst>
          </p:cNvPr>
          <p:cNvGrpSpPr/>
          <p:nvPr/>
        </p:nvGrpSpPr>
        <p:grpSpPr>
          <a:xfrm>
            <a:off x="1426272" y="3280642"/>
            <a:ext cx="3622318" cy="2528052"/>
            <a:chOff x="462675" y="1766661"/>
            <a:chExt cx="5215473" cy="3639932"/>
          </a:xfrm>
        </p:grpSpPr>
        <p:grpSp>
          <p:nvGrpSpPr>
            <p:cNvPr id="55" name="Group 54">
              <a:extLst>
                <a:ext uri="{FF2B5EF4-FFF2-40B4-BE49-F238E27FC236}">
                  <a16:creationId xmlns:a16="http://schemas.microsoft.com/office/drawing/2014/main" id="{0397A966-5E4E-4E86-8582-8A606F52251C}"/>
                </a:ext>
              </a:extLst>
            </p:cNvPr>
            <p:cNvGrpSpPr/>
            <p:nvPr/>
          </p:nvGrpSpPr>
          <p:grpSpPr>
            <a:xfrm flipH="1">
              <a:off x="462675" y="1821817"/>
              <a:ext cx="1248836" cy="1248832"/>
              <a:chOff x="8537688" y="3341197"/>
              <a:chExt cx="330488" cy="329883"/>
            </a:xfrm>
          </p:grpSpPr>
          <p:sp>
            <p:nvSpPr>
              <p:cNvPr id="98" name="Trapezoid 97">
                <a:extLst>
                  <a:ext uri="{FF2B5EF4-FFF2-40B4-BE49-F238E27FC236}">
                    <a16:creationId xmlns:a16="http://schemas.microsoft.com/office/drawing/2014/main" id="{C4C1893E-8626-420D-BB1E-E9A8DA6A2E0B}"/>
                  </a:ext>
                </a:extLst>
              </p:cNvPr>
              <p:cNvSpPr/>
              <p:nvPr/>
            </p:nvSpPr>
            <p:spPr bwMode="auto">
              <a:xfrm>
                <a:off x="8603203" y="3341197"/>
                <a:ext cx="63011" cy="328902"/>
              </a:xfrm>
              <a:prstGeom prst="trapezoid">
                <a:avLst>
                  <a:gd name="adj" fmla="val 2174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9" name="Trapezoid 98">
                <a:extLst>
                  <a:ext uri="{FF2B5EF4-FFF2-40B4-BE49-F238E27FC236}">
                    <a16:creationId xmlns:a16="http://schemas.microsoft.com/office/drawing/2014/main" id="{CAEB8116-B5D7-44FA-81FA-66331B8B6669}"/>
                  </a:ext>
                </a:extLst>
              </p:cNvPr>
              <p:cNvSpPr/>
              <p:nvPr/>
            </p:nvSpPr>
            <p:spPr bwMode="auto">
              <a:xfrm>
                <a:off x="8547125" y="3388228"/>
                <a:ext cx="63011" cy="278924"/>
              </a:xfrm>
              <a:prstGeom prst="trapezoid">
                <a:avLst>
                  <a:gd name="adj" fmla="val 2174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Rectangle 99">
                <a:extLst>
                  <a:ext uri="{FF2B5EF4-FFF2-40B4-BE49-F238E27FC236}">
                    <a16:creationId xmlns:a16="http://schemas.microsoft.com/office/drawing/2014/main" id="{3149A0F4-7D88-4591-889C-A26B5F00CFFF}"/>
                  </a:ext>
                </a:extLst>
              </p:cNvPr>
              <p:cNvSpPr/>
              <p:nvPr/>
            </p:nvSpPr>
            <p:spPr bwMode="auto">
              <a:xfrm>
                <a:off x="8537688" y="3529268"/>
                <a:ext cx="330487" cy="14181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1" name="Right Triangle 100">
                <a:extLst>
                  <a:ext uri="{FF2B5EF4-FFF2-40B4-BE49-F238E27FC236}">
                    <a16:creationId xmlns:a16="http://schemas.microsoft.com/office/drawing/2014/main" id="{CD7637F2-051E-4480-919C-C6420D8C19E9}"/>
                  </a:ext>
                </a:extLst>
              </p:cNvPr>
              <p:cNvSpPr/>
              <p:nvPr/>
            </p:nvSpPr>
            <p:spPr bwMode="auto">
              <a:xfrm>
                <a:off x="8743876" y="3487343"/>
                <a:ext cx="57009" cy="42061"/>
              </a:xfrm>
              <a:prstGeom prst="rtTriangl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2" name="Right Triangle 101">
                <a:extLst>
                  <a:ext uri="{FF2B5EF4-FFF2-40B4-BE49-F238E27FC236}">
                    <a16:creationId xmlns:a16="http://schemas.microsoft.com/office/drawing/2014/main" id="{3B3DF773-BB8D-4843-A783-A3A7D18BE348}"/>
                  </a:ext>
                </a:extLst>
              </p:cNvPr>
              <p:cNvSpPr/>
              <p:nvPr/>
            </p:nvSpPr>
            <p:spPr bwMode="auto">
              <a:xfrm>
                <a:off x="8676586" y="3487343"/>
                <a:ext cx="57009" cy="42061"/>
              </a:xfrm>
              <a:prstGeom prst="rtTriangl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3" name="Right Triangle 102">
                <a:extLst>
                  <a:ext uri="{FF2B5EF4-FFF2-40B4-BE49-F238E27FC236}">
                    <a16:creationId xmlns:a16="http://schemas.microsoft.com/office/drawing/2014/main" id="{F9026327-A5AF-495A-B0B9-3DFD0AE699FE}"/>
                  </a:ext>
                </a:extLst>
              </p:cNvPr>
              <p:cNvSpPr/>
              <p:nvPr/>
            </p:nvSpPr>
            <p:spPr bwMode="auto">
              <a:xfrm>
                <a:off x="8811167" y="3487343"/>
                <a:ext cx="57009" cy="42061"/>
              </a:xfrm>
              <a:prstGeom prst="rtTriangl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4" name="Rectangle 103">
                <a:extLst>
                  <a:ext uri="{FF2B5EF4-FFF2-40B4-BE49-F238E27FC236}">
                    <a16:creationId xmlns:a16="http://schemas.microsoft.com/office/drawing/2014/main" id="{6F38CD13-C2E9-470F-9BDD-9790A313B6CD}"/>
                  </a:ext>
                </a:extLst>
              </p:cNvPr>
              <p:cNvSpPr/>
              <p:nvPr/>
            </p:nvSpPr>
            <p:spPr bwMode="auto">
              <a:xfrm>
                <a:off x="8709958" y="3594494"/>
                <a:ext cx="127055" cy="76586"/>
              </a:xfrm>
              <a:prstGeom prst="rect">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 name="Rectangle 104">
                <a:extLst>
                  <a:ext uri="{FF2B5EF4-FFF2-40B4-BE49-F238E27FC236}">
                    <a16:creationId xmlns:a16="http://schemas.microsoft.com/office/drawing/2014/main" id="{9B310BDF-9881-4660-98F6-09CA9F0F5689}"/>
                  </a:ext>
                </a:extLst>
              </p:cNvPr>
              <p:cNvSpPr/>
              <p:nvPr/>
            </p:nvSpPr>
            <p:spPr bwMode="auto">
              <a:xfrm>
                <a:off x="8709951" y="3556460"/>
                <a:ext cx="127055" cy="20689"/>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6" name="Rectangle 105">
                <a:extLst>
                  <a:ext uri="{FF2B5EF4-FFF2-40B4-BE49-F238E27FC236}">
                    <a16:creationId xmlns:a16="http://schemas.microsoft.com/office/drawing/2014/main" id="{CB22C59A-E63D-46BD-8C36-BE9B446CBD30}"/>
                  </a:ext>
                </a:extLst>
              </p:cNvPr>
              <p:cNvSpPr/>
              <p:nvPr/>
            </p:nvSpPr>
            <p:spPr bwMode="auto">
              <a:xfrm>
                <a:off x="8562195" y="3556460"/>
                <a:ext cx="127055" cy="20689"/>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6" name="Group 55">
              <a:extLst>
                <a:ext uri="{FF2B5EF4-FFF2-40B4-BE49-F238E27FC236}">
                  <a16:creationId xmlns:a16="http://schemas.microsoft.com/office/drawing/2014/main" id="{CC3FC5DA-DD56-462A-8F2C-FA0013C3E901}"/>
                </a:ext>
              </a:extLst>
            </p:cNvPr>
            <p:cNvGrpSpPr/>
            <p:nvPr/>
          </p:nvGrpSpPr>
          <p:grpSpPr>
            <a:xfrm>
              <a:off x="4429316" y="4050034"/>
              <a:ext cx="1248832" cy="1246954"/>
              <a:chOff x="5191907" y="8508971"/>
              <a:chExt cx="1005840" cy="1004327"/>
            </a:xfrm>
          </p:grpSpPr>
          <p:grpSp>
            <p:nvGrpSpPr>
              <p:cNvPr id="83" name="Group 82">
                <a:extLst>
                  <a:ext uri="{FF2B5EF4-FFF2-40B4-BE49-F238E27FC236}">
                    <a16:creationId xmlns:a16="http://schemas.microsoft.com/office/drawing/2014/main" id="{7447471E-CDCD-467D-BC23-AA8C73C48AA6}"/>
                  </a:ext>
                </a:extLst>
              </p:cNvPr>
              <p:cNvGrpSpPr/>
              <p:nvPr/>
            </p:nvGrpSpPr>
            <p:grpSpPr>
              <a:xfrm>
                <a:off x="5191907" y="8508971"/>
                <a:ext cx="1005840" cy="1004327"/>
                <a:chOff x="402281" y="7770427"/>
                <a:chExt cx="1827338" cy="1828800"/>
              </a:xfrm>
            </p:grpSpPr>
            <p:sp>
              <p:nvSpPr>
                <p:cNvPr id="96" name="Rectangle 95">
                  <a:extLst>
                    <a:ext uri="{FF2B5EF4-FFF2-40B4-BE49-F238E27FC236}">
                      <a16:creationId xmlns:a16="http://schemas.microsoft.com/office/drawing/2014/main" id="{F87646A3-DBEE-4A80-B96F-C9A4F4B5C512}"/>
                    </a:ext>
                  </a:extLst>
                </p:cNvPr>
                <p:cNvSpPr/>
                <p:nvPr/>
              </p:nvSpPr>
              <p:spPr bwMode="auto">
                <a:xfrm>
                  <a:off x="402281" y="7770427"/>
                  <a:ext cx="914400" cy="182880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7" name="Rectangle 96">
                  <a:extLst>
                    <a:ext uri="{FF2B5EF4-FFF2-40B4-BE49-F238E27FC236}">
                      <a16:creationId xmlns:a16="http://schemas.microsoft.com/office/drawing/2014/main" id="{5E627AFB-ACC1-47E2-9D34-FD7D085811A9}"/>
                    </a:ext>
                  </a:extLst>
                </p:cNvPr>
                <p:cNvSpPr/>
                <p:nvPr/>
              </p:nvSpPr>
              <p:spPr bwMode="auto">
                <a:xfrm>
                  <a:off x="1315219" y="8684825"/>
                  <a:ext cx="914400" cy="91440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84" name="Rectangle 83">
                <a:extLst>
                  <a:ext uri="{FF2B5EF4-FFF2-40B4-BE49-F238E27FC236}">
                    <a16:creationId xmlns:a16="http://schemas.microsoft.com/office/drawing/2014/main" id="{A668804B-E01B-4564-B433-24ED85119511}"/>
                  </a:ext>
                </a:extLst>
              </p:cNvPr>
              <p:cNvSpPr/>
              <p:nvPr/>
            </p:nvSpPr>
            <p:spPr bwMode="auto">
              <a:xfrm>
                <a:off x="5880761" y="9374718"/>
                <a:ext cx="138899" cy="138580"/>
              </a:xfrm>
              <a:prstGeom prst="rect">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 name="Rectangle 84">
                <a:extLst>
                  <a:ext uri="{FF2B5EF4-FFF2-40B4-BE49-F238E27FC236}">
                    <a16:creationId xmlns:a16="http://schemas.microsoft.com/office/drawing/2014/main" id="{DF21DE26-462B-4339-A1CC-128C27552464}"/>
                  </a:ext>
                </a:extLst>
              </p:cNvPr>
              <p:cNvSpPr/>
              <p:nvPr/>
            </p:nvSpPr>
            <p:spPr bwMode="auto">
              <a:xfrm>
                <a:off x="5978958" y="912138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6" name="Rectangle 85">
                <a:extLst>
                  <a:ext uri="{FF2B5EF4-FFF2-40B4-BE49-F238E27FC236}">
                    <a16:creationId xmlns:a16="http://schemas.microsoft.com/office/drawing/2014/main" id="{BC0B74B5-1593-44B6-8AF6-75A683F64478}"/>
                  </a:ext>
                </a:extLst>
              </p:cNvPr>
              <p:cNvSpPr/>
              <p:nvPr/>
            </p:nvSpPr>
            <p:spPr bwMode="auto">
              <a:xfrm>
                <a:off x="5806584" y="912138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 name="Rectangle 86">
                <a:extLst>
                  <a:ext uri="{FF2B5EF4-FFF2-40B4-BE49-F238E27FC236}">
                    <a16:creationId xmlns:a16="http://schemas.microsoft.com/office/drawing/2014/main" id="{F7303B3F-A5E7-4AC4-A446-BDC1B5EAC5BF}"/>
                  </a:ext>
                </a:extLst>
              </p:cNvPr>
              <p:cNvSpPr/>
              <p:nvPr/>
            </p:nvSpPr>
            <p:spPr bwMode="auto">
              <a:xfrm>
                <a:off x="5477817" y="912138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 name="Rectangle 87">
                <a:extLst>
                  <a:ext uri="{FF2B5EF4-FFF2-40B4-BE49-F238E27FC236}">
                    <a16:creationId xmlns:a16="http://schemas.microsoft.com/office/drawing/2014/main" id="{527BBBE2-E116-4DF3-B89E-C99D9F26B081}"/>
                  </a:ext>
                </a:extLst>
              </p:cNvPr>
              <p:cNvSpPr/>
              <p:nvPr/>
            </p:nvSpPr>
            <p:spPr bwMode="auto">
              <a:xfrm>
                <a:off x="5305443" y="912138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 name="Rectangle 88">
                <a:extLst>
                  <a:ext uri="{FF2B5EF4-FFF2-40B4-BE49-F238E27FC236}">
                    <a16:creationId xmlns:a16="http://schemas.microsoft.com/office/drawing/2014/main" id="{3D559547-CB73-4CAA-BE9D-ABC98038D291}"/>
                  </a:ext>
                </a:extLst>
              </p:cNvPr>
              <p:cNvSpPr/>
              <p:nvPr/>
            </p:nvSpPr>
            <p:spPr bwMode="auto">
              <a:xfrm>
                <a:off x="5477817" y="895333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 name="Rectangle 89">
                <a:extLst>
                  <a:ext uri="{FF2B5EF4-FFF2-40B4-BE49-F238E27FC236}">
                    <a16:creationId xmlns:a16="http://schemas.microsoft.com/office/drawing/2014/main" id="{3C7F07AA-AF10-4EF9-AC1F-4E6A5AFBEF58}"/>
                  </a:ext>
                </a:extLst>
              </p:cNvPr>
              <p:cNvSpPr/>
              <p:nvPr/>
            </p:nvSpPr>
            <p:spPr bwMode="auto">
              <a:xfrm>
                <a:off x="5305443" y="895333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 name="Rectangle 90">
                <a:extLst>
                  <a:ext uri="{FF2B5EF4-FFF2-40B4-BE49-F238E27FC236}">
                    <a16:creationId xmlns:a16="http://schemas.microsoft.com/office/drawing/2014/main" id="{CCC231FF-8B72-45E7-A83D-9D39D31A2E21}"/>
                  </a:ext>
                </a:extLst>
              </p:cNvPr>
              <p:cNvSpPr/>
              <p:nvPr/>
            </p:nvSpPr>
            <p:spPr bwMode="auto">
              <a:xfrm>
                <a:off x="5477817" y="8788054"/>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 name="Rectangle 91">
                <a:extLst>
                  <a:ext uri="{FF2B5EF4-FFF2-40B4-BE49-F238E27FC236}">
                    <a16:creationId xmlns:a16="http://schemas.microsoft.com/office/drawing/2014/main" id="{A840728D-230C-4B5B-8C15-439A6638F5B0}"/>
                  </a:ext>
                </a:extLst>
              </p:cNvPr>
              <p:cNvSpPr/>
              <p:nvPr/>
            </p:nvSpPr>
            <p:spPr bwMode="auto">
              <a:xfrm>
                <a:off x="5305443" y="8788054"/>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 name="Rectangle 92">
                <a:extLst>
                  <a:ext uri="{FF2B5EF4-FFF2-40B4-BE49-F238E27FC236}">
                    <a16:creationId xmlns:a16="http://schemas.microsoft.com/office/drawing/2014/main" id="{82B31008-09DE-43DF-BF2A-014EBDF7CCFD}"/>
                  </a:ext>
                </a:extLst>
              </p:cNvPr>
              <p:cNvSpPr/>
              <p:nvPr/>
            </p:nvSpPr>
            <p:spPr bwMode="auto">
              <a:xfrm>
                <a:off x="5477817" y="8619814"/>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 name="Rectangle 93">
                <a:extLst>
                  <a:ext uri="{FF2B5EF4-FFF2-40B4-BE49-F238E27FC236}">
                    <a16:creationId xmlns:a16="http://schemas.microsoft.com/office/drawing/2014/main" id="{176EDC79-07E8-436E-A7ED-17351B70A7E1}"/>
                  </a:ext>
                </a:extLst>
              </p:cNvPr>
              <p:cNvSpPr/>
              <p:nvPr/>
            </p:nvSpPr>
            <p:spPr bwMode="auto">
              <a:xfrm>
                <a:off x="5305443" y="8619814"/>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 name="Rectangle 94">
                <a:extLst>
                  <a:ext uri="{FF2B5EF4-FFF2-40B4-BE49-F238E27FC236}">
                    <a16:creationId xmlns:a16="http://schemas.microsoft.com/office/drawing/2014/main" id="{F60E32B2-A4D1-4A82-B7FE-7C3B06B85C85}"/>
                  </a:ext>
                </a:extLst>
              </p:cNvPr>
              <p:cNvSpPr/>
              <p:nvPr/>
            </p:nvSpPr>
            <p:spPr bwMode="auto">
              <a:xfrm>
                <a:off x="5374940" y="9374718"/>
                <a:ext cx="138899" cy="138580"/>
              </a:xfrm>
              <a:prstGeom prst="rect">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57" name="Freeform 5">
              <a:extLst>
                <a:ext uri="{FF2B5EF4-FFF2-40B4-BE49-F238E27FC236}">
                  <a16:creationId xmlns:a16="http://schemas.microsoft.com/office/drawing/2014/main" id="{8A3DA390-C99A-4021-A357-E27B9C872F13}"/>
                </a:ext>
              </a:extLst>
            </p:cNvPr>
            <p:cNvSpPr>
              <a:spLocks noEditPoints="1"/>
            </p:cNvSpPr>
            <p:nvPr/>
          </p:nvSpPr>
          <p:spPr bwMode="auto">
            <a:xfrm>
              <a:off x="3060500" y="2054611"/>
              <a:ext cx="474313" cy="473910"/>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cxnSp>
          <p:nvCxnSpPr>
            <p:cNvPr id="58" name="Connector: Elbow 57">
              <a:extLst>
                <a:ext uri="{FF2B5EF4-FFF2-40B4-BE49-F238E27FC236}">
                  <a16:creationId xmlns:a16="http://schemas.microsoft.com/office/drawing/2014/main" id="{BC17E61D-70F2-448C-9020-D76C7C976151}"/>
                </a:ext>
              </a:extLst>
            </p:cNvPr>
            <p:cNvCxnSpPr>
              <a:cxnSpLocks/>
            </p:cNvCxnSpPr>
            <p:nvPr/>
          </p:nvCxnSpPr>
          <p:spPr>
            <a:xfrm flipV="1">
              <a:off x="1651000" y="2291098"/>
              <a:ext cx="1417542" cy="553702"/>
            </a:xfrm>
            <a:prstGeom prst="bentConnector3">
              <a:avLst>
                <a:gd name="adj1" fmla="val 50000"/>
              </a:avLst>
            </a:prstGeom>
            <a:noFill/>
            <a:ln w="9525" cap="flat" cmpd="sng" algn="ctr">
              <a:solidFill>
                <a:srgbClr val="0078D7"/>
              </a:solidFill>
              <a:prstDash val="solid"/>
              <a:headEnd type="none"/>
              <a:tailEnd type="none"/>
            </a:ln>
            <a:effectLst/>
          </p:spPr>
        </p:cxnSp>
        <p:sp>
          <p:nvSpPr>
            <p:cNvPr id="59" name="Freeform 5">
              <a:extLst>
                <a:ext uri="{FF2B5EF4-FFF2-40B4-BE49-F238E27FC236}">
                  <a16:creationId xmlns:a16="http://schemas.microsoft.com/office/drawing/2014/main" id="{92A07799-DA2B-4591-BF8D-A70909684587}"/>
                </a:ext>
              </a:extLst>
            </p:cNvPr>
            <p:cNvSpPr>
              <a:spLocks noEditPoints="1"/>
            </p:cNvSpPr>
            <p:nvPr/>
          </p:nvSpPr>
          <p:spPr bwMode="auto">
            <a:xfrm>
              <a:off x="2965713" y="1789598"/>
              <a:ext cx="283386" cy="283145"/>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sp>
          <p:nvSpPr>
            <p:cNvPr id="60" name="Freeform 5">
              <a:extLst>
                <a:ext uri="{FF2B5EF4-FFF2-40B4-BE49-F238E27FC236}">
                  <a16:creationId xmlns:a16="http://schemas.microsoft.com/office/drawing/2014/main" id="{3C328452-C78F-48AC-A809-3F61F337870E}"/>
                </a:ext>
              </a:extLst>
            </p:cNvPr>
            <p:cNvSpPr>
              <a:spLocks noEditPoints="1"/>
            </p:cNvSpPr>
            <p:nvPr/>
          </p:nvSpPr>
          <p:spPr bwMode="auto">
            <a:xfrm>
              <a:off x="4331783" y="2641108"/>
              <a:ext cx="233239" cy="233039"/>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BCF2">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cxnSp>
          <p:nvCxnSpPr>
            <p:cNvPr id="61" name="Connector: Elbow 60">
              <a:extLst>
                <a:ext uri="{FF2B5EF4-FFF2-40B4-BE49-F238E27FC236}">
                  <a16:creationId xmlns:a16="http://schemas.microsoft.com/office/drawing/2014/main" id="{A17179CC-E162-4A39-9CBE-53C48E74A883}"/>
                </a:ext>
              </a:extLst>
            </p:cNvPr>
            <p:cNvCxnSpPr>
              <a:cxnSpLocks/>
            </p:cNvCxnSpPr>
            <p:nvPr/>
          </p:nvCxnSpPr>
          <p:spPr>
            <a:xfrm rot="16200000" flipH="1" flipV="1">
              <a:off x="4331774" y="2178595"/>
              <a:ext cx="601918" cy="371425"/>
            </a:xfrm>
            <a:prstGeom prst="bentConnector3">
              <a:avLst>
                <a:gd name="adj1" fmla="val 50000"/>
              </a:avLst>
            </a:prstGeom>
            <a:noFill/>
            <a:ln w="9525" cap="flat" cmpd="sng" algn="ctr">
              <a:solidFill>
                <a:srgbClr val="00BCF2">
                  <a:lumMod val="60000"/>
                  <a:lumOff val="40000"/>
                </a:srgbClr>
              </a:solidFill>
              <a:prstDash val="solid"/>
              <a:headEnd type="none"/>
              <a:tailEnd type="none"/>
            </a:ln>
            <a:effectLst/>
          </p:spPr>
        </p:cxnSp>
        <p:sp>
          <p:nvSpPr>
            <p:cNvPr id="62" name="Freeform 5">
              <a:extLst>
                <a:ext uri="{FF2B5EF4-FFF2-40B4-BE49-F238E27FC236}">
                  <a16:creationId xmlns:a16="http://schemas.microsoft.com/office/drawing/2014/main" id="{C3953B5C-2417-469F-A88B-A11821D61926}"/>
                </a:ext>
              </a:extLst>
            </p:cNvPr>
            <p:cNvSpPr>
              <a:spLocks noEditPoints="1"/>
            </p:cNvSpPr>
            <p:nvPr/>
          </p:nvSpPr>
          <p:spPr bwMode="auto">
            <a:xfrm>
              <a:off x="4001522" y="2480711"/>
              <a:ext cx="333645" cy="333361"/>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BCF2">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cxnSp>
          <p:nvCxnSpPr>
            <p:cNvPr id="63" name="Connector: Elbow 62">
              <a:extLst>
                <a:ext uri="{FF2B5EF4-FFF2-40B4-BE49-F238E27FC236}">
                  <a16:creationId xmlns:a16="http://schemas.microsoft.com/office/drawing/2014/main" id="{68D81EC2-612E-45C5-BBF3-E15EB4BEC8AC}"/>
                </a:ext>
              </a:extLst>
            </p:cNvPr>
            <p:cNvCxnSpPr>
              <a:cxnSpLocks/>
            </p:cNvCxnSpPr>
            <p:nvPr/>
          </p:nvCxnSpPr>
          <p:spPr>
            <a:xfrm flipV="1">
              <a:off x="3403747" y="2660094"/>
              <a:ext cx="619042" cy="866659"/>
            </a:xfrm>
            <a:prstGeom prst="bentConnector3">
              <a:avLst>
                <a:gd name="adj1" fmla="val 50000"/>
              </a:avLst>
            </a:prstGeom>
            <a:noFill/>
            <a:ln w="9525" cap="flat" cmpd="sng" algn="ctr">
              <a:solidFill>
                <a:srgbClr val="00BCF2">
                  <a:lumMod val="60000"/>
                  <a:lumOff val="40000"/>
                </a:srgbClr>
              </a:solidFill>
              <a:prstDash val="solid"/>
              <a:headEnd type="none"/>
              <a:tailEnd type="none"/>
            </a:ln>
            <a:effectLst/>
          </p:spPr>
        </p:cxnSp>
        <p:sp>
          <p:nvSpPr>
            <p:cNvPr id="64" name="Freeform 5">
              <a:extLst>
                <a:ext uri="{FF2B5EF4-FFF2-40B4-BE49-F238E27FC236}">
                  <a16:creationId xmlns:a16="http://schemas.microsoft.com/office/drawing/2014/main" id="{74140774-5795-4E2F-8E1D-F118353544B4}"/>
                </a:ext>
              </a:extLst>
            </p:cNvPr>
            <p:cNvSpPr>
              <a:spLocks noEditPoints="1"/>
            </p:cNvSpPr>
            <p:nvPr/>
          </p:nvSpPr>
          <p:spPr bwMode="auto">
            <a:xfrm>
              <a:off x="4650979" y="1766661"/>
              <a:ext cx="335095" cy="334811"/>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sp>
          <p:nvSpPr>
            <p:cNvPr id="65" name="Freeform 5">
              <a:extLst>
                <a:ext uri="{FF2B5EF4-FFF2-40B4-BE49-F238E27FC236}">
                  <a16:creationId xmlns:a16="http://schemas.microsoft.com/office/drawing/2014/main" id="{C9C6264B-E6E3-48A2-8A56-E14E26B6189B}"/>
                </a:ext>
              </a:extLst>
            </p:cNvPr>
            <p:cNvSpPr>
              <a:spLocks noEditPoints="1"/>
            </p:cNvSpPr>
            <p:nvPr/>
          </p:nvSpPr>
          <p:spPr bwMode="auto">
            <a:xfrm>
              <a:off x="2939120" y="3292695"/>
              <a:ext cx="474313" cy="473910"/>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BCF2">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sp>
          <p:nvSpPr>
            <p:cNvPr id="66" name="Freeform 5">
              <a:extLst>
                <a:ext uri="{FF2B5EF4-FFF2-40B4-BE49-F238E27FC236}">
                  <a16:creationId xmlns:a16="http://schemas.microsoft.com/office/drawing/2014/main" id="{B13B2F8B-E425-4D84-9971-E3261EFF85EE}"/>
                </a:ext>
              </a:extLst>
            </p:cNvPr>
            <p:cNvSpPr>
              <a:spLocks noEditPoints="1"/>
            </p:cNvSpPr>
            <p:nvPr/>
          </p:nvSpPr>
          <p:spPr bwMode="auto">
            <a:xfrm>
              <a:off x="3817444" y="2039738"/>
              <a:ext cx="283386" cy="283145"/>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cxnSp>
          <p:nvCxnSpPr>
            <p:cNvPr id="67" name="Connector: Elbow 66">
              <a:extLst>
                <a:ext uri="{FF2B5EF4-FFF2-40B4-BE49-F238E27FC236}">
                  <a16:creationId xmlns:a16="http://schemas.microsoft.com/office/drawing/2014/main" id="{DCBC9A06-5395-49EC-A942-3B4CD3887246}"/>
                </a:ext>
              </a:extLst>
            </p:cNvPr>
            <p:cNvCxnSpPr>
              <a:cxnSpLocks/>
            </p:cNvCxnSpPr>
            <p:nvPr/>
          </p:nvCxnSpPr>
          <p:spPr>
            <a:xfrm>
              <a:off x="3238606" y="1930656"/>
              <a:ext cx="601918" cy="247617"/>
            </a:xfrm>
            <a:prstGeom prst="bentConnector3">
              <a:avLst>
                <a:gd name="adj1" fmla="val 79845"/>
              </a:avLst>
            </a:prstGeom>
            <a:noFill/>
            <a:ln w="9525" cap="flat" cmpd="sng" algn="ctr">
              <a:solidFill>
                <a:srgbClr val="0078D7"/>
              </a:solidFill>
              <a:prstDash val="solid"/>
              <a:headEnd type="none"/>
              <a:tailEnd type="none"/>
            </a:ln>
            <a:effectLst/>
          </p:spPr>
        </p:cxnSp>
        <p:cxnSp>
          <p:nvCxnSpPr>
            <p:cNvPr id="68" name="Connector: Elbow 67">
              <a:extLst>
                <a:ext uri="{FF2B5EF4-FFF2-40B4-BE49-F238E27FC236}">
                  <a16:creationId xmlns:a16="http://schemas.microsoft.com/office/drawing/2014/main" id="{78372D8F-DF0B-4568-BC92-3D7FB61D5EC0}"/>
                </a:ext>
              </a:extLst>
            </p:cNvPr>
            <p:cNvCxnSpPr>
              <a:cxnSpLocks/>
            </p:cNvCxnSpPr>
            <p:nvPr/>
          </p:nvCxnSpPr>
          <p:spPr>
            <a:xfrm flipH="1">
              <a:off x="4063995" y="1934742"/>
              <a:ext cx="601918" cy="247617"/>
            </a:xfrm>
            <a:prstGeom prst="bentConnector3">
              <a:avLst>
                <a:gd name="adj1" fmla="val 79845"/>
              </a:avLst>
            </a:prstGeom>
            <a:noFill/>
            <a:ln w="9525" cap="flat" cmpd="sng" algn="ctr">
              <a:solidFill>
                <a:srgbClr val="0078D7"/>
              </a:solidFill>
              <a:prstDash val="solid"/>
              <a:headEnd type="none"/>
              <a:tailEnd type="none"/>
            </a:ln>
            <a:effectLst/>
          </p:spPr>
        </p:cxnSp>
        <p:sp>
          <p:nvSpPr>
            <p:cNvPr id="69" name="Freeform 5">
              <a:extLst>
                <a:ext uri="{FF2B5EF4-FFF2-40B4-BE49-F238E27FC236}">
                  <a16:creationId xmlns:a16="http://schemas.microsoft.com/office/drawing/2014/main" id="{71299EB2-53C9-4749-A90F-9EFD68336E9A}"/>
                </a:ext>
              </a:extLst>
            </p:cNvPr>
            <p:cNvSpPr>
              <a:spLocks noEditPoints="1"/>
            </p:cNvSpPr>
            <p:nvPr/>
          </p:nvSpPr>
          <p:spPr bwMode="auto">
            <a:xfrm>
              <a:off x="2445195" y="3412697"/>
              <a:ext cx="335095" cy="334811"/>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sp>
          <p:nvSpPr>
            <p:cNvPr id="70" name="Freeform 5">
              <a:extLst>
                <a:ext uri="{FF2B5EF4-FFF2-40B4-BE49-F238E27FC236}">
                  <a16:creationId xmlns:a16="http://schemas.microsoft.com/office/drawing/2014/main" id="{E06CA7A2-3B1A-4895-A11E-59F5AEFC8195}"/>
                </a:ext>
              </a:extLst>
            </p:cNvPr>
            <p:cNvSpPr>
              <a:spLocks noEditPoints="1"/>
            </p:cNvSpPr>
            <p:nvPr/>
          </p:nvSpPr>
          <p:spPr bwMode="auto">
            <a:xfrm>
              <a:off x="1453073" y="3799843"/>
              <a:ext cx="283386" cy="283145"/>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sp>
          <p:nvSpPr>
            <p:cNvPr id="71" name="Freeform 5">
              <a:extLst>
                <a:ext uri="{FF2B5EF4-FFF2-40B4-BE49-F238E27FC236}">
                  <a16:creationId xmlns:a16="http://schemas.microsoft.com/office/drawing/2014/main" id="{270ECC7D-0600-4F25-9383-026B03C6C62F}"/>
                </a:ext>
              </a:extLst>
            </p:cNvPr>
            <p:cNvSpPr>
              <a:spLocks noEditPoints="1"/>
            </p:cNvSpPr>
            <p:nvPr/>
          </p:nvSpPr>
          <p:spPr bwMode="auto">
            <a:xfrm rot="16200000">
              <a:off x="1204806" y="4671392"/>
              <a:ext cx="283386" cy="283145"/>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cxnSp>
          <p:nvCxnSpPr>
            <p:cNvPr id="72" name="Connector: Elbow 71">
              <a:extLst>
                <a:ext uri="{FF2B5EF4-FFF2-40B4-BE49-F238E27FC236}">
                  <a16:creationId xmlns:a16="http://schemas.microsoft.com/office/drawing/2014/main" id="{174BF57D-E33B-4061-9158-4573123B89AD}"/>
                </a:ext>
              </a:extLst>
            </p:cNvPr>
            <p:cNvCxnSpPr>
              <a:cxnSpLocks/>
            </p:cNvCxnSpPr>
            <p:nvPr/>
          </p:nvCxnSpPr>
          <p:spPr>
            <a:xfrm rot="16200000">
              <a:off x="1168834" y="4256997"/>
              <a:ext cx="601918" cy="247617"/>
            </a:xfrm>
            <a:prstGeom prst="bentConnector3">
              <a:avLst>
                <a:gd name="adj1" fmla="val 79845"/>
              </a:avLst>
            </a:prstGeom>
            <a:noFill/>
            <a:ln w="9525" cap="flat" cmpd="sng" algn="ctr">
              <a:solidFill>
                <a:srgbClr val="0078D7"/>
              </a:solidFill>
              <a:prstDash val="solid"/>
              <a:headEnd type="none"/>
              <a:tailEnd type="none"/>
            </a:ln>
            <a:effectLst/>
          </p:spPr>
        </p:cxnSp>
        <p:cxnSp>
          <p:nvCxnSpPr>
            <p:cNvPr id="73" name="Connector: Elbow 72">
              <a:extLst>
                <a:ext uri="{FF2B5EF4-FFF2-40B4-BE49-F238E27FC236}">
                  <a16:creationId xmlns:a16="http://schemas.microsoft.com/office/drawing/2014/main" id="{B7CAF1E2-5B4A-4C34-A7E6-EB4261EA72E1}"/>
                </a:ext>
              </a:extLst>
            </p:cNvPr>
            <p:cNvCxnSpPr>
              <a:cxnSpLocks/>
            </p:cNvCxnSpPr>
            <p:nvPr/>
          </p:nvCxnSpPr>
          <p:spPr>
            <a:xfrm flipH="1">
              <a:off x="1586054" y="3580778"/>
              <a:ext cx="866659" cy="247617"/>
            </a:xfrm>
            <a:prstGeom prst="bentConnector3">
              <a:avLst>
                <a:gd name="adj1" fmla="val 98796"/>
              </a:avLst>
            </a:prstGeom>
            <a:noFill/>
            <a:ln w="9525" cap="flat" cmpd="sng" algn="ctr">
              <a:solidFill>
                <a:srgbClr val="0078D7"/>
              </a:solidFill>
              <a:prstDash val="solid"/>
              <a:headEnd type="none"/>
              <a:tailEnd type="none"/>
            </a:ln>
            <a:effectLst/>
          </p:spPr>
        </p:cxnSp>
        <p:sp>
          <p:nvSpPr>
            <p:cNvPr id="74" name="Freeform 5">
              <a:extLst>
                <a:ext uri="{FF2B5EF4-FFF2-40B4-BE49-F238E27FC236}">
                  <a16:creationId xmlns:a16="http://schemas.microsoft.com/office/drawing/2014/main" id="{5D0D68F1-B78A-477E-886A-D9B98581EE32}"/>
                </a:ext>
              </a:extLst>
            </p:cNvPr>
            <p:cNvSpPr>
              <a:spLocks noEditPoints="1"/>
            </p:cNvSpPr>
            <p:nvPr/>
          </p:nvSpPr>
          <p:spPr bwMode="auto">
            <a:xfrm rot="16200000">
              <a:off x="2731927" y="3677382"/>
              <a:ext cx="283386" cy="283145"/>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sp>
          <p:nvSpPr>
            <p:cNvPr id="75" name="Freeform 5">
              <a:extLst>
                <a:ext uri="{FF2B5EF4-FFF2-40B4-BE49-F238E27FC236}">
                  <a16:creationId xmlns:a16="http://schemas.microsoft.com/office/drawing/2014/main" id="{A93EF630-A57D-47F9-A0FB-B2CD42EE5E33}"/>
                </a:ext>
              </a:extLst>
            </p:cNvPr>
            <p:cNvSpPr>
              <a:spLocks noEditPoints="1"/>
            </p:cNvSpPr>
            <p:nvPr/>
          </p:nvSpPr>
          <p:spPr bwMode="auto">
            <a:xfrm>
              <a:off x="1300905" y="4962177"/>
              <a:ext cx="335095" cy="334811"/>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BCF2">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cxnSp>
          <p:nvCxnSpPr>
            <p:cNvPr id="76" name="Connector: Elbow 75">
              <a:extLst>
                <a:ext uri="{FF2B5EF4-FFF2-40B4-BE49-F238E27FC236}">
                  <a16:creationId xmlns:a16="http://schemas.microsoft.com/office/drawing/2014/main" id="{9D2E7629-F761-468C-B6AD-9F6BA23C8901}"/>
                </a:ext>
              </a:extLst>
            </p:cNvPr>
            <p:cNvCxnSpPr>
              <a:cxnSpLocks/>
            </p:cNvCxnSpPr>
            <p:nvPr/>
          </p:nvCxnSpPr>
          <p:spPr>
            <a:xfrm flipV="1">
              <a:off x="1595393" y="4519607"/>
              <a:ext cx="945836" cy="608020"/>
            </a:xfrm>
            <a:prstGeom prst="bentConnector3">
              <a:avLst>
                <a:gd name="adj1" fmla="val 50000"/>
              </a:avLst>
            </a:prstGeom>
            <a:noFill/>
            <a:ln w="9525" cap="flat" cmpd="sng" algn="ctr">
              <a:solidFill>
                <a:srgbClr val="00BCF2">
                  <a:lumMod val="60000"/>
                  <a:lumOff val="40000"/>
                </a:srgbClr>
              </a:solidFill>
              <a:prstDash val="solid"/>
              <a:headEnd type="none"/>
              <a:tailEnd type="none"/>
            </a:ln>
            <a:effectLst/>
          </p:spPr>
        </p:cxnSp>
        <p:sp>
          <p:nvSpPr>
            <p:cNvPr id="77" name="Freeform 5">
              <a:extLst>
                <a:ext uri="{FF2B5EF4-FFF2-40B4-BE49-F238E27FC236}">
                  <a16:creationId xmlns:a16="http://schemas.microsoft.com/office/drawing/2014/main" id="{1B662290-E596-4E85-8F11-356D75624DEF}"/>
                </a:ext>
              </a:extLst>
            </p:cNvPr>
            <p:cNvSpPr>
              <a:spLocks noEditPoints="1"/>
            </p:cNvSpPr>
            <p:nvPr/>
          </p:nvSpPr>
          <p:spPr bwMode="auto">
            <a:xfrm flipH="1">
              <a:off x="2534580" y="4408191"/>
              <a:ext cx="233239" cy="233039"/>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BCF2">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sp>
          <p:nvSpPr>
            <p:cNvPr id="78" name="Freeform 5">
              <a:extLst>
                <a:ext uri="{FF2B5EF4-FFF2-40B4-BE49-F238E27FC236}">
                  <a16:creationId xmlns:a16="http://schemas.microsoft.com/office/drawing/2014/main" id="{A3613A25-DC99-438C-BBEE-12E3B86F63E0}"/>
                </a:ext>
              </a:extLst>
            </p:cNvPr>
            <p:cNvSpPr>
              <a:spLocks noEditPoints="1"/>
            </p:cNvSpPr>
            <p:nvPr/>
          </p:nvSpPr>
          <p:spPr bwMode="auto">
            <a:xfrm flipH="1">
              <a:off x="2764435" y="4247795"/>
              <a:ext cx="333645" cy="333361"/>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BCF2">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cxnSp>
          <p:nvCxnSpPr>
            <p:cNvPr id="79" name="Connector: Elbow 78">
              <a:extLst>
                <a:ext uri="{FF2B5EF4-FFF2-40B4-BE49-F238E27FC236}">
                  <a16:creationId xmlns:a16="http://schemas.microsoft.com/office/drawing/2014/main" id="{2137F656-7497-42BA-8E37-1347464621C6}"/>
                </a:ext>
              </a:extLst>
            </p:cNvPr>
            <p:cNvCxnSpPr>
              <a:cxnSpLocks/>
            </p:cNvCxnSpPr>
            <p:nvPr/>
          </p:nvCxnSpPr>
          <p:spPr>
            <a:xfrm rot="16200000" flipH="1">
              <a:off x="2679695" y="4805731"/>
              <a:ext cx="742851" cy="247617"/>
            </a:xfrm>
            <a:prstGeom prst="bentConnector3">
              <a:avLst>
                <a:gd name="adj1" fmla="val 98796"/>
              </a:avLst>
            </a:prstGeom>
            <a:noFill/>
            <a:ln w="9525" cap="flat" cmpd="sng" algn="ctr">
              <a:solidFill>
                <a:srgbClr val="00BCF2">
                  <a:lumMod val="60000"/>
                  <a:lumOff val="40000"/>
                </a:srgbClr>
              </a:solidFill>
              <a:prstDash val="solid"/>
              <a:headEnd type="none"/>
              <a:tailEnd type="none"/>
            </a:ln>
            <a:effectLst/>
          </p:spPr>
        </p:cxnSp>
        <p:sp>
          <p:nvSpPr>
            <p:cNvPr id="80" name="Freeform 5">
              <a:extLst>
                <a:ext uri="{FF2B5EF4-FFF2-40B4-BE49-F238E27FC236}">
                  <a16:creationId xmlns:a16="http://schemas.microsoft.com/office/drawing/2014/main" id="{93A0261F-B433-462B-AE8A-F163731C50F8}"/>
                </a:ext>
              </a:extLst>
            </p:cNvPr>
            <p:cNvSpPr>
              <a:spLocks noEditPoints="1"/>
            </p:cNvSpPr>
            <p:nvPr/>
          </p:nvSpPr>
          <p:spPr bwMode="auto">
            <a:xfrm flipH="1">
              <a:off x="3172379" y="5173554"/>
              <a:ext cx="233239" cy="233039"/>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BCF2">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sp>
          <p:nvSpPr>
            <p:cNvPr id="81" name="Freeform 5">
              <a:extLst>
                <a:ext uri="{FF2B5EF4-FFF2-40B4-BE49-F238E27FC236}">
                  <a16:creationId xmlns:a16="http://schemas.microsoft.com/office/drawing/2014/main" id="{5004CF4C-22C7-413B-ADBC-CE5058B98BFD}"/>
                </a:ext>
              </a:extLst>
            </p:cNvPr>
            <p:cNvSpPr>
              <a:spLocks noEditPoints="1"/>
            </p:cNvSpPr>
            <p:nvPr/>
          </p:nvSpPr>
          <p:spPr bwMode="auto">
            <a:xfrm flipH="1">
              <a:off x="3056074" y="4918433"/>
              <a:ext cx="233239" cy="233039"/>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BCF2">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cxnSp>
          <p:nvCxnSpPr>
            <p:cNvPr id="82" name="Connector: Elbow 81">
              <a:extLst>
                <a:ext uri="{FF2B5EF4-FFF2-40B4-BE49-F238E27FC236}">
                  <a16:creationId xmlns:a16="http://schemas.microsoft.com/office/drawing/2014/main" id="{CDC1125D-481D-4C98-9B35-46532420B059}"/>
                </a:ext>
              </a:extLst>
            </p:cNvPr>
            <p:cNvCxnSpPr>
              <a:cxnSpLocks/>
            </p:cNvCxnSpPr>
            <p:nvPr/>
          </p:nvCxnSpPr>
          <p:spPr>
            <a:xfrm rot="10800000" flipV="1">
              <a:off x="3161798" y="4648199"/>
              <a:ext cx="1346703" cy="279465"/>
            </a:xfrm>
            <a:prstGeom prst="bentConnector3">
              <a:avLst>
                <a:gd name="adj1" fmla="val 99038"/>
              </a:avLst>
            </a:prstGeom>
            <a:noFill/>
            <a:ln w="9525" cap="flat" cmpd="sng" algn="ctr">
              <a:solidFill>
                <a:srgbClr val="00BCF2">
                  <a:lumMod val="60000"/>
                  <a:lumOff val="40000"/>
                </a:srgbClr>
              </a:solidFill>
              <a:prstDash val="solid"/>
              <a:headEnd type="none"/>
              <a:tailEnd type="none"/>
            </a:ln>
            <a:effectLst/>
          </p:spPr>
        </p:cxnSp>
      </p:grpSp>
      <p:grpSp>
        <p:nvGrpSpPr>
          <p:cNvPr id="115" name="Group 114">
            <a:extLst>
              <a:ext uri="{FF2B5EF4-FFF2-40B4-BE49-F238E27FC236}">
                <a16:creationId xmlns:a16="http://schemas.microsoft.com/office/drawing/2014/main" id="{F4911C1E-C734-4163-A1B9-B1F504D3CAB0}"/>
              </a:ext>
            </a:extLst>
          </p:cNvPr>
          <p:cNvGrpSpPr/>
          <p:nvPr/>
        </p:nvGrpSpPr>
        <p:grpSpPr>
          <a:xfrm>
            <a:off x="5762244" y="2652016"/>
            <a:ext cx="667512" cy="3582795"/>
            <a:chOff x="5762244" y="1424709"/>
            <a:chExt cx="667512" cy="3582795"/>
          </a:xfrm>
        </p:grpSpPr>
        <p:cxnSp>
          <p:nvCxnSpPr>
            <p:cNvPr id="108" name="Straight Connector 107">
              <a:extLst>
                <a:ext uri="{FF2B5EF4-FFF2-40B4-BE49-F238E27FC236}">
                  <a16:creationId xmlns:a16="http://schemas.microsoft.com/office/drawing/2014/main" id="{D2375EC9-3B0F-481E-92BA-966CE814E675}"/>
                </a:ext>
              </a:extLst>
            </p:cNvPr>
            <p:cNvCxnSpPr>
              <a:cxnSpLocks/>
            </p:cNvCxnSpPr>
            <p:nvPr/>
          </p:nvCxnSpPr>
          <p:spPr>
            <a:xfrm>
              <a:off x="6096000" y="1424709"/>
              <a:ext cx="0" cy="3582795"/>
            </a:xfrm>
            <a:prstGeom prst="line">
              <a:avLst/>
            </a:prstGeom>
            <a:ln w="34925"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DEF1207A-F45E-4C4B-8F41-CCF62788D7A7}"/>
                </a:ext>
              </a:extLst>
            </p:cNvPr>
            <p:cNvGrpSpPr/>
            <p:nvPr/>
          </p:nvGrpSpPr>
          <p:grpSpPr>
            <a:xfrm>
              <a:off x="5762244" y="2882350"/>
              <a:ext cx="667512" cy="667512"/>
              <a:chOff x="4970016" y="3801095"/>
              <a:chExt cx="584318" cy="584318"/>
            </a:xfrm>
          </p:grpSpPr>
          <p:sp>
            <p:nvSpPr>
              <p:cNvPr id="110" name="Oval 109">
                <a:extLst>
                  <a:ext uri="{FF2B5EF4-FFF2-40B4-BE49-F238E27FC236}">
                    <a16:creationId xmlns:a16="http://schemas.microsoft.com/office/drawing/2014/main" id="{51816402-4D3F-4194-957F-EA3A834B9139}"/>
                  </a:ext>
                </a:extLst>
              </p:cNvPr>
              <p:cNvSpPr/>
              <p:nvPr/>
            </p:nvSpPr>
            <p:spPr bwMode="auto">
              <a:xfrm>
                <a:off x="4970016" y="3801095"/>
                <a:ext cx="584318" cy="584318"/>
              </a:xfrm>
              <a:prstGeom prst="ellipse">
                <a:avLst/>
              </a:prstGeom>
              <a:solidFill>
                <a:schemeClr val="bg1"/>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1" name="Arrow: Chevron 110">
                <a:extLst>
                  <a:ext uri="{FF2B5EF4-FFF2-40B4-BE49-F238E27FC236}">
                    <a16:creationId xmlns:a16="http://schemas.microsoft.com/office/drawing/2014/main" id="{DD9A92CD-125B-4191-9C96-808CD6A1A35A}"/>
                  </a:ext>
                </a:extLst>
              </p:cNvPr>
              <p:cNvSpPr/>
              <p:nvPr/>
            </p:nvSpPr>
            <p:spPr bwMode="auto">
              <a:xfrm flipV="1">
                <a:off x="5154501" y="3924787"/>
                <a:ext cx="262254" cy="336935"/>
              </a:xfrm>
              <a:prstGeom prst="chevron">
                <a:avLst/>
              </a:prstGeom>
              <a:solidFill>
                <a:srgbClr val="006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Tree>
    <p:extLst>
      <p:ext uri="{BB962C8B-B14F-4D97-AF65-F5344CB8AC3E}">
        <p14:creationId xmlns:p14="http://schemas.microsoft.com/office/powerpoint/2010/main" val="1941486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115"/>
                                        </p:tgtEl>
                                        <p:attrNameLst>
                                          <p:attrName>style.visibility</p:attrName>
                                        </p:attrNameLst>
                                      </p:cBhvr>
                                      <p:to>
                                        <p:strVal val="visible"/>
                                      </p:to>
                                    </p:set>
                                    <p:anim calcmode="lin" valueType="num">
                                      <p:cBhvr>
                                        <p:cTn id="7" dur="500" fill="hold"/>
                                        <p:tgtEl>
                                          <p:spTgt spid="115"/>
                                        </p:tgtEl>
                                        <p:attrNameLst>
                                          <p:attrName>ppt_w</p:attrName>
                                        </p:attrNameLst>
                                      </p:cBhvr>
                                      <p:tavLst>
                                        <p:tav tm="0">
                                          <p:val>
                                            <p:strVal val="#ppt_w*0.70"/>
                                          </p:val>
                                        </p:tav>
                                        <p:tav tm="100000">
                                          <p:val>
                                            <p:strVal val="#ppt_w"/>
                                          </p:val>
                                        </p:tav>
                                      </p:tavLst>
                                    </p:anim>
                                    <p:anim calcmode="lin" valueType="num">
                                      <p:cBhvr>
                                        <p:cTn id="8" dur="500" fill="hold"/>
                                        <p:tgtEl>
                                          <p:spTgt spid="115"/>
                                        </p:tgtEl>
                                        <p:attrNameLst>
                                          <p:attrName>ppt_h</p:attrName>
                                        </p:attrNameLst>
                                      </p:cBhvr>
                                      <p:tavLst>
                                        <p:tav tm="0">
                                          <p:val>
                                            <p:strVal val="#ppt_h"/>
                                          </p:val>
                                        </p:tav>
                                        <p:tav tm="100000">
                                          <p:val>
                                            <p:strVal val="#ppt_h"/>
                                          </p:val>
                                        </p:tav>
                                      </p:tavLst>
                                    </p:anim>
                                    <p:animEffect transition="in" filter="fade">
                                      <p:cBhvr>
                                        <p:cTn id="9" dur="500"/>
                                        <p:tgtEl>
                                          <p:spTgt spid="115"/>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51"/>
                                        </p:tgtEl>
                                        <p:attrNameLst>
                                          <p:attrName>style.visibility</p:attrName>
                                        </p:attrNameLst>
                                      </p:cBhvr>
                                      <p:to>
                                        <p:strVal val="visible"/>
                                      </p:to>
                                    </p:set>
                                    <p:animEffect transition="in" filter="fade">
                                      <p:cBhvr>
                                        <p:cTn id="17"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5" name="Straight Connector 304">
            <a:extLst>
              <a:ext uri="{FF2B5EF4-FFF2-40B4-BE49-F238E27FC236}">
                <a16:creationId xmlns:a16="http://schemas.microsoft.com/office/drawing/2014/main" id="{8805A1AA-9625-4E07-9EE2-FBA18EADBFDA}"/>
              </a:ext>
            </a:extLst>
          </p:cNvPr>
          <p:cNvCxnSpPr>
            <a:cxnSpLocks/>
          </p:cNvCxnSpPr>
          <p:nvPr/>
        </p:nvCxnSpPr>
        <p:spPr>
          <a:xfrm flipH="1">
            <a:off x="1775350" y="3270323"/>
            <a:ext cx="3657600" cy="0"/>
          </a:xfrm>
          <a:prstGeom prst="line">
            <a:avLst/>
          </a:prstGeom>
          <a:noFill/>
          <a:ln w="12700">
            <a:solidFill>
              <a:schemeClr val="tx2">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06" name="Straight Connector 305">
            <a:extLst>
              <a:ext uri="{FF2B5EF4-FFF2-40B4-BE49-F238E27FC236}">
                <a16:creationId xmlns:a16="http://schemas.microsoft.com/office/drawing/2014/main" id="{06E2D5B3-9A23-4E0E-B143-3A9E0A10C129}"/>
              </a:ext>
            </a:extLst>
          </p:cNvPr>
          <p:cNvCxnSpPr>
            <a:cxnSpLocks/>
          </p:cNvCxnSpPr>
          <p:nvPr/>
        </p:nvCxnSpPr>
        <p:spPr>
          <a:xfrm flipH="1">
            <a:off x="1775350" y="4853329"/>
            <a:ext cx="3657600" cy="0"/>
          </a:xfrm>
          <a:prstGeom prst="line">
            <a:avLst/>
          </a:prstGeom>
          <a:noFill/>
          <a:ln w="12700">
            <a:solidFill>
              <a:schemeClr val="tx2">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07" name="Straight Connector 306">
            <a:extLst>
              <a:ext uri="{FF2B5EF4-FFF2-40B4-BE49-F238E27FC236}">
                <a16:creationId xmlns:a16="http://schemas.microsoft.com/office/drawing/2014/main" id="{278CBB07-1F9E-4956-8AAD-348FA49E27F2}"/>
              </a:ext>
            </a:extLst>
          </p:cNvPr>
          <p:cNvCxnSpPr>
            <a:cxnSpLocks/>
          </p:cNvCxnSpPr>
          <p:nvPr/>
        </p:nvCxnSpPr>
        <p:spPr>
          <a:xfrm flipH="1" flipV="1">
            <a:off x="1036097" y="3336651"/>
            <a:ext cx="5010961" cy="1453791"/>
          </a:xfrm>
          <a:prstGeom prst="line">
            <a:avLst/>
          </a:prstGeom>
          <a:noFill/>
          <a:ln w="12700">
            <a:solidFill>
              <a:schemeClr val="tx2">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08" name="Straight Connector 307">
            <a:extLst>
              <a:ext uri="{FF2B5EF4-FFF2-40B4-BE49-F238E27FC236}">
                <a16:creationId xmlns:a16="http://schemas.microsoft.com/office/drawing/2014/main" id="{1CC6EA9C-A413-476B-8B58-4471F5F60126}"/>
              </a:ext>
            </a:extLst>
          </p:cNvPr>
          <p:cNvCxnSpPr>
            <a:cxnSpLocks/>
          </p:cNvCxnSpPr>
          <p:nvPr/>
        </p:nvCxnSpPr>
        <p:spPr>
          <a:xfrm flipH="1">
            <a:off x="1036097" y="3336651"/>
            <a:ext cx="5010961" cy="1453791"/>
          </a:xfrm>
          <a:prstGeom prst="line">
            <a:avLst/>
          </a:prstGeom>
          <a:noFill/>
          <a:ln w="12700">
            <a:solidFill>
              <a:schemeClr val="tx2">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09" name="Group 308">
            <a:extLst>
              <a:ext uri="{FF2B5EF4-FFF2-40B4-BE49-F238E27FC236}">
                <a16:creationId xmlns:a16="http://schemas.microsoft.com/office/drawing/2014/main" id="{7C747356-6FA1-4B13-A2D5-32E596DEADD7}"/>
              </a:ext>
            </a:extLst>
          </p:cNvPr>
          <p:cNvGrpSpPr/>
          <p:nvPr/>
        </p:nvGrpSpPr>
        <p:grpSpPr>
          <a:xfrm>
            <a:off x="798355" y="2915547"/>
            <a:ext cx="1233958" cy="709553"/>
            <a:chOff x="520275" y="4360431"/>
            <a:chExt cx="4222642" cy="2207373"/>
          </a:xfrm>
        </p:grpSpPr>
        <p:sp>
          <p:nvSpPr>
            <p:cNvPr id="310" name="Rectangle 309">
              <a:extLst>
                <a:ext uri="{FF2B5EF4-FFF2-40B4-BE49-F238E27FC236}">
                  <a16:creationId xmlns:a16="http://schemas.microsoft.com/office/drawing/2014/main" id="{DEAD42B1-FF5B-4031-A5AC-F080C39430B3}"/>
                </a:ext>
              </a:extLst>
            </p:cNvPr>
            <p:cNvSpPr/>
            <p:nvPr/>
          </p:nvSpPr>
          <p:spPr bwMode="auto">
            <a:xfrm>
              <a:off x="520275" y="4360431"/>
              <a:ext cx="4222642" cy="2207373"/>
            </a:xfrm>
            <a:prstGeom prst="rect">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1" name="Rectangle 310">
              <a:extLst>
                <a:ext uri="{FF2B5EF4-FFF2-40B4-BE49-F238E27FC236}">
                  <a16:creationId xmlns:a16="http://schemas.microsoft.com/office/drawing/2014/main" id="{F10B407A-ED45-48D5-946B-64294AE5442D}"/>
                </a:ext>
              </a:extLst>
            </p:cNvPr>
            <p:cNvSpPr/>
            <p:nvPr/>
          </p:nvSpPr>
          <p:spPr bwMode="auto">
            <a:xfrm>
              <a:off x="682678"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2" name="Rectangle 311">
              <a:extLst>
                <a:ext uri="{FF2B5EF4-FFF2-40B4-BE49-F238E27FC236}">
                  <a16:creationId xmlns:a16="http://schemas.microsoft.com/office/drawing/2014/main" id="{7F47E652-358C-46D7-857D-C6FD90307108}"/>
                </a:ext>
              </a:extLst>
            </p:cNvPr>
            <p:cNvSpPr/>
            <p:nvPr/>
          </p:nvSpPr>
          <p:spPr bwMode="auto">
            <a:xfrm>
              <a:off x="682678"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3" name="Rectangle 312">
              <a:extLst>
                <a:ext uri="{FF2B5EF4-FFF2-40B4-BE49-F238E27FC236}">
                  <a16:creationId xmlns:a16="http://schemas.microsoft.com/office/drawing/2014/main" id="{36436518-5C26-4E7C-9B97-359243BF5D86}"/>
                </a:ext>
              </a:extLst>
            </p:cNvPr>
            <p:cNvSpPr/>
            <p:nvPr/>
          </p:nvSpPr>
          <p:spPr bwMode="auto">
            <a:xfrm>
              <a:off x="682678"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4" name="Rectangle 313">
              <a:extLst>
                <a:ext uri="{FF2B5EF4-FFF2-40B4-BE49-F238E27FC236}">
                  <a16:creationId xmlns:a16="http://schemas.microsoft.com/office/drawing/2014/main" id="{2870C25E-C6A5-4BFD-8FC5-DDF30210F9E3}"/>
                </a:ext>
              </a:extLst>
            </p:cNvPr>
            <p:cNvSpPr/>
            <p:nvPr/>
          </p:nvSpPr>
          <p:spPr bwMode="auto">
            <a:xfrm>
              <a:off x="682678"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5" name="Rectangle 314">
              <a:extLst>
                <a:ext uri="{FF2B5EF4-FFF2-40B4-BE49-F238E27FC236}">
                  <a16:creationId xmlns:a16="http://schemas.microsoft.com/office/drawing/2014/main" id="{AFA66C83-4B96-4B17-B059-8E7A79B9C611}"/>
                </a:ext>
              </a:extLst>
            </p:cNvPr>
            <p:cNvSpPr/>
            <p:nvPr/>
          </p:nvSpPr>
          <p:spPr bwMode="auto">
            <a:xfrm>
              <a:off x="682678"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6" name="Rectangle 315">
              <a:extLst>
                <a:ext uri="{FF2B5EF4-FFF2-40B4-BE49-F238E27FC236}">
                  <a16:creationId xmlns:a16="http://schemas.microsoft.com/office/drawing/2014/main" id="{3CACD689-34A1-4FB4-A5D2-FEAFE377CE42}"/>
                </a:ext>
              </a:extLst>
            </p:cNvPr>
            <p:cNvSpPr/>
            <p:nvPr/>
          </p:nvSpPr>
          <p:spPr bwMode="auto">
            <a:xfrm>
              <a:off x="682678"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7" name="Rectangle 316">
              <a:extLst>
                <a:ext uri="{FF2B5EF4-FFF2-40B4-BE49-F238E27FC236}">
                  <a16:creationId xmlns:a16="http://schemas.microsoft.com/office/drawing/2014/main" id="{76229D61-16E8-4B93-B066-6CFE5F03D5FE}"/>
                </a:ext>
              </a:extLst>
            </p:cNvPr>
            <p:cNvSpPr/>
            <p:nvPr/>
          </p:nvSpPr>
          <p:spPr bwMode="auto">
            <a:xfrm>
              <a:off x="729872" y="4935144"/>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8" name="Rectangle 317">
              <a:extLst>
                <a:ext uri="{FF2B5EF4-FFF2-40B4-BE49-F238E27FC236}">
                  <a16:creationId xmlns:a16="http://schemas.microsoft.com/office/drawing/2014/main" id="{C71D830D-C378-47B3-8618-C0194A437449}"/>
                </a:ext>
              </a:extLst>
            </p:cNvPr>
            <p:cNvSpPr/>
            <p:nvPr/>
          </p:nvSpPr>
          <p:spPr bwMode="auto">
            <a:xfrm>
              <a:off x="729873" y="5260539"/>
              <a:ext cx="463906"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9" name="Rectangle 318">
              <a:extLst>
                <a:ext uri="{FF2B5EF4-FFF2-40B4-BE49-F238E27FC236}">
                  <a16:creationId xmlns:a16="http://schemas.microsoft.com/office/drawing/2014/main" id="{B97272E1-92FE-425B-BCEE-13D654630A61}"/>
                </a:ext>
              </a:extLst>
            </p:cNvPr>
            <p:cNvSpPr/>
            <p:nvPr/>
          </p:nvSpPr>
          <p:spPr bwMode="auto">
            <a:xfrm>
              <a:off x="729872" y="5585935"/>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0" name="Rectangle 319">
              <a:extLst>
                <a:ext uri="{FF2B5EF4-FFF2-40B4-BE49-F238E27FC236}">
                  <a16:creationId xmlns:a16="http://schemas.microsoft.com/office/drawing/2014/main" id="{02453830-74B2-4F2E-9FD1-F0E413DBEA75}"/>
                </a:ext>
              </a:extLst>
            </p:cNvPr>
            <p:cNvSpPr/>
            <p:nvPr/>
          </p:nvSpPr>
          <p:spPr bwMode="auto">
            <a:xfrm>
              <a:off x="729872" y="5913707"/>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1" name="Rectangle 320">
              <a:extLst>
                <a:ext uri="{FF2B5EF4-FFF2-40B4-BE49-F238E27FC236}">
                  <a16:creationId xmlns:a16="http://schemas.microsoft.com/office/drawing/2014/main" id="{FF77E08C-A675-4D2A-8BA0-258CC7D6B63F}"/>
                </a:ext>
              </a:extLst>
            </p:cNvPr>
            <p:cNvSpPr/>
            <p:nvPr/>
          </p:nvSpPr>
          <p:spPr bwMode="auto">
            <a:xfrm>
              <a:off x="729872" y="6239100"/>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2" name="Rectangle 321">
              <a:extLst>
                <a:ext uri="{FF2B5EF4-FFF2-40B4-BE49-F238E27FC236}">
                  <a16:creationId xmlns:a16="http://schemas.microsoft.com/office/drawing/2014/main" id="{F4358DB2-B8F9-4903-B093-C291956CCBB2}"/>
                </a:ext>
              </a:extLst>
            </p:cNvPr>
            <p:cNvSpPr/>
            <p:nvPr/>
          </p:nvSpPr>
          <p:spPr bwMode="auto">
            <a:xfrm>
              <a:off x="1674154"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3" name="Rectangle 322">
              <a:extLst>
                <a:ext uri="{FF2B5EF4-FFF2-40B4-BE49-F238E27FC236}">
                  <a16:creationId xmlns:a16="http://schemas.microsoft.com/office/drawing/2014/main" id="{7E984DBE-8DDB-40BF-86E5-A4495BDB0F14}"/>
                </a:ext>
              </a:extLst>
            </p:cNvPr>
            <p:cNvSpPr/>
            <p:nvPr/>
          </p:nvSpPr>
          <p:spPr bwMode="auto">
            <a:xfrm>
              <a:off x="1674154"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4" name="Rectangle 323">
              <a:extLst>
                <a:ext uri="{FF2B5EF4-FFF2-40B4-BE49-F238E27FC236}">
                  <a16:creationId xmlns:a16="http://schemas.microsoft.com/office/drawing/2014/main" id="{AEB5F4F1-FDFA-4A6E-A7C9-5778AD9305AF}"/>
                </a:ext>
              </a:extLst>
            </p:cNvPr>
            <p:cNvSpPr/>
            <p:nvPr/>
          </p:nvSpPr>
          <p:spPr bwMode="auto">
            <a:xfrm>
              <a:off x="1674154"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5" name="Rectangle 324">
              <a:extLst>
                <a:ext uri="{FF2B5EF4-FFF2-40B4-BE49-F238E27FC236}">
                  <a16:creationId xmlns:a16="http://schemas.microsoft.com/office/drawing/2014/main" id="{25F2FD12-0D15-45F4-8B46-23DD794C4EE2}"/>
                </a:ext>
              </a:extLst>
            </p:cNvPr>
            <p:cNvSpPr/>
            <p:nvPr/>
          </p:nvSpPr>
          <p:spPr bwMode="auto">
            <a:xfrm>
              <a:off x="1674154"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6" name="Rectangle 325">
              <a:extLst>
                <a:ext uri="{FF2B5EF4-FFF2-40B4-BE49-F238E27FC236}">
                  <a16:creationId xmlns:a16="http://schemas.microsoft.com/office/drawing/2014/main" id="{66AC4AC0-CBF8-4B12-9340-57D6A576364D}"/>
                </a:ext>
              </a:extLst>
            </p:cNvPr>
            <p:cNvSpPr/>
            <p:nvPr/>
          </p:nvSpPr>
          <p:spPr bwMode="auto">
            <a:xfrm>
              <a:off x="1674154"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7" name="Rectangle 326">
              <a:extLst>
                <a:ext uri="{FF2B5EF4-FFF2-40B4-BE49-F238E27FC236}">
                  <a16:creationId xmlns:a16="http://schemas.microsoft.com/office/drawing/2014/main" id="{8EDE5266-E5C4-4831-B69D-B892A8C8DB1A}"/>
                </a:ext>
              </a:extLst>
            </p:cNvPr>
            <p:cNvSpPr/>
            <p:nvPr/>
          </p:nvSpPr>
          <p:spPr bwMode="auto">
            <a:xfrm>
              <a:off x="1674154"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8" name="Rectangle 327">
              <a:extLst>
                <a:ext uri="{FF2B5EF4-FFF2-40B4-BE49-F238E27FC236}">
                  <a16:creationId xmlns:a16="http://schemas.microsoft.com/office/drawing/2014/main" id="{4580B4B9-9C24-4225-97DD-41D2EE924942}"/>
                </a:ext>
              </a:extLst>
            </p:cNvPr>
            <p:cNvSpPr/>
            <p:nvPr/>
          </p:nvSpPr>
          <p:spPr bwMode="auto">
            <a:xfrm>
              <a:off x="1721348" y="4935144"/>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9" name="Rectangle 328">
              <a:extLst>
                <a:ext uri="{FF2B5EF4-FFF2-40B4-BE49-F238E27FC236}">
                  <a16:creationId xmlns:a16="http://schemas.microsoft.com/office/drawing/2014/main" id="{3AF8D5B1-AFE3-413C-98D2-B10823128D43}"/>
                </a:ext>
              </a:extLst>
            </p:cNvPr>
            <p:cNvSpPr/>
            <p:nvPr/>
          </p:nvSpPr>
          <p:spPr bwMode="auto">
            <a:xfrm>
              <a:off x="1721349" y="5260539"/>
              <a:ext cx="463906"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0" name="Rectangle 329">
              <a:extLst>
                <a:ext uri="{FF2B5EF4-FFF2-40B4-BE49-F238E27FC236}">
                  <a16:creationId xmlns:a16="http://schemas.microsoft.com/office/drawing/2014/main" id="{ED35884F-0565-49A6-A798-8D8E554C1094}"/>
                </a:ext>
              </a:extLst>
            </p:cNvPr>
            <p:cNvSpPr/>
            <p:nvPr/>
          </p:nvSpPr>
          <p:spPr bwMode="auto">
            <a:xfrm>
              <a:off x="1721348" y="5585935"/>
              <a:ext cx="65938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1" name="Rectangle 330">
              <a:extLst>
                <a:ext uri="{FF2B5EF4-FFF2-40B4-BE49-F238E27FC236}">
                  <a16:creationId xmlns:a16="http://schemas.microsoft.com/office/drawing/2014/main" id="{0F8F658B-E8FC-4205-8CF8-D9810C5EE59B}"/>
                </a:ext>
              </a:extLst>
            </p:cNvPr>
            <p:cNvSpPr/>
            <p:nvPr/>
          </p:nvSpPr>
          <p:spPr bwMode="auto">
            <a:xfrm>
              <a:off x="1721348" y="5913707"/>
              <a:ext cx="46390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2" name="Rectangle 331">
              <a:extLst>
                <a:ext uri="{FF2B5EF4-FFF2-40B4-BE49-F238E27FC236}">
                  <a16:creationId xmlns:a16="http://schemas.microsoft.com/office/drawing/2014/main" id="{7CEE3D0A-C5D0-4C4E-9F96-B4C42C2A30BB}"/>
                </a:ext>
              </a:extLst>
            </p:cNvPr>
            <p:cNvSpPr/>
            <p:nvPr/>
          </p:nvSpPr>
          <p:spPr bwMode="auto">
            <a:xfrm>
              <a:off x="1721348" y="6239100"/>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3" name="Rectangle 332">
              <a:extLst>
                <a:ext uri="{FF2B5EF4-FFF2-40B4-BE49-F238E27FC236}">
                  <a16:creationId xmlns:a16="http://schemas.microsoft.com/office/drawing/2014/main" id="{C4C07F93-55A7-4095-A876-F79C46D4F41F}"/>
                </a:ext>
              </a:extLst>
            </p:cNvPr>
            <p:cNvSpPr/>
            <p:nvPr/>
          </p:nvSpPr>
          <p:spPr bwMode="auto">
            <a:xfrm>
              <a:off x="2665630"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4" name="Rectangle 333">
              <a:extLst>
                <a:ext uri="{FF2B5EF4-FFF2-40B4-BE49-F238E27FC236}">
                  <a16:creationId xmlns:a16="http://schemas.microsoft.com/office/drawing/2014/main" id="{401DF659-EA21-4F5F-9E6D-4EE40917A98B}"/>
                </a:ext>
              </a:extLst>
            </p:cNvPr>
            <p:cNvSpPr/>
            <p:nvPr/>
          </p:nvSpPr>
          <p:spPr bwMode="auto">
            <a:xfrm>
              <a:off x="2665630"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5" name="Rectangle 334">
              <a:extLst>
                <a:ext uri="{FF2B5EF4-FFF2-40B4-BE49-F238E27FC236}">
                  <a16:creationId xmlns:a16="http://schemas.microsoft.com/office/drawing/2014/main" id="{3BBD4E29-6B7D-4193-AD88-93311A038A7D}"/>
                </a:ext>
              </a:extLst>
            </p:cNvPr>
            <p:cNvSpPr/>
            <p:nvPr/>
          </p:nvSpPr>
          <p:spPr bwMode="auto">
            <a:xfrm>
              <a:off x="2665630"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6" name="Rectangle 335">
              <a:extLst>
                <a:ext uri="{FF2B5EF4-FFF2-40B4-BE49-F238E27FC236}">
                  <a16:creationId xmlns:a16="http://schemas.microsoft.com/office/drawing/2014/main" id="{0AABDE09-ABDF-43FB-9378-A17465D02FE4}"/>
                </a:ext>
              </a:extLst>
            </p:cNvPr>
            <p:cNvSpPr/>
            <p:nvPr/>
          </p:nvSpPr>
          <p:spPr bwMode="auto">
            <a:xfrm>
              <a:off x="2665630"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7" name="Rectangle 336">
              <a:extLst>
                <a:ext uri="{FF2B5EF4-FFF2-40B4-BE49-F238E27FC236}">
                  <a16:creationId xmlns:a16="http://schemas.microsoft.com/office/drawing/2014/main" id="{40D73859-E33B-4E14-A69E-46F3E99E1126}"/>
                </a:ext>
              </a:extLst>
            </p:cNvPr>
            <p:cNvSpPr/>
            <p:nvPr/>
          </p:nvSpPr>
          <p:spPr bwMode="auto">
            <a:xfrm>
              <a:off x="2665630"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8" name="Rectangle 337">
              <a:extLst>
                <a:ext uri="{FF2B5EF4-FFF2-40B4-BE49-F238E27FC236}">
                  <a16:creationId xmlns:a16="http://schemas.microsoft.com/office/drawing/2014/main" id="{ABE35C82-F467-44D9-9CD3-D05465F57C6C}"/>
                </a:ext>
              </a:extLst>
            </p:cNvPr>
            <p:cNvSpPr/>
            <p:nvPr/>
          </p:nvSpPr>
          <p:spPr bwMode="auto">
            <a:xfrm>
              <a:off x="2665630"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9" name="Rectangle 338">
              <a:extLst>
                <a:ext uri="{FF2B5EF4-FFF2-40B4-BE49-F238E27FC236}">
                  <a16:creationId xmlns:a16="http://schemas.microsoft.com/office/drawing/2014/main" id="{CAAC0E17-78F4-4CAA-8460-600DB5A5AD47}"/>
                </a:ext>
              </a:extLst>
            </p:cNvPr>
            <p:cNvSpPr/>
            <p:nvPr/>
          </p:nvSpPr>
          <p:spPr bwMode="auto">
            <a:xfrm>
              <a:off x="2712824" y="4935144"/>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0" name="Rectangle 339">
              <a:extLst>
                <a:ext uri="{FF2B5EF4-FFF2-40B4-BE49-F238E27FC236}">
                  <a16:creationId xmlns:a16="http://schemas.microsoft.com/office/drawing/2014/main" id="{7C87E5E7-FAAE-433A-92C1-FE8832E50A38}"/>
                </a:ext>
              </a:extLst>
            </p:cNvPr>
            <p:cNvSpPr/>
            <p:nvPr/>
          </p:nvSpPr>
          <p:spPr bwMode="auto">
            <a:xfrm>
              <a:off x="2712825" y="5260539"/>
              <a:ext cx="688260"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1" name="Rectangle 340">
              <a:extLst>
                <a:ext uri="{FF2B5EF4-FFF2-40B4-BE49-F238E27FC236}">
                  <a16:creationId xmlns:a16="http://schemas.microsoft.com/office/drawing/2014/main" id="{63D89136-CCB0-4517-B9AA-11F3B67AF4DF}"/>
                </a:ext>
              </a:extLst>
            </p:cNvPr>
            <p:cNvSpPr/>
            <p:nvPr/>
          </p:nvSpPr>
          <p:spPr bwMode="auto">
            <a:xfrm>
              <a:off x="2712824" y="5585935"/>
              <a:ext cx="606780"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2" name="Rectangle 341">
              <a:extLst>
                <a:ext uri="{FF2B5EF4-FFF2-40B4-BE49-F238E27FC236}">
                  <a16:creationId xmlns:a16="http://schemas.microsoft.com/office/drawing/2014/main" id="{0E7BF13C-744C-4D8B-A956-DD41B45C2270}"/>
                </a:ext>
              </a:extLst>
            </p:cNvPr>
            <p:cNvSpPr/>
            <p:nvPr/>
          </p:nvSpPr>
          <p:spPr bwMode="auto">
            <a:xfrm>
              <a:off x="2712824" y="5913707"/>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3" name="Rectangle 342">
              <a:extLst>
                <a:ext uri="{FF2B5EF4-FFF2-40B4-BE49-F238E27FC236}">
                  <a16:creationId xmlns:a16="http://schemas.microsoft.com/office/drawing/2014/main" id="{92FDB3E6-01F0-40AC-9043-5B16678EAEB0}"/>
                </a:ext>
              </a:extLst>
            </p:cNvPr>
            <p:cNvSpPr/>
            <p:nvPr/>
          </p:nvSpPr>
          <p:spPr bwMode="auto">
            <a:xfrm>
              <a:off x="2712824" y="6239100"/>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4" name="Rectangle 343">
              <a:extLst>
                <a:ext uri="{FF2B5EF4-FFF2-40B4-BE49-F238E27FC236}">
                  <a16:creationId xmlns:a16="http://schemas.microsoft.com/office/drawing/2014/main" id="{8937864B-C797-46B0-9B49-5C3A02DF5320}"/>
                </a:ext>
              </a:extLst>
            </p:cNvPr>
            <p:cNvSpPr/>
            <p:nvPr/>
          </p:nvSpPr>
          <p:spPr bwMode="auto">
            <a:xfrm>
              <a:off x="3657105"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5" name="Rectangle 344">
              <a:extLst>
                <a:ext uri="{FF2B5EF4-FFF2-40B4-BE49-F238E27FC236}">
                  <a16:creationId xmlns:a16="http://schemas.microsoft.com/office/drawing/2014/main" id="{696A7A51-25F1-4389-BC9E-53FC139F6AA1}"/>
                </a:ext>
              </a:extLst>
            </p:cNvPr>
            <p:cNvSpPr/>
            <p:nvPr/>
          </p:nvSpPr>
          <p:spPr bwMode="auto">
            <a:xfrm>
              <a:off x="3657105"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6" name="Rectangle 345">
              <a:extLst>
                <a:ext uri="{FF2B5EF4-FFF2-40B4-BE49-F238E27FC236}">
                  <a16:creationId xmlns:a16="http://schemas.microsoft.com/office/drawing/2014/main" id="{3986CF7A-D5B0-437F-B1CE-C7F9C20278E9}"/>
                </a:ext>
              </a:extLst>
            </p:cNvPr>
            <p:cNvSpPr/>
            <p:nvPr/>
          </p:nvSpPr>
          <p:spPr bwMode="auto">
            <a:xfrm>
              <a:off x="3657105"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7" name="Rectangle 346">
              <a:extLst>
                <a:ext uri="{FF2B5EF4-FFF2-40B4-BE49-F238E27FC236}">
                  <a16:creationId xmlns:a16="http://schemas.microsoft.com/office/drawing/2014/main" id="{1C0A2D39-BF7A-4D9E-B488-3E8BC4FEC5D5}"/>
                </a:ext>
              </a:extLst>
            </p:cNvPr>
            <p:cNvSpPr/>
            <p:nvPr/>
          </p:nvSpPr>
          <p:spPr bwMode="auto">
            <a:xfrm>
              <a:off x="3657105"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8" name="Rectangle 347">
              <a:extLst>
                <a:ext uri="{FF2B5EF4-FFF2-40B4-BE49-F238E27FC236}">
                  <a16:creationId xmlns:a16="http://schemas.microsoft.com/office/drawing/2014/main" id="{70861F2F-B901-4FF6-8B72-012D8F79770B}"/>
                </a:ext>
              </a:extLst>
            </p:cNvPr>
            <p:cNvSpPr/>
            <p:nvPr/>
          </p:nvSpPr>
          <p:spPr bwMode="auto">
            <a:xfrm>
              <a:off x="3657105"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9" name="Rectangle 348">
              <a:extLst>
                <a:ext uri="{FF2B5EF4-FFF2-40B4-BE49-F238E27FC236}">
                  <a16:creationId xmlns:a16="http://schemas.microsoft.com/office/drawing/2014/main" id="{6E9EE0D0-DF1D-477B-9AA9-F24978E187D1}"/>
                </a:ext>
              </a:extLst>
            </p:cNvPr>
            <p:cNvSpPr/>
            <p:nvPr/>
          </p:nvSpPr>
          <p:spPr bwMode="auto">
            <a:xfrm>
              <a:off x="3657105"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0" name="Rectangle 349">
              <a:extLst>
                <a:ext uri="{FF2B5EF4-FFF2-40B4-BE49-F238E27FC236}">
                  <a16:creationId xmlns:a16="http://schemas.microsoft.com/office/drawing/2014/main" id="{1B790BF6-228B-4184-8ED0-BB8495251EAB}"/>
                </a:ext>
              </a:extLst>
            </p:cNvPr>
            <p:cNvSpPr/>
            <p:nvPr/>
          </p:nvSpPr>
          <p:spPr bwMode="auto">
            <a:xfrm>
              <a:off x="4053219" y="4935144"/>
              <a:ext cx="465318"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1" name="Rectangle 350">
              <a:extLst>
                <a:ext uri="{FF2B5EF4-FFF2-40B4-BE49-F238E27FC236}">
                  <a16:creationId xmlns:a16="http://schemas.microsoft.com/office/drawing/2014/main" id="{D13B5FE6-0B96-412B-81E9-8250F796C3D9}"/>
                </a:ext>
              </a:extLst>
            </p:cNvPr>
            <p:cNvSpPr/>
            <p:nvPr/>
          </p:nvSpPr>
          <p:spPr bwMode="auto">
            <a:xfrm>
              <a:off x="4054631" y="5260539"/>
              <a:ext cx="463906"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2" name="Rectangle 351">
              <a:extLst>
                <a:ext uri="{FF2B5EF4-FFF2-40B4-BE49-F238E27FC236}">
                  <a16:creationId xmlns:a16="http://schemas.microsoft.com/office/drawing/2014/main" id="{D597EC8B-2366-4E61-A1E4-3CB4F5FA864A}"/>
                </a:ext>
              </a:extLst>
            </p:cNvPr>
            <p:cNvSpPr/>
            <p:nvPr/>
          </p:nvSpPr>
          <p:spPr bwMode="auto">
            <a:xfrm>
              <a:off x="4231532" y="5585935"/>
              <a:ext cx="287005"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3" name="Rectangle 352">
              <a:extLst>
                <a:ext uri="{FF2B5EF4-FFF2-40B4-BE49-F238E27FC236}">
                  <a16:creationId xmlns:a16="http://schemas.microsoft.com/office/drawing/2014/main" id="{DADB8DF5-DAC3-44F1-B2EB-C94669816B69}"/>
                </a:ext>
              </a:extLst>
            </p:cNvPr>
            <p:cNvSpPr/>
            <p:nvPr/>
          </p:nvSpPr>
          <p:spPr bwMode="auto">
            <a:xfrm>
              <a:off x="4053219" y="5913707"/>
              <a:ext cx="465318"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4" name="Rectangle 353">
              <a:extLst>
                <a:ext uri="{FF2B5EF4-FFF2-40B4-BE49-F238E27FC236}">
                  <a16:creationId xmlns:a16="http://schemas.microsoft.com/office/drawing/2014/main" id="{848A575C-144F-4B70-AE92-41FA146205DE}"/>
                </a:ext>
              </a:extLst>
            </p:cNvPr>
            <p:cNvSpPr/>
            <p:nvPr/>
          </p:nvSpPr>
          <p:spPr bwMode="auto">
            <a:xfrm>
              <a:off x="3889290" y="6239100"/>
              <a:ext cx="629247"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355" name="Connector: Elbow 354">
            <a:extLst>
              <a:ext uri="{FF2B5EF4-FFF2-40B4-BE49-F238E27FC236}">
                <a16:creationId xmlns:a16="http://schemas.microsoft.com/office/drawing/2014/main" id="{AD124030-14D5-4C3A-8A97-98F89E7A04EE}"/>
              </a:ext>
            </a:extLst>
          </p:cNvPr>
          <p:cNvCxnSpPr>
            <a:cxnSpLocks/>
            <a:stCxn id="863" idx="0"/>
          </p:cNvCxnSpPr>
          <p:nvPr/>
        </p:nvCxnSpPr>
        <p:spPr>
          <a:xfrm rot="5400000" flipH="1" flipV="1">
            <a:off x="1607240" y="2150241"/>
            <a:ext cx="385486" cy="769296"/>
          </a:xfrm>
          <a:prstGeom prst="bentConnector2">
            <a:avLst/>
          </a:prstGeom>
          <a:no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56" name="Group 355">
            <a:extLst>
              <a:ext uri="{FF2B5EF4-FFF2-40B4-BE49-F238E27FC236}">
                <a16:creationId xmlns:a16="http://schemas.microsoft.com/office/drawing/2014/main" id="{69F09587-2EF7-4672-BB87-50550CF40D51}"/>
              </a:ext>
            </a:extLst>
          </p:cNvPr>
          <p:cNvGrpSpPr/>
          <p:nvPr/>
        </p:nvGrpSpPr>
        <p:grpSpPr>
          <a:xfrm>
            <a:off x="798355" y="4498553"/>
            <a:ext cx="1233958" cy="709553"/>
            <a:chOff x="520275" y="4360431"/>
            <a:chExt cx="4222642" cy="2207373"/>
          </a:xfrm>
        </p:grpSpPr>
        <p:sp>
          <p:nvSpPr>
            <p:cNvPr id="357" name="Rectangle 356">
              <a:extLst>
                <a:ext uri="{FF2B5EF4-FFF2-40B4-BE49-F238E27FC236}">
                  <a16:creationId xmlns:a16="http://schemas.microsoft.com/office/drawing/2014/main" id="{B0ABB9BA-97FC-41DE-9FAE-240452A423F8}"/>
                </a:ext>
              </a:extLst>
            </p:cNvPr>
            <p:cNvSpPr/>
            <p:nvPr/>
          </p:nvSpPr>
          <p:spPr bwMode="auto">
            <a:xfrm>
              <a:off x="520275" y="4360431"/>
              <a:ext cx="4222642" cy="2207373"/>
            </a:xfrm>
            <a:prstGeom prst="rect">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8" name="Rectangle 357">
              <a:extLst>
                <a:ext uri="{FF2B5EF4-FFF2-40B4-BE49-F238E27FC236}">
                  <a16:creationId xmlns:a16="http://schemas.microsoft.com/office/drawing/2014/main" id="{39121AB2-608C-4418-99D8-CCF2AA7B101E}"/>
                </a:ext>
              </a:extLst>
            </p:cNvPr>
            <p:cNvSpPr/>
            <p:nvPr/>
          </p:nvSpPr>
          <p:spPr bwMode="auto">
            <a:xfrm>
              <a:off x="682678"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9" name="Rectangle 358">
              <a:extLst>
                <a:ext uri="{FF2B5EF4-FFF2-40B4-BE49-F238E27FC236}">
                  <a16:creationId xmlns:a16="http://schemas.microsoft.com/office/drawing/2014/main" id="{C32272A5-8939-484A-8799-FF4CE2E75ACB}"/>
                </a:ext>
              </a:extLst>
            </p:cNvPr>
            <p:cNvSpPr/>
            <p:nvPr/>
          </p:nvSpPr>
          <p:spPr bwMode="auto">
            <a:xfrm>
              <a:off x="682678"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0" name="Rectangle 359">
              <a:extLst>
                <a:ext uri="{FF2B5EF4-FFF2-40B4-BE49-F238E27FC236}">
                  <a16:creationId xmlns:a16="http://schemas.microsoft.com/office/drawing/2014/main" id="{B2218561-14DE-4148-91A4-26BE9169E2C8}"/>
                </a:ext>
              </a:extLst>
            </p:cNvPr>
            <p:cNvSpPr/>
            <p:nvPr/>
          </p:nvSpPr>
          <p:spPr bwMode="auto">
            <a:xfrm>
              <a:off x="682678"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1" name="Rectangle 360">
              <a:extLst>
                <a:ext uri="{FF2B5EF4-FFF2-40B4-BE49-F238E27FC236}">
                  <a16:creationId xmlns:a16="http://schemas.microsoft.com/office/drawing/2014/main" id="{450D9B34-40A6-4479-9710-C2B375CE4356}"/>
                </a:ext>
              </a:extLst>
            </p:cNvPr>
            <p:cNvSpPr/>
            <p:nvPr/>
          </p:nvSpPr>
          <p:spPr bwMode="auto">
            <a:xfrm>
              <a:off x="682678"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2" name="Rectangle 361">
              <a:extLst>
                <a:ext uri="{FF2B5EF4-FFF2-40B4-BE49-F238E27FC236}">
                  <a16:creationId xmlns:a16="http://schemas.microsoft.com/office/drawing/2014/main" id="{42073664-6770-4BE5-B359-6CC432C3398E}"/>
                </a:ext>
              </a:extLst>
            </p:cNvPr>
            <p:cNvSpPr/>
            <p:nvPr/>
          </p:nvSpPr>
          <p:spPr bwMode="auto">
            <a:xfrm>
              <a:off x="682678"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3" name="Rectangle 362">
              <a:extLst>
                <a:ext uri="{FF2B5EF4-FFF2-40B4-BE49-F238E27FC236}">
                  <a16:creationId xmlns:a16="http://schemas.microsoft.com/office/drawing/2014/main" id="{9A620BE9-EE5B-44DE-BF52-9FCF9D70EB49}"/>
                </a:ext>
              </a:extLst>
            </p:cNvPr>
            <p:cNvSpPr/>
            <p:nvPr/>
          </p:nvSpPr>
          <p:spPr bwMode="auto">
            <a:xfrm>
              <a:off x="682678"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4" name="Rectangle 363">
              <a:extLst>
                <a:ext uri="{FF2B5EF4-FFF2-40B4-BE49-F238E27FC236}">
                  <a16:creationId xmlns:a16="http://schemas.microsoft.com/office/drawing/2014/main" id="{10765FDE-441C-408C-9D19-751C86D7CF60}"/>
                </a:ext>
              </a:extLst>
            </p:cNvPr>
            <p:cNvSpPr/>
            <p:nvPr/>
          </p:nvSpPr>
          <p:spPr bwMode="auto">
            <a:xfrm>
              <a:off x="729872" y="4935144"/>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5" name="Rectangle 364">
              <a:extLst>
                <a:ext uri="{FF2B5EF4-FFF2-40B4-BE49-F238E27FC236}">
                  <a16:creationId xmlns:a16="http://schemas.microsoft.com/office/drawing/2014/main" id="{863FF9A0-2E30-4DD3-BC42-ACEA1238267C}"/>
                </a:ext>
              </a:extLst>
            </p:cNvPr>
            <p:cNvSpPr/>
            <p:nvPr/>
          </p:nvSpPr>
          <p:spPr bwMode="auto">
            <a:xfrm>
              <a:off x="729873" y="5260539"/>
              <a:ext cx="463906"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6" name="Rectangle 365">
              <a:extLst>
                <a:ext uri="{FF2B5EF4-FFF2-40B4-BE49-F238E27FC236}">
                  <a16:creationId xmlns:a16="http://schemas.microsoft.com/office/drawing/2014/main" id="{F8A78A02-5658-48E0-8D08-E088DB5204B3}"/>
                </a:ext>
              </a:extLst>
            </p:cNvPr>
            <p:cNvSpPr/>
            <p:nvPr/>
          </p:nvSpPr>
          <p:spPr bwMode="auto">
            <a:xfrm>
              <a:off x="729872" y="5585935"/>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7" name="Rectangle 366">
              <a:extLst>
                <a:ext uri="{FF2B5EF4-FFF2-40B4-BE49-F238E27FC236}">
                  <a16:creationId xmlns:a16="http://schemas.microsoft.com/office/drawing/2014/main" id="{3EB436B4-C616-4914-A97F-6D2D203708F5}"/>
                </a:ext>
              </a:extLst>
            </p:cNvPr>
            <p:cNvSpPr/>
            <p:nvPr/>
          </p:nvSpPr>
          <p:spPr bwMode="auto">
            <a:xfrm>
              <a:off x="729872" y="5913707"/>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8" name="Rectangle 367">
              <a:extLst>
                <a:ext uri="{FF2B5EF4-FFF2-40B4-BE49-F238E27FC236}">
                  <a16:creationId xmlns:a16="http://schemas.microsoft.com/office/drawing/2014/main" id="{4CCB813D-9BA9-4A88-9470-F31C9B275796}"/>
                </a:ext>
              </a:extLst>
            </p:cNvPr>
            <p:cNvSpPr/>
            <p:nvPr/>
          </p:nvSpPr>
          <p:spPr bwMode="auto">
            <a:xfrm>
              <a:off x="729872" y="6239100"/>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9" name="Rectangle 368">
              <a:extLst>
                <a:ext uri="{FF2B5EF4-FFF2-40B4-BE49-F238E27FC236}">
                  <a16:creationId xmlns:a16="http://schemas.microsoft.com/office/drawing/2014/main" id="{71E11383-BA93-4FFF-9BF8-6256A8167FFA}"/>
                </a:ext>
              </a:extLst>
            </p:cNvPr>
            <p:cNvSpPr/>
            <p:nvPr/>
          </p:nvSpPr>
          <p:spPr bwMode="auto">
            <a:xfrm>
              <a:off x="1674154"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0" name="Rectangle 369">
              <a:extLst>
                <a:ext uri="{FF2B5EF4-FFF2-40B4-BE49-F238E27FC236}">
                  <a16:creationId xmlns:a16="http://schemas.microsoft.com/office/drawing/2014/main" id="{1235564E-7ED7-4EC2-8365-659FA6C096A1}"/>
                </a:ext>
              </a:extLst>
            </p:cNvPr>
            <p:cNvSpPr/>
            <p:nvPr/>
          </p:nvSpPr>
          <p:spPr bwMode="auto">
            <a:xfrm>
              <a:off x="1674154"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1" name="Rectangle 370">
              <a:extLst>
                <a:ext uri="{FF2B5EF4-FFF2-40B4-BE49-F238E27FC236}">
                  <a16:creationId xmlns:a16="http://schemas.microsoft.com/office/drawing/2014/main" id="{DE3D4C34-7D0C-486D-8037-BF5550600BAD}"/>
                </a:ext>
              </a:extLst>
            </p:cNvPr>
            <p:cNvSpPr/>
            <p:nvPr/>
          </p:nvSpPr>
          <p:spPr bwMode="auto">
            <a:xfrm>
              <a:off x="1674154"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2" name="Rectangle 371">
              <a:extLst>
                <a:ext uri="{FF2B5EF4-FFF2-40B4-BE49-F238E27FC236}">
                  <a16:creationId xmlns:a16="http://schemas.microsoft.com/office/drawing/2014/main" id="{96A399AC-60E8-480D-9B4C-D6CBA50F2705}"/>
                </a:ext>
              </a:extLst>
            </p:cNvPr>
            <p:cNvSpPr/>
            <p:nvPr/>
          </p:nvSpPr>
          <p:spPr bwMode="auto">
            <a:xfrm>
              <a:off x="1674154"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3" name="Rectangle 372">
              <a:extLst>
                <a:ext uri="{FF2B5EF4-FFF2-40B4-BE49-F238E27FC236}">
                  <a16:creationId xmlns:a16="http://schemas.microsoft.com/office/drawing/2014/main" id="{3C34EB25-2622-442D-B57D-F4EDFD8FE0AB}"/>
                </a:ext>
              </a:extLst>
            </p:cNvPr>
            <p:cNvSpPr/>
            <p:nvPr/>
          </p:nvSpPr>
          <p:spPr bwMode="auto">
            <a:xfrm>
              <a:off x="1674154"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4" name="Rectangle 373">
              <a:extLst>
                <a:ext uri="{FF2B5EF4-FFF2-40B4-BE49-F238E27FC236}">
                  <a16:creationId xmlns:a16="http://schemas.microsoft.com/office/drawing/2014/main" id="{F5ADC66C-8DF5-488D-8097-6C10F567D210}"/>
                </a:ext>
              </a:extLst>
            </p:cNvPr>
            <p:cNvSpPr/>
            <p:nvPr/>
          </p:nvSpPr>
          <p:spPr bwMode="auto">
            <a:xfrm>
              <a:off x="1674154"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5" name="Rectangle 374">
              <a:extLst>
                <a:ext uri="{FF2B5EF4-FFF2-40B4-BE49-F238E27FC236}">
                  <a16:creationId xmlns:a16="http://schemas.microsoft.com/office/drawing/2014/main" id="{EEE83BF3-73D8-4845-B0E6-E37644CEA319}"/>
                </a:ext>
              </a:extLst>
            </p:cNvPr>
            <p:cNvSpPr/>
            <p:nvPr/>
          </p:nvSpPr>
          <p:spPr bwMode="auto">
            <a:xfrm>
              <a:off x="1721348" y="4935144"/>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6" name="Rectangle 375">
              <a:extLst>
                <a:ext uri="{FF2B5EF4-FFF2-40B4-BE49-F238E27FC236}">
                  <a16:creationId xmlns:a16="http://schemas.microsoft.com/office/drawing/2014/main" id="{98AC6A51-5DF0-48B8-A852-C09732AACEC9}"/>
                </a:ext>
              </a:extLst>
            </p:cNvPr>
            <p:cNvSpPr/>
            <p:nvPr/>
          </p:nvSpPr>
          <p:spPr bwMode="auto">
            <a:xfrm>
              <a:off x="1721349" y="5260539"/>
              <a:ext cx="463906"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7" name="Rectangle 376">
              <a:extLst>
                <a:ext uri="{FF2B5EF4-FFF2-40B4-BE49-F238E27FC236}">
                  <a16:creationId xmlns:a16="http://schemas.microsoft.com/office/drawing/2014/main" id="{16129D50-8597-48E4-8EF5-3FAF880960B6}"/>
                </a:ext>
              </a:extLst>
            </p:cNvPr>
            <p:cNvSpPr/>
            <p:nvPr/>
          </p:nvSpPr>
          <p:spPr bwMode="auto">
            <a:xfrm>
              <a:off x="1721348" y="5585935"/>
              <a:ext cx="65938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8" name="Rectangle 377">
              <a:extLst>
                <a:ext uri="{FF2B5EF4-FFF2-40B4-BE49-F238E27FC236}">
                  <a16:creationId xmlns:a16="http://schemas.microsoft.com/office/drawing/2014/main" id="{4F2651E6-BCA4-4468-9257-DAF119A31CC7}"/>
                </a:ext>
              </a:extLst>
            </p:cNvPr>
            <p:cNvSpPr/>
            <p:nvPr/>
          </p:nvSpPr>
          <p:spPr bwMode="auto">
            <a:xfrm>
              <a:off x="1721348" y="5913707"/>
              <a:ext cx="46390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9" name="Rectangle 378">
              <a:extLst>
                <a:ext uri="{FF2B5EF4-FFF2-40B4-BE49-F238E27FC236}">
                  <a16:creationId xmlns:a16="http://schemas.microsoft.com/office/drawing/2014/main" id="{6CEEF28B-43BF-4831-BA94-6B17765BC74D}"/>
                </a:ext>
              </a:extLst>
            </p:cNvPr>
            <p:cNvSpPr/>
            <p:nvPr/>
          </p:nvSpPr>
          <p:spPr bwMode="auto">
            <a:xfrm>
              <a:off x="1721348" y="6239100"/>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0" name="Rectangle 379">
              <a:extLst>
                <a:ext uri="{FF2B5EF4-FFF2-40B4-BE49-F238E27FC236}">
                  <a16:creationId xmlns:a16="http://schemas.microsoft.com/office/drawing/2014/main" id="{D3E740AF-3D99-4367-8963-7153B04B8C03}"/>
                </a:ext>
              </a:extLst>
            </p:cNvPr>
            <p:cNvSpPr/>
            <p:nvPr/>
          </p:nvSpPr>
          <p:spPr bwMode="auto">
            <a:xfrm>
              <a:off x="2665630"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1" name="Rectangle 380">
              <a:extLst>
                <a:ext uri="{FF2B5EF4-FFF2-40B4-BE49-F238E27FC236}">
                  <a16:creationId xmlns:a16="http://schemas.microsoft.com/office/drawing/2014/main" id="{E79C4880-0E3D-4E22-B6B7-A34FF47CADB7}"/>
                </a:ext>
              </a:extLst>
            </p:cNvPr>
            <p:cNvSpPr/>
            <p:nvPr/>
          </p:nvSpPr>
          <p:spPr bwMode="auto">
            <a:xfrm>
              <a:off x="2665630"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2" name="Rectangle 381">
              <a:extLst>
                <a:ext uri="{FF2B5EF4-FFF2-40B4-BE49-F238E27FC236}">
                  <a16:creationId xmlns:a16="http://schemas.microsoft.com/office/drawing/2014/main" id="{AF17A99B-A9BE-459C-AB14-3103965AC142}"/>
                </a:ext>
              </a:extLst>
            </p:cNvPr>
            <p:cNvSpPr/>
            <p:nvPr/>
          </p:nvSpPr>
          <p:spPr bwMode="auto">
            <a:xfrm>
              <a:off x="2665630"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3" name="Rectangle 382">
              <a:extLst>
                <a:ext uri="{FF2B5EF4-FFF2-40B4-BE49-F238E27FC236}">
                  <a16:creationId xmlns:a16="http://schemas.microsoft.com/office/drawing/2014/main" id="{67732772-1B9E-431F-AA36-CF8848B6DE0B}"/>
                </a:ext>
              </a:extLst>
            </p:cNvPr>
            <p:cNvSpPr/>
            <p:nvPr/>
          </p:nvSpPr>
          <p:spPr bwMode="auto">
            <a:xfrm>
              <a:off x="2665630"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4" name="Rectangle 383">
              <a:extLst>
                <a:ext uri="{FF2B5EF4-FFF2-40B4-BE49-F238E27FC236}">
                  <a16:creationId xmlns:a16="http://schemas.microsoft.com/office/drawing/2014/main" id="{15C919D5-7765-4F33-B075-AF96E84A9F6F}"/>
                </a:ext>
              </a:extLst>
            </p:cNvPr>
            <p:cNvSpPr/>
            <p:nvPr/>
          </p:nvSpPr>
          <p:spPr bwMode="auto">
            <a:xfrm>
              <a:off x="2665630"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5" name="Rectangle 384">
              <a:extLst>
                <a:ext uri="{FF2B5EF4-FFF2-40B4-BE49-F238E27FC236}">
                  <a16:creationId xmlns:a16="http://schemas.microsoft.com/office/drawing/2014/main" id="{E96F5F44-4FB8-49F4-B2CD-D9ECEE2B7331}"/>
                </a:ext>
              </a:extLst>
            </p:cNvPr>
            <p:cNvSpPr/>
            <p:nvPr/>
          </p:nvSpPr>
          <p:spPr bwMode="auto">
            <a:xfrm>
              <a:off x="2665630"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6" name="Rectangle 385">
              <a:extLst>
                <a:ext uri="{FF2B5EF4-FFF2-40B4-BE49-F238E27FC236}">
                  <a16:creationId xmlns:a16="http://schemas.microsoft.com/office/drawing/2014/main" id="{5E58F540-584F-4FB8-82D0-4EAD5147CFE7}"/>
                </a:ext>
              </a:extLst>
            </p:cNvPr>
            <p:cNvSpPr/>
            <p:nvPr/>
          </p:nvSpPr>
          <p:spPr bwMode="auto">
            <a:xfrm>
              <a:off x="2712824" y="4935144"/>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7" name="Rectangle 386">
              <a:extLst>
                <a:ext uri="{FF2B5EF4-FFF2-40B4-BE49-F238E27FC236}">
                  <a16:creationId xmlns:a16="http://schemas.microsoft.com/office/drawing/2014/main" id="{9F893F54-B797-40BC-A404-911045DECA80}"/>
                </a:ext>
              </a:extLst>
            </p:cNvPr>
            <p:cNvSpPr/>
            <p:nvPr/>
          </p:nvSpPr>
          <p:spPr bwMode="auto">
            <a:xfrm>
              <a:off x="2712825" y="5260539"/>
              <a:ext cx="688260"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8" name="Rectangle 387">
              <a:extLst>
                <a:ext uri="{FF2B5EF4-FFF2-40B4-BE49-F238E27FC236}">
                  <a16:creationId xmlns:a16="http://schemas.microsoft.com/office/drawing/2014/main" id="{C46B40AC-14D6-4FEE-B30F-8C493FCBA8E8}"/>
                </a:ext>
              </a:extLst>
            </p:cNvPr>
            <p:cNvSpPr/>
            <p:nvPr/>
          </p:nvSpPr>
          <p:spPr bwMode="auto">
            <a:xfrm>
              <a:off x="2712824" y="5585935"/>
              <a:ext cx="606780"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9" name="Rectangle 388">
              <a:extLst>
                <a:ext uri="{FF2B5EF4-FFF2-40B4-BE49-F238E27FC236}">
                  <a16:creationId xmlns:a16="http://schemas.microsoft.com/office/drawing/2014/main" id="{028349D1-EA8D-42C8-BD5F-0FF14D34D2F6}"/>
                </a:ext>
              </a:extLst>
            </p:cNvPr>
            <p:cNvSpPr/>
            <p:nvPr/>
          </p:nvSpPr>
          <p:spPr bwMode="auto">
            <a:xfrm>
              <a:off x="2712824" y="5913707"/>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0" name="Rectangle 389">
              <a:extLst>
                <a:ext uri="{FF2B5EF4-FFF2-40B4-BE49-F238E27FC236}">
                  <a16:creationId xmlns:a16="http://schemas.microsoft.com/office/drawing/2014/main" id="{F7B7B7C7-5BC5-4A80-8B39-6C2512BB1F10}"/>
                </a:ext>
              </a:extLst>
            </p:cNvPr>
            <p:cNvSpPr/>
            <p:nvPr/>
          </p:nvSpPr>
          <p:spPr bwMode="auto">
            <a:xfrm>
              <a:off x="2712824" y="6239100"/>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1" name="Rectangle 390">
              <a:extLst>
                <a:ext uri="{FF2B5EF4-FFF2-40B4-BE49-F238E27FC236}">
                  <a16:creationId xmlns:a16="http://schemas.microsoft.com/office/drawing/2014/main" id="{BF9DCE9F-5590-4300-A2FD-45E46575EBB4}"/>
                </a:ext>
              </a:extLst>
            </p:cNvPr>
            <p:cNvSpPr/>
            <p:nvPr/>
          </p:nvSpPr>
          <p:spPr bwMode="auto">
            <a:xfrm>
              <a:off x="3657105"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2" name="Rectangle 391">
              <a:extLst>
                <a:ext uri="{FF2B5EF4-FFF2-40B4-BE49-F238E27FC236}">
                  <a16:creationId xmlns:a16="http://schemas.microsoft.com/office/drawing/2014/main" id="{1DF55456-A982-4AC9-867E-314575D05088}"/>
                </a:ext>
              </a:extLst>
            </p:cNvPr>
            <p:cNvSpPr/>
            <p:nvPr/>
          </p:nvSpPr>
          <p:spPr bwMode="auto">
            <a:xfrm>
              <a:off x="3657105"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3" name="Rectangle 392">
              <a:extLst>
                <a:ext uri="{FF2B5EF4-FFF2-40B4-BE49-F238E27FC236}">
                  <a16:creationId xmlns:a16="http://schemas.microsoft.com/office/drawing/2014/main" id="{925C70A4-EA7F-4B28-B25B-6ED28C93F327}"/>
                </a:ext>
              </a:extLst>
            </p:cNvPr>
            <p:cNvSpPr/>
            <p:nvPr/>
          </p:nvSpPr>
          <p:spPr bwMode="auto">
            <a:xfrm>
              <a:off x="3657105"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4" name="Rectangle 393">
              <a:extLst>
                <a:ext uri="{FF2B5EF4-FFF2-40B4-BE49-F238E27FC236}">
                  <a16:creationId xmlns:a16="http://schemas.microsoft.com/office/drawing/2014/main" id="{F02A5D0C-C7D9-4383-BED1-AF2080EDCA8A}"/>
                </a:ext>
              </a:extLst>
            </p:cNvPr>
            <p:cNvSpPr/>
            <p:nvPr/>
          </p:nvSpPr>
          <p:spPr bwMode="auto">
            <a:xfrm>
              <a:off x="3657105"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5" name="Rectangle 394">
              <a:extLst>
                <a:ext uri="{FF2B5EF4-FFF2-40B4-BE49-F238E27FC236}">
                  <a16:creationId xmlns:a16="http://schemas.microsoft.com/office/drawing/2014/main" id="{D24FEA92-C7AB-42CB-A331-FE5C6BD8C040}"/>
                </a:ext>
              </a:extLst>
            </p:cNvPr>
            <p:cNvSpPr/>
            <p:nvPr/>
          </p:nvSpPr>
          <p:spPr bwMode="auto">
            <a:xfrm>
              <a:off x="3657105"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6" name="Rectangle 395">
              <a:extLst>
                <a:ext uri="{FF2B5EF4-FFF2-40B4-BE49-F238E27FC236}">
                  <a16:creationId xmlns:a16="http://schemas.microsoft.com/office/drawing/2014/main" id="{0DA82BC7-4EED-4B06-88E2-B78513FA9703}"/>
                </a:ext>
              </a:extLst>
            </p:cNvPr>
            <p:cNvSpPr/>
            <p:nvPr/>
          </p:nvSpPr>
          <p:spPr bwMode="auto">
            <a:xfrm>
              <a:off x="3657105"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7" name="Rectangle 396">
              <a:extLst>
                <a:ext uri="{FF2B5EF4-FFF2-40B4-BE49-F238E27FC236}">
                  <a16:creationId xmlns:a16="http://schemas.microsoft.com/office/drawing/2014/main" id="{BF64499D-E86E-435F-8266-29BC115A7912}"/>
                </a:ext>
              </a:extLst>
            </p:cNvPr>
            <p:cNvSpPr/>
            <p:nvPr/>
          </p:nvSpPr>
          <p:spPr bwMode="auto">
            <a:xfrm>
              <a:off x="4053219" y="4935144"/>
              <a:ext cx="465318"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8" name="Rectangle 397">
              <a:extLst>
                <a:ext uri="{FF2B5EF4-FFF2-40B4-BE49-F238E27FC236}">
                  <a16:creationId xmlns:a16="http://schemas.microsoft.com/office/drawing/2014/main" id="{D19943FA-8569-44CD-89C8-EDA3051366C9}"/>
                </a:ext>
              </a:extLst>
            </p:cNvPr>
            <p:cNvSpPr/>
            <p:nvPr/>
          </p:nvSpPr>
          <p:spPr bwMode="auto">
            <a:xfrm>
              <a:off x="4054631" y="5260539"/>
              <a:ext cx="463906"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9" name="Rectangle 398">
              <a:extLst>
                <a:ext uri="{FF2B5EF4-FFF2-40B4-BE49-F238E27FC236}">
                  <a16:creationId xmlns:a16="http://schemas.microsoft.com/office/drawing/2014/main" id="{A4C46410-77B2-4C25-B7F6-ACCCDD099A48}"/>
                </a:ext>
              </a:extLst>
            </p:cNvPr>
            <p:cNvSpPr/>
            <p:nvPr/>
          </p:nvSpPr>
          <p:spPr bwMode="auto">
            <a:xfrm>
              <a:off x="4231532" y="5585935"/>
              <a:ext cx="287005"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0" name="Rectangle 399">
              <a:extLst>
                <a:ext uri="{FF2B5EF4-FFF2-40B4-BE49-F238E27FC236}">
                  <a16:creationId xmlns:a16="http://schemas.microsoft.com/office/drawing/2014/main" id="{4655C6C2-CAA7-4F04-9A61-FC9430FF4DA8}"/>
                </a:ext>
              </a:extLst>
            </p:cNvPr>
            <p:cNvSpPr/>
            <p:nvPr/>
          </p:nvSpPr>
          <p:spPr bwMode="auto">
            <a:xfrm>
              <a:off x="4053219" y="5913707"/>
              <a:ext cx="465318"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1" name="Rectangle 400">
              <a:extLst>
                <a:ext uri="{FF2B5EF4-FFF2-40B4-BE49-F238E27FC236}">
                  <a16:creationId xmlns:a16="http://schemas.microsoft.com/office/drawing/2014/main" id="{F3872CA2-BE7E-437B-BF59-E9B77F533FF5}"/>
                </a:ext>
              </a:extLst>
            </p:cNvPr>
            <p:cNvSpPr/>
            <p:nvPr/>
          </p:nvSpPr>
          <p:spPr bwMode="auto">
            <a:xfrm>
              <a:off x="3889290" y="6239100"/>
              <a:ext cx="629247"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02" name="Group 401">
            <a:extLst>
              <a:ext uri="{FF2B5EF4-FFF2-40B4-BE49-F238E27FC236}">
                <a16:creationId xmlns:a16="http://schemas.microsoft.com/office/drawing/2014/main" id="{12B00F46-129F-4AB4-91DC-E27305FB6A82}"/>
              </a:ext>
            </a:extLst>
          </p:cNvPr>
          <p:cNvGrpSpPr/>
          <p:nvPr/>
        </p:nvGrpSpPr>
        <p:grpSpPr>
          <a:xfrm>
            <a:off x="5051037" y="2916550"/>
            <a:ext cx="1233958" cy="709553"/>
            <a:chOff x="520275" y="4360431"/>
            <a:chExt cx="4222642" cy="2207373"/>
          </a:xfrm>
        </p:grpSpPr>
        <p:sp>
          <p:nvSpPr>
            <p:cNvPr id="403" name="Rectangle 402">
              <a:extLst>
                <a:ext uri="{FF2B5EF4-FFF2-40B4-BE49-F238E27FC236}">
                  <a16:creationId xmlns:a16="http://schemas.microsoft.com/office/drawing/2014/main" id="{BC658609-4DB7-4D84-BD74-44A02B9FD0E8}"/>
                </a:ext>
              </a:extLst>
            </p:cNvPr>
            <p:cNvSpPr/>
            <p:nvPr/>
          </p:nvSpPr>
          <p:spPr bwMode="auto">
            <a:xfrm>
              <a:off x="520275" y="4360431"/>
              <a:ext cx="4222642" cy="2207373"/>
            </a:xfrm>
            <a:prstGeom prst="rect">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4" name="Rectangle 403">
              <a:extLst>
                <a:ext uri="{FF2B5EF4-FFF2-40B4-BE49-F238E27FC236}">
                  <a16:creationId xmlns:a16="http://schemas.microsoft.com/office/drawing/2014/main" id="{E5AC4FA1-819A-41F7-A8E2-075C79172880}"/>
                </a:ext>
              </a:extLst>
            </p:cNvPr>
            <p:cNvSpPr/>
            <p:nvPr/>
          </p:nvSpPr>
          <p:spPr bwMode="auto">
            <a:xfrm>
              <a:off x="682678"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5" name="Rectangle 404">
              <a:extLst>
                <a:ext uri="{FF2B5EF4-FFF2-40B4-BE49-F238E27FC236}">
                  <a16:creationId xmlns:a16="http://schemas.microsoft.com/office/drawing/2014/main" id="{76591164-FCA6-443B-8CD7-BC859AFB3D1B}"/>
                </a:ext>
              </a:extLst>
            </p:cNvPr>
            <p:cNvSpPr/>
            <p:nvPr/>
          </p:nvSpPr>
          <p:spPr bwMode="auto">
            <a:xfrm>
              <a:off x="682678"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6" name="Rectangle 405">
              <a:extLst>
                <a:ext uri="{FF2B5EF4-FFF2-40B4-BE49-F238E27FC236}">
                  <a16:creationId xmlns:a16="http://schemas.microsoft.com/office/drawing/2014/main" id="{3E112999-FE2B-4859-8640-84E569A7ED65}"/>
                </a:ext>
              </a:extLst>
            </p:cNvPr>
            <p:cNvSpPr/>
            <p:nvPr/>
          </p:nvSpPr>
          <p:spPr bwMode="auto">
            <a:xfrm>
              <a:off x="682678"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7" name="Rectangle 406">
              <a:extLst>
                <a:ext uri="{FF2B5EF4-FFF2-40B4-BE49-F238E27FC236}">
                  <a16:creationId xmlns:a16="http://schemas.microsoft.com/office/drawing/2014/main" id="{A7441D4C-6C75-40D9-9090-7A93C2449844}"/>
                </a:ext>
              </a:extLst>
            </p:cNvPr>
            <p:cNvSpPr/>
            <p:nvPr/>
          </p:nvSpPr>
          <p:spPr bwMode="auto">
            <a:xfrm>
              <a:off x="682678"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8" name="Rectangle 407">
              <a:extLst>
                <a:ext uri="{FF2B5EF4-FFF2-40B4-BE49-F238E27FC236}">
                  <a16:creationId xmlns:a16="http://schemas.microsoft.com/office/drawing/2014/main" id="{E8028E45-CC0F-487F-85D6-38219EFDC253}"/>
                </a:ext>
              </a:extLst>
            </p:cNvPr>
            <p:cNvSpPr/>
            <p:nvPr/>
          </p:nvSpPr>
          <p:spPr bwMode="auto">
            <a:xfrm>
              <a:off x="682678"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9" name="Rectangle 408">
              <a:extLst>
                <a:ext uri="{FF2B5EF4-FFF2-40B4-BE49-F238E27FC236}">
                  <a16:creationId xmlns:a16="http://schemas.microsoft.com/office/drawing/2014/main" id="{D8B6F7E0-2D26-4C53-A299-E14F13C655B1}"/>
                </a:ext>
              </a:extLst>
            </p:cNvPr>
            <p:cNvSpPr/>
            <p:nvPr/>
          </p:nvSpPr>
          <p:spPr bwMode="auto">
            <a:xfrm>
              <a:off x="682678"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0" name="Rectangle 409">
              <a:extLst>
                <a:ext uri="{FF2B5EF4-FFF2-40B4-BE49-F238E27FC236}">
                  <a16:creationId xmlns:a16="http://schemas.microsoft.com/office/drawing/2014/main" id="{94761068-6D01-4110-9E76-D89A06896A09}"/>
                </a:ext>
              </a:extLst>
            </p:cNvPr>
            <p:cNvSpPr/>
            <p:nvPr/>
          </p:nvSpPr>
          <p:spPr bwMode="auto">
            <a:xfrm>
              <a:off x="729872" y="4935144"/>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1" name="Rectangle 410">
              <a:extLst>
                <a:ext uri="{FF2B5EF4-FFF2-40B4-BE49-F238E27FC236}">
                  <a16:creationId xmlns:a16="http://schemas.microsoft.com/office/drawing/2014/main" id="{88177913-CF4F-423A-9291-0B15D0480F90}"/>
                </a:ext>
              </a:extLst>
            </p:cNvPr>
            <p:cNvSpPr/>
            <p:nvPr/>
          </p:nvSpPr>
          <p:spPr bwMode="auto">
            <a:xfrm>
              <a:off x="729873" y="5260539"/>
              <a:ext cx="463906"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2" name="Rectangle 411">
              <a:extLst>
                <a:ext uri="{FF2B5EF4-FFF2-40B4-BE49-F238E27FC236}">
                  <a16:creationId xmlns:a16="http://schemas.microsoft.com/office/drawing/2014/main" id="{ADC7B673-74C4-4A7C-905F-20BFF731EB88}"/>
                </a:ext>
              </a:extLst>
            </p:cNvPr>
            <p:cNvSpPr/>
            <p:nvPr/>
          </p:nvSpPr>
          <p:spPr bwMode="auto">
            <a:xfrm>
              <a:off x="729872" y="5585935"/>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3" name="Rectangle 412">
              <a:extLst>
                <a:ext uri="{FF2B5EF4-FFF2-40B4-BE49-F238E27FC236}">
                  <a16:creationId xmlns:a16="http://schemas.microsoft.com/office/drawing/2014/main" id="{F7096DCE-13F4-4850-808A-286D6DBAC80A}"/>
                </a:ext>
              </a:extLst>
            </p:cNvPr>
            <p:cNvSpPr/>
            <p:nvPr/>
          </p:nvSpPr>
          <p:spPr bwMode="auto">
            <a:xfrm>
              <a:off x="729872" y="5913707"/>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4" name="Rectangle 413">
              <a:extLst>
                <a:ext uri="{FF2B5EF4-FFF2-40B4-BE49-F238E27FC236}">
                  <a16:creationId xmlns:a16="http://schemas.microsoft.com/office/drawing/2014/main" id="{BB42DA47-EA1F-40E8-9045-B94F9D5AB6D1}"/>
                </a:ext>
              </a:extLst>
            </p:cNvPr>
            <p:cNvSpPr/>
            <p:nvPr/>
          </p:nvSpPr>
          <p:spPr bwMode="auto">
            <a:xfrm>
              <a:off x="729872" y="6239100"/>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5" name="Rectangle 414">
              <a:extLst>
                <a:ext uri="{FF2B5EF4-FFF2-40B4-BE49-F238E27FC236}">
                  <a16:creationId xmlns:a16="http://schemas.microsoft.com/office/drawing/2014/main" id="{44381766-7D76-4F9C-9014-2361E1E26EA5}"/>
                </a:ext>
              </a:extLst>
            </p:cNvPr>
            <p:cNvSpPr/>
            <p:nvPr/>
          </p:nvSpPr>
          <p:spPr bwMode="auto">
            <a:xfrm>
              <a:off x="1674154"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6" name="Rectangle 415">
              <a:extLst>
                <a:ext uri="{FF2B5EF4-FFF2-40B4-BE49-F238E27FC236}">
                  <a16:creationId xmlns:a16="http://schemas.microsoft.com/office/drawing/2014/main" id="{6AAA3871-C131-466B-990F-E2CF9C6C434B}"/>
                </a:ext>
              </a:extLst>
            </p:cNvPr>
            <p:cNvSpPr/>
            <p:nvPr/>
          </p:nvSpPr>
          <p:spPr bwMode="auto">
            <a:xfrm>
              <a:off x="1674154"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7" name="Rectangle 416">
              <a:extLst>
                <a:ext uri="{FF2B5EF4-FFF2-40B4-BE49-F238E27FC236}">
                  <a16:creationId xmlns:a16="http://schemas.microsoft.com/office/drawing/2014/main" id="{969A9219-AA1D-4962-A130-21D79574EFBF}"/>
                </a:ext>
              </a:extLst>
            </p:cNvPr>
            <p:cNvSpPr/>
            <p:nvPr/>
          </p:nvSpPr>
          <p:spPr bwMode="auto">
            <a:xfrm>
              <a:off x="1674154"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8" name="Rectangle 417">
              <a:extLst>
                <a:ext uri="{FF2B5EF4-FFF2-40B4-BE49-F238E27FC236}">
                  <a16:creationId xmlns:a16="http://schemas.microsoft.com/office/drawing/2014/main" id="{2238774F-043F-442D-B552-139DEC51ED4B}"/>
                </a:ext>
              </a:extLst>
            </p:cNvPr>
            <p:cNvSpPr/>
            <p:nvPr/>
          </p:nvSpPr>
          <p:spPr bwMode="auto">
            <a:xfrm>
              <a:off x="1674154"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9" name="Rectangle 418">
              <a:extLst>
                <a:ext uri="{FF2B5EF4-FFF2-40B4-BE49-F238E27FC236}">
                  <a16:creationId xmlns:a16="http://schemas.microsoft.com/office/drawing/2014/main" id="{BD84AC6C-D867-47E1-BBC5-395767313939}"/>
                </a:ext>
              </a:extLst>
            </p:cNvPr>
            <p:cNvSpPr/>
            <p:nvPr/>
          </p:nvSpPr>
          <p:spPr bwMode="auto">
            <a:xfrm>
              <a:off x="1674154"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0" name="Rectangle 419">
              <a:extLst>
                <a:ext uri="{FF2B5EF4-FFF2-40B4-BE49-F238E27FC236}">
                  <a16:creationId xmlns:a16="http://schemas.microsoft.com/office/drawing/2014/main" id="{F1C71ED7-FE9E-48CD-888E-4D5542CB4617}"/>
                </a:ext>
              </a:extLst>
            </p:cNvPr>
            <p:cNvSpPr/>
            <p:nvPr/>
          </p:nvSpPr>
          <p:spPr bwMode="auto">
            <a:xfrm>
              <a:off x="1674154"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1" name="Rectangle 420">
              <a:extLst>
                <a:ext uri="{FF2B5EF4-FFF2-40B4-BE49-F238E27FC236}">
                  <a16:creationId xmlns:a16="http://schemas.microsoft.com/office/drawing/2014/main" id="{7F0B0EA4-8BC8-401B-BCAB-F25B55BC4D6C}"/>
                </a:ext>
              </a:extLst>
            </p:cNvPr>
            <p:cNvSpPr/>
            <p:nvPr/>
          </p:nvSpPr>
          <p:spPr bwMode="auto">
            <a:xfrm>
              <a:off x="1721348" y="4935144"/>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2" name="Rectangle 421">
              <a:extLst>
                <a:ext uri="{FF2B5EF4-FFF2-40B4-BE49-F238E27FC236}">
                  <a16:creationId xmlns:a16="http://schemas.microsoft.com/office/drawing/2014/main" id="{D7958DC9-DA34-476C-8A47-1CCDA9107712}"/>
                </a:ext>
              </a:extLst>
            </p:cNvPr>
            <p:cNvSpPr/>
            <p:nvPr/>
          </p:nvSpPr>
          <p:spPr bwMode="auto">
            <a:xfrm>
              <a:off x="1721349" y="5260539"/>
              <a:ext cx="463906"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3" name="Rectangle 422">
              <a:extLst>
                <a:ext uri="{FF2B5EF4-FFF2-40B4-BE49-F238E27FC236}">
                  <a16:creationId xmlns:a16="http://schemas.microsoft.com/office/drawing/2014/main" id="{8F1BDED9-7C26-4BD6-BC35-565F6EB82E42}"/>
                </a:ext>
              </a:extLst>
            </p:cNvPr>
            <p:cNvSpPr/>
            <p:nvPr/>
          </p:nvSpPr>
          <p:spPr bwMode="auto">
            <a:xfrm>
              <a:off x="1721348" y="5585935"/>
              <a:ext cx="65938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4" name="Rectangle 423">
              <a:extLst>
                <a:ext uri="{FF2B5EF4-FFF2-40B4-BE49-F238E27FC236}">
                  <a16:creationId xmlns:a16="http://schemas.microsoft.com/office/drawing/2014/main" id="{1BA38849-BDBD-457A-9C1A-3026E5E296B2}"/>
                </a:ext>
              </a:extLst>
            </p:cNvPr>
            <p:cNvSpPr/>
            <p:nvPr/>
          </p:nvSpPr>
          <p:spPr bwMode="auto">
            <a:xfrm>
              <a:off x="1721348" y="5913707"/>
              <a:ext cx="46390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5" name="Rectangle 424">
              <a:extLst>
                <a:ext uri="{FF2B5EF4-FFF2-40B4-BE49-F238E27FC236}">
                  <a16:creationId xmlns:a16="http://schemas.microsoft.com/office/drawing/2014/main" id="{7CAB5C65-3940-4E5D-9807-81D34E2F299F}"/>
                </a:ext>
              </a:extLst>
            </p:cNvPr>
            <p:cNvSpPr/>
            <p:nvPr/>
          </p:nvSpPr>
          <p:spPr bwMode="auto">
            <a:xfrm>
              <a:off x="1721348" y="6239100"/>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6" name="Rectangle 425">
              <a:extLst>
                <a:ext uri="{FF2B5EF4-FFF2-40B4-BE49-F238E27FC236}">
                  <a16:creationId xmlns:a16="http://schemas.microsoft.com/office/drawing/2014/main" id="{7BFABF46-72CE-4946-B551-F47B2333A6DC}"/>
                </a:ext>
              </a:extLst>
            </p:cNvPr>
            <p:cNvSpPr/>
            <p:nvPr/>
          </p:nvSpPr>
          <p:spPr bwMode="auto">
            <a:xfrm>
              <a:off x="2665630"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7" name="Rectangle 426">
              <a:extLst>
                <a:ext uri="{FF2B5EF4-FFF2-40B4-BE49-F238E27FC236}">
                  <a16:creationId xmlns:a16="http://schemas.microsoft.com/office/drawing/2014/main" id="{53A187BE-4540-49F1-8E25-8281BEEEBC60}"/>
                </a:ext>
              </a:extLst>
            </p:cNvPr>
            <p:cNvSpPr/>
            <p:nvPr/>
          </p:nvSpPr>
          <p:spPr bwMode="auto">
            <a:xfrm>
              <a:off x="2665630"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8" name="Rectangle 427">
              <a:extLst>
                <a:ext uri="{FF2B5EF4-FFF2-40B4-BE49-F238E27FC236}">
                  <a16:creationId xmlns:a16="http://schemas.microsoft.com/office/drawing/2014/main" id="{BB99613C-9377-4715-8F5B-5A437886B275}"/>
                </a:ext>
              </a:extLst>
            </p:cNvPr>
            <p:cNvSpPr/>
            <p:nvPr/>
          </p:nvSpPr>
          <p:spPr bwMode="auto">
            <a:xfrm>
              <a:off x="2665630"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9" name="Rectangle 428">
              <a:extLst>
                <a:ext uri="{FF2B5EF4-FFF2-40B4-BE49-F238E27FC236}">
                  <a16:creationId xmlns:a16="http://schemas.microsoft.com/office/drawing/2014/main" id="{CFA75E9D-3CBC-44BB-95E5-4CED53B702BB}"/>
                </a:ext>
              </a:extLst>
            </p:cNvPr>
            <p:cNvSpPr/>
            <p:nvPr/>
          </p:nvSpPr>
          <p:spPr bwMode="auto">
            <a:xfrm>
              <a:off x="2665630"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0" name="Rectangle 429">
              <a:extLst>
                <a:ext uri="{FF2B5EF4-FFF2-40B4-BE49-F238E27FC236}">
                  <a16:creationId xmlns:a16="http://schemas.microsoft.com/office/drawing/2014/main" id="{886EB09B-0CF1-445D-813A-8366D9F292E4}"/>
                </a:ext>
              </a:extLst>
            </p:cNvPr>
            <p:cNvSpPr/>
            <p:nvPr/>
          </p:nvSpPr>
          <p:spPr bwMode="auto">
            <a:xfrm>
              <a:off x="2665630"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1" name="Rectangle 430">
              <a:extLst>
                <a:ext uri="{FF2B5EF4-FFF2-40B4-BE49-F238E27FC236}">
                  <a16:creationId xmlns:a16="http://schemas.microsoft.com/office/drawing/2014/main" id="{A18B9AA3-1E2E-4645-B385-1732C9C50A65}"/>
                </a:ext>
              </a:extLst>
            </p:cNvPr>
            <p:cNvSpPr/>
            <p:nvPr/>
          </p:nvSpPr>
          <p:spPr bwMode="auto">
            <a:xfrm>
              <a:off x="2665630"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2" name="Rectangle 431">
              <a:extLst>
                <a:ext uri="{FF2B5EF4-FFF2-40B4-BE49-F238E27FC236}">
                  <a16:creationId xmlns:a16="http://schemas.microsoft.com/office/drawing/2014/main" id="{BEB52D4B-C69E-43A1-B669-6A45295C899C}"/>
                </a:ext>
              </a:extLst>
            </p:cNvPr>
            <p:cNvSpPr/>
            <p:nvPr/>
          </p:nvSpPr>
          <p:spPr bwMode="auto">
            <a:xfrm>
              <a:off x="2712824" y="4935144"/>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3" name="Rectangle 432">
              <a:extLst>
                <a:ext uri="{FF2B5EF4-FFF2-40B4-BE49-F238E27FC236}">
                  <a16:creationId xmlns:a16="http://schemas.microsoft.com/office/drawing/2014/main" id="{D9E7F0C4-A9DF-4F1C-8F5F-31A921C1483C}"/>
                </a:ext>
              </a:extLst>
            </p:cNvPr>
            <p:cNvSpPr/>
            <p:nvPr/>
          </p:nvSpPr>
          <p:spPr bwMode="auto">
            <a:xfrm>
              <a:off x="2712825" y="5260539"/>
              <a:ext cx="688260"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4" name="Rectangle 433">
              <a:extLst>
                <a:ext uri="{FF2B5EF4-FFF2-40B4-BE49-F238E27FC236}">
                  <a16:creationId xmlns:a16="http://schemas.microsoft.com/office/drawing/2014/main" id="{4B3875C3-074F-49C2-B368-385F18382C65}"/>
                </a:ext>
              </a:extLst>
            </p:cNvPr>
            <p:cNvSpPr/>
            <p:nvPr/>
          </p:nvSpPr>
          <p:spPr bwMode="auto">
            <a:xfrm>
              <a:off x="2712824" y="5585935"/>
              <a:ext cx="606780"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5" name="Rectangle 434">
              <a:extLst>
                <a:ext uri="{FF2B5EF4-FFF2-40B4-BE49-F238E27FC236}">
                  <a16:creationId xmlns:a16="http://schemas.microsoft.com/office/drawing/2014/main" id="{93BE870F-848F-41BC-8A0D-A67781D144A9}"/>
                </a:ext>
              </a:extLst>
            </p:cNvPr>
            <p:cNvSpPr/>
            <p:nvPr/>
          </p:nvSpPr>
          <p:spPr bwMode="auto">
            <a:xfrm>
              <a:off x="2712824" y="5913707"/>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6" name="Rectangle 435">
              <a:extLst>
                <a:ext uri="{FF2B5EF4-FFF2-40B4-BE49-F238E27FC236}">
                  <a16:creationId xmlns:a16="http://schemas.microsoft.com/office/drawing/2014/main" id="{C57E1347-A20F-4395-9FEE-1A63E94B2108}"/>
                </a:ext>
              </a:extLst>
            </p:cNvPr>
            <p:cNvSpPr/>
            <p:nvPr/>
          </p:nvSpPr>
          <p:spPr bwMode="auto">
            <a:xfrm>
              <a:off x="2712824" y="6239100"/>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7" name="Rectangle 436">
              <a:extLst>
                <a:ext uri="{FF2B5EF4-FFF2-40B4-BE49-F238E27FC236}">
                  <a16:creationId xmlns:a16="http://schemas.microsoft.com/office/drawing/2014/main" id="{48BD2E28-F7B8-4518-A9D3-6CD664DBA656}"/>
                </a:ext>
              </a:extLst>
            </p:cNvPr>
            <p:cNvSpPr/>
            <p:nvPr/>
          </p:nvSpPr>
          <p:spPr bwMode="auto">
            <a:xfrm>
              <a:off x="3657105"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8" name="Rectangle 437">
              <a:extLst>
                <a:ext uri="{FF2B5EF4-FFF2-40B4-BE49-F238E27FC236}">
                  <a16:creationId xmlns:a16="http://schemas.microsoft.com/office/drawing/2014/main" id="{90A3BEEC-9620-4E61-ABE3-31F22597F3D8}"/>
                </a:ext>
              </a:extLst>
            </p:cNvPr>
            <p:cNvSpPr/>
            <p:nvPr/>
          </p:nvSpPr>
          <p:spPr bwMode="auto">
            <a:xfrm>
              <a:off x="3657105"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9" name="Rectangle 438">
              <a:extLst>
                <a:ext uri="{FF2B5EF4-FFF2-40B4-BE49-F238E27FC236}">
                  <a16:creationId xmlns:a16="http://schemas.microsoft.com/office/drawing/2014/main" id="{CA49873C-C451-45C1-819A-6D21D5A9C7A6}"/>
                </a:ext>
              </a:extLst>
            </p:cNvPr>
            <p:cNvSpPr/>
            <p:nvPr/>
          </p:nvSpPr>
          <p:spPr bwMode="auto">
            <a:xfrm>
              <a:off x="3657105"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0" name="Rectangle 439">
              <a:extLst>
                <a:ext uri="{FF2B5EF4-FFF2-40B4-BE49-F238E27FC236}">
                  <a16:creationId xmlns:a16="http://schemas.microsoft.com/office/drawing/2014/main" id="{B85ADC7F-9C51-47ED-8D94-68FFC8DEB2A5}"/>
                </a:ext>
              </a:extLst>
            </p:cNvPr>
            <p:cNvSpPr/>
            <p:nvPr/>
          </p:nvSpPr>
          <p:spPr bwMode="auto">
            <a:xfrm>
              <a:off x="3657105"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1" name="Rectangle 440">
              <a:extLst>
                <a:ext uri="{FF2B5EF4-FFF2-40B4-BE49-F238E27FC236}">
                  <a16:creationId xmlns:a16="http://schemas.microsoft.com/office/drawing/2014/main" id="{34CED371-A11D-4577-8908-0A0754C98063}"/>
                </a:ext>
              </a:extLst>
            </p:cNvPr>
            <p:cNvSpPr/>
            <p:nvPr/>
          </p:nvSpPr>
          <p:spPr bwMode="auto">
            <a:xfrm>
              <a:off x="3657105"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2" name="Rectangle 441">
              <a:extLst>
                <a:ext uri="{FF2B5EF4-FFF2-40B4-BE49-F238E27FC236}">
                  <a16:creationId xmlns:a16="http://schemas.microsoft.com/office/drawing/2014/main" id="{957C97ED-F901-4914-A216-513A9EF10180}"/>
                </a:ext>
              </a:extLst>
            </p:cNvPr>
            <p:cNvSpPr/>
            <p:nvPr/>
          </p:nvSpPr>
          <p:spPr bwMode="auto">
            <a:xfrm>
              <a:off x="3657105"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3" name="Rectangle 442">
              <a:extLst>
                <a:ext uri="{FF2B5EF4-FFF2-40B4-BE49-F238E27FC236}">
                  <a16:creationId xmlns:a16="http://schemas.microsoft.com/office/drawing/2014/main" id="{5F33CA39-FA7E-4B11-999A-A97595696351}"/>
                </a:ext>
              </a:extLst>
            </p:cNvPr>
            <p:cNvSpPr/>
            <p:nvPr/>
          </p:nvSpPr>
          <p:spPr bwMode="auto">
            <a:xfrm>
              <a:off x="4053219" y="4935144"/>
              <a:ext cx="465318"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4" name="Rectangle 443">
              <a:extLst>
                <a:ext uri="{FF2B5EF4-FFF2-40B4-BE49-F238E27FC236}">
                  <a16:creationId xmlns:a16="http://schemas.microsoft.com/office/drawing/2014/main" id="{15A001F0-4035-4B68-B7C4-2A1FDCC9C1EE}"/>
                </a:ext>
              </a:extLst>
            </p:cNvPr>
            <p:cNvSpPr/>
            <p:nvPr/>
          </p:nvSpPr>
          <p:spPr bwMode="auto">
            <a:xfrm>
              <a:off x="4054631" y="5260539"/>
              <a:ext cx="463906"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5" name="Rectangle 444">
              <a:extLst>
                <a:ext uri="{FF2B5EF4-FFF2-40B4-BE49-F238E27FC236}">
                  <a16:creationId xmlns:a16="http://schemas.microsoft.com/office/drawing/2014/main" id="{E864CB12-D0C3-438D-A8C3-AE93E4440CCC}"/>
                </a:ext>
              </a:extLst>
            </p:cNvPr>
            <p:cNvSpPr/>
            <p:nvPr/>
          </p:nvSpPr>
          <p:spPr bwMode="auto">
            <a:xfrm>
              <a:off x="4231532" y="5585935"/>
              <a:ext cx="287005"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9" name="Rectangle 458">
              <a:extLst>
                <a:ext uri="{FF2B5EF4-FFF2-40B4-BE49-F238E27FC236}">
                  <a16:creationId xmlns:a16="http://schemas.microsoft.com/office/drawing/2014/main" id="{92808D60-339F-4E0C-90AF-E6E3D1ADC8F8}"/>
                </a:ext>
              </a:extLst>
            </p:cNvPr>
            <p:cNvSpPr/>
            <p:nvPr/>
          </p:nvSpPr>
          <p:spPr bwMode="auto">
            <a:xfrm>
              <a:off x="4053219" y="5913707"/>
              <a:ext cx="465318"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0" name="Rectangle 459">
              <a:extLst>
                <a:ext uri="{FF2B5EF4-FFF2-40B4-BE49-F238E27FC236}">
                  <a16:creationId xmlns:a16="http://schemas.microsoft.com/office/drawing/2014/main" id="{029D2B60-2AE9-4515-A622-B0C3871F4282}"/>
                </a:ext>
              </a:extLst>
            </p:cNvPr>
            <p:cNvSpPr/>
            <p:nvPr/>
          </p:nvSpPr>
          <p:spPr bwMode="auto">
            <a:xfrm>
              <a:off x="3889290" y="6239100"/>
              <a:ext cx="629247"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61" name="Group 460">
            <a:extLst>
              <a:ext uri="{FF2B5EF4-FFF2-40B4-BE49-F238E27FC236}">
                <a16:creationId xmlns:a16="http://schemas.microsoft.com/office/drawing/2014/main" id="{E1497091-5FE2-4059-8FB7-E582ABDEEE46}"/>
              </a:ext>
            </a:extLst>
          </p:cNvPr>
          <p:cNvGrpSpPr/>
          <p:nvPr/>
        </p:nvGrpSpPr>
        <p:grpSpPr>
          <a:xfrm>
            <a:off x="5051037" y="4498553"/>
            <a:ext cx="1233958" cy="709553"/>
            <a:chOff x="520275" y="4360431"/>
            <a:chExt cx="4222642" cy="2207373"/>
          </a:xfrm>
        </p:grpSpPr>
        <p:sp>
          <p:nvSpPr>
            <p:cNvPr id="462" name="Rectangle 461">
              <a:extLst>
                <a:ext uri="{FF2B5EF4-FFF2-40B4-BE49-F238E27FC236}">
                  <a16:creationId xmlns:a16="http://schemas.microsoft.com/office/drawing/2014/main" id="{B16364BC-6C8B-45A3-A5E8-4A4D8EE4B2B0}"/>
                </a:ext>
              </a:extLst>
            </p:cNvPr>
            <p:cNvSpPr/>
            <p:nvPr/>
          </p:nvSpPr>
          <p:spPr bwMode="auto">
            <a:xfrm>
              <a:off x="520275" y="4360431"/>
              <a:ext cx="4222642" cy="2207373"/>
            </a:xfrm>
            <a:prstGeom prst="rect">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3" name="Rectangle 462">
              <a:extLst>
                <a:ext uri="{FF2B5EF4-FFF2-40B4-BE49-F238E27FC236}">
                  <a16:creationId xmlns:a16="http://schemas.microsoft.com/office/drawing/2014/main" id="{3C41C0B0-8034-406D-94F7-E523B42DD1B6}"/>
                </a:ext>
              </a:extLst>
            </p:cNvPr>
            <p:cNvSpPr/>
            <p:nvPr/>
          </p:nvSpPr>
          <p:spPr bwMode="auto">
            <a:xfrm>
              <a:off x="682678"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4" name="Rectangle 463">
              <a:extLst>
                <a:ext uri="{FF2B5EF4-FFF2-40B4-BE49-F238E27FC236}">
                  <a16:creationId xmlns:a16="http://schemas.microsoft.com/office/drawing/2014/main" id="{F1F26D00-DFB8-48A3-989D-0C9C79C476C3}"/>
                </a:ext>
              </a:extLst>
            </p:cNvPr>
            <p:cNvSpPr/>
            <p:nvPr/>
          </p:nvSpPr>
          <p:spPr bwMode="auto">
            <a:xfrm>
              <a:off x="682678"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5" name="Rectangle 464">
              <a:extLst>
                <a:ext uri="{FF2B5EF4-FFF2-40B4-BE49-F238E27FC236}">
                  <a16:creationId xmlns:a16="http://schemas.microsoft.com/office/drawing/2014/main" id="{0F9E4DE1-E230-49AF-974A-9FC79BAA1DF1}"/>
                </a:ext>
              </a:extLst>
            </p:cNvPr>
            <p:cNvSpPr/>
            <p:nvPr/>
          </p:nvSpPr>
          <p:spPr bwMode="auto">
            <a:xfrm>
              <a:off x="682678"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7" name="Rectangle 466">
              <a:extLst>
                <a:ext uri="{FF2B5EF4-FFF2-40B4-BE49-F238E27FC236}">
                  <a16:creationId xmlns:a16="http://schemas.microsoft.com/office/drawing/2014/main" id="{1185FD35-B221-4894-B9D7-E8A3E64AAFC3}"/>
                </a:ext>
              </a:extLst>
            </p:cNvPr>
            <p:cNvSpPr/>
            <p:nvPr/>
          </p:nvSpPr>
          <p:spPr bwMode="auto">
            <a:xfrm>
              <a:off x="682678"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8" name="Rectangle 467">
              <a:extLst>
                <a:ext uri="{FF2B5EF4-FFF2-40B4-BE49-F238E27FC236}">
                  <a16:creationId xmlns:a16="http://schemas.microsoft.com/office/drawing/2014/main" id="{DA7B08FD-A914-42B0-98E1-0548F7E54084}"/>
                </a:ext>
              </a:extLst>
            </p:cNvPr>
            <p:cNvSpPr/>
            <p:nvPr/>
          </p:nvSpPr>
          <p:spPr bwMode="auto">
            <a:xfrm>
              <a:off x="682678"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9" name="Rectangle 468">
              <a:extLst>
                <a:ext uri="{FF2B5EF4-FFF2-40B4-BE49-F238E27FC236}">
                  <a16:creationId xmlns:a16="http://schemas.microsoft.com/office/drawing/2014/main" id="{2BA5C5B3-2E17-4262-9AED-6D0856C65E68}"/>
                </a:ext>
              </a:extLst>
            </p:cNvPr>
            <p:cNvSpPr/>
            <p:nvPr/>
          </p:nvSpPr>
          <p:spPr bwMode="auto">
            <a:xfrm>
              <a:off x="682678"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0" name="Rectangle 469">
              <a:extLst>
                <a:ext uri="{FF2B5EF4-FFF2-40B4-BE49-F238E27FC236}">
                  <a16:creationId xmlns:a16="http://schemas.microsoft.com/office/drawing/2014/main" id="{1A3A2B66-784E-4F1A-B48C-524876111A3A}"/>
                </a:ext>
              </a:extLst>
            </p:cNvPr>
            <p:cNvSpPr/>
            <p:nvPr/>
          </p:nvSpPr>
          <p:spPr bwMode="auto">
            <a:xfrm>
              <a:off x="729872" y="4935144"/>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1" name="Rectangle 470">
              <a:extLst>
                <a:ext uri="{FF2B5EF4-FFF2-40B4-BE49-F238E27FC236}">
                  <a16:creationId xmlns:a16="http://schemas.microsoft.com/office/drawing/2014/main" id="{3264B1DD-6889-456F-9FA3-EBF9D0C1E2F1}"/>
                </a:ext>
              </a:extLst>
            </p:cNvPr>
            <p:cNvSpPr/>
            <p:nvPr/>
          </p:nvSpPr>
          <p:spPr bwMode="auto">
            <a:xfrm>
              <a:off x="729873" y="5260539"/>
              <a:ext cx="463906"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2" name="Rectangle 471">
              <a:extLst>
                <a:ext uri="{FF2B5EF4-FFF2-40B4-BE49-F238E27FC236}">
                  <a16:creationId xmlns:a16="http://schemas.microsoft.com/office/drawing/2014/main" id="{16D3CB7C-8014-42A7-AD31-20FC7E095AA6}"/>
                </a:ext>
              </a:extLst>
            </p:cNvPr>
            <p:cNvSpPr/>
            <p:nvPr/>
          </p:nvSpPr>
          <p:spPr bwMode="auto">
            <a:xfrm>
              <a:off x="729872" y="5585935"/>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3" name="Rectangle 472">
              <a:extLst>
                <a:ext uri="{FF2B5EF4-FFF2-40B4-BE49-F238E27FC236}">
                  <a16:creationId xmlns:a16="http://schemas.microsoft.com/office/drawing/2014/main" id="{E048438A-2A7E-49D8-8A13-5C8B40B36E44}"/>
                </a:ext>
              </a:extLst>
            </p:cNvPr>
            <p:cNvSpPr/>
            <p:nvPr/>
          </p:nvSpPr>
          <p:spPr bwMode="auto">
            <a:xfrm>
              <a:off x="729872" y="5913707"/>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4" name="Rectangle 473">
              <a:extLst>
                <a:ext uri="{FF2B5EF4-FFF2-40B4-BE49-F238E27FC236}">
                  <a16:creationId xmlns:a16="http://schemas.microsoft.com/office/drawing/2014/main" id="{1CFFF686-F87D-40B3-9E66-87FEF41B5F46}"/>
                </a:ext>
              </a:extLst>
            </p:cNvPr>
            <p:cNvSpPr/>
            <p:nvPr/>
          </p:nvSpPr>
          <p:spPr bwMode="auto">
            <a:xfrm>
              <a:off x="729872" y="6239100"/>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5" name="Rectangle 474">
              <a:extLst>
                <a:ext uri="{FF2B5EF4-FFF2-40B4-BE49-F238E27FC236}">
                  <a16:creationId xmlns:a16="http://schemas.microsoft.com/office/drawing/2014/main" id="{E6E4B086-22A3-4C4D-8916-3FD40A13FFCD}"/>
                </a:ext>
              </a:extLst>
            </p:cNvPr>
            <p:cNvSpPr/>
            <p:nvPr/>
          </p:nvSpPr>
          <p:spPr bwMode="auto">
            <a:xfrm>
              <a:off x="1674154"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6" name="Rectangle 475">
              <a:extLst>
                <a:ext uri="{FF2B5EF4-FFF2-40B4-BE49-F238E27FC236}">
                  <a16:creationId xmlns:a16="http://schemas.microsoft.com/office/drawing/2014/main" id="{69CD41C5-C960-4DA7-BF5A-97247FE97C05}"/>
                </a:ext>
              </a:extLst>
            </p:cNvPr>
            <p:cNvSpPr/>
            <p:nvPr/>
          </p:nvSpPr>
          <p:spPr bwMode="auto">
            <a:xfrm>
              <a:off x="1674154"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7" name="Rectangle 476">
              <a:extLst>
                <a:ext uri="{FF2B5EF4-FFF2-40B4-BE49-F238E27FC236}">
                  <a16:creationId xmlns:a16="http://schemas.microsoft.com/office/drawing/2014/main" id="{CA3CD073-2B17-4FB3-AF94-20CDF89B4FF7}"/>
                </a:ext>
              </a:extLst>
            </p:cNvPr>
            <p:cNvSpPr/>
            <p:nvPr/>
          </p:nvSpPr>
          <p:spPr bwMode="auto">
            <a:xfrm>
              <a:off x="1674154"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8" name="Rectangle 477">
              <a:extLst>
                <a:ext uri="{FF2B5EF4-FFF2-40B4-BE49-F238E27FC236}">
                  <a16:creationId xmlns:a16="http://schemas.microsoft.com/office/drawing/2014/main" id="{7C4506DD-BDE1-4FBF-810E-8B3B1B25904A}"/>
                </a:ext>
              </a:extLst>
            </p:cNvPr>
            <p:cNvSpPr/>
            <p:nvPr/>
          </p:nvSpPr>
          <p:spPr bwMode="auto">
            <a:xfrm>
              <a:off x="1674154"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9" name="Rectangle 478">
              <a:extLst>
                <a:ext uri="{FF2B5EF4-FFF2-40B4-BE49-F238E27FC236}">
                  <a16:creationId xmlns:a16="http://schemas.microsoft.com/office/drawing/2014/main" id="{EEF37CB0-57DD-4200-87DE-4DA8CA530A03}"/>
                </a:ext>
              </a:extLst>
            </p:cNvPr>
            <p:cNvSpPr/>
            <p:nvPr/>
          </p:nvSpPr>
          <p:spPr bwMode="auto">
            <a:xfrm>
              <a:off x="1674154"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0" name="Rectangle 479">
              <a:extLst>
                <a:ext uri="{FF2B5EF4-FFF2-40B4-BE49-F238E27FC236}">
                  <a16:creationId xmlns:a16="http://schemas.microsoft.com/office/drawing/2014/main" id="{F813081A-98FD-47E3-9111-EEED08A9FD53}"/>
                </a:ext>
              </a:extLst>
            </p:cNvPr>
            <p:cNvSpPr/>
            <p:nvPr/>
          </p:nvSpPr>
          <p:spPr bwMode="auto">
            <a:xfrm>
              <a:off x="1674154"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1" name="Rectangle 480">
              <a:extLst>
                <a:ext uri="{FF2B5EF4-FFF2-40B4-BE49-F238E27FC236}">
                  <a16:creationId xmlns:a16="http://schemas.microsoft.com/office/drawing/2014/main" id="{67D79EA7-651A-4221-8A51-84D70D6FABF9}"/>
                </a:ext>
              </a:extLst>
            </p:cNvPr>
            <p:cNvSpPr/>
            <p:nvPr/>
          </p:nvSpPr>
          <p:spPr bwMode="auto">
            <a:xfrm>
              <a:off x="1721348" y="4935144"/>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2" name="Rectangle 481">
              <a:extLst>
                <a:ext uri="{FF2B5EF4-FFF2-40B4-BE49-F238E27FC236}">
                  <a16:creationId xmlns:a16="http://schemas.microsoft.com/office/drawing/2014/main" id="{147E0D54-4434-4CAB-843A-276FE83B8B32}"/>
                </a:ext>
              </a:extLst>
            </p:cNvPr>
            <p:cNvSpPr/>
            <p:nvPr/>
          </p:nvSpPr>
          <p:spPr bwMode="auto">
            <a:xfrm>
              <a:off x="1721349" y="5260539"/>
              <a:ext cx="463906"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3" name="Rectangle 482">
              <a:extLst>
                <a:ext uri="{FF2B5EF4-FFF2-40B4-BE49-F238E27FC236}">
                  <a16:creationId xmlns:a16="http://schemas.microsoft.com/office/drawing/2014/main" id="{0927C9F0-10CB-4676-9AE4-810B42AAC13B}"/>
                </a:ext>
              </a:extLst>
            </p:cNvPr>
            <p:cNvSpPr/>
            <p:nvPr/>
          </p:nvSpPr>
          <p:spPr bwMode="auto">
            <a:xfrm>
              <a:off x="1721348" y="5585935"/>
              <a:ext cx="65938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4" name="Rectangle 483">
              <a:extLst>
                <a:ext uri="{FF2B5EF4-FFF2-40B4-BE49-F238E27FC236}">
                  <a16:creationId xmlns:a16="http://schemas.microsoft.com/office/drawing/2014/main" id="{5394DCB7-8008-4C99-9EA0-912800ADF1D8}"/>
                </a:ext>
              </a:extLst>
            </p:cNvPr>
            <p:cNvSpPr/>
            <p:nvPr/>
          </p:nvSpPr>
          <p:spPr bwMode="auto">
            <a:xfrm>
              <a:off x="1721348" y="5913707"/>
              <a:ext cx="46390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5" name="Rectangle 484">
              <a:extLst>
                <a:ext uri="{FF2B5EF4-FFF2-40B4-BE49-F238E27FC236}">
                  <a16:creationId xmlns:a16="http://schemas.microsoft.com/office/drawing/2014/main" id="{0AF5F8D5-D12A-4EC0-A1DC-103FB6D1285D}"/>
                </a:ext>
              </a:extLst>
            </p:cNvPr>
            <p:cNvSpPr/>
            <p:nvPr/>
          </p:nvSpPr>
          <p:spPr bwMode="auto">
            <a:xfrm>
              <a:off x="1721348" y="6239100"/>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6" name="Rectangle 485">
              <a:extLst>
                <a:ext uri="{FF2B5EF4-FFF2-40B4-BE49-F238E27FC236}">
                  <a16:creationId xmlns:a16="http://schemas.microsoft.com/office/drawing/2014/main" id="{4C4FC4AD-A615-447A-B498-6E14A237A250}"/>
                </a:ext>
              </a:extLst>
            </p:cNvPr>
            <p:cNvSpPr/>
            <p:nvPr/>
          </p:nvSpPr>
          <p:spPr bwMode="auto">
            <a:xfrm>
              <a:off x="2665630"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7" name="Rectangle 486">
              <a:extLst>
                <a:ext uri="{FF2B5EF4-FFF2-40B4-BE49-F238E27FC236}">
                  <a16:creationId xmlns:a16="http://schemas.microsoft.com/office/drawing/2014/main" id="{42342CC6-642B-4DB6-838E-304175C04DE9}"/>
                </a:ext>
              </a:extLst>
            </p:cNvPr>
            <p:cNvSpPr/>
            <p:nvPr/>
          </p:nvSpPr>
          <p:spPr bwMode="auto">
            <a:xfrm>
              <a:off x="2665630"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8" name="Rectangle 487">
              <a:extLst>
                <a:ext uri="{FF2B5EF4-FFF2-40B4-BE49-F238E27FC236}">
                  <a16:creationId xmlns:a16="http://schemas.microsoft.com/office/drawing/2014/main" id="{8A16A89B-4166-4350-9717-6B82DC67A217}"/>
                </a:ext>
              </a:extLst>
            </p:cNvPr>
            <p:cNvSpPr/>
            <p:nvPr/>
          </p:nvSpPr>
          <p:spPr bwMode="auto">
            <a:xfrm>
              <a:off x="2665630"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9" name="Rectangle 488">
              <a:extLst>
                <a:ext uri="{FF2B5EF4-FFF2-40B4-BE49-F238E27FC236}">
                  <a16:creationId xmlns:a16="http://schemas.microsoft.com/office/drawing/2014/main" id="{203ECB2B-890D-48A6-B45E-F84952D0CB7A}"/>
                </a:ext>
              </a:extLst>
            </p:cNvPr>
            <p:cNvSpPr/>
            <p:nvPr/>
          </p:nvSpPr>
          <p:spPr bwMode="auto">
            <a:xfrm>
              <a:off x="2665630"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0" name="Rectangle 489">
              <a:extLst>
                <a:ext uri="{FF2B5EF4-FFF2-40B4-BE49-F238E27FC236}">
                  <a16:creationId xmlns:a16="http://schemas.microsoft.com/office/drawing/2014/main" id="{27F94EBB-5A76-4EFF-B649-76DDA0E33488}"/>
                </a:ext>
              </a:extLst>
            </p:cNvPr>
            <p:cNvSpPr/>
            <p:nvPr/>
          </p:nvSpPr>
          <p:spPr bwMode="auto">
            <a:xfrm>
              <a:off x="2665630"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1" name="Rectangle 490">
              <a:extLst>
                <a:ext uri="{FF2B5EF4-FFF2-40B4-BE49-F238E27FC236}">
                  <a16:creationId xmlns:a16="http://schemas.microsoft.com/office/drawing/2014/main" id="{0FCC9F08-496C-494D-BBA6-48F189E6FDED}"/>
                </a:ext>
              </a:extLst>
            </p:cNvPr>
            <p:cNvSpPr/>
            <p:nvPr/>
          </p:nvSpPr>
          <p:spPr bwMode="auto">
            <a:xfrm>
              <a:off x="2665630"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2" name="Rectangle 491">
              <a:extLst>
                <a:ext uri="{FF2B5EF4-FFF2-40B4-BE49-F238E27FC236}">
                  <a16:creationId xmlns:a16="http://schemas.microsoft.com/office/drawing/2014/main" id="{12DE5E6A-FA8C-496A-B1E8-BF6799A8B9B2}"/>
                </a:ext>
              </a:extLst>
            </p:cNvPr>
            <p:cNvSpPr/>
            <p:nvPr/>
          </p:nvSpPr>
          <p:spPr bwMode="auto">
            <a:xfrm>
              <a:off x="2712824" y="4935144"/>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3" name="Rectangle 492">
              <a:extLst>
                <a:ext uri="{FF2B5EF4-FFF2-40B4-BE49-F238E27FC236}">
                  <a16:creationId xmlns:a16="http://schemas.microsoft.com/office/drawing/2014/main" id="{96ED1DAD-A068-49B1-862C-2FCA10C22C59}"/>
                </a:ext>
              </a:extLst>
            </p:cNvPr>
            <p:cNvSpPr/>
            <p:nvPr/>
          </p:nvSpPr>
          <p:spPr bwMode="auto">
            <a:xfrm>
              <a:off x="2712825" y="5260539"/>
              <a:ext cx="688260"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9" name="Rectangle 498">
              <a:extLst>
                <a:ext uri="{FF2B5EF4-FFF2-40B4-BE49-F238E27FC236}">
                  <a16:creationId xmlns:a16="http://schemas.microsoft.com/office/drawing/2014/main" id="{62374ADC-9A0F-434F-979B-FB370C0F9A47}"/>
                </a:ext>
              </a:extLst>
            </p:cNvPr>
            <p:cNvSpPr/>
            <p:nvPr/>
          </p:nvSpPr>
          <p:spPr bwMode="auto">
            <a:xfrm>
              <a:off x="2712824" y="5585935"/>
              <a:ext cx="606780"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9" name="Rectangle 508">
              <a:extLst>
                <a:ext uri="{FF2B5EF4-FFF2-40B4-BE49-F238E27FC236}">
                  <a16:creationId xmlns:a16="http://schemas.microsoft.com/office/drawing/2014/main" id="{140F69D1-5AD2-4DE5-AB39-F9E9B8C44693}"/>
                </a:ext>
              </a:extLst>
            </p:cNvPr>
            <p:cNvSpPr/>
            <p:nvPr/>
          </p:nvSpPr>
          <p:spPr bwMode="auto">
            <a:xfrm>
              <a:off x="2712824" y="5913707"/>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0" name="Rectangle 509">
              <a:extLst>
                <a:ext uri="{FF2B5EF4-FFF2-40B4-BE49-F238E27FC236}">
                  <a16:creationId xmlns:a16="http://schemas.microsoft.com/office/drawing/2014/main" id="{DF9546D4-A5DA-4739-A7A0-8078951B79DC}"/>
                </a:ext>
              </a:extLst>
            </p:cNvPr>
            <p:cNvSpPr/>
            <p:nvPr/>
          </p:nvSpPr>
          <p:spPr bwMode="auto">
            <a:xfrm>
              <a:off x="2712824" y="6239100"/>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4" name="Rectangle 513">
              <a:extLst>
                <a:ext uri="{FF2B5EF4-FFF2-40B4-BE49-F238E27FC236}">
                  <a16:creationId xmlns:a16="http://schemas.microsoft.com/office/drawing/2014/main" id="{215E7049-A07E-4269-B527-A3C7CB486D5A}"/>
                </a:ext>
              </a:extLst>
            </p:cNvPr>
            <p:cNvSpPr/>
            <p:nvPr/>
          </p:nvSpPr>
          <p:spPr bwMode="auto">
            <a:xfrm>
              <a:off x="3657105"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6" name="Rectangle 515">
              <a:extLst>
                <a:ext uri="{FF2B5EF4-FFF2-40B4-BE49-F238E27FC236}">
                  <a16:creationId xmlns:a16="http://schemas.microsoft.com/office/drawing/2014/main" id="{3B297C17-D013-4DE7-BA8C-1D51205BBBEC}"/>
                </a:ext>
              </a:extLst>
            </p:cNvPr>
            <p:cNvSpPr/>
            <p:nvPr/>
          </p:nvSpPr>
          <p:spPr bwMode="auto">
            <a:xfrm>
              <a:off x="3657105"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0" name="Rectangle 529">
              <a:extLst>
                <a:ext uri="{FF2B5EF4-FFF2-40B4-BE49-F238E27FC236}">
                  <a16:creationId xmlns:a16="http://schemas.microsoft.com/office/drawing/2014/main" id="{E7A3AB2F-898F-4E44-8DA3-50482DD893E9}"/>
                </a:ext>
              </a:extLst>
            </p:cNvPr>
            <p:cNvSpPr/>
            <p:nvPr/>
          </p:nvSpPr>
          <p:spPr bwMode="auto">
            <a:xfrm>
              <a:off x="3657105"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2" name="Rectangle 531">
              <a:extLst>
                <a:ext uri="{FF2B5EF4-FFF2-40B4-BE49-F238E27FC236}">
                  <a16:creationId xmlns:a16="http://schemas.microsoft.com/office/drawing/2014/main" id="{BA92D6A4-09E1-4209-AD37-75C8FE83D878}"/>
                </a:ext>
              </a:extLst>
            </p:cNvPr>
            <p:cNvSpPr/>
            <p:nvPr/>
          </p:nvSpPr>
          <p:spPr bwMode="auto">
            <a:xfrm>
              <a:off x="3657105"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4" name="Rectangle 533">
              <a:extLst>
                <a:ext uri="{FF2B5EF4-FFF2-40B4-BE49-F238E27FC236}">
                  <a16:creationId xmlns:a16="http://schemas.microsoft.com/office/drawing/2014/main" id="{18B28EB1-8680-420A-9B82-224F4F5CC8C2}"/>
                </a:ext>
              </a:extLst>
            </p:cNvPr>
            <p:cNvSpPr/>
            <p:nvPr/>
          </p:nvSpPr>
          <p:spPr bwMode="auto">
            <a:xfrm>
              <a:off x="3657105"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8" name="Rectangle 537">
              <a:extLst>
                <a:ext uri="{FF2B5EF4-FFF2-40B4-BE49-F238E27FC236}">
                  <a16:creationId xmlns:a16="http://schemas.microsoft.com/office/drawing/2014/main" id="{C159E263-C4DF-41B0-8DE8-FD2B6301BDA0}"/>
                </a:ext>
              </a:extLst>
            </p:cNvPr>
            <p:cNvSpPr/>
            <p:nvPr/>
          </p:nvSpPr>
          <p:spPr bwMode="auto">
            <a:xfrm>
              <a:off x="3657105"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9" name="Rectangle 538">
              <a:extLst>
                <a:ext uri="{FF2B5EF4-FFF2-40B4-BE49-F238E27FC236}">
                  <a16:creationId xmlns:a16="http://schemas.microsoft.com/office/drawing/2014/main" id="{1BC3F8A3-D5AA-48C3-91EF-38815C47B645}"/>
                </a:ext>
              </a:extLst>
            </p:cNvPr>
            <p:cNvSpPr/>
            <p:nvPr/>
          </p:nvSpPr>
          <p:spPr bwMode="auto">
            <a:xfrm>
              <a:off x="4053219" y="4935144"/>
              <a:ext cx="465318"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3" name="Rectangle 792">
              <a:extLst>
                <a:ext uri="{FF2B5EF4-FFF2-40B4-BE49-F238E27FC236}">
                  <a16:creationId xmlns:a16="http://schemas.microsoft.com/office/drawing/2014/main" id="{5A669381-12BB-4002-9E8B-ADEE5865E1D4}"/>
                </a:ext>
              </a:extLst>
            </p:cNvPr>
            <p:cNvSpPr/>
            <p:nvPr/>
          </p:nvSpPr>
          <p:spPr bwMode="auto">
            <a:xfrm>
              <a:off x="4054631" y="5260539"/>
              <a:ext cx="463906"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4" name="Rectangle 793">
              <a:extLst>
                <a:ext uri="{FF2B5EF4-FFF2-40B4-BE49-F238E27FC236}">
                  <a16:creationId xmlns:a16="http://schemas.microsoft.com/office/drawing/2014/main" id="{C5529F7F-00D6-4896-B9A9-00A022B68072}"/>
                </a:ext>
              </a:extLst>
            </p:cNvPr>
            <p:cNvSpPr/>
            <p:nvPr/>
          </p:nvSpPr>
          <p:spPr bwMode="auto">
            <a:xfrm>
              <a:off x="4231532" y="5585935"/>
              <a:ext cx="287005"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5" name="Rectangle 794">
              <a:extLst>
                <a:ext uri="{FF2B5EF4-FFF2-40B4-BE49-F238E27FC236}">
                  <a16:creationId xmlns:a16="http://schemas.microsoft.com/office/drawing/2014/main" id="{1312F078-0EA8-4D45-A7BF-5F75B5D43F7F}"/>
                </a:ext>
              </a:extLst>
            </p:cNvPr>
            <p:cNvSpPr/>
            <p:nvPr/>
          </p:nvSpPr>
          <p:spPr bwMode="auto">
            <a:xfrm>
              <a:off x="4053219" y="5913707"/>
              <a:ext cx="465318"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6" name="Rectangle 795">
              <a:extLst>
                <a:ext uri="{FF2B5EF4-FFF2-40B4-BE49-F238E27FC236}">
                  <a16:creationId xmlns:a16="http://schemas.microsoft.com/office/drawing/2014/main" id="{169EA8B4-AC10-4DE6-AB1E-2A4794145C9B}"/>
                </a:ext>
              </a:extLst>
            </p:cNvPr>
            <p:cNvSpPr/>
            <p:nvPr/>
          </p:nvSpPr>
          <p:spPr bwMode="auto">
            <a:xfrm>
              <a:off x="3889290" y="6239100"/>
              <a:ext cx="629247"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797" name="Group 796">
            <a:extLst>
              <a:ext uri="{FF2B5EF4-FFF2-40B4-BE49-F238E27FC236}">
                <a16:creationId xmlns:a16="http://schemas.microsoft.com/office/drawing/2014/main" id="{2E8D1C2A-0D9F-4038-A7E9-59014B081412}"/>
              </a:ext>
            </a:extLst>
          </p:cNvPr>
          <p:cNvGrpSpPr/>
          <p:nvPr/>
        </p:nvGrpSpPr>
        <p:grpSpPr>
          <a:xfrm>
            <a:off x="7052673" y="4220811"/>
            <a:ext cx="4695825" cy="1815447"/>
            <a:chOff x="7124700" y="1543050"/>
            <a:chExt cx="4695825" cy="1815447"/>
          </a:xfrm>
        </p:grpSpPr>
        <p:sp>
          <p:nvSpPr>
            <p:cNvPr id="798" name="engage">
              <a:extLst>
                <a:ext uri="{FF2B5EF4-FFF2-40B4-BE49-F238E27FC236}">
                  <a16:creationId xmlns:a16="http://schemas.microsoft.com/office/drawing/2014/main" id="{9C4FEEBD-B205-4F9B-95B2-421DE2D9E1F2}"/>
                </a:ext>
              </a:extLst>
            </p:cNvPr>
            <p:cNvSpPr/>
            <p:nvPr/>
          </p:nvSpPr>
          <p:spPr bwMode="auto">
            <a:xfrm>
              <a:off x="7204431" y="1543050"/>
              <a:ext cx="4616094" cy="17049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l" defTabSz="913400" rtl="0" eaLnBrk="1" fontAlgn="base" latinLnBrk="0" hangingPunct="1">
                <a:lnSpc>
                  <a:spcPct val="95000"/>
                </a:lnSpc>
                <a:spcBef>
                  <a:spcPct val="0"/>
                </a:spcBef>
                <a:spcAft>
                  <a:spcPts val="150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Segoe UI" pitchFamily="34" charset="0"/>
                </a:rPr>
                <a:t>The ledger can only be updated by network consensus, and information can’t be altered or deleted without the knowledge of the whole network</a:t>
              </a:r>
              <a:r>
                <a:rPr kumimoji="0" lang="en-US" sz="2400" b="0" i="0" u="none" strike="noStrike" kern="0" cap="none" spc="0" normalizeH="0" baseline="0" noProof="0">
                  <a:ln>
                    <a:noFill/>
                  </a:ln>
                  <a:solidFill>
                    <a:srgbClr val="FFFFFF"/>
                  </a:solidFill>
                  <a:effectLst/>
                  <a:uLnTx/>
                  <a:uFillTx/>
                  <a:latin typeface="Segoe UI Light"/>
                  <a:ea typeface="+mn-ea"/>
                  <a:cs typeface="Segoe UI Semibold" panose="020B0702040204020203" pitchFamily="34" charset="0"/>
                </a:rPr>
                <a:t>.</a:t>
              </a:r>
            </a:p>
          </p:txBody>
        </p:sp>
        <p:cxnSp>
          <p:nvCxnSpPr>
            <p:cNvPr id="799" name="Straight Connector 798">
              <a:extLst>
                <a:ext uri="{FF2B5EF4-FFF2-40B4-BE49-F238E27FC236}">
                  <a16:creationId xmlns:a16="http://schemas.microsoft.com/office/drawing/2014/main" id="{3983ADFF-E3A4-4900-B908-816D23FD7156}"/>
                </a:ext>
              </a:extLst>
            </p:cNvPr>
            <p:cNvCxnSpPr>
              <a:cxnSpLocks/>
            </p:cNvCxnSpPr>
            <p:nvPr/>
          </p:nvCxnSpPr>
          <p:spPr>
            <a:xfrm>
              <a:off x="7124700" y="1733550"/>
              <a:ext cx="0" cy="1624947"/>
            </a:xfrm>
            <a:prstGeom prst="line">
              <a:avLst/>
            </a:prstGeom>
            <a:no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800" name="Group 799">
            <a:extLst>
              <a:ext uri="{FF2B5EF4-FFF2-40B4-BE49-F238E27FC236}">
                <a16:creationId xmlns:a16="http://schemas.microsoft.com/office/drawing/2014/main" id="{4EE5E5E8-75C3-4D99-AEC9-D68E21B8A29F}"/>
              </a:ext>
            </a:extLst>
          </p:cNvPr>
          <p:cNvGrpSpPr/>
          <p:nvPr/>
        </p:nvGrpSpPr>
        <p:grpSpPr>
          <a:xfrm>
            <a:off x="7052673" y="3093632"/>
            <a:ext cx="4695825" cy="876300"/>
            <a:chOff x="7124700" y="3876676"/>
            <a:chExt cx="4695825" cy="876300"/>
          </a:xfrm>
        </p:grpSpPr>
        <p:sp>
          <p:nvSpPr>
            <p:cNvPr id="801" name="engage">
              <a:extLst>
                <a:ext uri="{FF2B5EF4-FFF2-40B4-BE49-F238E27FC236}">
                  <a16:creationId xmlns:a16="http://schemas.microsoft.com/office/drawing/2014/main" id="{BBED9A45-9E7C-4090-8072-C0974B9F8937}"/>
                </a:ext>
              </a:extLst>
            </p:cNvPr>
            <p:cNvSpPr/>
            <p:nvPr/>
          </p:nvSpPr>
          <p:spPr bwMode="auto">
            <a:xfrm>
              <a:off x="7204431" y="3876676"/>
              <a:ext cx="4616094" cy="8763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b" anchorCtr="0" forceAA="0" compatLnSpc="1">
              <a:prstTxWarp prst="textNoShape">
                <a:avLst/>
              </a:prstTxWarp>
              <a:noAutofit/>
            </a:bodyPr>
            <a:lstStyle/>
            <a:p>
              <a:pPr marL="0" marR="0" lvl="0" indent="0" algn="l" defTabSz="913400" rtl="0" eaLnBrk="1" fontAlgn="base" latinLnBrk="0" hangingPunct="1">
                <a:lnSpc>
                  <a:spcPct val="95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Segoe UI" pitchFamily="34" charset="0"/>
                </a:rPr>
                <a:t>Everyone in the network has an individual, identical copy</a:t>
              </a:r>
            </a:p>
          </p:txBody>
        </p:sp>
        <p:cxnSp>
          <p:nvCxnSpPr>
            <p:cNvPr id="802" name="Straight Connector 801">
              <a:extLst>
                <a:ext uri="{FF2B5EF4-FFF2-40B4-BE49-F238E27FC236}">
                  <a16:creationId xmlns:a16="http://schemas.microsoft.com/office/drawing/2014/main" id="{8F722C94-56D6-4033-94BC-0775BBF6DDA9}"/>
                </a:ext>
              </a:extLst>
            </p:cNvPr>
            <p:cNvCxnSpPr>
              <a:cxnSpLocks/>
            </p:cNvCxnSpPr>
            <p:nvPr/>
          </p:nvCxnSpPr>
          <p:spPr>
            <a:xfrm>
              <a:off x="7124700" y="4081494"/>
              <a:ext cx="0" cy="572908"/>
            </a:xfrm>
            <a:prstGeom prst="line">
              <a:avLst/>
            </a:prstGeom>
            <a:no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803" name="Group 802">
            <a:extLst>
              <a:ext uri="{FF2B5EF4-FFF2-40B4-BE49-F238E27FC236}">
                <a16:creationId xmlns:a16="http://schemas.microsoft.com/office/drawing/2014/main" id="{6099106E-B046-4655-A29A-95AA4BEC4A5E}"/>
              </a:ext>
            </a:extLst>
          </p:cNvPr>
          <p:cNvGrpSpPr/>
          <p:nvPr/>
        </p:nvGrpSpPr>
        <p:grpSpPr>
          <a:xfrm>
            <a:off x="7052673" y="1972915"/>
            <a:ext cx="4695825" cy="876300"/>
            <a:chOff x="7124700" y="4781551"/>
            <a:chExt cx="4695825" cy="876300"/>
          </a:xfrm>
        </p:grpSpPr>
        <p:sp>
          <p:nvSpPr>
            <p:cNvPr id="804" name="engage">
              <a:extLst>
                <a:ext uri="{FF2B5EF4-FFF2-40B4-BE49-F238E27FC236}">
                  <a16:creationId xmlns:a16="http://schemas.microsoft.com/office/drawing/2014/main" id="{C51E945B-7983-4FBA-B7EB-6A3F3C130932}"/>
                </a:ext>
              </a:extLst>
            </p:cNvPr>
            <p:cNvSpPr/>
            <p:nvPr/>
          </p:nvSpPr>
          <p:spPr bwMode="auto">
            <a:xfrm>
              <a:off x="7204431" y="4781551"/>
              <a:ext cx="4616094" cy="8763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b" anchorCtr="0" forceAA="0" compatLnSpc="1">
              <a:prstTxWarp prst="textNoShape">
                <a:avLst/>
              </a:prstTxWarp>
              <a:noAutofit/>
            </a:bodyPr>
            <a:lstStyle/>
            <a:p>
              <a:pPr marL="0" marR="0" lvl="0" indent="0" algn="l" defTabSz="913400" rtl="0" eaLnBrk="1" fontAlgn="base" latinLnBrk="0" hangingPunct="1">
                <a:lnSpc>
                  <a:spcPct val="95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Segoe UI" pitchFamily="34" charset="0"/>
                </a:rPr>
                <a:t>Data is stored in a ledger—</a:t>
              </a:r>
            </a:p>
            <a:p>
              <a:pPr marL="0" marR="0" lvl="0" indent="0" algn="l" defTabSz="913400" rtl="0" eaLnBrk="1" fontAlgn="base" latinLnBrk="0" hangingPunct="1">
                <a:lnSpc>
                  <a:spcPct val="95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Segoe UI" pitchFamily="34" charset="0"/>
                </a:rPr>
                <a:t>a record of every transaction</a:t>
              </a:r>
            </a:p>
          </p:txBody>
        </p:sp>
        <p:cxnSp>
          <p:nvCxnSpPr>
            <p:cNvPr id="805" name="Straight Connector 804">
              <a:extLst>
                <a:ext uri="{FF2B5EF4-FFF2-40B4-BE49-F238E27FC236}">
                  <a16:creationId xmlns:a16="http://schemas.microsoft.com/office/drawing/2014/main" id="{E5023C0D-BEC7-410D-B41B-A3A33E5B914D}"/>
                </a:ext>
              </a:extLst>
            </p:cNvPr>
            <p:cNvCxnSpPr>
              <a:cxnSpLocks/>
            </p:cNvCxnSpPr>
            <p:nvPr/>
          </p:nvCxnSpPr>
          <p:spPr>
            <a:xfrm>
              <a:off x="7124700" y="4982347"/>
              <a:ext cx="0" cy="572908"/>
            </a:xfrm>
            <a:prstGeom prst="line">
              <a:avLst/>
            </a:prstGeom>
            <a:no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cxnSp>
        <p:nvCxnSpPr>
          <p:cNvPr id="806" name="Connector: Elbow 805">
            <a:extLst>
              <a:ext uri="{FF2B5EF4-FFF2-40B4-BE49-F238E27FC236}">
                <a16:creationId xmlns:a16="http://schemas.microsoft.com/office/drawing/2014/main" id="{24C8AB7D-F194-4897-B8E0-93BC406E9C22}"/>
              </a:ext>
            </a:extLst>
          </p:cNvPr>
          <p:cNvCxnSpPr>
            <a:cxnSpLocks/>
          </p:cNvCxnSpPr>
          <p:nvPr/>
        </p:nvCxnSpPr>
        <p:spPr>
          <a:xfrm rot="16200000" flipH="1">
            <a:off x="1608573" y="5201270"/>
            <a:ext cx="382820" cy="769296"/>
          </a:xfrm>
          <a:prstGeom prst="bentConnector2">
            <a:avLst/>
          </a:prstGeom>
          <a:no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07" name="Connector: Elbow 806">
            <a:extLst>
              <a:ext uri="{FF2B5EF4-FFF2-40B4-BE49-F238E27FC236}">
                <a16:creationId xmlns:a16="http://schemas.microsoft.com/office/drawing/2014/main" id="{9DCF9478-41AC-4DC4-9096-E081993B47EA}"/>
              </a:ext>
            </a:extLst>
          </p:cNvPr>
          <p:cNvCxnSpPr>
            <a:cxnSpLocks/>
            <a:stCxn id="869" idx="4"/>
          </p:cNvCxnSpPr>
          <p:nvPr/>
        </p:nvCxnSpPr>
        <p:spPr>
          <a:xfrm rot="5400000">
            <a:off x="5065155" y="5182886"/>
            <a:ext cx="382820" cy="806064"/>
          </a:xfrm>
          <a:prstGeom prst="bentConnector2">
            <a:avLst/>
          </a:prstGeom>
          <a:no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08" name="Connector: Elbow 807">
            <a:extLst>
              <a:ext uri="{FF2B5EF4-FFF2-40B4-BE49-F238E27FC236}">
                <a16:creationId xmlns:a16="http://schemas.microsoft.com/office/drawing/2014/main" id="{D7911F09-4165-4242-A5C8-313849E20C67}"/>
              </a:ext>
            </a:extLst>
          </p:cNvPr>
          <p:cNvCxnSpPr>
            <a:cxnSpLocks/>
            <a:stCxn id="872" idx="0"/>
          </p:cNvCxnSpPr>
          <p:nvPr/>
        </p:nvCxnSpPr>
        <p:spPr>
          <a:xfrm rot="16200000" flipV="1">
            <a:off x="5064372" y="2124990"/>
            <a:ext cx="395698" cy="811592"/>
          </a:xfrm>
          <a:prstGeom prst="bentConnector2">
            <a:avLst/>
          </a:prstGeom>
          <a:no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809" name="Group 808">
            <a:extLst>
              <a:ext uri="{FF2B5EF4-FFF2-40B4-BE49-F238E27FC236}">
                <a16:creationId xmlns:a16="http://schemas.microsoft.com/office/drawing/2014/main" id="{8A35443C-E623-48C6-B49E-D31802F49B5A}"/>
              </a:ext>
            </a:extLst>
          </p:cNvPr>
          <p:cNvGrpSpPr/>
          <p:nvPr/>
        </p:nvGrpSpPr>
        <p:grpSpPr>
          <a:xfrm>
            <a:off x="2573833" y="2937394"/>
            <a:ext cx="1935684" cy="2245388"/>
            <a:chOff x="2573833" y="2913445"/>
            <a:chExt cx="1935684" cy="2245388"/>
          </a:xfrm>
        </p:grpSpPr>
        <p:sp>
          <p:nvSpPr>
            <p:cNvPr id="810" name="Hexagon 809">
              <a:extLst>
                <a:ext uri="{FF2B5EF4-FFF2-40B4-BE49-F238E27FC236}">
                  <a16:creationId xmlns:a16="http://schemas.microsoft.com/office/drawing/2014/main" id="{62C7B063-11BF-4A2B-8A0D-56E8521942AF}"/>
                </a:ext>
              </a:extLst>
            </p:cNvPr>
            <p:cNvSpPr/>
            <p:nvPr/>
          </p:nvSpPr>
          <p:spPr bwMode="auto">
            <a:xfrm rot="5400000">
              <a:off x="2418981" y="3068297"/>
              <a:ext cx="2245388" cy="1935684"/>
            </a:xfrm>
            <a:prstGeom prst="hexagon">
              <a:avLst/>
            </a:prstGeom>
            <a:solidFill>
              <a:srgbClr val="0070C0"/>
            </a:solidFill>
            <a:ln w="28575" cap="flat" cmpd="sng" algn="ctr">
              <a:solidFill>
                <a:schemeClr val="accent4"/>
              </a:solidFill>
              <a:prstDash val="solid"/>
              <a:miter lim="800000"/>
            </a:ln>
            <a:effectLst/>
          </p:spPr>
          <p:txBody>
            <a:bodyPr rot="0" spcFirstLastPara="0" vertOverflow="overflow" horzOverflow="overflow" vert="horz" wrap="square" lIns="214981" tIns="171984" rIns="214981" bIns="17198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811" name="Group 810">
              <a:extLst>
                <a:ext uri="{FF2B5EF4-FFF2-40B4-BE49-F238E27FC236}">
                  <a16:creationId xmlns:a16="http://schemas.microsoft.com/office/drawing/2014/main" id="{6543CB37-339E-42CB-BE36-BFBA1496AF84}"/>
                </a:ext>
              </a:extLst>
            </p:cNvPr>
            <p:cNvGrpSpPr/>
            <p:nvPr/>
          </p:nvGrpSpPr>
          <p:grpSpPr>
            <a:xfrm>
              <a:off x="2924696" y="3681363"/>
              <a:ext cx="1233958" cy="709553"/>
              <a:chOff x="5479021" y="3742373"/>
              <a:chExt cx="1233958" cy="709553"/>
            </a:xfrm>
          </p:grpSpPr>
          <p:sp>
            <p:nvSpPr>
              <p:cNvPr id="812" name="Rectangle 811">
                <a:extLst>
                  <a:ext uri="{FF2B5EF4-FFF2-40B4-BE49-F238E27FC236}">
                    <a16:creationId xmlns:a16="http://schemas.microsoft.com/office/drawing/2014/main" id="{F539DCA4-E189-4065-B700-EFB5736D7844}"/>
                  </a:ext>
                </a:extLst>
              </p:cNvPr>
              <p:cNvSpPr/>
              <p:nvPr/>
            </p:nvSpPr>
            <p:spPr bwMode="auto">
              <a:xfrm>
                <a:off x="5479021" y="3742373"/>
                <a:ext cx="1233958" cy="709553"/>
              </a:xfrm>
              <a:prstGeom prst="rect">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3" name="Rectangle 812">
                <a:extLst>
                  <a:ext uri="{FF2B5EF4-FFF2-40B4-BE49-F238E27FC236}">
                    <a16:creationId xmlns:a16="http://schemas.microsoft.com/office/drawing/2014/main" id="{7BBF1D0E-8C99-41A2-ACF6-0F3943BE1421}"/>
                  </a:ext>
                </a:extLst>
              </p:cNvPr>
              <p:cNvSpPr/>
              <p:nvPr/>
            </p:nvSpPr>
            <p:spPr bwMode="auto">
              <a:xfrm>
                <a:off x="5526479" y="3794846"/>
                <a:ext cx="267354" cy="6959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4" name="Rectangle 813">
                <a:extLst>
                  <a:ext uri="{FF2B5EF4-FFF2-40B4-BE49-F238E27FC236}">
                    <a16:creationId xmlns:a16="http://schemas.microsoft.com/office/drawing/2014/main" id="{219F4F4B-83DF-4938-8A63-3078CDF2F0D8}"/>
                  </a:ext>
                </a:extLst>
              </p:cNvPr>
              <p:cNvSpPr/>
              <p:nvPr/>
            </p:nvSpPr>
            <p:spPr bwMode="auto">
              <a:xfrm>
                <a:off x="5526479" y="3911975"/>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5" name="Rectangle 814">
                <a:extLst>
                  <a:ext uri="{FF2B5EF4-FFF2-40B4-BE49-F238E27FC236}">
                    <a16:creationId xmlns:a16="http://schemas.microsoft.com/office/drawing/2014/main" id="{69FFC9FA-F356-48E1-B948-77AB4AB56118}"/>
                  </a:ext>
                </a:extLst>
              </p:cNvPr>
              <p:cNvSpPr/>
              <p:nvPr/>
            </p:nvSpPr>
            <p:spPr bwMode="auto">
              <a:xfrm>
                <a:off x="5526479" y="4016572"/>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6" name="Rectangle 815">
                <a:extLst>
                  <a:ext uri="{FF2B5EF4-FFF2-40B4-BE49-F238E27FC236}">
                    <a16:creationId xmlns:a16="http://schemas.microsoft.com/office/drawing/2014/main" id="{4D9CAF0A-D544-4C21-B5C1-4899D7B66B54}"/>
                  </a:ext>
                </a:extLst>
              </p:cNvPr>
              <p:cNvSpPr/>
              <p:nvPr/>
            </p:nvSpPr>
            <p:spPr bwMode="auto">
              <a:xfrm>
                <a:off x="5526479" y="4121169"/>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7" name="Rectangle 816">
                <a:extLst>
                  <a:ext uri="{FF2B5EF4-FFF2-40B4-BE49-F238E27FC236}">
                    <a16:creationId xmlns:a16="http://schemas.microsoft.com/office/drawing/2014/main" id="{6FBABEBA-B2F7-4736-9DA5-AD843DF891A7}"/>
                  </a:ext>
                </a:extLst>
              </p:cNvPr>
              <p:cNvSpPr/>
              <p:nvPr/>
            </p:nvSpPr>
            <p:spPr bwMode="auto">
              <a:xfrm>
                <a:off x="5526479" y="4225767"/>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8" name="Rectangle 817">
                <a:extLst>
                  <a:ext uri="{FF2B5EF4-FFF2-40B4-BE49-F238E27FC236}">
                    <a16:creationId xmlns:a16="http://schemas.microsoft.com/office/drawing/2014/main" id="{D5941AC8-DE79-43B4-9EF8-883671D35155}"/>
                  </a:ext>
                </a:extLst>
              </p:cNvPr>
              <p:cNvSpPr/>
              <p:nvPr/>
            </p:nvSpPr>
            <p:spPr bwMode="auto">
              <a:xfrm>
                <a:off x="5526479" y="4330363"/>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9" name="Rectangle 818">
                <a:extLst>
                  <a:ext uri="{FF2B5EF4-FFF2-40B4-BE49-F238E27FC236}">
                    <a16:creationId xmlns:a16="http://schemas.microsoft.com/office/drawing/2014/main" id="{6A176277-7A6B-408D-907F-66B9C5F700B2}"/>
                  </a:ext>
                </a:extLst>
              </p:cNvPr>
              <p:cNvSpPr/>
              <p:nvPr/>
            </p:nvSpPr>
            <p:spPr bwMode="auto">
              <a:xfrm>
                <a:off x="5540270" y="3927113"/>
                <a:ext cx="158549" cy="3779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0" name="Rectangle 819">
                <a:extLst>
                  <a:ext uri="{FF2B5EF4-FFF2-40B4-BE49-F238E27FC236}">
                    <a16:creationId xmlns:a16="http://schemas.microsoft.com/office/drawing/2014/main" id="{9D01C369-E500-4204-A921-AAA6834ED733}"/>
                  </a:ext>
                </a:extLst>
              </p:cNvPr>
              <p:cNvSpPr/>
              <p:nvPr/>
            </p:nvSpPr>
            <p:spPr bwMode="auto">
              <a:xfrm>
                <a:off x="5540271" y="4031710"/>
                <a:ext cx="135565" cy="3779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1" name="Rectangle 820">
                <a:extLst>
                  <a:ext uri="{FF2B5EF4-FFF2-40B4-BE49-F238E27FC236}">
                    <a16:creationId xmlns:a16="http://schemas.microsoft.com/office/drawing/2014/main" id="{596E7B14-07F6-445B-BB2C-FB8829AAA47C}"/>
                  </a:ext>
                </a:extLst>
              </p:cNvPr>
              <p:cNvSpPr/>
              <p:nvPr/>
            </p:nvSpPr>
            <p:spPr bwMode="auto">
              <a:xfrm>
                <a:off x="5540270" y="4136307"/>
                <a:ext cx="158549" cy="3779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2" name="Rectangle 821">
                <a:extLst>
                  <a:ext uri="{FF2B5EF4-FFF2-40B4-BE49-F238E27FC236}">
                    <a16:creationId xmlns:a16="http://schemas.microsoft.com/office/drawing/2014/main" id="{0B8BD299-0CF4-43A0-9367-D8E777D4E604}"/>
                  </a:ext>
                </a:extLst>
              </p:cNvPr>
              <p:cNvSpPr/>
              <p:nvPr/>
            </p:nvSpPr>
            <p:spPr bwMode="auto">
              <a:xfrm>
                <a:off x="5540270" y="4241669"/>
                <a:ext cx="183881" cy="3779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3" name="Rectangle 822">
                <a:extLst>
                  <a:ext uri="{FF2B5EF4-FFF2-40B4-BE49-F238E27FC236}">
                    <a16:creationId xmlns:a16="http://schemas.microsoft.com/office/drawing/2014/main" id="{F030CA1C-9945-426E-ABC3-258BCEC06722}"/>
                  </a:ext>
                </a:extLst>
              </p:cNvPr>
              <p:cNvSpPr/>
              <p:nvPr/>
            </p:nvSpPr>
            <p:spPr bwMode="auto">
              <a:xfrm>
                <a:off x="5540270" y="4346265"/>
                <a:ext cx="183881" cy="3779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4" name="Rectangle 823">
                <a:extLst>
                  <a:ext uri="{FF2B5EF4-FFF2-40B4-BE49-F238E27FC236}">
                    <a16:creationId xmlns:a16="http://schemas.microsoft.com/office/drawing/2014/main" id="{9D461AE9-9AA3-4305-997E-D0AEDAA1D70D}"/>
                  </a:ext>
                </a:extLst>
              </p:cNvPr>
              <p:cNvSpPr/>
              <p:nvPr/>
            </p:nvSpPr>
            <p:spPr bwMode="auto">
              <a:xfrm>
                <a:off x="5816212" y="3794846"/>
                <a:ext cx="267354" cy="6959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5" name="Rectangle 824">
                <a:extLst>
                  <a:ext uri="{FF2B5EF4-FFF2-40B4-BE49-F238E27FC236}">
                    <a16:creationId xmlns:a16="http://schemas.microsoft.com/office/drawing/2014/main" id="{15B84A30-4B0D-44D0-AB52-FD023EA3B166}"/>
                  </a:ext>
                </a:extLst>
              </p:cNvPr>
              <p:cNvSpPr/>
              <p:nvPr/>
            </p:nvSpPr>
            <p:spPr bwMode="auto">
              <a:xfrm>
                <a:off x="5816212" y="3911975"/>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6" name="Rectangle 825">
                <a:extLst>
                  <a:ext uri="{FF2B5EF4-FFF2-40B4-BE49-F238E27FC236}">
                    <a16:creationId xmlns:a16="http://schemas.microsoft.com/office/drawing/2014/main" id="{5FBE646A-8201-4A0F-A2FF-96DCDC365053}"/>
                  </a:ext>
                </a:extLst>
              </p:cNvPr>
              <p:cNvSpPr/>
              <p:nvPr/>
            </p:nvSpPr>
            <p:spPr bwMode="auto">
              <a:xfrm>
                <a:off x="5816212" y="4016572"/>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7" name="Rectangle 826">
                <a:extLst>
                  <a:ext uri="{FF2B5EF4-FFF2-40B4-BE49-F238E27FC236}">
                    <a16:creationId xmlns:a16="http://schemas.microsoft.com/office/drawing/2014/main" id="{03D4097F-330E-423D-9394-4684B66980DB}"/>
                  </a:ext>
                </a:extLst>
              </p:cNvPr>
              <p:cNvSpPr/>
              <p:nvPr/>
            </p:nvSpPr>
            <p:spPr bwMode="auto">
              <a:xfrm>
                <a:off x="5816212" y="4121169"/>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8" name="Rectangle 827">
                <a:extLst>
                  <a:ext uri="{FF2B5EF4-FFF2-40B4-BE49-F238E27FC236}">
                    <a16:creationId xmlns:a16="http://schemas.microsoft.com/office/drawing/2014/main" id="{08780A08-7CE6-4EC4-8DEF-04A9614781D1}"/>
                  </a:ext>
                </a:extLst>
              </p:cNvPr>
              <p:cNvSpPr/>
              <p:nvPr/>
            </p:nvSpPr>
            <p:spPr bwMode="auto">
              <a:xfrm>
                <a:off x="5816212" y="4225767"/>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9" name="Rectangle 828">
                <a:extLst>
                  <a:ext uri="{FF2B5EF4-FFF2-40B4-BE49-F238E27FC236}">
                    <a16:creationId xmlns:a16="http://schemas.microsoft.com/office/drawing/2014/main" id="{6A976FAB-5E85-4B52-A0B3-E2F4698C0B71}"/>
                  </a:ext>
                </a:extLst>
              </p:cNvPr>
              <p:cNvSpPr/>
              <p:nvPr/>
            </p:nvSpPr>
            <p:spPr bwMode="auto">
              <a:xfrm>
                <a:off x="5816212" y="4330363"/>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0" name="Rectangle 829">
                <a:extLst>
                  <a:ext uri="{FF2B5EF4-FFF2-40B4-BE49-F238E27FC236}">
                    <a16:creationId xmlns:a16="http://schemas.microsoft.com/office/drawing/2014/main" id="{456CF8A0-4A80-4183-AB8C-43833AEF3481}"/>
                  </a:ext>
                </a:extLst>
              </p:cNvPr>
              <p:cNvSpPr/>
              <p:nvPr/>
            </p:nvSpPr>
            <p:spPr bwMode="auto">
              <a:xfrm>
                <a:off x="5830004" y="3927113"/>
                <a:ext cx="158549" cy="3779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1" name="Rectangle 830">
                <a:extLst>
                  <a:ext uri="{FF2B5EF4-FFF2-40B4-BE49-F238E27FC236}">
                    <a16:creationId xmlns:a16="http://schemas.microsoft.com/office/drawing/2014/main" id="{B3532113-2CFC-42E6-8A53-24FE72833E69}"/>
                  </a:ext>
                </a:extLst>
              </p:cNvPr>
              <p:cNvSpPr/>
              <p:nvPr/>
            </p:nvSpPr>
            <p:spPr bwMode="auto">
              <a:xfrm>
                <a:off x="5830004" y="4031710"/>
                <a:ext cx="135565" cy="3779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2" name="Rectangle 831">
                <a:extLst>
                  <a:ext uri="{FF2B5EF4-FFF2-40B4-BE49-F238E27FC236}">
                    <a16:creationId xmlns:a16="http://schemas.microsoft.com/office/drawing/2014/main" id="{F817C302-FD6E-46A8-9AEE-328E3CF0F29B}"/>
                  </a:ext>
                </a:extLst>
              </p:cNvPr>
              <p:cNvSpPr/>
              <p:nvPr/>
            </p:nvSpPr>
            <p:spPr bwMode="auto">
              <a:xfrm>
                <a:off x="5830004" y="4136307"/>
                <a:ext cx="192689" cy="3779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3" name="Rectangle 832">
                <a:extLst>
                  <a:ext uri="{FF2B5EF4-FFF2-40B4-BE49-F238E27FC236}">
                    <a16:creationId xmlns:a16="http://schemas.microsoft.com/office/drawing/2014/main" id="{16D3867F-528C-453D-A3B9-75189B76F11B}"/>
                  </a:ext>
                </a:extLst>
              </p:cNvPr>
              <p:cNvSpPr/>
              <p:nvPr/>
            </p:nvSpPr>
            <p:spPr bwMode="auto">
              <a:xfrm>
                <a:off x="5830004" y="4241669"/>
                <a:ext cx="135565" cy="3779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4" name="Rectangle 833">
                <a:extLst>
                  <a:ext uri="{FF2B5EF4-FFF2-40B4-BE49-F238E27FC236}">
                    <a16:creationId xmlns:a16="http://schemas.microsoft.com/office/drawing/2014/main" id="{0BE3C643-DF35-4BF2-89D3-07584539E3A8}"/>
                  </a:ext>
                </a:extLst>
              </p:cNvPr>
              <p:cNvSpPr/>
              <p:nvPr/>
            </p:nvSpPr>
            <p:spPr bwMode="auto">
              <a:xfrm>
                <a:off x="5830004" y="4346265"/>
                <a:ext cx="183881" cy="3779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5" name="Rectangle 834">
                <a:extLst>
                  <a:ext uri="{FF2B5EF4-FFF2-40B4-BE49-F238E27FC236}">
                    <a16:creationId xmlns:a16="http://schemas.microsoft.com/office/drawing/2014/main" id="{2462AD40-81AD-4CA2-9C32-F19210D6BC18}"/>
                  </a:ext>
                </a:extLst>
              </p:cNvPr>
              <p:cNvSpPr/>
              <p:nvPr/>
            </p:nvSpPr>
            <p:spPr bwMode="auto">
              <a:xfrm>
                <a:off x="6105946" y="3794846"/>
                <a:ext cx="267354" cy="6959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6" name="Rectangle 835">
                <a:extLst>
                  <a:ext uri="{FF2B5EF4-FFF2-40B4-BE49-F238E27FC236}">
                    <a16:creationId xmlns:a16="http://schemas.microsoft.com/office/drawing/2014/main" id="{C70DE190-9E3A-4C25-AB6C-5B4AEE14EE50}"/>
                  </a:ext>
                </a:extLst>
              </p:cNvPr>
              <p:cNvSpPr/>
              <p:nvPr/>
            </p:nvSpPr>
            <p:spPr bwMode="auto">
              <a:xfrm>
                <a:off x="6105946" y="3911975"/>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7" name="Rectangle 836">
                <a:extLst>
                  <a:ext uri="{FF2B5EF4-FFF2-40B4-BE49-F238E27FC236}">
                    <a16:creationId xmlns:a16="http://schemas.microsoft.com/office/drawing/2014/main" id="{A38F3B78-E7F8-4307-BA75-7251108F9F4D}"/>
                  </a:ext>
                </a:extLst>
              </p:cNvPr>
              <p:cNvSpPr/>
              <p:nvPr/>
            </p:nvSpPr>
            <p:spPr bwMode="auto">
              <a:xfrm>
                <a:off x="6105946" y="4016572"/>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8" name="Rectangle 837">
                <a:extLst>
                  <a:ext uri="{FF2B5EF4-FFF2-40B4-BE49-F238E27FC236}">
                    <a16:creationId xmlns:a16="http://schemas.microsoft.com/office/drawing/2014/main" id="{71C42F46-2A61-43A3-ABD1-EF284EB69C82}"/>
                  </a:ext>
                </a:extLst>
              </p:cNvPr>
              <p:cNvSpPr/>
              <p:nvPr/>
            </p:nvSpPr>
            <p:spPr bwMode="auto">
              <a:xfrm>
                <a:off x="6105946" y="4121169"/>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9" name="Rectangle 838">
                <a:extLst>
                  <a:ext uri="{FF2B5EF4-FFF2-40B4-BE49-F238E27FC236}">
                    <a16:creationId xmlns:a16="http://schemas.microsoft.com/office/drawing/2014/main" id="{7A19C28F-3425-4B8B-B55D-BABA8BF86A44}"/>
                  </a:ext>
                </a:extLst>
              </p:cNvPr>
              <p:cNvSpPr/>
              <p:nvPr/>
            </p:nvSpPr>
            <p:spPr bwMode="auto">
              <a:xfrm>
                <a:off x="6105946" y="4225767"/>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0" name="Rectangle 839">
                <a:extLst>
                  <a:ext uri="{FF2B5EF4-FFF2-40B4-BE49-F238E27FC236}">
                    <a16:creationId xmlns:a16="http://schemas.microsoft.com/office/drawing/2014/main" id="{9FA14093-EEA3-475B-B67B-D31B1ECC937D}"/>
                  </a:ext>
                </a:extLst>
              </p:cNvPr>
              <p:cNvSpPr/>
              <p:nvPr/>
            </p:nvSpPr>
            <p:spPr bwMode="auto">
              <a:xfrm>
                <a:off x="6105946" y="4330363"/>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1" name="Rectangle 840">
                <a:extLst>
                  <a:ext uri="{FF2B5EF4-FFF2-40B4-BE49-F238E27FC236}">
                    <a16:creationId xmlns:a16="http://schemas.microsoft.com/office/drawing/2014/main" id="{4CBC27E2-D49F-4803-9261-574CF8F6F470}"/>
                  </a:ext>
                </a:extLst>
              </p:cNvPr>
              <p:cNvSpPr/>
              <p:nvPr/>
            </p:nvSpPr>
            <p:spPr bwMode="auto">
              <a:xfrm>
                <a:off x="6119737" y="3927113"/>
                <a:ext cx="201126" cy="3779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2" name="Rectangle 841">
                <a:extLst>
                  <a:ext uri="{FF2B5EF4-FFF2-40B4-BE49-F238E27FC236}">
                    <a16:creationId xmlns:a16="http://schemas.microsoft.com/office/drawing/2014/main" id="{F70C8EA7-1C8D-48DA-A2DD-CFF3641ADFC4}"/>
                  </a:ext>
                </a:extLst>
              </p:cNvPr>
              <p:cNvSpPr/>
              <p:nvPr/>
            </p:nvSpPr>
            <p:spPr bwMode="auto">
              <a:xfrm>
                <a:off x="6119737" y="4031710"/>
                <a:ext cx="201126" cy="3779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3" name="Rectangle 842">
                <a:extLst>
                  <a:ext uri="{FF2B5EF4-FFF2-40B4-BE49-F238E27FC236}">
                    <a16:creationId xmlns:a16="http://schemas.microsoft.com/office/drawing/2014/main" id="{CDC2566C-CD3F-4641-806F-4F5D4E9D9E5C}"/>
                  </a:ext>
                </a:extLst>
              </p:cNvPr>
              <p:cNvSpPr/>
              <p:nvPr/>
            </p:nvSpPr>
            <p:spPr bwMode="auto">
              <a:xfrm>
                <a:off x="6119737" y="4136307"/>
                <a:ext cx="177316" cy="3779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4" name="Rectangle 843">
                <a:extLst>
                  <a:ext uri="{FF2B5EF4-FFF2-40B4-BE49-F238E27FC236}">
                    <a16:creationId xmlns:a16="http://schemas.microsoft.com/office/drawing/2014/main" id="{B57121EE-FE4D-4B65-883B-BDB04A2C095C}"/>
                  </a:ext>
                </a:extLst>
              </p:cNvPr>
              <p:cNvSpPr/>
              <p:nvPr/>
            </p:nvSpPr>
            <p:spPr bwMode="auto">
              <a:xfrm>
                <a:off x="6119737" y="4241669"/>
                <a:ext cx="201126" cy="3779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5" name="Rectangle 844">
                <a:extLst>
                  <a:ext uri="{FF2B5EF4-FFF2-40B4-BE49-F238E27FC236}">
                    <a16:creationId xmlns:a16="http://schemas.microsoft.com/office/drawing/2014/main" id="{5FB8D357-1A0A-4E5E-8E35-200A488E714C}"/>
                  </a:ext>
                </a:extLst>
              </p:cNvPr>
              <p:cNvSpPr/>
              <p:nvPr/>
            </p:nvSpPr>
            <p:spPr bwMode="auto">
              <a:xfrm>
                <a:off x="6119737" y="4346265"/>
                <a:ext cx="201126" cy="3779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6" name="Rectangle 845">
                <a:extLst>
                  <a:ext uri="{FF2B5EF4-FFF2-40B4-BE49-F238E27FC236}">
                    <a16:creationId xmlns:a16="http://schemas.microsoft.com/office/drawing/2014/main" id="{4E058A11-887C-4516-B34F-BAE5B1718FFB}"/>
                  </a:ext>
                </a:extLst>
              </p:cNvPr>
              <p:cNvSpPr/>
              <p:nvPr/>
            </p:nvSpPr>
            <p:spPr bwMode="auto">
              <a:xfrm>
                <a:off x="6395679" y="3794846"/>
                <a:ext cx="267354" cy="6959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7" name="Rectangle 846">
                <a:extLst>
                  <a:ext uri="{FF2B5EF4-FFF2-40B4-BE49-F238E27FC236}">
                    <a16:creationId xmlns:a16="http://schemas.microsoft.com/office/drawing/2014/main" id="{13994CAF-4387-4189-B11D-3F552E727F4F}"/>
                  </a:ext>
                </a:extLst>
              </p:cNvPr>
              <p:cNvSpPr/>
              <p:nvPr/>
            </p:nvSpPr>
            <p:spPr bwMode="auto">
              <a:xfrm>
                <a:off x="6395679" y="3911975"/>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8" name="Rectangle 847">
                <a:extLst>
                  <a:ext uri="{FF2B5EF4-FFF2-40B4-BE49-F238E27FC236}">
                    <a16:creationId xmlns:a16="http://schemas.microsoft.com/office/drawing/2014/main" id="{5CE6ED2A-B34E-456B-83F5-E452F64E4941}"/>
                  </a:ext>
                </a:extLst>
              </p:cNvPr>
              <p:cNvSpPr/>
              <p:nvPr/>
            </p:nvSpPr>
            <p:spPr bwMode="auto">
              <a:xfrm>
                <a:off x="6395679" y="4016572"/>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9" name="Rectangle 848">
                <a:extLst>
                  <a:ext uri="{FF2B5EF4-FFF2-40B4-BE49-F238E27FC236}">
                    <a16:creationId xmlns:a16="http://schemas.microsoft.com/office/drawing/2014/main" id="{12D12518-3A64-4E5E-A3FA-BFDCE7BEB19A}"/>
                  </a:ext>
                </a:extLst>
              </p:cNvPr>
              <p:cNvSpPr/>
              <p:nvPr/>
            </p:nvSpPr>
            <p:spPr bwMode="auto">
              <a:xfrm>
                <a:off x="6395679" y="4121169"/>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0" name="Rectangle 849">
                <a:extLst>
                  <a:ext uri="{FF2B5EF4-FFF2-40B4-BE49-F238E27FC236}">
                    <a16:creationId xmlns:a16="http://schemas.microsoft.com/office/drawing/2014/main" id="{23DC5822-095E-4D96-BCA4-41E0EB811019}"/>
                  </a:ext>
                </a:extLst>
              </p:cNvPr>
              <p:cNvSpPr/>
              <p:nvPr/>
            </p:nvSpPr>
            <p:spPr bwMode="auto">
              <a:xfrm>
                <a:off x="6395679" y="4225767"/>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1" name="Rectangle 850">
                <a:extLst>
                  <a:ext uri="{FF2B5EF4-FFF2-40B4-BE49-F238E27FC236}">
                    <a16:creationId xmlns:a16="http://schemas.microsoft.com/office/drawing/2014/main" id="{8DE495C7-D6E5-4869-BC96-10B8FDCA876A}"/>
                  </a:ext>
                </a:extLst>
              </p:cNvPr>
              <p:cNvSpPr/>
              <p:nvPr/>
            </p:nvSpPr>
            <p:spPr bwMode="auto">
              <a:xfrm>
                <a:off x="6395679" y="4330363"/>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2" name="Rectangle 851">
                <a:extLst>
                  <a:ext uri="{FF2B5EF4-FFF2-40B4-BE49-F238E27FC236}">
                    <a16:creationId xmlns:a16="http://schemas.microsoft.com/office/drawing/2014/main" id="{5D1DCB49-2008-4D7F-8972-FBD43C23B6E7}"/>
                  </a:ext>
                </a:extLst>
              </p:cNvPr>
              <p:cNvSpPr/>
              <p:nvPr/>
            </p:nvSpPr>
            <p:spPr bwMode="auto">
              <a:xfrm>
                <a:off x="6511433" y="3927113"/>
                <a:ext cx="135977" cy="3779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3" name="Rectangle 852">
                <a:extLst>
                  <a:ext uri="{FF2B5EF4-FFF2-40B4-BE49-F238E27FC236}">
                    <a16:creationId xmlns:a16="http://schemas.microsoft.com/office/drawing/2014/main" id="{9E7CE9DD-23FA-437E-B6E6-E8D6EFBD66F5}"/>
                  </a:ext>
                </a:extLst>
              </p:cNvPr>
              <p:cNvSpPr/>
              <p:nvPr/>
            </p:nvSpPr>
            <p:spPr bwMode="auto">
              <a:xfrm>
                <a:off x="6511845" y="4031710"/>
                <a:ext cx="135565" cy="3779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4" name="Rectangle 853">
                <a:extLst>
                  <a:ext uri="{FF2B5EF4-FFF2-40B4-BE49-F238E27FC236}">
                    <a16:creationId xmlns:a16="http://schemas.microsoft.com/office/drawing/2014/main" id="{9C23E607-552E-4CCD-832E-6F04B2A30A14}"/>
                  </a:ext>
                </a:extLst>
              </p:cNvPr>
              <p:cNvSpPr/>
              <p:nvPr/>
            </p:nvSpPr>
            <p:spPr bwMode="auto">
              <a:xfrm>
                <a:off x="6563540" y="4136307"/>
                <a:ext cx="83870" cy="3779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5" name="Rectangle 854">
                <a:extLst>
                  <a:ext uri="{FF2B5EF4-FFF2-40B4-BE49-F238E27FC236}">
                    <a16:creationId xmlns:a16="http://schemas.microsoft.com/office/drawing/2014/main" id="{927B1994-E3D9-498E-9BAF-62AB79E0CE64}"/>
                  </a:ext>
                </a:extLst>
              </p:cNvPr>
              <p:cNvSpPr/>
              <p:nvPr/>
            </p:nvSpPr>
            <p:spPr bwMode="auto">
              <a:xfrm>
                <a:off x="6511433" y="4241669"/>
                <a:ext cx="135977" cy="3779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6" name="Rectangle 855">
                <a:extLst>
                  <a:ext uri="{FF2B5EF4-FFF2-40B4-BE49-F238E27FC236}">
                    <a16:creationId xmlns:a16="http://schemas.microsoft.com/office/drawing/2014/main" id="{9557A75C-17A9-4131-8148-F943A1CD1AD2}"/>
                  </a:ext>
                </a:extLst>
              </p:cNvPr>
              <p:cNvSpPr/>
              <p:nvPr/>
            </p:nvSpPr>
            <p:spPr bwMode="auto">
              <a:xfrm>
                <a:off x="6463529" y="4346265"/>
                <a:ext cx="183881" cy="3779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857" name="Group 856">
            <a:extLst>
              <a:ext uri="{FF2B5EF4-FFF2-40B4-BE49-F238E27FC236}">
                <a16:creationId xmlns:a16="http://schemas.microsoft.com/office/drawing/2014/main" id="{D885EBE8-9686-4E6C-BA04-0ACF946F8418}"/>
              </a:ext>
            </a:extLst>
          </p:cNvPr>
          <p:cNvGrpSpPr/>
          <p:nvPr/>
        </p:nvGrpSpPr>
        <p:grpSpPr>
          <a:xfrm>
            <a:off x="3358514" y="3876927"/>
            <a:ext cx="366323" cy="366323"/>
            <a:chOff x="4393166" y="3897993"/>
            <a:chExt cx="366323" cy="366323"/>
          </a:xfrm>
        </p:grpSpPr>
        <p:sp>
          <p:nvSpPr>
            <p:cNvPr id="858" name="Oval 857">
              <a:extLst>
                <a:ext uri="{FF2B5EF4-FFF2-40B4-BE49-F238E27FC236}">
                  <a16:creationId xmlns:a16="http://schemas.microsoft.com/office/drawing/2014/main" id="{D2B2ADD7-B377-4B38-BC03-8319B643ACB2}"/>
                </a:ext>
              </a:extLst>
            </p:cNvPr>
            <p:cNvSpPr/>
            <p:nvPr/>
          </p:nvSpPr>
          <p:spPr bwMode="auto">
            <a:xfrm>
              <a:off x="4393166" y="3897993"/>
              <a:ext cx="366323" cy="36632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859" name="Group 858">
              <a:extLst>
                <a:ext uri="{FF2B5EF4-FFF2-40B4-BE49-F238E27FC236}">
                  <a16:creationId xmlns:a16="http://schemas.microsoft.com/office/drawing/2014/main" id="{F0A7C21B-28E0-4048-B82F-D0320C1A784A}"/>
                </a:ext>
              </a:extLst>
            </p:cNvPr>
            <p:cNvGrpSpPr/>
            <p:nvPr/>
          </p:nvGrpSpPr>
          <p:grpSpPr>
            <a:xfrm>
              <a:off x="4488393" y="3955354"/>
              <a:ext cx="174922" cy="231568"/>
              <a:chOff x="809626" y="3180293"/>
              <a:chExt cx="297392" cy="393700"/>
            </a:xfrm>
            <a:solidFill>
              <a:schemeClr val="bg1"/>
            </a:solidFill>
          </p:grpSpPr>
          <p:sp>
            <p:nvSpPr>
              <p:cNvPr id="860" name="Freeform 30">
                <a:extLst>
                  <a:ext uri="{FF2B5EF4-FFF2-40B4-BE49-F238E27FC236}">
                    <a16:creationId xmlns:a16="http://schemas.microsoft.com/office/drawing/2014/main" id="{BE040689-00B6-4366-8DEA-A7BE9D74B074}"/>
                  </a:ext>
                </a:extLst>
              </p:cNvPr>
              <p:cNvSpPr>
                <a:spLocks noEditPoints="1"/>
              </p:cNvSpPr>
              <p:nvPr/>
            </p:nvSpPr>
            <p:spPr bwMode="auto">
              <a:xfrm>
                <a:off x="809626" y="3180293"/>
                <a:ext cx="297392" cy="393700"/>
              </a:xfrm>
              <a:custGeom>
                <a:avLst/>
                <a:gdLst>
                  <a:gd name="T0" fmla="*/ 126 w 148"/>
                  <a:gd name="T1" fmla="*/ 73 h 196"/>
                  <a:gd name="T2" fmla="*/ 113 w 148"/>
                  <a:gd name="T3" fmla="*/ 73 h 196"/>
                  <a:gd name="T4" fmla="*/ 113 w 148"/>
                  <a:gd name="T5" fmla="*/ 39 h 196"/>
                  <a:gd name="T6" fmla="*/ 74 w 148"/>
                  <a:gd name="T7" fmla="*/ 0 h 196"/>
                  <a:gd name="T8" fmla="*/ 35 w 148"/>
                  <a:gd name="T9" fmla="*/ 39 h 196"/>
                  <a:gd name="T10" fmla="*/ 35 w 148"/>
                  <a:gd name="T11" fmla="*/ 73 h 196"/>
                  <a:gd name="T12" fmla="*/ 21 w 148"/>
                  <a:gd name="T13" fmla="*/ 73 h 196"/>
                  <a:gd name="T14" fmla="*/ 0 w 148"/>
                  <a:gd name="T15" fmla="*/ 94 h 196"/>
                  <a:gd name="T16" fmla="*/ 8 w 148"/>
                  <a:gd name="T17" fmla="*/ 175 h 196"/>
                  <a:gd name="T18" fmla="*/ 29 w 148"/>
                  <a:gd name="T19" fmla="*/ 196 h 196"/>
                  <a:gd name="T20" fmla="*/ 119 w 148"/>
                  <a:gd name="T21" fmla="*/ 196 h 196"/>
                  <a:gd name="T22" fmla="*/ 140 w 148"/>
                  <a:gd name="T23" fmla="*/ 175 h 196"/>
                  <a:gd name="T24" fmla="*/ 148 w 148"/>
                  <a:gd name="T25" fmla="*/ 94 h 196"/>
                  <a:gd name="T26" fmla="*/ 126 w 148"/>
                  <a:gd name="T27" fmla="*/ 73 h 196"/>
                  <a:gd name="T28" fmla="*/ 43 w 148"/>
                  <a:gd name="T29" fmla="*/ 39 h 196"/>
                  <a:gd name="T30" fmla="*/ 74 w 148"/>
                  <a:gd name="T31" fmla="*/ 8 h 196"/>
                  <a:gd name="T32" fmla="*/ 105 w 148"/>
                  <a:gd name="T33" fmla="*/ 39 h 196"/>
                  <a:gd name="T34" fmla="*/ 105 w 148"/>
                  <a:gd name="T35" fmla="*/ 73 h 196"/>
                  <a:gd name="T36" fmla="*/ 43 w 148"/>
                  <a:gd name="T37" fmla="*/ 73 h 196"/>
                  <a:gd name="T38" fmla="*/ 43 w 148"/>
                  <a:gd name="T39" fmla="*/ 39 h 196"/>
                  <a:gd name="T40" fmla="*/ 132 w 148"/>
                  <a:gd name="T41" fmla="*/ 175 h 196"/>
                  <a:gd name="T42" fmla="*/ 119 w 148"/>
                  <a:gd name="T43" fmla="*/ 188 h 196"/>
                  <a:gd name="T44" fmla="*/ 29 w 148"/>
                  <a:gd name="T45" fmla="*/ 188 h 196"/>
                  <a:gd name="T46" fmla="*/ 16 w 148"/>
                  <a:gd name="T47" fmla="*/ 174 h 196"/>
                  <a:gd name="T48" fmla="*/ 8 w 148"/>
                  <a:gd name="T49" fmla="*/ 94 h 196"/>
                  <a:gd name="T50" fmla="*/ 21 w 148"/>
                  <a:gd name="T51" fmla="*/ 81 h 196"/>
                  <a:gd name="T52" fmla="*/ 126 w 148"/>
                  <a:gd name="T53" fmla="*/ 81 h 196"/>
                  <a:gd name="T54" fmla="*/ 140 w 148"/>
                  <a:gd name="T55" fmla="*/ 94 h 196"/>
                  <a:gd name="T56" fmla="*/ 132 w 148"/>
                  <a:gd name="T57" fmla="*/ 175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8" h="196">
                    <a:moveTo>
                      <a:pt x="126" y="73"/>
                    </a:moveTo>
                    <a:cubicBezTo>
                      <a:pt x="113" y="73"/>
                      <a:pt x="113" y="73"/>
                      <a:pt x="113" y="73"/>
                    </a:cubicBezTo>
                    <a:cubicBezTo>
                      <a:pt x="113" y="39"/>
                      <a:pt x="113" y="39"/>
                      <a:pt x="113" y="39"/>
                    </a:cubicBezTo>
                    <a:cubicBezTo>
                      <a:pt x="113" y="18"/>
                      <a:pt x="96" y="0"/>
                      <a:pt x="74" y="0"/>
                    </a:cubicBezTo>
                    <a:cubicBezTo>
                      <a:pt x="52" y="0"/>
                      <a:pt x="35" y="18"/>
                      <a:pt x="35" y="39"/>
                    </a:cubicBezTo>
                    <a:cubicBezTo>
                      <a:pt x="35" y="73"/>
                      <a:pt x="35" y="73"/>
                      <a:pt x="35" y="73"/>
                    </a:cubicBezTo>
                    <a:cubicBezTo>
                      <a:pt x="21" y="73"/>
                      <a:pt x="21" y="73"/>
                      <a:pt x="21" y="73"/>
                    </a:cubicBezTo>
                    <a:cubicBezTo>
                      <a:pt x="10" y="73"/>
                      <a:pt x="0" y="82"/>
                      <a:pt x="0" y="94"/>
                    </a:cubicBezTo>
                    <a:cubicBezTo>
                      <a:pt x="8" y="175"/>
                      <a:pt x="8" y="175"/>
                      <a:pt x="8" y="175"/>
                    </a:cubicBezTo>
                    <a:cubicBezTo>
                      <a:pt x="8" y="187"/>
                      <a:pt x="17" y="196"/>
                      <a:pt x="29" y="196"/>
                    </a:cubicBezTo>
                    <a:cubicBezTo>
                      <a:pt x="119" y="196"/>
                      <a:pt x="119" y="196"/>
                      <a:pt x="119" y="196"/>
                    </a:cubicBezTo>
                    <a:cubicBezTo>
                      <a:pt x="131" y="196"/>
                      <a:pt x="140" y="187"/>
                      <a:pt x="140" y="175"/>
                    </a:cubicBezTo>
                    <a:cubicBezTo>
                      <a:pt x="148" y="94"/>
                      <a:pt x="148" y="94"/>
                      <a:pt x="148" y="94"/>
                    </a:cubicBezTo>
                    <a:cubicBezTo>
                      <a:pt x="148" y="82"/>
                      <a:pt x="138" y="73"/>
                      <a:pt x="126" y="73"/>
                    </a:cubicBezTo>
                    <a:close/>
                    <a:moveTo>
                      <a:pt x="43" y="39"/>
                    </a:moveTo>
                    <a:cubicBezTo>
                      <a:pt x="43" y="22"/>
                      <a:pt x="57" y="8"/>
                      <a:pt x="74" y="8"/>
                    </a:cubicBezTo>
                    <a:cubicBezTo>
                      <a:pt x="91" y="8"/>
                      <a:pt x="105" y="22"/>
                      <a:pt x="105" y="39"/>
                    </a:cubicBezTo>
                    <a:cubicBezTo>
                      <a:pt x="105" y="73"/>
                      <a:pt x="105" y="73"/>
                      <a:pt x="105" y="73"/>
                    </a:cubicBezTo>
                    <a:cubicBezTo>
                      <a:pt x="43" y="73"/>
                      <a:pt x="43" y="73"/>
                      <a:pt x="43" y="73"/>
                    </a:cubicBezTo>
                    <a:lnTo>
                      <a:pt x="43" y="39"/>
                    </a:lnTo>
                    <a:close/>
                    <a:moveTo>
                      <a:pt x="132" y="175"/>
                    </a:moveTo>
                    <a:cubicBezTo>
                      <a:pt x="132" y="182"/>
                      <a:pt x="126" y="188"/>
                      <a:pt x="119" y="188"/>
                    </a:cubicBezTo>
                    <a:cubicBezTo>
                      <a:pt x="29" y="188"/>
                      <a:pt x="29" y="188"/>
                      <a:pt x="29" y="188"/>
                    </a:cubicBezTo>
                    <a:cubicBezTo>
                      <a:pt x="22" y="188"/>
                      <a:pt x="16" y="182"/>
                      <a:pt x="16" y="174"/>
                    </a:cubicBezTo>
                    <a:cubicBezTo>
                      <a:pt x="8" y="94"/>
                      <a:pt x="8" y="94"/>
                      <a:pt x="8" y="94"/>
                    </a:cubicBezTo>
                    <a:cubicBezTo>
                      <a:pt x="8" y="87"/>
                      <a:pt x="14" y="81"/>
                      <a:pt x="21" y="81"/>
                    </a:cubicBezTo>
                    <a:cubicBezTo>
                      <a:pt x="126" y="81"/>
                      <a:pt x="126" y="81"/>
                      <a:pt x="126" y="81"/>
                    </a:cubicBezTo>
                    <a:cubicBezTo>
                      <a:pt x="134" y="81"/>
                      <a:pt x="140" y="87"/>
                      <a:pt x="140" y="94"/>
                    </a:cubicBezTo>
                    <a:lnTo>
                      <a:pt x="132" y="175"/>
                    </a:lnTo>
                    <a:close/>
                  </a:path>
                </a:pathLst>
              </a:custGeom>
              <a:grpFill/>
              <a:ln w="3175">
                <a:solidFill>
                  <a:schemeClr val="bg1"/>
                </a:solidFill>
                <a:round/>
                <a:headEnd/>
                <a:tailEnd/>
              </a:ln>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61" name="Freeform 31">
                <a:extLst>
                  <a:ext uri="{FF2B5EF4-FFF2-40B4-BE49-F238E27FC236}">
                    <a16:creationId xmlns:a16="http://schemas.microsoft.com/office/drawing/2014/main" id="{41CD4E3F-7951-463E-8557-D3BB238EA791}"/>
                  </a:ext>
                </a:extLst>
              </p:cNvPr>
              <p:cNvSpPr>
                <a:spLocks noEditPoints="1"/>
              </p:cNvSpPr>
              <p:nvPr/>
            </p:nvSpPr>
            <p:spPr bwMode="auto">
              <a:xfrm>
                <a:off x="924984" y="3417360"/>
                <a:ext cx="65617" cy="100542"/>
              </a:xfrm>
              <a:custGeom>
                <a:avLst/>
                <a:gdLst>
                  <a:gd name="T0" fmla="*/ 17 w 33"/>
                  <a:gd name="T1" fmla="*/ 0 h 50"/>
                  <a:gd name="T2" fmla="*/ 0 w 33"/>
                  <a:gd name="T3" fmla="*/ 17 h 50"/>
                  <a:gd name="T4" fmla="*/ 0 w 33"/>
                  <a:gd name="T5" fmla="*/ 17 h 50"/>
                  <a:gd name="T6" fmla="*/ 4 w 33"/>
                  <a:gd name="T7" fmla="*/ 46 h 50"/>
                  <a:gd name="T8" fmla="*/ 8 w 33"/>
                  <a:gd name="T9" fmla="*/ 50 h 50"/>
                  <a:gd name="T10" fmla="*/ 26 w 33"/>
                  <a:gd name="T11" fmla="*/ 50 h 50"/>
                  <a:gd name="T12" fmla="*/ 30 w 33"/>
                  <a:gd name="T13" fmla="*/ 46 h 50"/>
                  <a:gd name="T14" fmla="*/ 33 w 33"/>
                  <a:gd name="T15" fmla="*/ 17 h 50"/>
                  <a:gd name="T16" fmla="*/ 33 w 33"/>
                  <a:gd name="T17" fmla="*/ 17 h 50"/>
                  <a:gd name="T18" fmla="*/ 17 w 33"/>
                  <a:gd name="T19" fmla="*/ 0 h 50"/>
                  <a:gd name="T20" fmla="*/ 22 w 33"/>
                  <a:gd name="T21" fmla="*/ 42 h 50"/>
                  <a:gd name="T22" fmla="*/ 11 w 33"/>
                  <a:gd name="T23" fmla="*/ 42 h 50"/>
                  <a:gd name="T24" fmla="*/ 8 w 33"/>
                  <a:gd name="T25" fmla="*/ 17 h 50"/>
                  <a:gd name="T26" fmla="*/ 17 w 33"/>
                  <a:gd name="T27" fmla="*/ 8 h 50"/>
                  <a:gd name="T28" fmla="*/ 25 w 33"/>
                  <a:gd name="T29" fmla="*/ 17 h 50"/>
                  <a:gd name="T30" fmla="*/ 22 w 33"/>
                  <a:gd name="T31"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50">
                    <a:moveTo>
                      <a:pt x="17" y="0"/>
                    </a:moveTo>
                    <a:cubicBezTo>
                      <a:pt x="8" y="0"/>
                      <a:pt x="0" y="8"/>
                      <a:pt x="0" y="17"/>
                    </a:cubicBezTo>
                    <a:cubicBezTo>
                      <a:pt x="0" y="17"/>
                      <a:pt x="0" y="17"/>
                      <a:pt x="0" y="17"/>
                    </a:cubicBezTo>
                    <a:cubicBezTo>
                      <a:pt x="4" y="46"/>
                      <a:pt x="4" y="46"/>
                      <a:pt x="4" y="46"/>
                    </a:cubicBezTo>
                    <a:cubicBezTo>
                      <a:pt x="4" y="48"/>
                      <a:pt x="6" y="50"/>
                      <a:pt x="8" y="50"/>
                    </a:cubicBezTo>
                    <a:cubicBezTo>
                      <a:pt x="26" y="50"/>
                      <a:pt x="26" y="50"/>
                      <a:pt x="26" y="50"/>
                    </a:cubicBezTo>
                    <a:cubicBezTo>
                      <a:pt x="28" y="50"/>
                      <a:pt x="30" y="48"/>
                      <a:pt x="30" y="46"/>
                    </a:cubicBezTo>
                    <a:cubicBezTo>
                      <a:pt x="33" y="17"/>
                      <a:pt x="33" y="17"/>
                      <a:pt x="33" y="17"/>
                    </a:cubicBezTo>
                    <a:cubicBezTo>
                      <a:pt x="33" y="17"/>
                      <a:pt x="33" y="17"/>
                      <a:pt x="33" y="17"/>
                    </a:cubicBezTo>
                    <a:cubicBezTo>
                      <a:pt x="33" y="8"/>
                      <a:pt x="26" y="0"/>
                      <a:pt x="17" y="0"/>
                    </a:cubicBezTo>
                    <a:close/>
                    <a:moveTo>
                      <a:pt x="22" y="42"/>
                    </a:moveTo>
                    <a:cubicBezTo>
                      <a:pt x="11" y="42"/>
                      <a:pt x="11" y="42"/>
                      <a:pt x="11" y="42"/>
                    </a:cubicBezTo>
                    <a:cubicBezTo>
                      <a:pt x="8" y="17"/>
                      <a:pt x="8" y="17"/>
                      <a:pt x="8" y="17"/>
                    </a:cubicBezTo>
                    <a:cubicBezTo>
                      <a:pt x="8" y="12"/>
                      <a:pt x="12" y="8"/>
                      <a:pt x="17" y="8"/>
                    </a:cubicBezTo>
                    <a:cubicBezTo>
                      <a:pt x="22" y="8"/>
                      <a:pt x="25" y="12"/>
                      <a:pt x="25" y="17"/>
                    </a:cubicBezTo>
                    <a:lnTo>
                      <a:pt x="22" y="42"/>
                    </a:lnTo>
                    <a:close/>
                  </a:path>
                </a:pathLst>
              </a:custGeom>
              <a:grpFill/>
              <a:ln w="3175">
                <a:solidFill>
                  <a:schemeClr val="bg1"/>
                </a:solidFill>
                <a:round/>
                <a:headEnd/>
                <a:tailEnd/>
              </a:ln>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grpSp>
        <p:nvGrpSpPr>
          <p:cNvPr id="862" name="Group 861">
            <a:extLst>
              <a:ext uri="{FF2B5EF4-FFF2-40B4-BE49-F238E27FC236}">
                <a16:creationId xmlns:a16="http://schemas.microsoft.com/office/drawing/2014/main" id="{6CB9762F-F8B4-4782-9335-4E350C2BEA33}"/>
              </a:ext>
            </a:extLst>
          </p:cNvPr>
          <p:cNvGrpSpPr/>
          <p:nvPr/>
        </p:nvGrpSpPr>
        <p:grpSpPr>
          <a:xfrm>
            <a:off x="1232173" y="2727632"/>
            <a:ext cx="366323" cy="366323"/>
            <a:chOff x="698269" y="3498116"/>
            <a:chExt cx="366323" cy="366323"/>
          </a:xfrm>
        </p:grpSpPr>
        <p:sp>
          <p:nvSpPr>
            <p:cNvPr id="863" name="Oval 862">
              <a:extLst>
                <a:ext uri="{FF2B5EF4-FFF2-40B4-BE49-F238E27FC236}">
                  <a16:creationId xmlns:a16="http://schemas.microsoft.com/office/drawing/2014/main" id="{D4E39D0D-59F6-462A-9D1E-6048E9EF9733}"/>
                </a:ext>
              </a:extLst>
            </p:cNvPr>
            <p:cNvSpPr/>
            <p:nvPr/>
          </p:nvSpPr>
          <p:spPr bwMode="auto">
            <a:xfrm>
              <a:off x="698269" y="3498116"/>
              <a:ext cx="366323" cy="366323"/>
            </a:xfrm>
            <a:prstGeom prst="ellipse">
              <a:avLst/>
            </a:prstGeom>
            <a:solidFill>
              <a:srgbClr val="006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64" name="Freeform 88">
              <a:extLst>
                <a:ext uri="{FF2B5EF4-FFF2-40B4-BE49-F238E27FC236}">
                  <a16:creationId xmlns:a16="http://schemas.microsoft.com/office/drawing/2014/main" id="{B96BD456-E8B8-4BB0-BB00-883AB7EA6390}"/>
                </a:ext>
              </a:extLst>
            </p:cNvPr>
            <p:cNvSpPr>
              <a:spLocks/>
            </p:cNvSpPr>
            <p:nvPr/>
          </p:nvSpPr>
          <p:spPr bwMode="auto">
            <a:xfrm>
              <a:off x="783996" y="3583500"/>
              <a:ext cx="201721" cy="178265"/>
            </a:xfrm>
            <a:custGeom>
              <a:avLst/>
              <a:gdLst>
                <a:gd name="T0" fmla="*/ 65 w 68"/>
                <a:gd name="T1" fmla="*/ 2 h 60"/>
                <a:gd name="T2" fmla="*/ 55 w 68"/>
                <a:gd name="T3" fmla="*/ 4 h 60"/>
                <a:gd name="T4" fmla="*/ 23 w 68"/>
                <a:gd name="T5" fmla="*/ 44 h 60"/>
                <a:gd name="T6" fmla="*/ 12 w 68"/>
                <a:gd name="T7" fmla="*/ 32 h 60"/>
                <a:gd name="T8" fmla="*/ 3 w 68"/>
                <a:gd name="T9" fmla="*/ 31 h 60"/>
                <a:gd name="T10" fmla="*/ 1 w 68"/>
                <a:gd name="T11" fmla="*/ 35 h 60"/>
                <a:gd name="T12" fmla="*/ 2 w 68"/>
                <a:gd name="T13" fmla="*/ 40 h 60"/>
                <a:gd name="T14" fmla="*/ 18 w 68"/>
                <a:gd name="T15" fmla="*/ 58 h 60"/>
                <a:gd name="T16" fmla="*/ 23 w 68"/>
                <a:gd name="T17" fmla="*/ 60 h 60"/>
                <a:gd name="T18" fmla="*/ 23 w 68"/>
                <a:gd name="T19" fmla="*/ 60 h 60"/>
                <a:gd name="T20" fmla="*/ 29 w 68"/>
                <a:gd name="T21" fmla="*/ 58 h 60"/>
                <a:gd name="T22" fmla="*/ 66 w 68"/>
                <a:gd name="T23" fmla="*/ 12 h 60"/>
                <a:gd name="T24" fmla="*/ 67 w 68"/>
                <a:gd name="T25" fmla="*/ 7 h 60"/>
                <a:gd name="T26" fmla="*/ 65 w 68"/>
                <a:gd name="T27"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60">
                  <a:moveTo>
                    <a:pt x="65" y="2"/>
                  </a:moveTo>
                  <a:cubicBezTo>
                    <a:pt x="62" y="0"/>
                    <a:pt x="57" y="1"/>
                    <a:pt x="55" y="4"/>
                  </a:cubicBezTo>
                  <a:cubicBezTo>
                    <a:pt x="23" y="44"/>
                    <a:pt x="23" y="44"/>
                    <a:pt x="23" y="44"/>
                  </a:cubicBezTo>
                  <a:cubicBezTo>
                    <a:pt x="12" y="32"/>
                    <a:pt x="12" y="32"/>
                    <a:pt x="12" y="32"/>
                  </a:cubicBezTo>
                  <a:cubicBezTo>
                    <a:pt x="10" y="29"/>
                    <a:pt x="6" y="29"/>
                    <a:pt x="3" y="31"/>
                  </a:cubicBezTo>
                  <a:cubicBezTo>
                    <a:pt x="2" y="32"/>
                    <a:pt x="1" y="34"/>
                    <a:pt x="1" y="35"/>
                  </a:cubicBezTo>
                  <a:cubicBezTo>
                    <a:pt x="0" y="37"/>
                    <a:pt x="1" y="39"/>
                    <a:pt x="2" y="40"/>
                  </a:cubicBezTo>
                  <a:cubicBezTo>
                    <a:pt x="18" y="58"/>
                    <a:pt x="18" y="58"/>
                    <a:pt x="18" y="58"/>
                  </a:cubicBezTo>
                  <a:cubicBezTo>
                    <a:pt x="19" y="60"/>
                    <a:pt x="21" y="60"/>
                    <a:pt x="23" y="60"/>
                  </a:cubicBezTo>
                  <a:cubicBezTo>
                    <a:pt x="23" y="60"/>
                    <a:pt x="23" y="60"/>
                    <a:pt x="23" y="60"/>
                  </a:cubicBezTo>
                  <a:cubicBezTo>
                    <a:pt x="25" y="60"/>
                    <a:pt x="27" y="59"/>
                    <a:pt x="29" y="58"/>
                  </a:cubicBezTo>
                  <a:cubicBezTo>
                    <a:pt x="66" y="12"/>
                    <a:pt x="66" y="12"/>
                    <a:pt x="66" y="12"/>
                  </a:cubicBezTo>
                  <a:cubicBezTo>
                    <a:pt x="67" y="10"/>
                    <a:pt x="68" y="8"/>
                    <a:pt x="67" y="7"/>
                  </a:cubicBezTo>
                  <a:cubicBezTo>
                    <a:pt x="67" y="5"/>
                    <a:pt x="66" y="3"/>
                    <a:pt x="65" y="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65" name="Group 864">
            <a:extLst>
              <a:ext uri="{FF2B5EF4-FFF2-40B4-BE49-F238E27FC236}">
                <a16:creationId xmlns:a16="http://schemas.microsoft.com/office/drawing/2014/main" id="{D10BEA3B-0873-4D21-A05B-A596C225CD04}"/>
              </a:ext>
            </a:extLst>
          </p:cNvPr>
          <p:cNvGrpSpPr/>
          <p:nvPr/>
        </p:nvGrpSpPr>
        <p:grpSpPr>
          <a:xfrm>
            <a:off x="1232173" y="5028185"/>
            <a:ext cx="366323" cy="366323"/>
            <a:chOff x="698269" y="3498116"/>
            <a:chExt cx="366323" cy="366323"/>
          </a:xfrm>
        </p:grpSpPr>
        <p:sp>
          <p:nvSpPr>
            <p:cNvPr id="866" name="Oval 865">
              <a:extLst>
                <a:ext uri="{FF2B5EF4-FFF2-40B4-BE49-F238E27FC236}">
                  <a16:creationId xmlns:a16="http://schemas.microsoft.com/office/drawing/2014/main" id="{285C2E60-957C-4E08-A8A4-740C8461AAC8}"/>
                </a:ext>
              </a:extLst>
            </p:cNvPr>
            <p:cNvSpPr/>
            <p:nvPr/>
          </p:nvSpPr>
          <p:spPr bwMode="auto">
            <a:xfrm>
              <a:off x="698269" y="3498116"/>
              <a:ext cx="366323" cy="366323"/>
            </a:xfrm>
            <a:prstGeom prst="ellipse">
              <a:avLst/>
            </a:prstGeom>
            <a:solidFill>
              <a:srgbClr val="006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67" name="Freeform 88">
              <a:extLst>
                <a:ext uri="{FF2B5EF4-FFF2-40B4-BE49-F238E27FC236}">
                  <a16:creationId xmlns:a16="http://schemas.microsoft.com/office/drawing/2014/main" id="{26900D03-B12A-4630-828B-3D4E3D0FB239}"/>
                </a:ext>
              </a:extLst>
            </p:cNvPr>
            <p:cNvSpPr>
              <a:spLocks/>
            </p:cNvSpPr>
            <p:nvPr/>
          </p:nvSpPr>
          <p:spPr bwMode="auto">
            <a:xfrm>
              <a:off x="783996" y="3583500"/>
              <a:ext cx="201721" cy="178265"/>
            </a:xfrm>
            <a:custGeom>
              <a:avLst/>
              <a:gdLst>
                <a:gd name="T0" fmla="*/ 65 w 68"/>
                <a:gd name="T1" fmla="*/ 2 h 60"/>
                <a:gd name="T2" fmla="*/ 55 w 68"/>
                <a:gd name="T3" fmla="*/ 4 h 60"/>
                <a:gd name="T4" fmla="*/ 23 w 68"/>
                <a:gd name="T5" fmla="*/ 44 h 60"/>
                <a:gd name="T6" fmla="*/ 12 w 68"/>
                <a:gd name="T7" fmla="*/ 32 h 60"/>
                <a:gd name="T8" fmla="*/ 3 w 68"/>
                <a:gd name="T9" fmla="*/ 31 h 60"/>
                <a:gd name="T10" fmla="*/ 1 w 68"/>
                <a:gd name="T11" fmla="*/ 35 h 60"/>
                <a:gd name="T12" fmla="*/ 2 w 68"/>
                <a:gd name="T13" fmla="*/ 40 h 60"/>
                <a:gd name="T14" fmla="*/ 18 w 68"/>
                <a:gd name="T15" fmla="*/ 58 h 60"/>
                <a:gd name="T16" fmla="*/ 23 w 68"/>
                <a:gd name="T17" fmla="*/ 60 h 60"/>
                <a:gd name="T18" fmla="*/ 23 w 68"/>
                <a:gd name="T19" fmla="*/ 60 h 60"/>
                <a:gd name="T20" fmla="*/ 29 w 68"/>
                <a:gd name="T21" fmla="*/ 58 h 60"/>
                <a:gd name="T22" fmla="*/ 66 w 68"/>
                <a:gd name="T23" fmla="*/ 12 h 60"/>
                <a:gd name="T24" fmla="*/ 67 w 68"/>
                <a:gd name="T25" fmla="*/ 7 h 60"/>
                <a:gd name="T26" fmla="*/ 65 w 68"/>
                <a:gd name="T27"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60">
                  <a:moveTo>
                    <a:pt x="65" y="2"/>
                  </a:moveTo>
                  <a:cubicBezTo>
                    <a:pt x="62" y="0"/>
                    <a:pt x="57" y="1"/>
                    <a:pt x="55" y="4"/>
                  </a:cubicBezTo>
                  <a:cubicBezTo>
                    <a:pt x="23" y="44"/>
                    <a:pt x="23" y="44"/>
                    <a:pt x="23" y="44"/>
                  </a:cubicBezTo>
                  <a:cubicBezTo>
                    <a:pt x="12" y="32"/>
                    <a:pt x="12" y="32"/>
                    <a:pt x="12" y="32"/>
                  </a:cubicBezTo>
                  <a:cubicBezTo>
                    <a:pt x="10" y="29"/>
                    <a:pt x="6" y="29"/>
                    <a:pt x="3" y="31"/>
                  </a:cubicBezTo>
                  <a:cubicBezTo>
                    <a:pt x="2" y="32"/>
                    <a:pt x="1" y="34"/>
                    <a:pt x="1" y="35"/>
                  </a:cubicBezTo>
                  <a:cubicBezTo>
                    <a:pt x="0" y="37"/>
                    <a:pt x="1" y="39"/>
                    <a:pt x="2" y="40"/>
                  </a:cubicBezTo>
                  <a:cubicBezTo>
                    <a:pt x="18" y="58"/>
                    <a:pt x="18" y="58"/>
                    <a:pt x="18" y="58"/>
                  </a:cubicBezTo>
                  <a:cubicBezTo>
                    <a:pt x="19" y="60"/>
                    <a:pt x="21" y="60"/>
                    <a:pt x="23" y="60"/>
                  </a:cubicBezTo>
                  <a:cubicBezTo>
                    <a:pt x="23" y="60"/>
                    <a:pt x="23" y="60"/>
                    <a:pt x="23" y="60"/>
                  </a:cubicBezTo>
                  <a:cubicBezTo>
                    <a:pt x="25" y="60"/>
                    <a:pt x="27" y="59"/>
                    <a:pt x="29" y="58"/>
                  </a:cubicBezTo>
                  <a:cubicBezTo>
                    <a:pt x="66" y="12"/>
                    <a:pt x="66" y="12"/>
                    <a:pt x="66" y="12"/>
                  </a:cubicBezTo>
                  <a:cubicBezTo>
                    <a:pt x="67" y="10"/>
                    <a:pt x="68" y="8"/>
                    <a:pt x="67" y="7"/>
                  </a:cubicBezTo>
                  <a:cubicBezTo>
                    <a:pt x="67" y="5"/>
                    <a:pt x="66" y="3"/>
                    <a:pt x="65" y="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68" name="Group 867">
            <a:extLst>
              <a:ext uri="{FF2B5EF4-FFF2-40B4-BE49-F238E27FC236}">
                <a16:creationId xmlns:a16="http://schemas.microsoft.com/office/drawing/2014/main" id="{A9CB8BA0-FFBA-4D81-BC3A-3EA79D37CFA6}"/>
              </a:ext>
            </a:extLst>
          </p:cNvPr>
          <p:cNvGrpSpPr/>
          <p:nvPr/>
        </p:nvGrpSpPr>
        <p:grpSpPr>
          <a:xfrm>
            <a:off x="5476435" y="5028185"/>
            <a:ext cx="366323" cy="366323"/>
            <a:chOff x="698269" y="3498116"/>
            <a:chExt cx="366323" cy="366323"/>
          </a:xfrm>
        </p:grpSpPr>
        <p:sp>
          <p:nvSpPr>
            <p:cNvPr id="869" name="Oval 868">
              <a:extLst>
                <a:ext uri="{FF2B5EF4-FFF2-40B4-BE49-F238E27FC236}">
                  <a16:creationId xmlns:a16="http://schemas.microsoft.com/office/drawing/2014/main" id="{4668D1F0-4FF9-40C1-A9BA-9150BD2E97D0}"/>
                </a:ext>
              </a:extLst>
            </p:cNvPr>
            <p:cNvSpPr/>
            <p:nvPr/>
          </p:nvSpPr>
          <p:spPr bwMode="auto">
            <a:xfrm>
              <a:off x="698269" y="3498116"/>
              <a:ext cx="366323" cy="366323"/>
            </a:xfrm>
            <a:prstGeom prst="ellipse">
              <a:avLst/>
            </a:prstGeom>
            <a:solidFill>
              <a:srgbClr val="006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0" name="Freeform 88">
              <a:extLst>
                <a:ext uri="{FF2B5EF4-FFF2-40B4-BE49-F238E27FC236}">
                  <a16:creationId xmlns:a16="http://schemas.microsoft.com/office/drawing/2014/main" id="{0D17166D-F557-4912-93E4-D2EE20260976}"/>
                </a:ext>
              </a:extLst>
            </p:cNvPr>
            <p:cNvSpPr>
              <a:spLocks/>
            </p:cNvSpPr>
            <p:nvPr/>
          </p:nvSpPr>
          <p:spPr bwMode="auto">
            <a:xfrm>
              <a:off x="783996" y="3583500"/>
              <a:ext cx="201721" cy="178265"/>
            </a:xfrm>
            <a:custGeom>
              <a:avLst/>
              <a:gdLst>
                <a:gd name="T0" fmla="*/ 65 w 68"/>
                <a:gd name="T1" fmla="*/ 2 h 60"/>
                <a:gd name="T2" fmla="*/ 55 w 68"/>
                <a:gd name="T3" fmla="*/ 4 h 60"/>
                <a:gd name="T4" fmla="*/ 23 w 68"/>
                <a:gd name="T5" fmla="*/ 44 h 60"/>
                <a:gd name="T6" fmla="*/ 12 w 68"/>
                <a:gd name="T7" fmla="*/ 32 h 60"/>
                <a:gd name="T8" fmla="*/ 3 w 68"/>
                <a:gd name="T9" fmla="*/ 31 h 60"/>
                <a:gd name="T10" fmla="*/ 1 w 68"/>
                <a:gd name="T11" fmla="*/ 35 h 60"/>
                <a:gd name="T12" fmla="*/ 2 w 68"/>
                <a:gd name="T13" fmla="*/ 40 h 60"/>
                <a:gd name="T14" fmla="*/ 18 w 68"/>
                <a:gd name="T15" fmla="*/ 58 h 60"/>
                <a:gd name="T16" fmla="*/ 23 w 68"/>
                <a:gd name="T17" fmla="*/ 60 h 60"/>
                <a:gd name="T18" fmla="*/ 23 w 68"/>
                <a:gd name="T19" fmla="*/ 60 h 60"/>
                <a:gd name="T20" fmla="*/ 29 w 68"/>
                <a:gd name="T21" fmla="*/ 58 h 60"/>
                <a:gd name="T22" fmla="*/ 66 w 68"/>
                <a:gd name="T23" fmla="*/ 12 h 60"/>
                <a:gd name="T24" fmla="*/ 67 w 68"/>
                <a:gd name="T25" fmla="*/ 7 h 60"/>
                <a:gd name="T26" fmla="*/ 65 w 68"/>
                <a:gd name="T27"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60">
                  <a:moveTo>
                    <a:pt x="65" y="2"/>
                  </a:moveTo>
                  <a:cubicBezTo>
                    <a:pt x="62" y="0"/>
                    <a:pt x="57" y="1"/>
                    <a:pt x="55" y="4"/>
                  </a:cubicBezTo>
                  <a:cubicBezTo>
                    <a:pt x="23" y="44"/>
                    <a:pt x="23" y="44"/>
                    <a:pt x="23" y="44"/>
                  </a:cubicBezTo>
                  <a:cubicBezTo>
                    <a:pt x="12" y="32"/>
                    <a:pt x="12" y="32"/>
                    <a:pt x="12" y="32"/>
                  </a:cubicBezTo>
                  <a:cubicBezTo>
                    <a:pt x="10" y="29"/>
                    <a:pt x="6" y="29"/>
                    <a:pt x="3" y="31"/>
                  </a:cubicBezTo>
                  <a:cubicBezTo>
                    <a:pt x="2" y="32"/>
                    <a:pt x="1" y="34"/>
                    <a:pt x="1" y="35"/>
                  </a:cubicBezTo>
                  <a:cubicBezTo>
                    <a:pt x="0" y="37"/>
                    <a:pt x="1" y="39"/>
                    <a:pt x="2" y="40"/>
                  </a:cubicBezTo>
                  <a:cubicBezTo>
                    <a:pt x="18" y="58"/>
                    <a:pt x="18" y="58"/>
                    <a:pt x="18" y="58"/>
                  </a:cubicBezTo>
                  <a:cubicBezTo>
                    <a:pt x="19" y="60"/>
                    <a:pt x="21" y="60"/>
                    <a:pt x="23" y="60"/>
                  </a:cubicBezTo>
                  <a:cubicBezTo>
                    <a:pt x="23" y="60"/>
                    <a:pt x="23" y="60"/>
                    <a:pt x="23" y="60"/>
                  </a:cubicBezTo>
                  <a:cubicBezTo>
                    <a:pt x="25" y="60"/>
                    <a:pt x="27" y="59"/>
                    <a:pt x="29" y="58"/>
                  </a:cubicBezTo>
                  <a:cubicBezTo>
                    <a:pt x="66" y="12"/>
                    <a:pt x="66" y="12"/>
                    <a:pt x="66" y="12"/>
                  </a:cubicBezTo>
                  <a:cubicBezTo>
                    <a:pt x="67" y="10"/>
                    <a:pt x="68" y="8"/>
                    <a:pt x="67" y="7"/>
                  </a:cubicBezTo>
                  <a:cubicBezTo>
                    <a:pt x="67" y="5"/>
                    <a:pt x="66" y="3"/>
                    <a:pt x="65" y="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71" name="Group 870">
            <a:extLst>
              <a:ext uri="{FF2B5EF4-FFF2-40B4-BE49-F238E27FC236}">
                <a16:creationId xmlns:a16="http://schemas.microsoft.com/office/drawing/2014/main" id="{3AB96527-4094-4E27-A9BD-84497A0597EA}"/>
              </a:ext>
            </a:extLst>
          </p:cNvPr>
          <p:cNvGrpSpPr/>
          <p:nvPr/>
        </p:nvGrpSpPr>
        <p:grpSpPr>
          <a:xfrm>
            <a:off x="5484855" y="2728635"/>
            <a:ext cx="366323" cy="366323"/>
            <a:chOff x="698269" y="3498116"/>
            <a:chExt cx="366323" cy="366323"/>
          </a:xfrm>
        </p:grpSpPr>
        <p:sp>
          <p:nvSpPr>
            <p:cNvPr id="872" name="Oval 871">
              <a:extLst>
                <a:ext uri="{FF2B5EF4-FFF2-40B4-BE49-F238E27FC236}">
                  <a16:creationId xmlns:a16="http://schemas.microsoft.com/office/drawing/2014/main" id="{A58E14B8-1661-4292-A4F6-DAD6C4060094}"/>
                </a:ext>
              </a:extLst>
            </p:cNvPr>
            <p:cNvSpPr/>
            <p:nvPr/>
          </p:nvSpPr>
          <p:spPr bwMode="auto">
            <a:xfrm>
              <a:off x="698269" y="3498116"/>
              <a:ext cx="366323" cy="366323"/>
            </a:xfrm>
            <a:prstGeom prst="ellipse">
              <a:avLst/>
            </a:prstGeom>
            <a:solidFill>
              <a:srgbClr val="006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3" name="Freeform 88">
              <a:extLst>
                <a:ext uri="{FF2B5EF4-FFF2-40B4-BE49-F238E27FC236}">
                  <a16:creationId xmlns:a16="http://schemas.microsoft.com/office/drawing/2014/main" id="{04995D37-4652-4DD9-BB52-9ACAC10AFD72}"/>
                </a:ext>
              </a:extLst>
            </p:cNvPr>
            <p:cNvSpPr>
              <a:spLocks/>
            </p:cNvSpPr>
            <p:nvPr/>
          </p:nvSpPr>
          <p:spPr bwMode="auto">
            <a:xfrm>
              <a:off x="783996" y="3583500"/>
              <a:ext cx="201721" cy="178265"/>
            </a:xfrm>
            <a:custGeom>
              <a:avLst/>
              <a:gdLst>
                <a:gd name="T0" fmla="*/ 65 w 68"/>
                <a:gd name="T1" fmla="*/ 2 h 60"/>
                <a:gd name="T2" fmla="*/ 55 w 68"/>
                <a:gd name="T3" fmla="*/ 4 h 60"/>
                <a:gd name="T4" fmla="*/ 23 w 68"/>
                <a:gd name="T5" fmla="*/ 44 h 60"/>
                <a:gd name="T6" fmla="*/ 12 w 68"/>
                <a:gd name="T7" fmla="*/ 32 h 60"/>
                <a:gd name="T8" fmla="*/ 3 w 68"/>
                <a:gd name="T9" fmla="*/ 31 h 60"/>
                <a:gd name="T10" fmla="*/ 1 w 68"/>
                <a:gd name="T11" fmla="*/ 35 h 60"/>
                <a:gd name="T12" fmla="*/ 2 w 68"/>
                <a:gd name="T13" fmla="*/ 40 h 60"/>
                <a:gd name="T14" fmla="*/ 18 w 68"/>
                <a:gd name="T15" fmla="*/ 58 h 60"/>
                <a:gd name="T16" fmla="*/ 23 w 68"/>
                <a:gd name="T17" fmla="*/ 60 h 60"/>
                <a:gd name="T18" fmla="*/ 23 w 68"/>
                <a:gd name="T19" fmla="*/ 60 h 60"/>
                <a:gd name="T20" fmla="*/ 29 w 68"/>
                <a:gd name="T21" fmla="*/ 58 h 60"/>
                <a:gd name="T22" fmla="*/ 66 w 68"/>
                <a:gd name="T23" fmla="*/ 12 h 60"/>
                <a:gd name="T24" fmla="*/ 67 w 68"/>
                <a:gd name="T25" fmla="*/ 7 h 60"/>
                <a:gd name="T26" fmla="*/ 65 w 68"/>
                <a:gd name="T27"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60">
                  <a:moveTo>
                    <a:pt x="65" y="2"/>
                  </a:moveTo>
                  <a:cubicBezTo>
                    <a:pt x="62" y="0"/>
                    <a:pt x="57" y="1"/>
                    <a:pt x="55" y="4"/>
                  </a:cubicBezTo>
                  <a:cubicBezTo>
                    <a:pt x="23" y="44"/>
                    <a:pt x="23" y="44"/>
                    <a:pt x="23" y="44"/>
                  </a:cubicBezTo>
                  <a:cubicBezTo>
                    <a:pt x="12" y="32"/>
                    <a:pt x="12" y="32"/>
                    <a:pt x="12" y="32"/>
                  </a:cubicBezTo>
                  <a:cubicBezTo>
                    <a:pt x="10" y="29"/>
                    <a:pt x="6" y="29"/>
                    <a:pt x="3" y="31"/>
                  </a:cubicBezTo>
                  <a:cubicBezTo>
                    <a:pt x="2" y="32"/>
                    <a:pt x="1" y="34"/>
                    <a:pt x="1" y="35"/>
                  </a:cubicBezTo>
                  <a:cubicBezTo>
                    <a:pt x="0" y="37"/>
                    <a:pt x="1" y="39"/>
                    <a:pt x="2" y="40"/>
                  </a:cubicBezTo>
                  <a:cubicBezTo>
                    <a:pt x="18" y="58"/>
                    <a:pt x="18" y="58"/>
                    <a:pt x="18" y="58"/>
                  </a:cubicBezTo>
                  <a:cubicBezTo>
                    <a:pt x="19" y="60"/>
                    <a:pt x="21" y="60"/>
                    <a:pt x="23" y="60"/>
                  </a:cubicBezTo>
                  <a:cubicBezTo>
                    <a:pt x="23" y="60"/>
                    <a:pt x="23" y="60"/>
                    <a:pt x="23" y="60"/>
                  </a:cubicBezTo>
                  <a:cubicBezTo>
                    <a:pt x="25" y="60"/>
                    <a:pt x="27" y="59"/>
                    <a:pt x="29" y="58"/>
                  </a:cubicBezTo>
                  <a:cubicBezTo>
                    <a:pt x="66" y="12"/>
                    <a:pt x="66" y="12"/>
                    <a:pt x="66" y="12"/>
                  </a:cubicBezTo>
                  <a:cubicBezTo>
                    <a:pt x="67" y="10"/>
                    <a:pt x="68" y="8"/>
                    <a:pt x="67" y="7"/>
                  </a:cubicBezTo>
                  <a:cubicBezTo>
                    <a:pt x="67" y="5"/>
                    <a:pt x="66" y="3"/>
                    <a:pt x="65" y="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74" name="Group 873">
            <a:extLst>
              <a:ext uri="{FF2B5EF4-FFF2-40B4-BE49-F238E27FC236}">
                <a16:creationId xmlns:a16="http://schemas.microsoft.com/office/drawing/2014/main" id="{373CF65C-0BC6-4CAE-808B-2871772D2F9E}"/>
              </a:ext>
            </a:extLst>
          </p:cNvPr>
          <p:cNvGrpSpPr/>
          <p:nvPr/>
        </p:nvGrpSpPr>
        <p:grpSpPr>
          <a:xfrm>
            <a:off x="2141511" y="1935561"/>
            <a:ext cx="672011" cy="779531"/>
            <a:chOff x="-1073994" y="1561092"/>
            <a:chExt cx="672011" cy="779531"/>
          </a:xfrm>
        </p:grpSpPr>
        <p:sp>
          <p:nvSpPr>
            <p:cNvPr id="875" name="Hexagon 874">
              <a:extLst>
                <a:ext uri="{FF2B5EF4-FFF2-40B4-BE49-F238E27FC236}">
                  <a16:creationId xmlns:a16="http://schemas.microsoft.com/office/drawing/2014/main" id="{3106E8F8-62DE-4D2C-8072-BE9A3123B54B}"/>
                </a:ext>
              </a:extLst>
            </p:cNvPr>
            <p:cNvSpPr/>
            <p:nvPr/>
          </p:nvSpPr>
          <p:spPr bwMode="auto">
            <a:xfrm rot="5400000">
              <a:off x="-1127754" y="1614852"/>
              <a:ext cx="779531" cy="672011"/>
            </a:xfrm>
            <a:prstGeom prst="hexagon">
              <a:avLst/>
            </a:prstGeom>
            <a:solidFill>
              <a:srgbClr val="006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876" name="Group 875">
              <a:extLst>
                <a:ext uri="{FF2B5EF4-FFF2-40B4-BE49-F238E27FC236}">
                  <a16:creationId xmlns:a16="http://schemas.microsoft.com/office/drawing/2014/main" id="{677E957E-73D1-4206-8DA8-BD5096D79CED}"/>
                </a:ext>
              </a:extLst>
            </p:cNvPr>
            <p:cNvGrpSpPr/>
            <p:nvPr/>
          </p:nvGrpSpPr>
          <p:grpSpPr>
            <a:xfrm>
              <a:off x="-937680" y="1751166"/>
              <a:ext cx="399382" cy="399382"/>
              <a:chOff x="-763127" y="712530"/>
              <a:chExt cx="1219200" cy="1219200"/>
            </a:xfrm>
          </p:grpSpPr>
          <p:grpSp>
            <p:nvGrpSpPr>
              <p:cNvPr id="877" name="Group 876">
                <a:extLst>
                  <a:ext uri="{FF2B5EF4-FFF2-40B4-BE49-F238E27FC236}">
                    <a16:creationId xmlns:a16="http://schemas.microsoft.com/office/drawing/2014/main" id="{AD8B6900-9A0F-4930-9AD7-870C09273F56}"/>
                  </a:ext>
                </a:extLst>
              </p:cNvPr>
              <p:cNvGrpSpPr/>
              <p:nvPr/>
            </p:nvGrpSpPr>
            <p:grpSpPr>
              <a:xfrm>
                <a:off x="-763127" y="1169730"/>
                <a:ext cx="609600" cy="762000"/>
                <a:chOff x="-763127" y="1169730"/>
                <a:chExt cx="609600" cy="762000"/>
              </a:xfrm>
            </p:grpSpPr>
            <p:sp>
              <p:nvSpPr>
                <p:cNvPr id="881" name="Freeform: Shape 880">
                  <a:extLst>
                    <a:ext uri="{FF2B5EF4-FFF2-40B4-BE49-F238E27FC236}">
                      <a16:creationId xmlns:a16="http://schemas.microsoft.com/office/drawing/2014/main" id="{0D3ABEC0-0714-43D5-B3BC-3169247F758D}"/>
                    </a:ext>
                  </a:extLst>
                </p:cNvPr>
                <p:cNvSpPr/>
                <p:nvPr/>
              </p:nvSpPr>
              <p:spPr>
                <a:xfrm>
                  <a:off x="-629777" y="1169730"/>
                  <a:ext cx="342900" cy="342900"/>
                </a:xfrm>
                <a:custGeom>
                  <a:avLst/>
                  <a:gdLst>
                    <a:gd name="connsiteX0" fmla="*/ 342900 w 342900"/>
                    <a:gd name="connsiteY0" fmla="*/ 171450 h 342900"/>
                    <a:gd name="connsiteX1" fmla="*/ 171450 w 342900"/>
                    <a:gd name="connsiteY1" fmla="*/ 342900 h 342900"/>
                    <a:gd name="connsiteX2" fmla="*/ 0 w 342900"/>
                    <a:gd name="connsiteY2" fmla="*/ 171450 h 342900"/>
                    <a:gd name="connsiteX3" fmla="*/ 171450 w 342900"/>
                    <a:gd name="connsiteY3" fmla="*/ 0 h 342900"/>
                    <a:gd name="connsiteX4" fmla="*/ 34290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solidFill>
                  <a:srgbClr val="00205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82" name="Freeform: Shape 881">
                  <a:extLst>
                    <a:ext uri="{FF2B5EF4-FFF2-40B4-BE49-F238E27FC236}">
                      <a16:creationId xmlns:a16="http://schemas.microsoft.com/office/drawing/2014/main" id="{73160649-A84D-488B-B730-1FB6E6DFC241}"/>
                    </a:ext>
                  </a:extLst>
                </p:cNvPr>
                <p:cNvSpPr/>
                <p:nvPr/>
              </p:nvSpPr>
              <p:spPr>
                <a:xfrm>
                  <a:off x="-763127" y="1588830"/>
                  <a:ext cx="609600" cy="342900"/>
                </a:xfrm>
                <a:custGeom>
                  <a:avLst/>
                  <a:gdLst>
                    <a:gd name="connsiteX0" fmla="*/ 304800 w 609600"/>
                    <a:gd name="connsiteY0" fmla="*/ 0 h 342900"/>
                    <a:gd name="connsiteX1" fmla="*/ 304800 w 609600"/>
                    <a:gd name="connsiteY1" fmla="*/ 0 h 342900"/>
                    <a:gd name="connsiteX2" fmla="*/ 609600 w 609600"/>
                    <a:gd name="connsiteY2" fmla="*/ 304800 h 342900"/>
                    <a:gd name="connsiteX3" fmla="*/ 609600 w 609600"/>
                    <a:gd name="connsiteY3" fmla="*/ 342900 h 342900"/>
                    <a:gd name="connsiteX4" fmla="*/ 0 w 609600"/>
                    <a:gd name="connsiteY4" fmla="*/ 342900 h 342900"/>
                    <a:gd name="connsiteX5" fmla="*/ 0 w 609600"/>
                    <a:gd name="connsiteY5" fmla="*/ 304800 h 342900"/>
                    <a:gd name="connsiteX6" fmla="*/ 304800 w 60960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342900">
                      <a:moveTo>
                        <a:pt x="304800" y="0"/>
                      </a:moveTo>
                      <a:lnTo>
                        <a:pt x="304800" y="0"/>
                      </a:lnTo>
                      <a:cubicBezTo>
                        <a:pt x="473107" y="0"/>
                        <a:pt x="609600" y="136493"/>
                        <a:pt x="609600" y="304800"/>
                      </a:cubicBezTo>
                      <a:lnTo>
                        <a:pt x="609600" y="342900"/>
                      </a:lnTo>
                      <a:lnTo>
                        <a:pt x="0" y="342900"/>
                      </a:lnTo>
                      <a:lnTo>
                        <a:pt x="0" y="304800"/>
                      </a:lnTo>
                      <a:cubicBezTo>
                        <a:pt x="0" y="136493"/>
                        <a:pt x="136493" y="0"/>
                        <a:pt x="304800" y="0"/>
                      </a:cubicBezTo>
                      <a:close/>
                    </a:path>
                  </a:pathLst>
                </a:custGeom>
                <a:solidFill>
                  <a:srgbClr val="00205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78" name="Group 877">
                <a:extLst>
                  <a:ext uri="{FF2B5EF4-FFF2-40B4-BE49-F238E27FC236}">
                    <a16:creationId xmlns:a16="http://schemas.microsoft.com/office/drawing/2014/main" id="{66DED0AA-5C31-4AA0-BC53-B6D67898ACAB}"/>
                  </a:ext>
                </a:extLst>
              </p:cNvPr>
              <p:cNvGrpSpPr/>
              <p:nvPr/>
            </p:nvGrpSpPr>
            <p:grpSpPr>
              <a:xfrm>
                <a:off x="-153527" y="712530"/>
                <a:ext cx="609600" cy="762000"/>
                <a:chOff x="-153527" y="712530"/>
                <a:chExt cx="609600" cy="762000"/>
              </a:xfrm>
            </p:grpSpPr>
            <p:sp>
              <p:nvSpPr>
                <p:cNvPr id="879" name="Freeform: Shape 878">
                  <a:extLst>
                    <a:ext uri="{FF2B5EF4-FFF2-40B4-BE49-F238E27FC236}">
                      <a16:creationId xmlns:a16="http://schemas.microsoft.com/office/drawing/2014/main" id="{26C3940C-2B82-4CBC-A4D1-D74D4ED9D5DC}"/>
                    </a:ext>
                  </a:extLst>
                </p:cNvPr>
                <p:cNvSpPr/>
                <p:nvPr/>
              </p:nvSpPr>
              <p:spPr>
                <a:xfrm>
                  <a:off x="-20177" y="712530"/>
                  <a:ext cx="342900" cy="342900"/>
                </a:xfrm>
                <a:custGeom>
                  <a:avLst/>
                  <a:gdLst>
                    <a:gd name="connsiteX0" fmla="*/ 342900 w 342900"/>
                    <a:gd name="connsiteY0" fmla="*/ 171450 h 342900"/>
                    <a:gd name="connsiteX1" fmla="*/ 171450 w 342900"/>
                    <a:gd name="connsiteY1" fmla="*/ 342900 h 342900"/>
                    <a:gd name="connsiteX2" fmla="*/ 0 w 342900"/>
                    <a:gd name="connsiteY2" fmla="*/ 171450 h 342900"/>
                    <a:gd name="connsiteX3" fmla="*/ 171450 w 342900"/>
                    <a:gd name="connsiteY3" fmla="*/ 0 h 342900"/>
                    <a:gd name="connsiteX4" fmla="*/ 34290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80" name="Freeform: Shape 879">
                  <a:extLst>
                    <a:ext uri="{FF2B5EF4-FFF2-40B4-BE49-F238E27FC236}">
                      <a16:creationId xmlns:a16="http://schemas.microsoft.com/office/drawing/2014/main" id="{6C0BC667-40A5-4B63-AFDA-8DBBA3D7441E}"/>
                    </a:ext>
                  </a:extLst>
                </p:cNvPr>
                <p:cNvSpPr/>
                <p:nvPr/>
              </p:nvSpPr>
              <p:spPr>
                <a:xfrm>
                  <a:off x="-153527" y="1131630"/>
                  <a:ext cx="609600" cy="342900"/>
                </a:xfrm>
                <a:custGeom>
                  <a:avLst/>
                  <a:gdLst>
                    <a:gd name="connsiteX0" fmla="*/ 304800 w 609600"/>
                    <a:gd name="connsiteY0" fmla="*/ 0 h 342900"/>
                    <a:gd name="connsiteX1" fmla="*/ 304800 w 609600"/>
                    <a:gd name="connsiteY1" fmla="*/ 0 h 342900"/>
                    <a:gd name="connsiteX2" fmla="*/ 609600 w 609600"/>
                    <a:gd name="connsiteY2" fmla="*/ 304800 h 342900"/>
                    <a:gd name="connsiteX3" fmla="*/ 609600 w 609600"/>
                    <a:gd name="connsiteY3" fmla="*/ 342900 h 342900"/>
                    <a:gd name="connsiteX4" fmla="*/ 0 w 609600"/>
                    <a:gd name="connsiteY4" fmla="*/ 342900 h 342900"/>
                    <a:gd name="connsiteX5" fmla="*/ 0 w 609600"/>
                    <a:gd name="connsiteY5" fmla="*/ 304800 h 342900"/>
                    <a:gd name="connsiteX6" fmla="*/ 304800 w 60960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342900">
                      <a:moveTo>
                        <a:pt x="304800" y="0"/>
                      </a:moveTo>
                      <a:lnTo>
                        <a:pt x="304800" y="0"/>
                      </a:lnTo>
                      <a:cubicBezTo>
                        <a:pt x="473107" y="0"/>
                        <a:pt x="609600" y="136493"/>
                        <a:pt x="609600" y="304800"/>
                      </a:cubicBezTo>
                      <a:lnTo>
                        <a:pt x="609600" y="342900"/>
                      </a:lnTo>
                      <a:lnTo>
                        <a:pt x="0" y="342900"/>
                      </a:lnTo>
                      <a:lnTo>
                        <a:pt x="0" y="304800"/>
                      </a:lnTo>
                      <a:cubicBezTo>
                        <a:pt x="0" y="136493"/>
                        <a:pt x="136493" y="0"/>
                        <a:pt x="304800" y="0"/>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grpSp>
        <p:nvGrpSpPr>
          <p:cNvPr id="883" name="Group 882">
            <a:extLst>
              <a:ext uri="{FF2B5EF4-FFF2-40B4-BE49-F238E27FC236}">
                <a16:creationId xmlns:a16="http://schemas.microsoft.com/office/drawing/2014/main" id="{EC8157A3-11F3-4C96-BBE9-1237D1BFE716}"/>
              </a:ext>
            </a:extLst>
          </p:cNvPr>
          <p:cNvGrpSpPr/>
          <p:nvPr/>
        </p:nvGrpSpPr>
        <p:grpSpPr>
          <a:xfrm>
            <a:off x="4186702" y="1935561"/>
            <a:ext cx="672011" cy="779531"/>
            <a:chOff x="-1073994" y="1561092"/>
            <a:chExt cx="672011" cy="779531"/>
          </a:xfrm>
        </p:grpSpPr>
        <p:sp>
          <p:nvSpPr>
            <p:cNvPr id="884" name="Hexagon 883">
              <a:extLst>
                <a:ext uri="{FF2B5EF4-FFF2-40B4-BE49-F238E27FC236}">
                  <a16:creationId xmlns:a16="http://schemas.microsoft.com/office/drawing/2014/main" id="{9E597022-974C-4517-9BCB-20F9A186EA59}"/>
                </a:ext>
              </a:extLst>
            </p:cNvPr>
            <p:cNvSpPr/>
            <p:nvPr/>
          </p:nvSpPr>
          <p:spPr bwMode="auto">
            <a:xfrm rot="5400000">
              <a:off x="-1127754" y="1614852"/>
              <a:ext cx="779531" cy="672011"/>
            </a:xfrm>
            <a:prstGeom prst="hexagon">
              <a:avLst/>
            </a:prstGeom>
            <a:solidFill>
              <a:srgbClr val="006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885" name="Group 884">
              <a:extLst>
                <a:ext uri="{FF2B5EF4-FFF2-40B4-BE49-F238E27FC236}">
                  <a16:creationId xmlns:a16="http://schemas.microsoft.com/office/drawing/2014/main" id="{A71C109F-183A-4339-B92F-F50B094A7C77}"/>
                </a:ext>
              </a:extLst>
            </p:cNvPr>
            <p:cNvGrpSpPr/>
            <p:nvPr/>
          </p:nvGrpSpPr>
          <p:grpSpPr>
            <a:xfrm>
              <a:off x="-937680" y="1751166"/>
              <a:ext cx="399382" cy="399382"/>
              <a:chOff x="-763127" y="712530"/>
              <a:chExt cx="1219200" cy="1219200"/>
            </a:xfrm>
          </p:grpSpPr>
          <p:grpSp>
            <p:nvGrpSpPr>
              <p:cNvPr id="886" name="Group 885">
                <a:extLst>
                  <a:ext uri="{FF2B5EF4-FFF2-40B4-BE49-F238E27FC236}">
                    <a16:creationId xmlns:a16="http://schemas.microsoft.com/office/drawing/2014/main" id="{02495B86-677B-44AC-8D62-233BBE827461}"/>
                  </a:ext>
                </a:extLst>
              </p:cNvPr>
              <p:cNvGrpSpPr/>
              <p:nvPr/>
            </p:nvGrpSpPr>
            <p:grpSpPr>
              <a:xfrm>
                <a:off x="-763127" y="1169730"/>
                <a:ext cx="609600" cy="762000"/>
                <a:chOff x="-763127" y="1169730"/>
                <a:chExt cx="609600" cy="762000"/>
              </a:xfrm>
            </p:grpSpPr>
            <p:sp>
              <p:nvSpPr>
                <p:cNvPr id="890" name="Freeform: Shape 889">
                  <a:extLst>
                    <a:ext uri="{FF2B5EF4-FFF2-40B4-BE49-F238E27FC236}">
                      <a16:creationId xmlns:a16="http://schemas.microsoft.com/office/drawing/2014/main" id="{CCCF0CA8-5A14-4F7A-898E-3D676C7F9EAE}"/>
                    </a:ext>
                  </a:extLst>
                </p:cNvPr>
                <p:cNvSpPr/>
                <p:nvPr/>
              </p:nvSpPr>
              <p:spPr>
                <a:xfrm>
                  <a:off x="-629777" y="1169730"/>
                  <a:ext cx="342900" cy="342900"/>
                </a:xfrm>
                <a:custGeom>
                  <a:avLst/>
                  <a:gdLst>
                    <a:gd name="connsiteX0" fmla="*/ 342900 w 342900"/>
                    <a:gd name="connsiteY0" fmla="*/ 171450 h 342900"/>
                    <a:gd name="connsiteX1" fmla="*/ 171450 w 342900"/>
                    <a:gd name="connsiteY1" fmla="*/ 342900 h 342900"/>
                    <a:gd name="connsiteX2" fmla="*/ 0 w 342900"/>
                    <a:gd name="connsiteY2" fmla="*/ 171450 h 342900"/>
                    <a:gd name="connsiteX3" fmla="*/ 171450 w 342900"/>
                    <a:gd name="connsiteY3" fmla="*/ 0 h 342900"/>
                    <a:gd name="connsiteX4" fmla="*/ 34290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solidFill>
                  <a:schemeClr val="tx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91" name="Freeform: Shape 890">
                  <a:extLst>
                    <a:ext uri="{FF2B5EF4-FFF2-40B4-BE49-F238E27FC236}">
                      <a16:creationId xmlns:a16="http://schemas.microsoft.com/office/drawing/2014/main" id="{E83CD770-9DC4-4543-8F60-4B9D742EE8CE}"/>
                    </a:ext>
                  </a:extLst>
                </p:cNvPr>
                <p:cNvSpPr/>
                <p:nvPr/>
              </p:nvSpPr>
              <p:spPr>
                <a:xfrm>
                  <a:off x="-763127" y="1588830"/>
                  <a:ext cx="609600" cy="342900"/>
                </a:xfrm>
                <a:custGeom>
                  <a:avLst/>
                  <a:gdLst>
                    <a:gd name="connsiteX0" fmla="*/ 304800 w 609600"/>
                    <a:gd name="connsiteY0" fmla="*/ 0 h 342900"/>
                    <a:gd name="connsiteX1" fmla="*/ 304800 w 609600"/>
                    <a:gd name="connsiteY1" fmla="*/ 0 h 342900"/>
                    <a:gd name="connsiteX2" fmla="*/ 609600 w 609600"/>
                    <a:gd name="connsiteY2" fmla="*/ 304800 h 342900"/>
                    <a:gd name="connsiteX3" fmla="*/ 609600 w 609600"/>
                    <a:gd name="connsiteY3" fmla="*/ 342900 h 342900"/>
                    <a:gd name="connsiteX4" fmla="*/ 0 w 609600"/>
                    <a:gd name="connsiteY4" fmla="*/ 342900 h 342900"/>
                    <a:gd name="connsiteX5" fmla="*/ 0 w 609600"/>
                    <a:gd name="connsiteY5" fmla="*/ 304800 h 342900"/>
                    <a:gd name="connsiteX6" fmla="*/ 304800 w 60960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342900">
                      <a:moveTo>
                        <a:pt x="304800" y="0"/>
                      </a:moveTo>
                      <a:lnTo>
                        <a:pt x="304800" y="0"/>
                      </a:lnTo>
                      <a:cubicBezTo>
                        <a:pt x="473107" y="0"/>
                        <a:pt x="609600" y="136493"/>
                        <a:pt x="609600" y="304800"/>
                      </a:cubicBezTo>
                      <a:lnTo>
                        <a:pt x="609600" y="342900"/>
                      </a:lnTo>
                      <a:lnTo>
                        <a:pt x="0" y="342900"/>
                      </a:lnTo>
                      <a:lnTo>
                        <a:pt x="0" y="304800"/>
                      </a:lnTo>
                      <a:cubicBezTo>
                        <a:pt x="0" y="136493"/>
                        <a:pt x="136493" y="0"/>
                        <a:pt x="304800" y="0"/>
                      </a:cubicBezTo>
                      <a:close/>
                    </a:path>
                  </a:pathLst>
                </a:custGeom>
                <a:solidFill>
                  <a:schemeClr val="tx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887" name="Group 886">
                <a:extLst>
                  <a:ext uri="{FF2B5EF4-FFF2-40B4-BE49-F238E27FC236}">
                    <a16:creationId xmlns:a16="http://schemas.microsoft.com/office/drawing/2014/main" id="{2AE575CB-6BD6-4CC6-8D82-681D937921E0}"/>
                  </a:ext>
                </a:extLst>
              </p:cNvPr>
              <p:cNvGrpSpPr/>
              <p:nvPr/>
            </p:nvGrpSpPr>
            <p:grpSpPr>
              <a:xfrm>
                <a:off x="-153527" y="712530"/>
                <a:ext cx="609600" cy="762000"/>
                <a:chOff x="-153527" y="712530"/>
                <a:chExt cx="609600" cy="762000"/>
              </a:xfrm>
            </p:grpSpPr>
            <p:sp>
              <p:nvSpPr>
                <p:cNvPr id="888" name="Freeform: Shape 887">
                  <a:extLst>
                    <a:ext uri="{FF2B5EF4-FFF2-40B4-BE49-F238E27FC236}">
                      <a16:creationId xmlns:a16="http://schemas.microsoft.com/office/drawing/2014/main" id="{EC8354DE-135F-4D71-A9A5-AEE7BDCA7E95}"/>
                    </a:ext>
                  </a:extLst>
                </p:cNvPr>
                <p:cNvSpPr/>
                <p:nvPr/>
              </p:nvSpPr>
              <p:spPr>
                <a:xfrm>
                  <a:off x="-20177" y="712530"/>
                  <a:ext cx="342900" cy="342900"/>
                </a:xfrm>
                <a:custGeom>
                  <a:avLst/>
                  <a:gdLst>
                    <a:gd name="connsiteX0" fmla="*/ 342900 w 342900"/>
                    <a:gd name="connsiteY0" fmla="*/ 171450 h 342900"/>
                    <a:gd name="connsiteX1" fmla="*/ 171450 w 342900"/>
                    <a:gd name="connsiteY1" fmla="*/ 342900 h 342900"/>
                    <a:gd name="connsiteX2" fmla="*/ 0 w 342900"/>
                    <a:gd name="connsiteY2" fmla="*/ 171450 h 342900"/>
                    <a:gd name="connsiteX3" fmla="*/ 171450 w 342900"/>
                    <a:gd name="connsiteY3" fmla="*/ 0 h 342900"/>
                    <a:gd name="connsiteX4" fmla="*/ 34290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89" name="Freeform: Shape 888">
                  <a:extLst>
                    <a:ext uri="{FF2B5EF4-FFF2-40B4-BE49-F238E27FC236}">
                      <a16:creationId xmlns:a16="http://schemas.microsoft.com/office/drawing/2014/main" id="{5F924160-A01A-45B9-897B-0B44DB0569C2}"/>
                    </a:ext>
                  </a:extLst>
                </p:cNvPr>
                <p:cNvSpPr/>
                <p:nvPr/>
              </p:nvSpPr>
              <p:spPr>
                <a:xfrm>
                  <a:off x="-153527" y="1131630"/>
                  <a:ext cx="609600" cy="342900"/>
                </a:xfrm>
                <a:custGeom>
                  <a:avLst/>
                  <a:gdLst>
                    <a:gd name="connsiteX0" fmla="*/ 304800 w 609600"/>
                    <a:gd name="connsiteY0" fmla="*/ 0 h 342900"/>
                    <a:gd name="connsiteX1" fmla="*/ 304800 w 609600"/>
                    <a:gd name="connsiteY1" fmla="*/ 0 h 342900"/>
                    <a:gd name="connsiteX2" fmla="*/ 609600 w 609600"/>
                    <a:gd name="connsiteY2" fmla="*/ 304800 h 342900"/>
                    <a:gd name="connsiteX3" fmla="*/ 609600 w 609600"/>
                    <a:gd name="connsiteY3" fmla="*/ 342900 h 342900"/>
                    <a:gd name="connsiteX4" fmla="*/ 0 w 609600"/>
                    <a:gd name="connsiteY4" fmla="*/ 342900 h 342900"/>
                    <a:gd name="connsiteX5" fmla="*/ 0 w 609600"/>
                    <a:gd name="connsiteY5" fmla="*/ 304800 h 342900"/>
                    <a:gd name="connsiteX6" fmla="*/ 304800 w 60960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342900">
                      <a:moveTo>
                        <a:pt x="304800" y="0"/>
                      </a:moveTo>
                      <a:lnTo>
                        <a:pt x="304800" y="0"/>
                      </a:lnTo>
                      <a:cubicBezTo>
                        <a:pt x="473107" y="0"/>
                        <a:pt x="609600" y="136493"/>
                        <a:pt x="609600" y="304800"/>
                      </a:cubicBezTo>
                      <a:lnTo>
                        <a:pt x="609600" y="342900"/>
                      </a:lnTo>
                      <a:lnTo>
                        <a:pt x="0" y="342900"/>
                      </a:lnTo>
                      <a:lnTo>
                        <a:pt x="0" y="304800"/>
                      </a:lnTo>
                      <a:cubicBezTo>
                        <a:pt x="0" y="136493"/>
                        <a:pt x="136493" y="0"/>
                        <a:pt x="304800" y="0"/>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grpSp>
        <p:nvGrpSpPr>
          <p:cNvPr id="892" name="Group 891">
            <a:extLst>
              <a:ext uri="{FF2B5EF4-FFF2-40B4-BE49-F238E27FC236}">
                <a16:creationId xmlns:a16="http://schemas.microsoft.com/office/drawing/2014/main" id="{6351D7E9-610C-4C56-AFE0-F38C915FBEF7}"/>
              </a:ext>
            </a:extLst>
          </p:cNvPr>
          <p:cNvGrpSpPr/>
          <p:nvPr/>
        </p:nvGrpSpPr>
        <p:grpSpPr>
          <a:xfrm>
            <a:off x="2141511" y="5377916"/>
            <a:ext cx="672011" cy="779531"/>
            <a:chOff x="-1073994" y="1561092"/>
            <a:chExt cx="672011" cy="779531"/>
          </a:xfrm>
        </p:grpSpPr>
        <p:sp>
          <p:nvSpPr>
            <p:cNvPr id="893" name="Hexagon 892">
              <a:extLst>
                <a:ext uri="{FF2B5EF4-FFF2-40B4-BE49-F238E27FC236}">
                  <a16:creationId xmlns:a16="http://schemas.microsoft.com/office/drawing/2014/main" id="{1FF2DF41-6080-4E55-BA5A-500B6C646C31}"/>
                </a:ext>
              </a:extLst>
            </p:cNvPr>
            <p:cNvSpPr/>
            <p:nvPr/>
          </p:nvSpPr>
          <p:spPr bwMode="auto">
            <a:xfrm rot="5400000">
              <a:off x="-1127754" y="1614852"/>
              <a:ext cx="779531" cy="672011"/>
            </a:xfrm>
            <a:prstGeom prst="hexagon">
              <a:avLst/>
            </a:prstGeom>
            <a:solidFill>
              <a:srgbClr val="006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894" name="Group 893">
              <a:extLst>
                <a:ext uri="{FF2B5EF4-FFF2-40B4-BE49-F238E27FC236}">
                  <a16:creationId xmlns:a16="http://schemas.microsoft.com/office/drawing/2014/main" id="{684A5318-DD08-4579-A967-AF453B11D10D}"/>
                </a:ext>
              </a:extLst>
            </p:cNvPr>
            <p:cNvGrpSpPr/>
            <p:nvPr/>
          </p:nvGrpSpPr>
          <p:grpSpPr>
            <a:xfrm>
              <a:off x="-937680" y="1751166"/>
              <a:ext cx="399382" cy="399382"/>
              <a:chOff x="-763127" y="712530"/>
              <a:chExt cx="1219200" cy="1219200"/>
            </a:xfrm>
          </p:grpSpPr>
          <p:grpSp>
            <p:nvGrpSpPr>
              <p:cNvPr id="895" name="Group 894">
                <a:extLst>
                  <a:ext uri="{FF2B5EF4-FFF2-40B4-BE49-F238E27FC236}">
                    <a16:creationId xmlns:a16="http://schemas.microsoft.com/office/drawing/2014/main" id="{25324CD3-9F5F-45A6-AC18-28F87AF988E0}"/>
                  </a:ext>
                </a:extLst>
              </p:cNvPr>
              <p:cNvGrpSpPr/>
              <p:nvPr/>
            </p:nvGrpSpPr>
            <p:grpSpPr>
              <a:xfrm>
                <a:off x="-763127" y="1169730"/>
                <a:ext cx="609600" cy="762000"/>
                <a:chOff x="-763127" y="1169730"/>
                <a:chExt cx="609600" cy="762000"/>
              </a:xfrm>
            </p:grpSpPr>
            <p:sp>
              <p:nvSpPr>
                <p:cNvPr id="899" name="Freeform: Shape 898">
                  <a:extLst>
                    <a:ext uri="{FF2B5EF4-FFF2-40B4-BE49-F238E27FC236}">
                      <a16:creationId xmlns:a16="http://schemas.microsoft.com/office/drawing/2014/main" id="{8C937710-CA87-4661-B8BB-5B46114763BC}"/>
                    </a:ext>
                  </a:extLst>
                </p:cNvPr>
                <p:cNvSpPr/>
                <p:nvPr/>
              </p:nvSpPr>
              <p:spPr>
                <a:xfrm>
                  <a:off x="-629777" y="1169730"/>
                  <a:ext cx="342900" cy="342900"/>
                </a:xfrm>
                <a:custGeom>
                  <a:avLst/>
                  <a:gdLst>
                    <a:gd name="connsiteX0" fmla="*/ 342900 w 342900"/>
                    <a:gd name="connsiteY0" fmla="*/ 171450 h 342900"/>
                    <a:gd name="connsiteX1" fmla="*/ 171450 w 342900"/>
                    <a:gd name="connsiteY1" fmla="*/ 342900 h 342900"/>
                    <a:gd name="connsiteX2" fmla="*/ 0 w 342900"/>
                    <a:gd name="connsiteY2" fmla="*/ 171450 h 342900"/>
                    <a:gd name="connsiteX3" fmla="*/ 171450 w 342900"/>
                    <a:gd name="connsiteY3" fmla="*/ 0 h 342900"/>
                    <a:gd name="connsiteX4" fmla="*/ 34290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solidFill>
                  <a:srgbClr val="00205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00" name="Freeform: Shape 899">
                  <a:extLst>
                    <a:ext uri="{FF2B5EF4-FFF2-40B4-BE49-F238E27FC236}">
                      <a16:creationId xmlns:a16="http://schemas.microsoft.com/office/drawing/2014/main" id="{81D39E72-5F67-471F-A055-FACED856B94D}"/>
                    </a:ext>
                  </a:extLst>
                </p:cNvPr>
                <p:cNvSpPr/>
                <p:nvPr/>
              </p:nvSpPr>
              <p:spPr>
                <a:xfrm>
                  <a:off x="-763127" y="1588830"/>
                  <a:ext cx="609600" cy="342900"/>
                </a:xfrm>
                <a:custGeom>
                  <a:avLst/>
                  <a:gdLst>
                    <a:gd name="connsiteX0" fmla="*/ 304800 w 609600"/>
                    <a:gd name="connsiteY0" fmla="*/ 0 h 342900"/>
                    <a:gd name="connsiteX1" fmla="*/ 304800 w 609600"/>
                    <a:gd name="connsiteY1" fmla="*/ 0 h 342900"/>
                    <a:gd name="connsiteX2" fmla="*/ 609600 w 609600"/>
                    <a:gd name="connsiteY2" fmla="*/ 304800 h 342900"/>
                    <a:gd name="connsiteX3" fmla="*/ 609600 w 609600"/>
                    <a:gd name="connsiteY3" fmla="*/ 342900 h 342900"/>
                    <a:gd name="connsiteX4" fmla="*/ 0 w 609600"/>
                    <a:gd name="connsiteY4" fmla="*/ 342900 h 342900"/>
                    <a:gd name="connsiteX5" fmla="*/ 0 w 609600"/>
                    <a:gd name="connsiteY5" fmla="*/ 304800 h 342900"/>
                    <a:gd name="connsiteX6" fmla="*/ 304800 w 60960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342900">
                      <a:moveTo>
                        <a:pt x="304800" y="0"/>
                      </a:moveTo>
                      <a:lnTo>
                        <a:pt x="304800" y="0"/>
                      </a:lnTo>
                      <a:cubicBezTo>
                        <a:pt x="473107" y="0"/>
                        <a:pt x="609600" y="136493"/>
                        <a:pt x="609600" y="304800"/>
                      </a:cubicBezTo>
                      <a:lnTo>
                        <a:pt x="609600" y="342900"/>
                      </a:lnTo>
                      <a:lnTo>
                        <a:pt x="0" y="342900"/>
                      </a:lnTo>
                      <a:lnTo>
                        <a:pt x="0" y="304800"/>
                      </a:lnTo>
                      <a:cubicBezTo>
                        <a:pt x="0" y="136493"/>
                        <a:pt x="136493" y="0"/>
                        <a:pt x="304800" y="0"/>
                      </a:cubicBezTo>
                      <a:close/>
                    </a:path>
                  </a:pathLst>
                </a:custGeom>
                <a:solidFill>
                  <a:srgbClr val="00205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96" name="Group 895">
                <a:extLst>
                  <a:ext uri="{FF2B5EF4-FFF2-40B4-BE49-F238E27FC236}">
                    <a16:creationId xmlns:a16="http://schemas.microsoft.com/office/drawing/2014/main" id="{668C484E-8C9E-49ED-9554-EA7DAA92FB4D}"/>
                  </a:ext>
                </a:extLst>
              </p:cNvPr>
              <p:cNvGrpSpPr/>
              <p:nvPr/>
            </p:nvGrpSpPr>
            <p:grpSpPr>
              <a:xfrm>
                <a:off x="-153527" y="712530"/>
                <a:ext cx="609600" cy="762000"/>
                <a:chOff x="-153527" y="712530"/>
                <a:chExt cx="609600" cy="762000"/>
              </a:xfrm>
            </p:grpSpPr>
            <p:sp>
              <p:nvSpPr>
                <p:cNvPr id="897" name="Freeform: Shape 896">
                  <a:extLst>
                    <a:ext uri="{FF2B5EF4-FFF2-40B4-BE49-F238E27FC236}">
                      <a16:creationId xmlns:a16="http://schemas.microsoft.com/office/drawing/2014/main" id="{7433AFAB-9645-4C2C-9AAC-E9C0D7D9E03F}"/>
                    </a:ext>
                  </a:extLst>
                </p:cNvPr>
                <p:cNvSpPr/>
                <p:nvPr/>
              </p:nvSpPr>
              <p:spPr>
                <a:xfrm>
                  <a:off x="-20177" y="712530"/>
                  <a:ext cx="342900" cy="342900"/>
                </a:xfrm>
                <a:custGeom>
                  <a:avLst/>
                  <a:gdLst>
                    <a:gd name="connsiteX0" fmla="*/ 342900 w 342900"/>
                    <a:gd name="connsiteY0" fmla="*/ 171450 h 342900"/>
                    <a:gd name="connsiteX1" fmla="*/ 171450 w 342900"/>
                    <a:gd name="connsiteY1" fmla="*/ 342900 h 342900"/>
                    <a:gd name="connsiteX2" fmla="*/ 0 w 342900"/>
                    <a:gd name="connsiteY2" fmla="*/ 171450 h 342900"/>
                    <a:gd name="connsiteX3" fmla="*/ 171450 w 342900"/>
                    <a:gd name="connsiteY3" fmla="*/ 0 h 342900"/>
                    <a:gd name="connsiteX4" fmla="*/ 34290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98" name="Freeform: Shape 897">
                  <a:extLst>
                    <a:ext uri="{FF2B5EF4-FFF2-40B4-BE49-F238E27FC236}">
                      <a16:creationId xmlns:a16="http://schemas.microsoft.com/office/drawing/2014/main" id="{4999D4D1-9ED0-4730-A1EA-75F5D0C6E809}"/>
                    </a:ext>
                  </a:extLst>
                </p:cNvPr>
                <p:cNvSpPr/>
                <p:nvPr/>
              </p:nvSpPr>
              <p:spPr>
                <a:xfrm>
                  <a:off x="-153527" y="1131630"/>
                  <a:ext cx="609600" cy="342900"/>
                </a:xfrm>
                <a:custGeom>
                  <a:avLst/>
                  <a:gdLst>
                    <a:gd name="connsiteX0" fmla="*/ 304800 w 609600"/>
                    <a:gd name="connsiteY0" fmla="*/ 0 h 342900"/>
                    <a:gd name="connsiteX1" fmla="*/ 304800 w 609600"/>
                    <a:gd name="connsiteY1" fmla="*/ 0 h 342900"/>
                    <a:gd name="connsiteX2" fmla="*/ 609600 w 609600"/>
                    <a:gd name="connsiteY2" fmla="*/ 304800 h 342900"/>
                    <a:gd name="connsiteX3" fmla="*/ 609600 w 609600"/>
                    <a:gd name="connsiteY3" fmla="*/ 342900 h 342900"/>
                    <a:gd name="connsiteX4" fmla="*/ 0 w 609600"/>
                    <a:gd name="connsiteY4" fmla="*/ 342900 h 342900"/>
                    <a:gd name="connsiteX5" fmla="*/ 0 w 609600"/>
                    <a:gd name="connsiteY5" fmla="*/ 304800 h 342900"/>
                    <a:gd name="connsiteX6" fmla="*/ 304800 w 60960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342900">
                      <a:moveTo>
                        <a:pt x="304800" y="0"/>
                      </a:moveTo>
                      <a:lnTo>
                        <a:pt x="304800" y="0"/>
                      </a:lnTo>
                      <a:cubicBezTo>
                        <a:pt x="473107" y="0"/>
                        <a:pt x="609600" y="136493"/>
                        <a:pt x="609600" y="304800"/>
                      </a:cubicBezTo>
                      <a:lnTo>
                        <a:pt x="609600" y="342900"/>
                      </a:lnTo>
                      <a:lnTo>
                        <a:pt x="0" y="342900"/>
                      </a:lnTo>
                      <a:lnTo>
                        <a:pt x="0" y="304800"/>
                      </a:lnTo>
                      <a:cubicBezTo>
                        <a:pt x="0" y="136493"/>
                        <a:pt x="136493" y="0"/>
                        <a:pt x="304800" y="0"/>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grpSp>
        <p:nvGrpSpPr>
          <p:cNvPr id="901" name="Group 900">
            <a:extLst>
              <a:ext uri="{FF2B5EF4-FFF2-40B4-BE49-F238E27FC236}">
                <a16:creationId xmlns:a16="http://schemas.microsoft.com/office/drawing/2014/main" id="{5D272F02-1480-4261-83B4-CA2844C9B26A}"/>
              </a:ext>
            </a:extLst>
          </p:cNvPr>
          <p:cNvGrpSpPr/>
          <p:nvPr/>
        </p:nvGrpSpPr>
        <p:grpSpPr>
          <a:xfrm>
            <a:off x="4186702" y="5377916"/>
            <a:ext cx="672011" cy="779531"/>
            <a:chOff x="-1073994" y="1561092"/>
            <a:chExt cx="672011" cy="779531"/>
          </a:xfrm>
        </p:grpSpPr>
        <p:sp>
          <p:nvSpPr>
            <p:cNvPr id="902" name="Hexagon 901">
              <a:extLst>
                <a:ext uri="{FF2B5EF4-FFF2-40B4-BE49-F238E27FC236}">
                  <a16:creationId xmlns:a16="http://schemas.microsoft.com/office/drawing/2014/main" id="{B7D0980F-747C-4BFE-8F84-E44CDD14971F}"/>
                </a:ext>
              </a:extLst>
            </p:cNvPr>
            <p:cNvSpPr/>
            <p:nvPr/>
          </p:nvSpPr>
          <p:spPr bwMode="auto">
            <a:xfrm rot="5400000">
              <a:off x="-1127754" y="1614852"/>
              <a:ext cx="779531" cy="672011"/>
            </a:xfrm>
            <a:prstGeom prst="hexagon">
              <a:avLst/>
            </a:prstGeom>
            <a:solidFill>
              <a:srgbClr val="0067B6"/>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03" name="Group 902">
              <a:extLst>
                <a:ext uri="{FF2B5EF4-FFF2-40B4-BE49-F238E27FC236}">
                  <a16:creationId xmlns:a16="http://schemas.microsoft.com/office/drawing/2014/main" id="{200CC5D7-07E8-4801-BCFE-D6769C2E60DB}"/>
                </a:ext>
              </a:extLst>
            </p:cNvPr>
            <p:cNvGrpSpPr/>
            <p:nvPr/>
          </p:nvGrpSpPr>
          <p:grpSpPr>
            <a:xfrm>
              <a:off x="-937680" y="1751166"/>
              <a:ext cx="399382" cy="399382"/>
              <a:chOff x="-763127" y="712530"/>
              <a:chExt cx="1219200" cy="1219200"/>
            </a:xfrm>
          </p:grpSpPr>
          <p:grpSp>
            <p:nvGrpSpPr>
              <p:cNvPr id="904" name="Group 903">
                <a:extLst>
                  <a:ext uri="{FF2B5EF4-FFF2-40B4-BE49-F238E27FC236}">
                    <a16:creationId xmlns:a16="http://schemas.microsoft.com/office/drawing/2014/main" id="{CB6FB465-33BA-4BFB-952C-D9269C8991B0}"/>
                  </a:ext>
                </a:extLst>
              </p:cNvPr>
              <p:cNvGrpSpPr/>
              <p:nvPr/>
            </p:nvGrpSpPr>
            <p:grpSpPr>
              <a:xfrm>
                <a:off x="-763127" y="1169730"/>
                <a:ext cx="609600" cy="762000"/>
                <a:chOff x="-763127" y="1169730"/>
                <a:chExt cx="609600" cy="762000"/>
              </a:xfrm>
            </p:grpSpPr>
            <p:sp>
              <p:nvSpPr>
                <p:cNvPr id="908" name="Freeform: Shape 907">
                  <a:extLst>
                    <a:ext uri="{FF2B5EF4-FFF2-40B4-BE49-F238E27FC236}">
                      <a16:creationId xmlns:a16="http://schemas.microsoft.com/office/drawing/2014/main" id="{BF2ECC93-0161-4F7F-A80C-7A573E7BA307}"/>
                    </a:ext>
                  </a:extLst>
                </p:cNvPr>
                <p:cNvSpPr/>
                <p:nvPr/>
              </p:nvSpPr>
              <p:spPr>
                <a:xfrm>
                  <a:off x="-629777" y="1169730"/>
                  <a:ext cx="342900" cy="342900"/>
                </a:xfrm>
                <a:custGeom>
                  <a:avLst/>
                  <a:gdLst>
                    <a:gd name="connsiteX0" fmla="*/ 342900 w 342900"/>
                    <a:gd name="connsiteY0" fmla="*/ 171450 h 342900"/>
                    <a:gd name="connsiteX1" fmla="*/ 171450 w 342900"/>
                    <a:gd name="connsiteY1" fmla="*/ 342900 h 342900"/>
                    <a:gd name="connsiteX2" fmla="*/ 0 w 342900"/>
                    <a:gd name="connsiteY2" fmla="*/ 171450 h 342900"/>
                    <a:gd name="connsiteX3" fmla="*/ 171450 w 342900"/>
                    <a:gd name="connsiteY3" fmla="*/ 0 h 342900"/>
                    <a:gd name="connsiteX4" fmla="*/ 34290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solidFill>
                  <a:srgbClr val="00205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09" name="Freeform: Shape 908">
                  <a:extLst>
                    <a:ext uri="{FF2B5EF4-FFF2-40B4-BE49-F238E27FC236}">
                      <a16:creationId xmlns:a16="http://schemas.microsoft.com/office/drawing/2014/main" id="{49EB6480-8244-4C94-A9E2-E812E2983609}"/>
                    </a:ext>
                  </a:extLst>
                </p:cNvPr>
                <p:cNvSpPr/>
                <p:nvPr/>
              </p:nvSpPr>
              <p:spPr>
                <a:xfrm>
                  <a:off x="-763127" y="1588830"/>
                  <a:ext cx="609600" cy="342900"/>
                </a:xfrm>
                <a:custGeom>
                  <a:avLst/>
                  <a:gdLst>
                    <a:gd name="connsiteX0" fmla="*/ 304800 w 609600"/>
                    <a:gd name="connsiteY0" fmla="*/ 0 h 342900"/>
                    <a:gd name="connsiteX1" fmla="*/ 304800 w 609600"/>
                    <a:gd name="connsiteY1" fmla="*/ 0 h 342900"/>
                    <a:gd name="connsiteX2" fmla="*/ 609600 w 609600"/>
                    <a:gd name="connsiteY2" fmla="*/ 304800 h 342900"/>
                    <a:gd name="connsiteX3" fmla="*/ 609600 w 609600"/>
                    <a:gd name="connsiteY3" fmla="*/ 342900 h 342900"/>
                    <a:gd name="connsiteX4" fmla="*/ 0 w 609600"/>
                    <a:gd name="connsiteY4" fmla="*/ 342900 h 342900"/>
                    <a:gd name="connsiteX5" fmla="*/ 0 w 609600"/>
                    <a:gd name="connsiteY5" fmla="*/ 304800 h 342900"/>
                    <a:gd name="connsiteX6" fmla="*/ 304800 w 60960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342900">
                      <a:moveTo>
                        <a:pt x="304800" y="0"/>
                      </a:moveTo>
                      <a:lnTo>
                        <a:pt x="304800" y="0"/>
                      </a:lnTo>
                      <a:cubicBezTo>
                        <a:pt x="473107" y="0"/>
                        <a:pt x="609600" y="136493"/>
                        <a:pt x="609600" y="304800"/>
                      </a:cubicBezTo>
                      <a:lnTo>
                        <a:pt x="609600" y="342900"/>
                      </a:lnTo>
                      <a:lnTo>
                        <a:pt x="0" y="342900"/>
                      </a:lnTo>
                      <a:lnTo>
                        <a:pt x="0" y="304800"/>
                      </a:lnTo>
                      <a:cubicBezTo>
                        <a:pt x="0" y="136493"/>
                        <a:pt x="136493" y="0"/>
                        <a:pt x="304800" y="0"/>
                      </a:cubicBezTo>
                      <a:close/>
                    </a:path>
                  </a:pathLst>
                </a:custGeom>
                <a:solidFill>
                  <a:srgbClr val="00205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905" name="Group 904">
                <a:extLst>
                  <a:ext uri="{FF2B5EF4-FFF2-40B4-BE49-F238E27FC236}">
                    <a16:creationId xmlns:a16="http://schemas.microsoft.com/office/drawing/2014/main" id="{8BA440ED-F811-48DC-94FB-354B07C0A6E6}"/>
                  </a:ext>
                </a:extLst>
              </p:cNvPr>
              <p:cNvGrpSpPr/>
              <p:nvPr/>
            </p:nvGrpSpPr>
            <p:grpSpPr>
              <a:xfrm>
                <a:off x="-153527" y="712530"/>
                <a:ext cx="609600" cy="762000"/>
                <a:chOff x="-153527" y="712530"/>
                <a:chExt cx="609600" cy="762000"/>
              </a:xfrm>
            </p:grpSpPr>
            <p:sp>
              <p:nvSpPr>
                <p:cNvPr id="906" name="Freeform: Shape 905">
                  <a:extLst>
                    <a:ext uri="{FF2B5EF4-FFF2-40B4-BE49-F238E27FC236}">
                      <a16:creationId xmlns:a16="http://schemas.microsoft.com/office/drawing/2014/main" id="{D0699E42-C660-48B2-9F6C-730C2B52DAD6}"/>
                    </a:ext>
                  </a:extLst>
                </p:cNvPr>
                <p:cNvSpPr/>
                <p:nvPr/>
              </p:nvSpPr>
              <p:spPr>
                <a:xfrm>
                  <a:off x="-20177" y="712530"/>
                  <a:ext cx="342900" cy="342900"/>
                </a:xfrm>
                <a:custGeom>
                  <a:avLst/>
                  <a:gdLst>
                    <a:gd name="connsiteX0" fmla="*/ 342900 w 342900"/>
                    <a:gd name="connsiteY0" fmla="*/ 171450 h 342900"/>
                    <a:gd name="connsiteX1" fmla="*/ 171450 w 342900"/>
                    <a:gd name="connsiteY1" fmla="*/ 342900 h 342900"/>
                    <a:gd name="connsiteX2" fmla="*/ 0 w 342900"/>
                    <a:gd name="connsiteY2" fmla="*/ 171450 h 342900"/>
                    <a:gd name="connsiteX3" fmla="*/ 171450 w 342900"/>
                    <a:gd name="connsiteY3" fmla="*/ 0 h 342900"/>
                    <a:gd name="connsiteX4" fmla="*/ 34290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07" name="Freeform: Shape 906">
                  <a:extLst>
                    <a:ext uri="{FF2B5EF4-FFF2-40B4-BE49-F238E27FC236}">
                      <a16:creationId xmlns:a16="http://schemas.microsoft.com/office/drawing/2014/main" id="{692BDF3B-9AE1-4112-BE91-90301DCAAB13}"/>
                    </a:ext>
                  </a:extLst>
                </p:cNvPr>
                <p:cNvSpPr/>
                <p:nvPr/>
              </p:nvSpPr>
              <p:spPr>
                <a:xfrm>
                  <a:off x="-153527" y="1131630"/>
                  <a:ext cx="609600" cy="342900"/>
                </a:xfrm>
                <a:custGeom>
                  <a:avLst/>
                  <a:gdLst>
                    <a:gd name="connsiteX0" fmla="*/ 304800 w 609600"/>
                    <a:gd name="connsiteY0" fmla="*/ 0 h 342900"/>
                    <a:gd name="connsiteX1" fmla="*/ 304800 w 609600"/>
                    <a:gd name="connsiteY1" fmla="*/ 0 h 342900"/>
                    <a:gd name="connsiteX2" fmla="*/ 609600 w 609600"/>
                    <a:gd name="connsiteY2" fmla="*/ 304800 h 342900"/>
                    <a:gd name="connsiteX3" fmla="*/ 609600 w 609600"/>
                    <a:gd name="connsiteY3" fmla="*/ 342900 h 342900"/>
                    <a:gd name="connsiteX4" fmla="*/ 0 w 609600"/>
                    <a:gd name="connsiteY4" fmla="*/ 342900 h 342900"/>
                    <a:gd name="connsiteX5" fmla="*/ 0 w 609600"/>
                    <a:gd name="connsiteY5" fmla="*/ 304800 h 342900"/>
                    <a:gd name="connsiteX6" fmla="*/ 304800 w 60960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342900">
                      <a:moveTo>
                        <a:pt x="304800" y="0"/>
                      </a:moveTo>
                      <a:lnTo>
                        <a:pt x="304800" y="0"/>
                      </a:lnTo>
                      <a:cubicBezTo>
                        <a:pt x="473107" y="0"/>
                        <a:pt x="609600" y="136493"/>
                        <a:pt x="609600" y="304800"/>
                      </a:cubicBezTo>
                      <a:lnTo>
                        <a:pt x="609600" y="342900"/>
                      </a:lnTo>
                      <a:lnTo>
                        <a:pt x="0" y="342900"/>
                      </a:lnTo>
                      <a:lnTo>
                        <a:pt x="0" y="304800"/>
                      </a:lnTo>
                      <a:cubicBezTo>
                        <a:pt x="0" y="136493"/>
                        <a:pt x="136493" y="0"/>
                        <a:pt x="304800" y="0"/>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sp>
        <p:nvSpPr>
          <p:cNvPr id="446" name="Title 1">
            <a:extLst>
              <a:ext uri="{FF2B5EF4-FFF2-40B4-BE49-F238E27FC236}">
                <a16:creationId xmlns:a16="http://schemas.microsoft.com/office/drawing/2014/main" id="{7371BAE4-7130-4BDB-90B9-EDA52857421F}"/>
              </a:ext>
            </a:extLst>
          </p:cNvPr>
          <p:cNvSpPr>
            <a:spLocks noGrp="1"/>
          </p:cNvSpPr>
          <p:nvPr>
            <p:ph type="title"/>
          </p:nvPr>
        </p:nvSpPr>
        <p:spPr>
          <a:xfrm>
            <a:off x="269240" y="289511"/>
            <a:ext cx="11655840" cy="1107996"/>
          </a:xfrm>
        </p:spPr>
        <p:txBody>
          <a:bodyPr>
            <a:normAutofit fontScale="90000"/>
          </a:bodyPr>
          <a:lstStyle/>
          <a:p>
            <a:r>
              <a:rPr lang="en-US"/>
              <a:t>Blockchain streamlines these processes by establishing a secure, shared source of truth</a:t>
            </a:r>
            <a:endParaRPr lang="en-IN"/>
          </a:p>
        </p:txBody>
      </p:sp>
    </p:spTree>
    <p:extLst>
      <p:ext uri="{BB962C8B-B14F-4D97-AF65-F5344CB8AC3E}">
        <p14:creationId xmlns:p14="http://schemas.microsoft.com/office/powerpoint/2010/main" val="623326165"/>
      </p:ext>
    </p:extLst>
  </p:cSld>
  <p:clrMapOvr>
    <a:masterClrMapping/>
  </p:clrMapOvr>
  <p:transition spd="slow">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09"/>
                                            </p:tgtEl>
                                            <p:attrNameLst>
                                              <p:attrName>style.visibility</p:attrName>
                                            </p:attrNameLst>
                                          </p:cBhvr>
                                          <p:to>
                                            <p:strVal val="visible"/>
                                          </p:to>
                                        </p:set>
                                        <p:animEffect transition="in" filter="fade">
                                          <p:cBhvr>
                                            <p:cTn id="7" dur="500"/>
                                            <p:tgtEl>
                                              <p:spTgt spid="809"/>
                                            </p:tgtEl>
                                          </p:cBhvr>
                                        </p:animEffect>
                                      </p:childTnLst>
                                    </p:cTn>
                                  </p:par>
                                  <p:par>
                                    <p:cTn id="8" presetID="2" presetClass="entr" presetSubtype="2" fill="hold" nodeType="withEffect" p14:presetBounceEnd="20000">
                                      <p:stCondLst>
                                        <p:cond delay="0"/>
                                      </p:stCondLst>
                                      <p:childTnLst>
                                        <p:set>
                                          <p:cBhvr>
                                            <p:cTn id="9" dur="1" fill="hold">
                                              <p:stCondLst>
                                                <p:cond delay="0"/>
                                              </p:stCondLst>
                                            </p:cTn>
                                            <p:tgtEl>
                                              <p:spTgt spid="803"/>
                                            </p:tgtEl>
                                            <p:attrNameLst>
                                              <p:attrName>style.visibility</p:attrName>
                                            </p:attrNameLst>
                                          </p:cBhvr>
                                          <p:to>
                                            <p:strVal val="visible"/>
                                          </p:to>
                                        </p:set>
                                        <p:anim calcmode="lin" valueType="num" p14:bounceEnd="20000">
                                          <p:cBhvr additive="base">
                                            <p:cTn id="10" dur="500" fill="hold"/>
                                            <p:tgtEl>
                                              <p:spTgt spid="803"/>
                                            </p:tgtEl>
                                            <p:attrNameLst>
                                              <p:attrName>ppt_x</p:attrName>
                                            </p:attrNameLst>
                                          </p:cBhvr>
                                          <p:tavLst>
                                            <p:tav tm="0">
                                              <p:val>
                                                <p:strVal val="1+#ppt_w/2"/>
                                              </p:val>
                                            </p:tav>
                                            <p:tav tm="100000">
                                              <p:val>
                                                <p:strVal val="#ppt_x"/>
                                              </p:val>
                                            </p:tav>
                                          </p:tavLst>
                                        </p:anim>
                                        <p:anim calcmode="lin" valueType="num" p14:bounceEnd="20000">
                                          <p:cBhvr additive="base">
                                            <p:cTn id="11" dur="500" fill="hold"/>
                                            <p:tgtEl>
                                              <p:spTgt spid="803"/>
                                            </p:tgtEl>
                                            <p:attrNameLst>
                                              <p:attrName>ppt_y</p:attrName>
                                            </p:attrNameLst>
                                          </p:cBhvr>
                                          <p:tavLst>
                                            <p:tav tm="0">
                                              <p:val>
                                                <p:strVal val="#ppt_y"/>
                                              </p:val>
                                            </p:tav>
                                            <p:tav tm="100000">
                                              <p:val>
                                                <p:strVal val="#ppt_y"/>
                                              </p:val>
                                            </p:tav>
                                          </p:tavLst>
                                        </p:anim>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309"/>
                                            </p:tgtEl>
                                            <p:attrNameLst>
                                              <p:attrName>style.visibility</p:attrName>
                                            </p:attrNameLst>
                                          </p:cBhvr>
                                          <p:to>
                                            <p:strVal val="visible"/>
                                          </p:to>
                                        </p:set>
                                        <p:animEffect transition="in" filter="fade">
                                          <p:cBhvr>
                                            <p:cTn id="16" dur="500"/>
                                            <p:tgtEl>
                                              <p:spTgt spid="309"/>
                                            </p:tgtEl>
                                          </p:cBhvr>
                                        </p:animEffect>
                                      </p:childTnLst>
                                    </p:cTn>
                                  </p:par>
                                  <p:par>
                                    <p:cTn id="17" presetID="2" presetClass="entr" presetSubtype="2" fill="hold" nodeType="withEffect" p14:presetBounceEnd="20000">
                                      <p:stCondLst>
                                        <p:cond delay="0"/>
                                      </p:stCondLst>
                                      <p:childTnLst>
                                        <p:set>
                                          <p:cBhvr>
                                            <p:cTn id="18" dur="1" fill="hold">
                                              <p:stCondLst>
                                                <p:cond delay="0"/>
                                              </p:stCondLst>
                                            </p:cTn>
                                            <p:tgtEl>
                                              <p:spTgt spid="800"/>
                                            </p:tgtEl>
                                            <p:attrNameLst>
                                              <p:attrName>style.visibility</p:attrName>
                                            </p:attrNameLst>
                                          </p:cBhvr>
                                          <p:to>
                                            <p:strVal val="visible"/>
                                          </p:to>
                                        </p:set>
                                        <p:anim calcmode="lin" valueType="num" p14:bounceEnd="20000">
                                          <p:cBhvr additive="base">
                                            <p:cTn id="19" dur="500" fill="hold"/>
                                            <p:tgtEl>
                                              <p:spTgt spid="800"/>
                                            </p:tgtEl>
                                            <p:attrNameLst>
                                              <p:attrName>ppt_x</p:attrName>
                                            </p:attrNameLst>
                                          </p:cBhvr>
                                          <p:tavLst>
                                            <p:tav tm="0">
                                              <p:val>
                                                <p:strVal val="1+#ppt_w/2"/>
                                              </p:val>
                                            </p:tav>
                                            <p:tav tm="100000">
                                              <p:val>
                                                <p:strVal val="#ppt_x"/>
                                              </p:val>
                                            </p:tav>
                                          </p:tavLst>
                                        </p:anim>
                                        <p:anim calcmode="lin" valueType="num" p14:bounceEnd="20000">
                                          <p:cBhvr additive="base">
                                            <p:cTn id="20" dur="500" fill="hold"/>
                                            <p:tgtEl>
                                              <p:spTgt spid="800"/>
                                            </p:tgtEl>
                                            <p:attrNameLst>
                                              <p:attrName>ppt_y</p:attrName>
                                            </p:attrNameLst>
                                          </p:cBhvr>
                                          <p:tavLst>
                                            <p:tav tm="0">
                                              <p:val>
                                                <p:strVal val="#ppt_y"/>
                                              </p:val>
                                            </p:tav>
                                            <p:tav tm="100000">
                                              <p:val>
                                                <p:strVal val="#ppt_y"/>
                                              </p:val>
                                            </p:tav>
                                          </p:tavLst>
                                        </p:anim>
                                      </p:childTnLst>
                                    </p:cTn>
                                  </p:par>
                                  <p:par>
                                    <p:cTn id="21" presetID="10" presetClass="entr" presetSubtype="0" fill="hold" nodeType="withEffect">
                                      <p:stCondLst>
                                        <p:cond delay="0"/>
                                      </p:stCondLst>
                                      <p:childTnLst>
                                        <p:set>
                                          <p:cBhvr>
                                            <p:cTn id="22" dur="1" fill="hold">
                                              <p:stCondLst>
                                                <p:cond delay="0"/>
                                              </p:stCondLst>
                                            </p:cTn>
                                            <p:tgtEl>
                                              <p:spTgt spid="356"/>
                                            </p:tgtEl>
                                            <p:attrNameLst>
                                              <p:attrName>style.visibility</p:attrName>
                                            </p:attrNameLst>
                                          </p:cBhvr>
                                          <p:to>
                                            <p:strVal val="visible"/>
                                          </p:to>
                                        </p:set>
                                        <p:animEffect transition="in" filter="fade">
                                          <p:cBhvr>
                                            <p:cTn id="23" dur="500"/>
                                            <p:tgtEl>
                                              <p:spTgt spid="356"/>
                                            </p:tgtEl>
                                          </p:cBhvr>
                                        </p:animEffect>
                                      </p:childTnLst>
                                    </p:cTn>
                                  </p:par>
                                  <p:par>
                                    <p:cTn id="24" presetID="10" presetClass="entr" presetSubtype="0" fill="hold" nodeType="withEffect">
                                      <p:stCondLst>
                                        <p:cond delay="0"/>
                                      </p:stCondLst>
                                      <p:childTnLst>
                                        <p:set>
                                          <p:cBhvr>
                                            <p:cTn id="25" dur="1" fill="hold">
                                              <p:stCondLst>
                                                <p:cond delay="0"/>
                                              </p:stCondLst>
                                            </p:cTn>
                                            <p:tgtEl>
                                              <p:spTgt spid="461"/>
                                            </p:tgtEl>
                                            <p:attrNameLst>
                                              <p:attrName>style.visibility</p:attrName>
                                            </p:attrNameLst>
                                          </p:cBhvr>
                                          <p:to>
                                            <p:strVal val="visible"/>
                                          </p:to>
                                        </p:set>
                                        <p:animEffect transition="in" filter="fade">
                                          <p:cBhvr>
                                            <p:cTn id="26" dur="500"/>
                                            <p:tgtEl>
                                              <p:spTgt spid="461"/>
                                            </p:tgtEl>
                                          </p:cBhvr>
                                        </p:animEffect>
                                      </p:childTnLst>
                                    </p:cTn>
                                  </p:par>
                                  <p:par>
                                    <p:cTn id="27" presetID="10" presetClass="entr" presetSubtype="0" fill="hold" nodeType="withEffect">
                                      <p:stCondLst>
                                        <p:cond delay="0"/>
                                      </p:stCondLst>
                                      <p:childTnLst>
                                        <p:set>
                                          <p:cBhvr>
                                            <p:cTn id="28" dur="1" fill="hold">
                                              <p:stCondLst>
                                                <p:cond delay="0"/>
                                              </p:stCondLst>
                                            </p:cTn>
                                            <p:tgtEl>
                                              <p:spTgt spid="402"/>
                                            </p:tgtEl>
                                            <p:attrNameLst>
                                              <p:attrName>style.visibility</p:attrName>
                                            </p:attrNameLst>
                                          </p:cBhvr>
                                          <p:to>
                                            <p:strVal val="visible"/>
                                          </p:to>
                                        </p:set>
                                        <p:animEffect transition="in" filter="fade">
                                          <p:cBhvr>
                                            <p:cTn id="29" dur="500"/>
                                            <p:tgtEl>
                                              <p:spTgt spid="402"/>
                                            </p:tgtEl>
                                          </p:cBhvr>
                                        </p:animEffect>
                                      </p:childTnLst>
                                    </p:cTn>
                                  </p:par>
                                  <p:par>
                                    <p:cTn id="30" presetID="10" presetClass="entr" presetSubtype="0" fill="hold" nodeType="withEffect">
                                      <p:stCondLst>
                                        <p:cond delay="0"/>
                                      </p:stCondLst>
                                      <p:childTnLst>
                                        <p:set>
                                          <p:cBhvr>
                                            <p:cTn id="31" dur="1" fill="hold">
                                              <p:stCondLst>
                                                <p:cond delay="0"/>
                                              </p:stCondLst>
                                            </p:cTn>
                                            <p:tgtEl>
                                              <p:spTgt spid="874"/>
                                            </p:tgtEl>
                                            <p:attrNameLst>
                                              <p:attrName>style.visibility</p:attrName>
                                            </p:attrNameLst>
                                          </p:cBhvr>
                                          <p:to>
                                            <p:strVal val="visible"/>
                                          </p:to>
                                        </p:set>
                                        <p:animEffect transition="in" filter="fade">
                                          <p:cBhvr>
                                            <p:cTn id="32" dur="500"/>
                                            <p:tgtEl>
                                              <p:spTgt spid="874"/>
                                            </p:tgtEl>
                                          </p:cBhvr>
                                        </p:animEffect>
                                      </p:childTnLst>
                                    </p:cTn>
                                  </p:par>
                                  <p:par>
                                    <p:cTn id="33" presetID="10" presetClass="entr" presetSubtype="0" fill="hold" nodeType="withEffect">
                                      <p:stCondLst>
                                        <p:cond delay="0"/>
                                      </p:stCondLst>
                                      <p:childTnLst>
                                        <p:set>
                                          <p:cBhvr>
                                            <p:cTn id="34" dur="1" fill="hold">
                                              <p:stCondLst>
                                                <p:cond delay="0"/>
                                              </p:stCondLst>
                                            </p:cTn>
                                            <p:tgtEl>
                                              <p:spTgt spid="883"/>
                                            </p:tgtEl>
                                            <p:attrNameLst>
                                              <p:attrName>style.visibility</p:attrName>
                                            </p:attrNameLst>
                                          </p:cBhvr>
                                          <p:to>
                                            <p:strVal val="visible"/>
                                          </p:to>
                                        </p:set>
                                        <p:animEffect transition="in" filter="fade">
                                          <p:cBhvr>
                                            <p:cTn id="35" dur="500"/>
                                            <p:tgtEl>
                                              <p:spTgt spid="883"/>
                                            </p:tgtEl>
                                          </p:cBhvr>
                                        </p:animEffect>
                                      </p:childTnLst>
                                    </p:cTn>
                                  </p:par>
                                  <p:par>
                                    <p:cTn id="36" presetID="10" presetClass="entr" presetSubtype="0" fill="hold" nodeType="withEffect">
                                      <p:stCondLst>
                                        <p:cond delay="0"/>
                                      </p:stCondLst>
                                      <p:childTnLst>
                                        <p:set>
                                          <p:cBhvr>
                                            <p:cTn id="37" dur="1" fill="hold">
                                              <p:stCondLst>
                                                <p:cond delay="0"/>
                                              </p:stCondLst>
                                            </p:cTn>
                                            <p:tgtEl>
                                              <p:spTgt spid="892"/>
                                            </p:tgtEl>
                                            <p:attrNameLst>
                                              <p:attrName>style.visibility</p:attrName>
                                            </p:attrNameLst>
                                          </p:cBhvr>
                                          <p:to>
                                            <p:strVal val="visible"/>
                                          </p:to>
                                        </p:set>
                                        <p:animEffect transition="in" filter="fade">
                                          <p:cBhvr>
                                            <p:cTn id="38" dur="500"/>
                                            <p:tgtEl>
                                              <p:spTgt spid="892"/>
                                            </p:tgtEl>
                                          </p:cBhvr>
                                        </p:animEffect>
                                      </p:childTnLst>
                                    </p:cTn>
                                  </p:par>
                                  <p:par>
                                    <p:cTn id="39" presetID="10" presetClass="entr" presetSubtype="0" fill="hold" nodeType="withEffect">
                                      <p:stCondLst>
                                        <p:cond delay="0"/>
                                      </p:stCondLst>
                                      <p:childTnLst>
                                        <p:set>
                                          <p:cBhvr>
                                            <p:cTn id="40" dur="1" fill="hold">
                                              <p:stCondLst>
                                                <p:cond delay="0"/>
                                              </p:stCondLst>
                                            </p:cTn>
                                            <p:tgtEl>
                                              <p:spTgt spid="901"/>
                                            </p:tgtEl>
                                            <p:attrNameLst>
                                              <p:attrName>style.visibility</p:attrName>
                                            </p:attrNameLst>
                                          </p:cBhvr>
                                          <p:to>
                                            <p:strVal val="visible"/>
                                          </p:to>
                                        </p:set>
                                        <p:animEffect transition="in" filter="fade">
                                          <p:cBhvr>
                                            <p:cTn id="41" dur="500"/>
                                            <p:tgtEl>
                                              <p:spTgt spid="901"/>
                                            </p:tgtEl>
                                          </p:cBhvr>
                                        </p:animEffect>
                                      </p:childTnLst>
                                    </p:cTn>
                                  </p:par>
                                  <p:par>
                                    <p:cTn id="42" presetID="16" presetClass="entr" presetSubtype="42" fill="hold" nodeType="withEffect">
                                      <p:stCondLst>
                                        <p:cond delay="0"/>
                                      </p:stCondLst>
                                      <p:childTnLst>
                                        <p:set>
                                          <p:cBhvr>
                                            <p:cTn id="43" dur="1" fill="hold">
                                              <p:stCondLst>
                                                <p:cond delay="0"/>
                                              </p:stCondLst>
                                            </p:cTn>
                                            <p:tgtEl>
                                              <p:spTgt spid="308"/>
                                            </p:tgtEl>
                                            <p:attrNameLst>
                                              <p:attrName>style.visibility</p:attrName>
                                            </p:attrNameLst>
                                          </p:cBhvr>
                                          <p:to>
                                            <p:strVal val="visible"/>
                                          </p:to>
                                        </p:set>
                                        <p:animEffect transition="in" filter="barn(outHorizontal)">
                                          <p:cBhvr>
                                            <p:cTn id="44" dur="1000"/>
                                            <p:tgtEl>
                                              <p:spTgt spid="308"/>
                                            </p:tgtEl>
                                          </p:cBhvr>
                                        </p:animEffect>
                                      </p:childTnLst>
                                    </p:cTn>
                                  </p:par>
                                  <p:par>
                                    <p:cTn id="45" presetID="16" presetClass="entr" presetSubtype="42" fill="hold" nodeType="withEffect">
                                      <p:stCondLst>
                                        <p:cond delay="0"/>
                                      </p:stCondLst>
                                      <p:childTnLst>
                                        <p:set>
                                          <p:cBhvr>
                                            <p:cTn id="46" dur="1" fill="hold">
                                              <p:stCondLst>
                                                <p:cond delay="0"/>
                                              </p:stCondLst>
                                            </p:cTn>
                                            <p:tgtEl>
                                              <p:spTgt spid="307"/>
                                            </p:tgtEl>
                                            <p:attrNameLst>
                                              <p:attrName>style.visibility</p:attrName>
                                            </p:attrNameLst>
                                          </p:cBhvr>
                                          <p:to>
                                            <p:strVal val="visible"/>
                                          </p:to>
                                        </p:set>
                                        <p:animEffect transition="in" filter="barn(outHorizontal)">
                                          <p:cBhvr>
                                            <p:cTn id="47" dur="1000"/>
                                            <p:tgtEl>
                                              <p:spTgt spid="307"/>
                                            </p:tgtEl>
                                          </p:cBhvr>
                                        </p:animEffect>
                                      </p:childTnLst>
                                    </p:cTn>
                                  </p:par>
                                  <p:par>
                                    <p:cTn id="48" presetID="16" presetClass="entr" presetSubtype="37" fill="hold" nodeType="withEffect">
                                      <p:stCondLst>
                                        <p:cond delay="0"/>
                                      </p:stCondLst>
                                      <p:childTnLst>
                                        <p:set>
                                          <p:cBhvr>
                                            <p:cTn id="49" dur="1" fill="hold">
                                              <p:stCondLst>
                                                <p:cond delay="0"/>
                                              </p:stCondLst>
                                            </p:cTn>
                                            <p:tgtEl>
                                              <p:spTgt spid="306"/>
                                            </p:tgtEl>
                                            <p:attrNameLst>
                                              <p:attrName>style.visibility</p:attrName>
                                            </p:attrNameLst>
                                          </p:cBhvr>
                                          <p:to>
                                            <p:strVal val="visible"/>
                                          </p:to>
                                        </p:set>
                                        <p:animEffect transition="in" filter="barn(outVertical)">
                                          <p:cBhvr>
                                            <p:cTn id="50" dur="1000"/>
                                            <p:tgtEl>
                                              <p:spTgt spid="306"/>
                                            </p:tgtEl>
                                          </p:cBhvr>
                                        </p:animEffect>
                                      </p:childTnLst>
                                    </p:cTn>
                                  </p:par>
                                  <p:par>
                                    <p:cTn id="51" presetID="16" presetClass="entr" presetSubtype="37" fill="hold" nodeType="withEffect">
                                      <p:stCondLst>
                                        <p:cond delay="0"/>
                                      </p:stCondLst>
                                      <p:childTnLst>
                                        <p:set>
                                          <p:cBhvr>
                                            <p:cTn id="52" dur="1" fill="hold">
                                              <p:stCondLst>
                                                <p:cond delay="0"/>
                                              </p:stCondLst>
                                            </p:cTn>
                                            <p:tgtEl>
                                              <p:spTgt spid="305"/>
                                            </p:tgtEl>
                                            <p:attrNameLst>
                                              <p:attrName>style.visibility</p:attrName>
                                            </p:attrNameLst>
                                          </p:cBhvr>
                                          <p:to>
                                            <p:strVal val="visible"/>
                                          </p:to>
                                        </p:set>
                                        <p:animEffect transition="in" filter="barn(outVertical)">
                                          <p:cBhvr>
                                            <p:cTn id="53" dur="1000"/>
                                            <p:tgtEl>
                                              <p:spTgt spid="305"/>
                                            </p:tgtEl>
                                          </p:cBhvr>
                                        </p:animEffect>
                                      </p:childTnLst>
                                    </p:cTn>
                                  </p:par>
                                </p:childTnLst>
                              </p:cTn>
                            </p:par>
                          </p:childTnLst>
                        </p:cTn>
                      </p:par>
                      <p:par>
                        <p:cTn id="54" fill="hold">
                          <p:stCondLst>
                            <p:cond delay="indefinite"/>
                          </p:stCondLst>
                          <p:childTnLst>
                            <p:par>
                              <p:cTn id="55" fill="hold">
                                <p:stCondLst>
                                  <p:cond delay="0"/>
                                </p:stCondLst>
                                <p:childTnLst>
                                  <p:par>
                                    <p:cTn id="56" presetID="2" presetClass="entr" presetSubtype="2" fill="hold" nodeType="clickEffect" p14:presetBounceEnd="20000">
                                      <p:stCondLst>
                                        <p:cond delay="0"/>
                                      </p:stCondLst>
                                      <p:childTnLst>
                                        <p:set>
                                          <p:cBhvr>
                                            <p:cTn id="57" dur="1" fill="hold">
                                              <p:stCondLst>
                                                <p:cond delay="0"/>
                                              </p:stCondLst>
                                            </p:cTn>
                                            <p:tgtEl>
                                              <p:spTgt spid="797"/>
                                            </p:tgtEl>
                                            <p:attrNameLst>
                                              <p:attrName>style.visibility</p:attrName>
                                            </p:attrNameLst>
                                          </p:cBhvr>
                                          <p:to>
                                            <p:strVal val="visible"/>
                                          </p:to>
                                        </p:set>
                                        <p:anim calcmode="lin" valueType="num" p14:bounceEnd="20000">
                                          <p:cBhvr additive="base">
                                            <p:cTn id="58" dur="500" fill="hold"/>
                                            <p:tgtEl>
                                              <p:spTgt spid="797"/>
                                            </p:tgtEl>
                                            <p:attrNameLst>
                                              <p:attrName>ppt_x</p:attrName>
                                            </p:attrNameLst>
                                          </p:cBhvr>
                                          <p:tavLst>
                                            <p:tav tm="0">
                                              <p:val>
                                                <p:strVal val="1+#ppt_w/2"/>
                                              </p:val>
                                            </p:tav>
                                            <p:tav tm="100000">
                                              <p:val>
                                                <p:strVal val="#ppt_x"/>
                                              </p:val>
                                            </p:tav>
                                          </p:tavLst>
                                        </p:anim>
                                        <p:anim calcmode="lin" valueType="num" p14:bounceEnd="20000">
                                          <p:cBhvr additive="base">
                                            <p:cTn id="59" dur="500" fill="hold"/>
                                            <p:tgtEl>
                                              <p:spTgt spid="797"/>
                                            </p:tgtEl>
                                            <p:attrNameLst>
                                              <p:attrName>ppt_y</p:attrName>
                                            </p:attrNameLst>
                                          </p:cBhvr>
                                          <p:tavLst>
                                            <p:tav tm="0">
                                              <p:val>
                                                <p:strVal val="#ppt_y"/>
                                              </p:val>
                                            </p:tav>
                                            <p:tav tm="100000">
                                              <p:val>
                                                <p:strVal val="#ppt_y"/>
                                              </p:val>
                                            </p:tav>
                                          </p:tavLst>
                                        </p:anim>
                                      </p:childTnLst>
                                    </p:cTn>
                                  </p:par>
                                  <p:par>
                                    <p:cTn id="60" presetID="53" presetClass="entr" presetSubtype="16" fill="hold" nodeType="withEffect">
                                      <p:stCondLst>
                                        <p:cond delay="0"/>
                                      </p:stCondLst>
                                      <p:childTnLst>
                                        <p:set>
                                          <p:cBhvr>
                                            <p:cTn id="61" dur="1" fill="hold">
                                              <p:stCondLst>
                                                <p:cond delay="0"/>
                                              </p:stCondLst>
                                            </p:cTn>
                                            <p:tgtEl>
                                              <p:spTgt spid="862"/>
                                            </p:tgtEl>
                                            <p:attrNameLst>
                                              <p:attrName>style.visibility</p:attrName>
                                            </p:attrNameLst>
                                          </p:cBhvr>
                                          <p:to>
                                            <p:strVal val="visible"/>
                                          </p:to>
                                        </p:set>
                                        <p:anim calcmode="lin" valueType="num">
                                          <p:cBhvr>
                                            <p:cTn id="62" dur="500" fill="hold"/>
                                            <p:tgtEl>
                                              <p:spTgt spid="862"/>
                                            </p:tgtEl>
                                            <p:attrNameLst>
                                              <p:attrName>ppt_w</p:attrName>
                                            </p:attrNameLst>
                                          </p:cBhvr>
                                          <p:tavLst>
                                            <p:tav tm="0">
                                              <p:val>
                                                <p:fltVal val="0"/>
                                              </p:val>
                                            </p:tav>
                                            <p:tav tm="100000">
                                              <p:val>
                                                <p:strVal val="#ppt_w"/>
                                              </p:val>
                                            </p:tav>
                                          </p:tavLst>
                                        </p:anim>
                                        <p:anim calcmode="lin" valueType="num">
                                          <p:cBhvr>
                                            <p:cTn id="63" dur="500" fill="hold"/>
                                            <p:tgtEl>
                                              <p:spTgt spid="862"/>
                                            </p:tgtEl>
                                            <p:attrNameLst>
                                              <p:attrName>ppt_h</p:attrName>
                                            </p:attrNameLst>
                                          </p:cBhvr>
                                          <p:tavLst>
                                            <p:tav tm="0">
                                              <p:val>
                                                <p:fltVal val="0"/>
                                              </p:val>
                                            </p:tav>
                                            <p:tav tm="100000">
                                              <p:val>
                                                <p:strVal val="#ppt_h"/>
                                              </p:val>
                                            </p:tav>
                                          </p:tavLst>
                                        </p:anim>
                                        <p:animEffect transition="in" filter="fade">
                                          <p:cBhvr>
                                            <p:cTn id="64" dur="500"/>
                                            <p:tgtEl>
                                              <p:spTgt spid="862"/>
                                            </p:tgtEl>
                                          </p:cBhvr>
                                        </p:animEffect>
                                      </p:childTnLst>
                                    </p:cTn>
                                  </p:par>
                                  <p:par>
                                    <p:cTn id="65" presetID="53" presetClass="entr" presetSubtype="16" fill="hold" nodeType="withEffect">
                                      <p:stCondLst>
                                        <p:cond delay="0"/>
                                      </p:stCondLst>
                                      <p:childTnLst>
                                        <p:set>
                                          <p:cBhvr>
                                            <p:cTn id="66" dur="1" fill="hold">
                                              <p:stCondLst>
                                                <p:cond delay="0"/>
                                              </p:stCondLst>
                                            </p:cTn>
                                            <p:tgtEl>
                                              <p:spTgt spid="871"/>
                                            </p:tgtEl>
                                            <p:attrNameLst>
                                              <p:attrName>style.visibility</p:attrName>
                                            </p:attrNameLst>
                                          </p:cBhvr>
                                          <p:to>
                                            <p:strVal val="visible"/>
                                          </p:to>
                                        </p:set>
                                        <p:anim calcmode="lin" valueType="num">
                                          <p:cBhvr>
                                            <p:cTn id="67" dur="500" fill="hold"/>
                                            <p:tgtEl>
                                              <p:spTgt spid="871"/>
                                            </p:tgtEl>
                                            <p:attrNameLst>
                                              <p:attrName>ppt_w</p:attrName>
                                            </p:attrNameLst>
                                          </p:cBhvr>
                                          <p:tavLst>
                                            <p:tav tm="0">
                                              <p:val>
                                                <p:fltVal val="0"/>
                                              </p:val>
                                            </p:tav>
                                            <p:tav tm="100000">
                                              <p:val>
                                                <p:strVal val="#ppt_w"/>
                                              </p:val>
                                            </p:tav>
                                          </p:tavLst>
                                        </p:anim>
                                        <p:anim calcmode="lin" valueType="num">
                                          <p:cBhvr>
                                            <p:cTn id="68" dur="500" fill="hold"/>
                                            <p:tgtEl>
                                              <p:spTgt spid="871"/>
                                            </p:tgtEl>
                                            <p:attrNameLst>
                                              <p:attrName>ppt_h</p:attrName>
                                            </p:attrNameLst>
                                          </p:cBhvr>
                                          <p:tavLst>
                                            <p:tav tm="0">
                                              <p:val>
                                                <p:fltVal val="0"/>
                                              </p:val>
                                            </p:tav>
                                            <p:tav tm="100000">
                                              <p:val>
                                                <p:strVal val="#ppt_h"/>
                                              </p:val>
                                            </p:tav>
                                          </p:tavLst>
                                        </p:anim>
                                        <p:animEffect transition="in" filter="fade">
                                          <p:cBhvr>
                                            <p:cTn id="69" dur="500"/>
                                            <p:tgtEl>
                                              <p:spTgt spid="871"/>
                                            </p:tgtEl>
                                          </p:cBhvr>
                                        </p:animEffect>
                                      </p:childTnLst>
                                    </p:cTn>
                                  </p:par>
                                  <p:par>
                                    <p:cTn id="70" presetID="53" presetClass="entr" presetSubtype="16" fill="hold" nodeType="withEffect">
                                      <p:stCondLst>
                                        <p:cond delay="0"/>
                                      </p:stCondLst>
                                      <p:childTnLst>
                                        <p:set>
                                          <p:cBhvr>
                                            <p:cTn id="71" dur="1" fill="hold">
                                              <p:stCondLst>
                                                <p:cond delay="0"/>
                                              </p:stCondLst>
                                            </p:cTn>
                                            <p:tgtEl>
                                              <p:spTgt spid="865"/>
                                            </p:tgtEl>
                                            <p:attrNameLst>
                                              <p:attrName>style.visibility</p:attrName>
                                            </p:attrNameLst>
                                          </p:cBhvr>
                                          <p:to>
                                            <p:strVal val="visible"/>
                                          </p:to>
                                        </p:set>
                                        <p:anim calcmode="lin" valueType="num">
                                          <p:cBhvr>
                                            <p:cTn id="72" dur="500" fill="hold"/>
                                            <p:tgtEl>
                                              <p:spTgt spid="865"/>
                                            </p:tgtEl>
                                            <p:attrNameLst>
                                              <p:attrName>ppt_w</p:attrName>
                                            </p:attrNameLst>
                                          </p:cBhvr>
                                          <p:tavLst>
                                            <p:tav tm="0">
                                              <p:val>
                                                <p:fltVal val="0"/>
                                              </p:val>
                                            </p:tav>
                                            <p:tav tm="100000">
                                              <p:val>
                                                <p:strVal val="#ppt_w"/>
                                              </p:val>
                                            </p:tav>
                                          </p:tavLst>
                                        </p:anim>
                                        <p:anim calcmode="lin" valueType="num">
                                          <p:cBhvr>
                                            <p:cTn id="73" dur="500" fill="hold"/>
                                            <p:tgtEl>
                                              <p:spTgt spid="865"/>
                                            </p:tgtEl>
                                            <p:attrNameLst>
                                              <p:attrName>ppt_h</p:attrName>
                                            </p:attrNameLst>
                                          </p:cBhvr>
                                          <p:tavLst>
                                            <p:tav tm="0">
                                              <p:val>
                                                <p:fltVal val="0"/>
                                              </p:val>
                                            </p:tav>
                                            <p:tav tm="100000">
                                              <p:val>
                                                <p:strVal val="#ppt_h"/>
                                              </p:val>
                                            </p:tav>
                                          </p:tavLst>
                                        </p:anim>
                                        <p:animEffect transition="in" filter="fade">
                                          <p:cBhvr>
                                            <p:cTn id="74" dur="500"/>
                                            <p:tgtEl>
                                              <p:spTgt spid="865"/>
                                            </p:tgtEl>
                                          </p:cBhvr>
                                        </p:animEffect>
                                      </p:childTnLst>
                                    </p:cTn>
                                  </p:par>
                                  <p:par>
                                    <p:cTn id="75" presetID="53" presetClass="entr" presetSubtype="16" fill="hold" nodeType="withEffect">
                                      <p:stCondLst>
                                        <p:cond delay="0"/>
                                      </p:stCondLst>
                                      <p:childTnLst>
                                        <p:set>
                                          <p:cBhvr>
                                            <p:cTn id="76" dur="1" fill="hold">
                                              <p:stCondLst>
                                                <p:cond delay="0"/>
                                              </p:stCondLst>
                                            </p:cTn>
                                            <p:tgtEl>
                                              <p:spTgt spid="868"/>
                                            </p:tgtEl>
                                            <p:attrNameLst>
                                              <p:attrName>style.visibility</p:attrName>
                                            </p:attrNameLst>
                                          </p:cBhvr>
                                          <p:to>
                                            <p:strVal val="visible"/>
                                          </p:to>
                                        </p:set>
                                        <p:anim calcmode="lin" valueType="num">
                                          <p:cBhvr>
                                            <p:cTn id="77" dur="500" fill="hold"/>
                                            <p:tgtEl>
                                              <p:spTgt spid="868"/>
                                            </p:tgtEl>
                                            <p:attrNameLst>
                                              <p:attrName>ppt_w</p:attrName>
                                            </p:attrNameLst>
                                          </p:cBhvr>
                                          <p:tavLst>
                                            <p:tav tm="0">
                                              <p:val>
                                                <p:fltVal val="0"/>
                                              </p:val>
                                            </p:tav>
                                            <p:tav tm="100000">
                                              <p:val>
                                                <p:strVal val="#ppt_w"/>
                                              </p:val>
                                            </p:tav>
                                          </p:tavLst>
                                        </p:anim>
                                        <p:anim calcmode="lin" valueType="num">
                                          <p:cBhvr>
                                            <p:cTn id="78" dur="500" fill="hold"/>
                                            <p:tgtEl>
                                              <p:spTgt spid="868"/>
                                            </p:tgtEl>
                                            <p:attrNameLst>
                                              <p:attrName>ppt_h</p:attrName>
                                            </p:attrNameLst>
                                          </p:cBhvr>
                                          <p:tavLst>
                                            <p:tav tm="0">
                                              <p:val>
                                                <p:fltVal val="0"/>
                                              </p:val>
                                            </p:tav>
                                            <p:tav tm="100000">
                                              <p:val>
                                                <p:strVal val="#ppt_h"/>
                                              </p:val>
                                            </p:tav>
                                          </p:tavLst>
                                        </p:anim>
                                        <p:animEffect transition="in" filter="fade">
                                          <p:cBhvr>
                                            <p:cTn id="79" dur="500"/>
                                            <p:tgtEl>
                                              <p:spTgt spid="868"/>
                                            </p:tgtEl>
                                          </p:cBhvr>
                                        </p:animEffect>
                                      </p:childTnLst>
                                    </p:cTn>
                                  </p:par>
                                </p:childTnLst>
                              </p:cTn>
                            </p:par>
                            <p:par>
                              <p:cTn id="80" fill="hold">
                                <p:stCondLst>
                                  <p:cond delay="500"/>
                                </p:stCondLst>
                                <p:childTnLst>
                                  <p:par>
                                    <p:cTn id="81" presetID="22" presetClass="entr" presetSubtype="8" fill="hold" nodeType="afterEffect">
                                      <p:stCondLst>
                                        <p:cond delay="0"/>
                                      </p:stCondLst>
                                      <p:childTnLst>
                                        <p:set>
                                          <p:cBhvr>
                                            <p:cTn id="82" dur="1" fill="hold">
                                              <p:stCondLst>
                                                <p:cond delay="0"/>
                                              </p:stCondLst>
                                            </p:cTn>
                                            <p:tgtEl>
                                              <p:spTgt spid="355"/>
                                            </p:tgtEl>
                                            <p:attrNameLst>
                                              <p:attrName>style.visibility</p:attrName>
                                            </p:attrNameLst>
                                          </p:cBhvr>
                                          <p:to>
                                            <p:strVal val="visible"/>
                                          </p:to>
                                        </p:set>
                                        <p:animEffect transition="in" filter="wipe(left)">
                                          <p:cBhvr>
                                            <p:cTn id="83" dur="500"/>
                                            <p:tgtEl>
                                              <p:spTgt spid="355"/>
                                            </p:tgtEl>
                                          </p:cBhvr>
                                        </p:animEffect>
                                      </p:childTnLst>
                                    </p:cTn>
                                  </p:par>
                                  <p:par>
                                    <p:cTn id="84" presetID="22" presetClass="entr" presetSubtype="2" fill="hold" nodeType="withEffect">
                                      <p:stCondLst>
                                        <p:cond delay="0"/>
                                      </p:stCondLst>
                                      <p:childTnLst>
                                        <p:set>
                                          <p:cBhvr>
                                            <p:cTn id="85" dur="1" fill="hold">
                                              <p:stCondLst>
                                                <p:cond delay="0"/>
                                              </p:stCondLst>
                                            </p:cTn>
                                            <p:tgtEl>
                                              <p:spTgt spid="808"/>
                                            </p:tgtEl>
                                            <p:attrNameLst>
                                              <p:attrName>style.visibility</p:attrName>
                                            </p:attrNameLst>
                                          </p:cBhvr>
                                          <p:to>
                                            <p:strVal val="visible"/>
                                          </p:to>
                                        </p:set>
                                        <p:animEffect transition="in" filter="wipe(right)">
                                          <p:cBhvr>
                                            <p:cTn id="86" dur="500"/>
                                            <p:tgtEl>
                                              <p:spTgt spid="808"/>
                                            </p:tgtEl>
                                          </p:cBhvr>
                                        </p:animEffect>
                                      </p:childTnLst>
                                    </p:cTn>
                                  </p:par>
                                  <p:par>
                                    <p:cTn id="87" presetID="22" presetClass="entr" presetSubtype="8" fill="hold" nodeType="withEffect">
                                      <p:stCondLst>
                                        <p:cond delay="0"/>
                                      </p:stCondLst>
                                      <p:childTnLst>
                                        <p:set>
                                          <p:cBhvr>
                                            <p:cTn id="88" dur="1" fill="hold">
                                              <p:stCondLst>
                                                <p:cond delay="0"/>
                                              </p:stCondLst>
                                            </p:cTn>
                                            <p:tgtEl>
                                              <p:spTgt spid="806"/>
                                            </p:tgtEl>
                                            <p:attrNameLst>
                                              <p:attrName>style.visibility</p:attrName>
                                            </p:attrNameLst>
                                          </p:cBhvr>
                                          <p:to>
                                            <p:strVal val="visible"/>
                                          </p:to>
                                        </p:set>
                                        <p:animEffect transition="in" filter="wipe(left)">
                                          <p:cBhvr>
                                            <p:cTn id="89" dur="500"/>
                                            <p:tgtEl>
                                              <p:spTgt spid="806"/>
                                            </p:tgtEl>
                                          </p:cBhvr>
                                        </p:animEffect>
                                      </p:childTnLst>
                                    </p:cTn>
                                  </p:par>
                                  <p:par>
                                    <p:cTn id="90" presetID="22" presetClass="entr" presetSubtype="2" fill="hold" nodeType="withEffect">
                                      <p:stCondLst>
                                        <p:cond delay="0"/>
                                      </p:stCondLst>
                                      <p:childTnLst>
                                        <p:set>
                                          <p:cBhvr>
                                            <p:cTn id="91" dur="1" fill="hold">
                                              <p:stCondLst>
                                                <p:cond delay="0"/>
                                              </p:stCondLst>
                                            </p:cTn>
                                            <p:tgtEl>
                                              <p:spTgt spid="807"/>
                                            </p:tgtEl>
                                            <p:attrNameLst>
                                              <p:attrName>style.visibility</p:attrName>
                                            </p:attrNameLst>
                                          </p:cBhvr>
                                          <p:to>
                                            <p:strVal val="visible"/>
                                          </p:to>
                                        </p:set>
                                        <p:animEffect transition="in" filter="wipe(right)">
                                          <p:cBhvr>
                                            <p:cTn id="92" dur="500"/>
                                            <p:tgtEl>
                                              <p:spTgt spid="807"/>
                                            </p:tgtEl>
                                          </p:cBhvr>
                                        </p:animEffect>
                                      </p:childTnLst>
                                    </p:cTn>
                                  </p:par>
                                </p:childTnLst>
                              </p:cTn>
                            </p:par>
                            <p:par>
                              <p:cTn id="93" fill="hold">
                                <p:stCondLst>
                                  <p:cond delay="1000"/>
                                </p:stCondLst>
                                <p:childTnLst>
                                  <p:par>
                                    <p:cTn id="94" presetID="53" presetClass="entr" presetSubtype="16" fill="hold" nodeType="afterEffect">
                                      <p:stCondLst>
                                        <p:cond delay="0"/>
                                      </p:stCondLst>
                                      <p:childTnLst>
                                        <p:set>
                                          <p:cBhvr>
                                            <p:cTn id="95" dur="1" fill="hold">
                                              <p:stCondLst>
                                                <p:cond delay="0"/>
                                              </p:stCondLst>
                                            </p:cTn>
                                            <p:tgtEl>
                                              <p:spTgt spid="857"/>
                                            </p:tgtEl>
                                            <p:attrNameLst>
                                              <p:attrName>style.visibility</p:attrName>
                                            </p:attrNameLst>
                                          </p:cBhvr>
                                          <p:to>
                                            <p:strVal val="visible"/>
                                          </p:to>
                                        </p:set>
                                        <p:anim calcmode="lin" valueType="num">
                                          <p:cBhvr>
                                            <p:cTn id="96" dur="500" fill="hold"/>
                                            <p:tgtEl>
                                              <p:spTgt spid="857"/>
                                            </p:tgtEl>
                                            <p:attrNameLst>
                                              <p:attrName>ppt_w</p:attrName>
                                            </p:attrNameLst>
                                          </p:cBhvr>
                                          <p:tavLst>
                                            <p:tav tm="0">
                                              <p:val>
                                                <p:fltVal val="0"/>
                                              </p:val>
                                            </p:tav>
                                            <p:tav tm="100000">
                                              <p:val>
                                                <p:strVal val="#ppt_w"/>
                                              </p:val>
                                            </p:tav>
                                          </p:tavLst>
                                        </p:anim>
                                        <p:anim calcmode="lin" valueType="num">
                                          <p:cBhvr>
                                            <p:cTn id="97" dur="500" fill="hold"/>
                                            <p:tgtEl>
                                              <p:spTgt spid="857"/>
                                            </p:tgtEl>
                                            <p:attrNameLst>
                                              <p:attrName>ppt_h</p:attrName>
                                            </p:attrNameLst>
                                          </p:cBhvr>
                                          <p:tavLst>
                                            <p:tav tm="0">
                                              <p:val>
                                                <p:fltVal val="0"/>
                                              </p:val>
                                            </p:tav>
                                            <p:tav tm="100000">
                                              <p:val>
                                                <p:strVal val="#ppt_h"/>
                                              </p:val>
                                            </p:tav>
                                          </p:tavLst>
                                        </p:anim>
                                        <p:animEffect transition="in" filter="fade">
                                          <p:cBhvr>
                                            <p:cTn id="98" dur="500"/>
                                            <p:tgtEl>
                                              <p:spTgt spid="8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a14="http://schemas.microsoft.com/office/drawing/2010/main" xmlns:a16="http://schemas.microsoft.com/office/drawing/2014/main"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09"/>
                                            </p:tgtEl>
                                            <p:attrNameLst>
                                              <p:attrName>style.visibility</p:attrName>
                                            </p:attrNameLst>
                                          </p:cBhvr>
                                          <p:to>
                                            <p:strVal val="visible"/>
                                          </p:to>
                                        </p:set>
                                        <p:animEffect transition="in" filter="fade">
                                          <p:cBhvr>
                                            <p:cTn id="7" dur="500"/>
                                            <p:tgtEl>
                                              <p:spTgt spid="809"/>
                                            </p:tgtEl>
                                          </p:cBhvr>
                                        </p:animEffect>
                                      </p:childTnLst>
                                    </p:cTn>
                                  </p:par>
                                  <p:par>
                                    <p:cTn id="8" presetID="2" presetClass="entr" presetSubtype="2" fill="hold" nodeType="withEffect">
                                      <p:stCondLst>
                                        <p:cond delay="0"/>
                                      </p:stCondLst>
                                      <p:childTnLst>
                                        <p:set>
                                          <p:cBhvr>
                                            <p:cTn id="9" dur="1" fill="hold">
                                              <p:stCondLst>
                                                <p:cond delay="0"/>
                                              </p:stCondLst>
                                            </p:cTn>
                                            <p:tgtEl>
                                              <p:spTgt spid="803"/>
                                            </p:tgtEl>
                                            <p:attrNameLst>
                                              <p:attrName>style.visibility</p:attrName>
                                            </p:attrNameLst>
                                          </p:cBhvr>
                                          <p:to>
                                            <p:strVal val="visible"/>
                                          </p:to>
                                        </p:set>
                                        <p:anim calcmode="lin" valueType="num">
                                          <p:cBhvr additive="base">
                                            <p:cTn id="10" dur="500" fill="hold"/>
                                            <p:tgtEl>
                                              <p:spTgt spid="803"/>
                                            </p:tgtEl>
                                            <p:attrNameLst>
                                              <p:attrName>ppt_x</p:attrName>
                                            </p:attrNameLst>
                                          </p:cBhvr>
                                          <p:tavLst>
                                            <p:tav tm="0">
                                              <p:val>
                                                <p:strVal val="1+#ppt_w/2"/>
                                              </p:val>
                                            </p:tav>
                                            <p:tav tm="100000">
                                              <p:val>
                                                <p:strVal val="#ppt_x"/>
                                              </p:val>
                                            </p:tav>
                                          </p:tavLst>
                                        </p:anim>
                                        <p:anim calcmode="lin" valueType="num">
                                          <p:cBhvr additive="base">
                                            <p:cTn id="11" dur="500" fill="hold"/>
                                            <p:tgtEl>
                                              <p:spTgt spid="803"/>
                                            </p:tgtEl>
                                            <p:attrNameLst>
                                              <p:attrName>ppt_y</p:attrName>
                                            </p:attrNameLst>
                                          </p:cBhvr>
                                          <p:tavLst>
                                            <p:tav tm="0">
                                              <p:val>
                                                <p:strVal val="#ppt_y"/>
                                              </p:val>
                                            </p:tav>
                                            <p:tav tm="100000">
                                              <p:val>
                                                <p:strVal val="#ppt_y"/>
                                              </p:val>
                                            </p:tav>
                                          </p:tavLst>
                                        </p:anim>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309"/>
                                            </p:tgtEl>
                                            <p:attrNameLst>
                                              <p:attrName>style.visibility</p:attrName>
                                            </p:attrNameLst>
                                          </p:cBhvr>
                                          <p:to>
                                            <p:strVal val="visible"/>
                                          </p:to>
                                        </p:set>
                                        <p:animEffect transition="in" filter="fade">
                                          <p:cBhvr>
                                            <p:cTn id="16" dur="500"/>
                                            <p:tgtEl>
                                              <p:spTgt spid="309"/>
                                            </p:tgtEl>
                                          </p:cBhvr>
                                        </p:animEffect>
                                      </p:childTnLst>
                                    </p:cTn>
                                  </p:par>
                                  <p:par>
                                    <p:cTn id="17" presetID="2" presetClass="entr" presetSubtype="2" fill="hold" nodeType="withEffect">
                                      <p:stCondLst>
                                        <p:cond delay="0"/>
                                      </p:stCondLst>
                                      <p:childTnLst>
                                        <p:set>
                                          <p:cBhvr>
                                            <p:cTn id="18" dur="1" fill="hold">
                                              <p:stCondLst>
                                                <p:cond delay="0"/>
                                              </p:stCondLst>
                                            </p:cTn>
                                            <p:tgtEl>
                                              <p:spTgt spid="800"/>
                                            </p:tgtEl>
                                            <p:attrNameLst>
                                              <p:attrName>style.visibility</p:attrName>
                                            </p:attrNameLst>
                                          </p:cBhvr>
                                          <p:to>
                                            <p:strVal val="visible"/>
                                          </p:to>
                                        </p:set>
                                        <p:anim calcmode="lin" valueType="num">
                                          <p:cBhvr additive="base">
                                            <p:cTn id="19" dur="500" fill="hold"/>
                                            <p:tgtEl>
                                              <p:spTgt spid="800"/>
                                            </p:tgtEl>
                                            <p:attrNameLst>
                                              <p:attrName>ppt_x</p:attrName>
                                            </p:attrNameLst>
                                          </p:cBhvr>
                                          <p:tavLst>
                                            <p:tav tm="0">
                                              <p:val>
                                                <p:strVal val="1+#ppt_w/2"/>
                                              </p:val>
                                            </p:tav>
                                            <p:tav tm="100000">
                                              <p:val>
                                                <p:strVal val="#ppt_x"/>
                                              </p:val>
                                            </p:tav>
                                          </p:tavLst>
                                        </p:anim>
                                        <p:anim calcmode="lin" valueType="num">
                                          <p:cBhvr additive="base">
                                            <p:cTn id="20" dur="500" fill="hold"/>
                                            <p:tgtEl>
                                              <p:spTgt spid="800"/>
                                            </p:tgtEl>
                                            <p:attrNameLst>
                                              <p:attrName>ppt_y</p:attrName>
                                            </p:attrNameLst>
                                          </p:cBhvr>
                                          <p:tavLst>
                                            <p:tav tm="0">
                                              <p:val>
                                                <p:strVal val="#ppt_y"/>
                                              </p:val>
                                            </p:tav>
                                            <p:tav tm="100000">
                                              <p:val>
                                                <p:strVal val="#ppt_y"/>
                                              </p:val>
                                            </p:tav>
                                          </p:tavLst>
                                        </p:anim>
                                      </p:childTnLst>
                                    </p:cTn>
                                  </p:par>
                                  <p:par>
                                    <p:cTn id="21" presetID="10" presetClass="entr" presetSubtype="0" fill="hold" nodeType="withEffect">
                                      <p:stCondLst>
                                        <p:cond delay="0"/>
                                      </p:stCondLst>
                                      <p:childTnLst>
                                        <p:set>
                                          <p:cBhvr>
                                            <p:cTn id="22" dur="1" fill="hold">
                                              <p:stCondLst>
                                                <p:cond delay="0"/>
                                              </p:stCondLst>
                                            </p:cTn>
                                            <p:tgtEl>
                                              <p:spTgt spid="356"/>
                                            </p:tgtEl>
                                            <p:attrNameLst>
                                              <p:attrName>style.visibility</p:attrName>
                                            </p:attrNameLst>
                                          </p:cBhvr>
                                          <p:to>
                                            <p:strVal val="visible"/>
                                          </p:to>
                                        </p:set>
                                        <p:animEffect transition="in" filter="fade">
                                          <p:cBhvr>
                                            <p:cTn id="23" dur="500"/>
                                            <p:tgtEl>
                                              <p:spTgt spid="356"/>
                                            </p:tgtEl>
                                          </p:cBhvr>
                                        </p:animEffect>
                                      </p:childTnLst>
                                    </p:cTn>
                                  </p:par>
                                  <p:par>
                                    <p:cTn id="24" presetID="10" presetClass="entr" presetSubtype="0" fill="hold" nodeType="withEffect">
                                      <p:stCondLst>
                                        <p:cond delay="0"/>
                                      </p:stCondLst>
                                      <p:childTnLst>
                                        <p:set>
                                          <p:cBhvr>
                                            <p:cTn id="25" dur="1" fill="hold">
                                              <p:stCondLst>
                                                <p:cond delay="0"/>
                                              </p:stCondLst>
                                            </p:cTn>
                                            <p:tgtEl>
                                              <p:spTgt spid="461"/>
                                            </p:tgtEl>
                                            <p:attrNameLst>
                                              <p:attrName>style.visibility</p:attrName>
                                            </p:attrNameLst>
                                          </p:cBhvr>
                                          <p:to>
                                            <p:strVal val="visible"/>
                                          </p:to>
                                        </p:set>
                                        <p:animEffect transition="in" filter="fade">
                                          <p:cBhvr>
                                            <p:cTn id="26" dur="500"/>
                                            <p:tgtEl>
                                              <p:spTgt spid="461"/>
                                            </p:tgtEl>
                                          </p:cBhvr>
                                        </p:animEffect>
                                      </p:childTnLst>
                                    </p:cTn>
                                  </p:par>
                                  <p:par>
                                    <p:cTn id="27" presetID="10" presetClass="entr" presetSubtype="0" fill="hold" nodeType="withEffect">
                                      <p:stCondLst>
                                        <p:cond delay="0"/>
                                      </p:stCondLst>
                                      <p:childTnLst>
                                        <p:set>
                                          <p:cBhvr>
                                            <p:cTn id="28" dur="1" fill="hold">
                                              <p:stCondLst>
                                                <p:cond delay="0"/>
                                              </p:stCondLst>
                                            </p:cTn>
                                            <p:tgtEl>
                                              <p:spTgt spid="402"/>
                                            </p:tgtEl>
                                            <p:attrNameLst>
                                              <p:attrName>style.visibility</p:attrName>
                                            </p:attrNameLst>
                                          </p:cBhvr>
                                          <p:to>
                                            <p:strVal val="visible"/>
                                          </p:to>
                                        </p:set>
                                        <p:animEffect transition="in" filter="fade">
                                          <p:cBhvr>
                                            <p:cTn id="29" dur="500"/>
                                            <p:tgtEl>
                                              <p:spTgt spid="402"/>
                                            </p:tgtEl>
                                          </p:cBhvr>
                                        </p:animEffect>
                                      </p:childTnLst>
                                    </p:cTn>
                                  </p:par>
                                  <p:par>
                                    <p:cTn id="30" presetID="10" presetClass="entr" presetSubtype="0" fill="hold" nodeType="withEffect">
                                      <p:stCondLst>
                                        <p:cond delay="0"/>
                                      </p:stCondLst>
                                      <p:childTnLst>
                                        <p:set>
                                          <p:cBhvr>
                                            <p:cTn id="31" dur="1" fill="hold">
                                              <p:stCondLst>
                                                <p:cond delay="0"/>
                                              </p:stCondLst>
                                            </p:cTn>
                                            <p:tgtEl>
                                              <p:spTgt spid="874"/>
                                            </p:tgtEl>
                                            <p:attrNameLst>
                                              <p:attrName>style.visibility</p:attrName>
                                            </p:attrNameLst>
                                          </p:cBhvr>
                                          <p:to>
                                            <p:strVal val="visible"/>
                                          </p:to>
                                        </p:set>
                                        <p:animEffect transition="in" filter="fade">
                                          <p:cBhvr>
                                            <p:cTn id="32" dur="500"/>
                                            <p:tgtEl>
                                              <p:spTgt spid="874"/>
                                            </p:tgtEl>
                                          </p:cBhvr>
                                        </p:animEffect>
                                      </p:childTnLst>
                                    </p:cTn>
                                  </p:par>
                                  <p:par>
                                    <p:cTn id="33" presetID="10" presetClass="entr" presetSubtype="0" fill="hold" nodeType="withEffect">
                                      <p:stCondLst>
                                        <p:cond delay="0"/>
                                      </p:stCondLst>
                                      <p:childTnLst>
                                        <p:set>
                                          <p:cBhvr>
                                            <p:cTn id="34" dur="1" fill="hold">
                                              <p:stCondLst>
                                                <p:cond delay="0"/>
                                              </p:stCondLst>
                                            </p:cTn>
                                            <p:tgtEl>
                                              <p:spTgt spid="883"/>
                                            </p:tgtEl>
                                            <p:attrNameLst>
                                              <p:attrName>style.visibility</p:attrName>
                                            </p:attrNameLst>
                                          </p:cBhvr>
                                          <p:to>
                                            <p:strVal val="visible"/>
                                          </p:to>
                                        </p:set>
                                        <p:animEffect transition="in" filter="fade">
                                          <p:cBhvr>
                                            <p:cTn id="35" dur="500"/>
                                            <p:tgtEl>
                                              <p:spTgt spid="883"/>
                                            </p:tgtEl>
                                          </p:cBhvr>
                                        </p:animEffect>
                                      </p:childTnLst>
                                    </p:cTn>
                                  </p:par>
                                  <p:par>
                                    <p:cTn id="36" presetID="10" presetClass="entr" presetSubtype="0" fill="hold" nodeType="withEffect">
                                      <p:stCondLst>
                                        <p:cond delay="0"/>
                                      </p:stCondLst>
                                      <p:childTnLst>
                                        <p:set>
                                          <p:cBhvr>
                                            <p:cTn id="37" dur="1" fill="hold">
                                              <p:stCondLst>
                                                <p:cond delay="0"/>
                                              </p:stCondLst>
                                            </p:cTn>
                                            <p:tgtEl>
                                              <p:spTgt spid="892"/>
                                            </p:tgtEl>
                                            <p:attrNameLst>
                                              <p:attrName>style.visibility</p:attrName>
                                            </p:attrNameLst>
                                          </p:cBhvr>
                                          <p:to>
                                            <p:strVal val="visible"/>
                                          </p:to>
                                        </p:set>
                                        <p:animEffect transition="in" filter="fade">
                                          <p:cBhvr>
                                            <p:cTn id="38" dur="500"/>
                                            <p:tgtEl>
                                              <p:spTgt spid="892"/>
                                            </p:tgtEl>
                                          </p:cBhvr>
                                        </p:animEffect>
                                      </p:childTnLst>
                                    </p:cTn>
                                  </p:par>
                                  <p:par>
                                    <p:cTn id="39" presetID="10" presetClass="entr" presetSubtype="0" fill="hold" nodeType="withEffect">
                                      <p:stCondLst>
                                        <p:cond delay="0"/>
                                      </p:stCondLst>
                                      <p:childTnLst>
                                        <p:set>
                                          <p:cBhvr>
                                            <p:cTn id="40" dur="1" fill="hold">
                                              <p:stCondLst>
                                                <p:cond delay="0"/>
                                              </p:stCondLst>
                                            </p:cTn>
                                            <p:tgtEl>
                                              <p:spTgt spid="901"/>
                                            </p:tgtEl>
                                            <p:attrNameLst>
                                              <p:attrName>style.visibility</p:attrName>
                                            </p:attrNameLst>
                                          </p:cBhvr>
                                          <p:to>
                                            <p:strVal val="visible"/>
                                          </p:to>
                                        </p:set>
                                        <p:animEffect transition="in" filter="fade">
                                          <p:cBhvr>
                                            <p:cTn id="41" dur="500"/>
                                            <p:tgtEl>
                                              <p:spTgt spid="901"/>
                                            </p:tgtEl>
                                          </p:cBhvr>
                                        </p:animEffect>
                                      </p:childTnLst>
                                    </p:cTn>
                                  </p:par>
                                  <p:par>
                                    <p:cTn id="42" presetID="16" presetClass="entr" presetSubtype="42" fill="hold" nodeType="withEffect">
                                      <p:stCondLst>
                                        <p:cond delay="0"/>
                                      </p:stCondLst>
                                      <p:childTnLst>
                                        <p:set>
                                          <p:cBhvr>
                                            <p:cTn id="43" dur="1" fill="hold">
                                              <p:stCondLst>
                                                <p:cond delay="0"/>
                                              </p:stCondLst>
                                            </p:cTn>
                                            <p:tgtEl>
                                              <p:spTgt spid="308"/>
                                            </p:tgtEl>
                                            <p:attrNameLst>
                                              <p:attrName>style.visibility</p:attrName>
                                            </p:attrNameLst>
                                          </p:cBhvr>
                                          <p:to>
                                            <p:strVal val="visible"/>
                                          </p:to>
                                        </p:set>
                                        <p:animEffect transition="in" filter="barn(outHorizontal)">
                                          <p:cBhvr>
                                            <p:cTn id="44" dur="1000"/>
                                            <p:tgtEl>
                                              <p:spTgt spid="308"/>
                                            </p:tgtEl>
                                          </p:cBhvr>
                                        </p:animEffect>
                                      </p:childTnLst>
                                    </p:cTn>
                                  </p:par>
                                  <p:par>
                                    <p:cTn id="45" presetID="16" presetClass="entr" presetSubtype="42" fill="hold" nodeType="withEffect">
                                      <p:stCondLst>
                                        <p:cond delay="0"/>
                                      </p:stCondLst>
                                      <p:childTnLst>
                                        <p:set>
                                          <p:cBhvr>
                                            <p:cTn id="46" dur="1" fill="hold">
                                              <p:stCondLst>
                                                <p:cond delay="0"/>
                                              </p:stCondLst>
                                            </p:cTn>
                                            <p:tgtEl>
                                              <p:spTgt spid="307"/>
                                            </p:tgtEl>
                                            <p:attrNameLst>
                                              <p:attrName>style.visibility</p:attrName>
                                            </p:attrNameLst>
                                          </p:cBhvr>
                                          <p:to>
                                            <p:strVal val="visible"/>
                                          </p:to>
                                        </p:set>
                                        <p:animEffect transition="in" filter="barn(outHorizontal)">
                                          <p:cBhvr>
                                            <p:cTn id="47" dur="1000"/>
                                            <p:tgtEl>
                                              <p:spTgt spid="307"/>
                                            </p:tgtEl>
                                          </p:cBhvr>
                                        </p:animEffect>
                                      </p:childTnLst>
                                    </p:cTn>
                                  </p:par>
                                  <p:par>
                                    <p:cTn id="48" presetID="16" presetClass="entr" presetSubtype="37" fill="hold" nodeType="withEffect">
                                      <p:stCondLst>
                                        <p:cond delay="0"/>
                                      </p:stCondLst>
                                      <p:childTnLst>
                                        <p:set>
                                          <p:cBhvr>
                                            <p:cTn id="49" dur="1" fill="hold">
                                              <p:stCondLst>
                                                <p:cond delay="0"/>
                                              </p:stCondLst>
                                            </p:cTn>
                                            <p:tgtEl>
                                              <p:spTgt spid="306"/>
                                            </p:tgtEl>
                                            <p:attrNameLst>
                                              <p:attrName>style.visibility</p:attrName>
                                            </p:attrNameLst>
                                          </p:cBhvr>
                                          <p:to>
                                            <p:strVal val="visible"/>
                                          </p:to>
                                        </p:set>
                                        <p:animEffect transition="in" filter="barn(outVertical)">
                                          <p:cBhvr>
                                            <p:cTn id="50" dur="1000"/>
                                            <p:tgtEl>
                                              <p:spTgt spid="306"/>
                                            </p:tgtEl>
                                          </p:cBhvr>
                                        </p:animEffect>
                                      </p:childTnLst>
                                    </p:cTn>
                                  </p:par>
                                  <p:par>
                                    <p:cTn id="51" presetID="16" presetClass="entr" presetSubtype="37" fill="hold" nodeType="withEffect">
                                      <p:stCondLst>
                                        <p:cond delay="0"/>
                                      </p:stCondLst>
                                      <p:childTnLst>
                                        <p:set>
                                          <p:cBhvr>
                                            <p:cTn id="52" dur="1" fill="hold">
                                              <p:stCondLst>
                                                <p:cond delay="0"/>
                                              </p:stCondLst>
                                            </p:cTn>
                                            <p:tgtEl>
                                              <p:spTgt spid="305"/>
                                            </p:tgtEl>
                                            <p:attrNameLst>
                                              <p:attrName>style.visibility</p:attrName>
                                            </p:attrNameLst>
                                          </p:cBhvr>
                                          <p:to>
                                            <p:strVal val="visible"/>
                                          </p:to>
                                        </p:set>
                                        <p:animEffect transition="in" filter="barn(outVertical)">
                                          <p:cBhvr>
                                            <p:cTn id="53" dur="1000"/>
                                            <p:tgtEl>
                                              <p:spTgt spid="305"/>
                                            </p:tgtEl>
                                          </p:cBhvr>
                                        </p:animEffect>
                                      </p:childTnLst>
                                    </p:cTn>
                                  </p:par>
                                </p:childTnLst>
                              </p:cTn>
                            </p:par>
                          </p:childTnLst>
                        </p:cTn>
                      </p:par>
                      <p:par>
                        <p:cTn id="54" fill="hold">
                          <p:stCondLst>
                            <p:cond delay="indefinite"/>
                          </p:stCondLst>
                          <p:childTnLst>
                            <p:par>
                              <p:cTn id="55" fill="hold">
                                <p:stCondLst>
                                  <p:cond delay="0"/>
                                </p:stCondLst>
                                <p:childTnLst>
                                  <p:par>
                                    <p:cTn id="56" presetID="2" presetClass="entr" presetSubtype="2" fill="hold" nodeType="clickEffect">
                                      <p:stCondLst>
                                        <p:cond delay="0"/>
                                      </p:stCondLst>
                                      <p:childTnLst>
                                        <p:set>
                                          <p:cBhvr>
                                            <p:cTn id="57" dur="1" fill="hold">
                                              <p:stCondLst>
                                                <p:cond delay="0"/>
                                              </p:stCondLst>
                                            </p:cTn>
                                            <p:tgtEl>
                                              <p:spTgt spid="797"/>
                                            </p:tgtEl>
                                            <p:attrNameLst>
                                              <p:attrName>style.visibility</p:attrName>
                                            </p:attrNameLst>
                                          </p:cBhvr>
                                          <p:to>
                                            <p:strVal val="visible"/>
                                          </p:to>
                                        </p:set>
                                        <p:anim calcmode="lin" valueType="num">
                                          <p:cBhvr additive="base">
                                            <p:cTn id="58" dur="500" fill="hold"/>
                                            <p:tgtEl>
                                              <p:spTgt spid="797"/>
                                            </p:tgtEl>
                                            <p:attrNameLst>
                                              <p:attrName>ppt_x</p:attrName>
                                            </p:attrNameLst>
                                          </p:cBhvr>
                                          <p:tavLst>
                                            <p:tav tm="0">
                                              <p:val>
                                                <p:strVal val="1+#ppt_w/2"/>
                                              </p:val>
                                            </p:tav>
                                            <p:tav tm="100000">
                                              <p:val>
                                                <p:strVal val="#ppt_x"/>
                                              </p:val>
                                            </p:tav>
                                          </p:tavLst>
                                        </p:anim>
                                        <p:anim calcmode="lin" valueType="num">
                                          <p:cBhvr additive="base">
                                            <p:cTn id="59" dur="500" fill="hold"/>
                                            <p:tgtEl>
                                              <p:spTgt spid="797"/>
                                            </p:tgtEl>
                                            <p:attrNameLst>
                                              <p:attrName>ppt_y</p:attrName>
                                            </p:attrNameLst>
                                          </p:cBhvr>
                                          <p:tavLst>
                                            <p:tav tm="0">
                                              <p:val>
                                                <p:strVal val="#ppt_y"/>
                                              </p:val>
                                            </p:tav>
                                            <p:tav tm="100000">
                                              <p:val>
                                                <p:strVal val="#ppt_y"/>
                                              </p:val>
                                            </p:tav>
                                          </p:tavLst>
                                        </p:anim>
                                      </p:childTnLst>
                                    </p:cTn>
                                  </p:par>
                                  <p:par>
                                    <p:cTn id="60" presetID="53" presetClass="entr" presetSubtype="16" fill="hold" nodeType="withEffect">
                                      <p:stCondLst>
                                        <p:cond delay="0"/>
                                      </p:stCondLst>
                                      <p:childTnLst>
                                        <p:set>
                                          <p:cBhvr>
                                            <p:cTn id="61" dur="1" fill="hold">
                                              <p:stCondLst>
                                                <p:cond delay="0"/>
                                              </p:stCondLst>
                                            </p:cTn>
                                            <p:tgtEl>
                                              <p:spTgt spid="862"/>
                                            </p:tgtEl>
                                            <p:attrNameLst>
                                              <p:attrName>style.visibility</p:attrName>
                                            </p:attrNameLst>
                                          </p:cBhvr>
                                          <p:to>
                                            <p:strVal val="visible"/>
                                          </p:to>
                                        </p:set>
                                        <p:anim calcmode="lin" valueType="num">
                                          <p:cBhvr>
                                            <p:cTn id="62" dur="500" fill="hold"/>
                                            <p:tgtEl>
                                              <p:spTgt spid="862"/>
                                            </p:tgtEl>
                                            <p:attrNameLst>
                                              <p:attrName>ppt_w</p:attrName>
                                            </p:attrNameLst>
                                          </p:cBhvr>
                                          <p:tavLst>
                                            <p:tav tm="0">
                                              <p:val>
                                                <p:fltVal val="0"/>
                                              </p:val>
                                            </p:tav>
                                            <p:tav tm="100000">
                                              <p:val>
                                                <p:strVal val="#ppt_w"/>
                                              </p:val>
                                            </p:tav>
                                          </p:tavLst>
                                        </p:anim>
                                        <p:anim calcmode="lin" valueType="num">
                                          <p:cBhvr>
                                            <p:cTn id="63" dur="500" fill="hold"/>
                                            <p:tgtEl>
                                              <p:spTgt spid="862"/>
                                            </p:tgtEl>
                                            <p:attrNameLst>
                                              <p:attrName>ppt_h</p:attrName>
                                            </p:attrNameLst>
                                          </p:cBhvr>
                                          <p:tavLst>
                                            <p:tav tm="0">
                                              <p:val>
                                                <p:fltVal val="0"/>
                                              </p:val>
                                            </p:tav>
                                            <p:tav tm="100000">
                                              <p:val>
                                                <p:strVal val="#ppt_h"/>
                                              </p:val>
                                            </p:tav>
                                          </p:tavLst>
                                        </p:anim>
                                        <p:animEffect transition="in" filter="fade">
                                          <p:cBhvr>
                                            <p:cTn id="64" dur="500"/>
                                            <p:tgtEl>
                                              <p:spTgt spid="862"/>
                                            </p:tgtEl>
                                          </p:cBhvr>
                                        </p:animEffect>
                                      </p:childTnLst>
                                    </p:cTn>
                                  </p:par>
                                  <p:par>
                                    <p:cTn id="65" presetID="53" presetClass="entr" presetSubtype="16" fill="hold" nodeType="withEffect">
                                      <p:stCondLst>
                                        <p:cond delay="0"/>
                                      </p:stCondLst>
                                      <p:childTnLst>
                                        <p:set>
                                          <p:cBhvr>
                                            <p:cTn id="66" dur="1" fill="hold">
                                              <p:stCondLst>
                                                <p:cond delay="0"/>
                                              </p:stCondLst>
                                            </p:cTn>
                                            <p:tgtEl>
                                              <p:spTgt spid="871"/>
                                            </p:tgtEl>
                                            <p:attrNameLst>
                                              <p:attrName>style.visibility</p:attrName>
                                            </p:attrNameLst>
                                          </p:cBhvr>
                                          <p:to>
                                            <p:strVal val="visible"/>
                                          </p:to>
                                        </p:set>
                                        <p:anim calcmode="lin" valueType="num">
                                          <p:cBhvr>
                                            <p:cTn id="67" dur="500" fill="hold"/>
                                            <p:tgtEl>
                                              <p:spTgt spid="871"/>
                                            </p:tgtEl>
                                            <p:attrNameLst>
                                              <p:attrName>ppt_w</p:attrName>
                                            </p:attrNameLst>
                                          </p:cBhvr>
                                          <p:tavLst>
                                            <p:tav tm="0">
                                              <p:val>
                                                <p:fltVal val="0"/>
                                              </p:val>
                                            </p:tav>
                                            <p:tav tm="100000">
                                              <p:val>
                                                <p:strVal val="#ppt_w"/>
                                              </p:val>
                                            </p:tav>
                                          </p:tavLst>
                                        </p:anim>
                                        <p:anim calcmode="lin" valueType="num">
                                          <p:cBhvr>
                                            <p:cTn id="68" dur="500" fill="hold"/>
                                            <p:tgtEl>
                                              <p:spTgt spid="871"/>
                                            </p:tgtEl>
                                            <p:attrNameLst>
                                              <p:attrName>ppt_h</p:attrName>
                                            </p:attrNameLst>
                                          </p:cBhvr>
                                          <p:tavLst>
                                            <p:tav tm="0">
                                              <p:val>
                                                <p:fltVal val="0"/>
                                              </p:val>
                                            </p:tav>
                                            <p:tav tm="100000">
                                              <p:val>
                                                <p:strVal val="#ppt_h"/>
                                              </p:val>
                                            </p:tav>
                                          </p:tavLst>
                                        </p:anim>
                                        <p:animEffect transition="in" filter="fade">
                                          <p:cBhvr>
                                            <p:cTn id="69" dur="500"/>
                                            <p:tgtEl>
                                              <p:spTgt spid="871"/>
                                            </p:tgtEl>
                                          </p:cBhvr>
                                        </p:animEffect>
                                      </p:childTnLst>
                                    </p:cTn>
                                  </p:par>
                                  <p:par>
                                    <p:cTn id="70" presetID="53" presetClass="entr" presetSubtype="16" fill="hold" nodeType="withEffect">
                                      <p:stCondLst>
                                        <p:cond delay="0"/>
                                      </p:stCondLst>
                                      <p:childTnLst>
                                        <p:set>
                                          <p:cBhvr>
                                            <p:cTn id="71" dur="1" fill="hold">
                                              <p:stCondLst>
                                                <p:cond delay="0"/>
                                              </p:stCondLst>
                                            </p:cTn>
                                            <p:tgtEl>
                                              <p:spTgt spid="865"/>
                                            </p:tgtEl>
                                            <p:attrNameLst>
                                              <p:attrName>style.visibility</p:attrName>
                                            </p:attrNameLst>
                                          </p:cBhvr>
                                          <p:to>
                                            <p:strVal val="visible"/>
                                          </p:to>
                                        </p:set>
                                        <p:anim calcmode="lin" valueType="num">
                                          <p:cBhvr>
                                            <p:cTn id="72" dur="500" fill="hold"/>
                                            <p:tgtEl>
                                              <p:spTgt spid="865"/>
                                            </p:tgtEl>
                                            <p:attrNameLst>
                                              <p:attrName>ppt_w</p:attrName>
                                            </p:attrNameLst>
                                          </p:cBhvr>
                                          <p:tavLst>
                                            <p:tav tm="0">
                                              <p:val>
                                                <p:fltVal val="0"/>
                                              </p:val>
                                            </p:tav>
                                            <p:tav tm="100000">
                                              <p:val>
                                                <p:strVal val="#ppt_w"/>
                                              </p:val>
                                            </p:tav>
                                          </p:tavLst>
                                        </p:anim>
                                        <p:anim calcmode="lin" valueType="num">
                                          <p:cBhvr>
                                            <p:cTn id="73" dur="500" fill="hold"/>
                                            <p:tgtEl>
                                              <p:spTgt spid="865"/>
                                            </p:tgtEl>
                                            <p:attrNameLst>
                                              <p:attrName>ppt_h</p:attrName>
                                            </p:attrNameLst>
                                          </p:cBhvr>
                                          <p:tavLst>
                                            <p:tav tm="0">
                                              <p:val>
                                                <p:fltVal val="0"/>
                                              </p:val>
                                            </p:tav>
                                            <p:tav tm="100000">
                                              <p:val>
                                                <p:strVal val="#ppt_h"/>
                                              </p:val>
                                            </p:tav>
                                          </p:tavLst>
                                        </p:anim>
                                        <p:animEffect transition="in" filter="fade">
                                          <p:cBhvr>
                                            <p:cTn id="74" dur="500"/>
                                            <p:tgtEl>
                                              <p:spTgt spid="865"/>
                                            </p:tgtEl>
                                          </p:cBhvr>
                                        </p:animEffect>
                                      </p:childTnLst>
                                    </p:cTn>
                                  </p:par>
                                  <p:par>
                                    <p:cTn id="75" presetID="53" presetClass="entr" presetSubtype="16" fill="hold" nodeType="withEffect">
                                      <p:stCondLst>
                                        <p:cond delay="0"/>
                                      </p:stCondLst>
                                      <p:childTnLst>
                                        <p:set>
                                          <p:cBhvr>
                                            <p:cTn id="76" dur="1" fill="hold">
                                              <p:stCondLst>
                                                <p:cond delay="0"/>
                                              </p:stCondLst>
                                            </p:cTn>
                                            <p:tgtEl>
                                              <p:spTgt spid="868"/>
                                            </p:tgtEl>
                                            <p:attrNameLst>
                                              <p:attrName>style.visibility</p:attrName>
                                            </p:attrNameLst>
                                          </p:cBhvr>
                                          <p:to>
                                            <p:strVal val="visible"/>
                                          </p:to>
                                        </p:set>
                                        <p:anim calcmode="lin" valueType="num">
                                          <p:cBhvr>
                                            <p:cTn id="77" dur="500" fill="hold"/>
                                            <p:tgtEl>
                                              <p:spTgt spid="868"/>
                                            </p:tgtEl>
                                            <p:attrNameLst>
                                              <p:attrName>ppt_w</p:attrName>
                                            </p:attrNameLst>
                                          </p:cBhvr>
                                          <p:tavLst>
                                            <p:tav tm="0">
                                              <p:val>
                                                <p:fltVal val="0"/>
                                              </p:val>
                                            </p:tav>
                                            <p:tav tm="100000">
                                              <p:val>
                                                <p:strVal val="#ppt_w"/>
                                              </p:val>
                                            </p:tav>
                                          </p:tavLst>
                                        </p:anim>
                                        <p:anim calcmode="lin" valueType="num">
                                          <p:cBhvr>
                                            <p:cTn id="78" dur="500" fill="hold"/>
                                            <p:tgtEl>
                                              <p:spTgt spid="868"/>
                                            </p:tgtEl>
                                            <p:attrNameLst>
                                              <p:attrName>ppt_h</p:attrName>
                                            </p:attrNameLst>
                                          </p:cBhvr>
                                          <p:tavLst>
                                            <p:tav tm="0">
                                              <p:val>
                                                <p:fltVal val="0"/>
                                              </p:val>
                                            </p:tav>
                                            <p:tav tm="100000">
                                              <p:val>
                                                <p:strVal val="#ppt_h"/>
                                              </p:val>
                                            </p:tav>
                                          </p:tavLst>
                                        </p:anim>
                                        <p:animEffect transition="in" filter="fade">
                                          <p:cBhvr>
                                            <p:cTn id="79" dur="500"/>
                                            <p:tgtEl>
                                              <p:spTgt spid="868"/>
                                            </p:tgtEl>
                                          </p:cBhvr>
                                        </p:animEffect>
                                      </p:childTnLst>
                                    </p:cTn>
                                  </p:par>
                                </p:childTnLst>
                              </p:cTn>
                            </p:par>
                            <p:par>
                              <p:cTn id="80" fill="hold">
                                <p:stCondLst>
                                  <p:cond delay="500"/>
                                </p:stCondLst>
                                <p:childTnLst>
                                  <p:par>
                                    <p:cTn id="81" presetID="22" presetClass="entr" presetSubtype="8" fill="hold" nodeType="afterEffect">
                                      <p:stCondLst>
                                        <p:cond delay="0"/>
                                      </p:stCondLst>
                                      <p:childTnLst>
                                        <p:set>
                                          <p:cBhvr>
                                            <p:cTn id="82" dur="1" fill="hold">
                                              <p:stCondLst>
                                                <p:cond delay="0"/>
                                              </p:stCondLst>
                                            </p:cTn>
                                            <p:tgtEl>
                                              <p:spTgt spid="355"/>
                                            </p:tgtEl>
                                            <p:attrNameLst>
                                              <p:attrName>style.visibility</p:attrName>
                                            </p:attrNameLst>
                                          </p:cBhvr>
                                          <p:to>
                                            <p:strVal val="visible"/>
                                          </p:to>
                                        </p:set>
                                        <p:animEffect transition="in" filter="wipe(left)">
                                          <p:cBhvr>
                                            <p:cTn id="83" dur="500"/>
                                            <p:tgtEl>
                                              <p:spTgt spid="355"/>
                                            </p:tgtEl>
                                          </p:cBhvr>
                                        </p:animEffect>
                                      </p:childTnLst>
                                    </p:cTn>
                                  </p:par>
                                  <p:par>
                                    <p:cTn id="84" presetID="22" presetClass="entr" presetSubtype="2" fill="hold" nodeType="withEffect">
                                      <p:stCondLst>
                                        <p:cond delay="0"/>
                                      </p:stCondLst>
                                      <p:childTnLst>
                                        <p:set>
                                          <p:cBhvr>
                                            <p:cTn id="85" dur="1" fill="hold">
                                              <p:stCondLst>
                                                <p:cond delay="0"/>
                                              </p:stCondLst>
                                            </p:cTn>
                                            <p:tgtEl>
                                              <p:spTgt spid="808"/>
                                            </p:tgtEl>
                                            <p:attrNameLst>
                                              <p:attrName>style.visibility</p:attrName>
                                            </p:attrNameLst>
                                          </p:cBhvr>
                                          <p:to>
                                            <p:strVal val="visible"/>
                                          </p:to>
                                        </p:set>
                                        <p:animEffect transition="in" filter="wipe(right)">
                                          <p:cBhvr>
                                            <p:cTn id="86" dur="500"/>
                                            <p:tgtEl>
                                              <p:spTgt spid="808"/>
                                            </p:tgtEl>
                                          </p:cBhvr>
                                        </p:animEffect>
                                      </p:childTnLst>
                                    </p:cTn>
                                  </p:par>
                                  <p:par>
                                    <p:cTn id="87" presetID="22" presetClass="entr" presetSubtype="8" fill="hold" nodeType="withEffect">
                                      <p:stCondLst>
                                        <p:cond delay="0"/>
                                      </p:stCondLst>
                                      <p:childTnLst>
                                        <p:set>
                                          <p:cBhvr>
                                            <p:cTn id="88" dur="1" fill="hold">
                                              <p:stCondLst>
                                                <p:cond delay="0"/>
                                              </p:stCondLst>
                                            </p:cTn>
                                            <p:tgtEl>
                                              <p:spTgt spid="806"/>
                                            </p:tgtEl>
                                            <p:attrNameLst>
                                              <p:attrName>style.visibility</p:attrName>
                                            </p:attrNameLst>
                                          </p:cBhvr>
                                          <p:to>
                                            <p:strVal val="visible"/>
                                          </p:to>
                                        </p:set>
                                        <p:animEffect transition="in" filter="wipe(left)">
                                          <p:cBhvr>
                                            <p:cTn id="89" dur="500"/>
                                            <p:tgtEl>
                                              <p:spTgt spid="806"/>
                                            </p:tgtEl>
                                          </p:cBhvr>
                                        </p:animEffect>
                                      </p:childTnLst>
                                    </p:cTn>
                                  </p:par>
                                  <p:par>
                                    <p:cTn id="90" presetID="22" presetClass="entr" presetSubtype="2" fill="hold" nodeType="withEffect">
                                      <p:stCondLst>
                                        <p:cond delay="0"/>
                                      </p:stCondLst>
                                      <p:childTnLst>
                                        <p:set>
                                          <p:cBhvr>
                                            <p:cTn id="91" dur="1" fill="hold">
                                              <p:stCondLst>
                                                <p:cond delay="0"/>
                                              </p:stCondLst>
                                            </p:cTn>
                                            <p:tgtEl>
                                              <p:spTgt spid="807"/>
                                            </p:tgtEl>
                                            <p:attrNameLst>
                                              <p:attrName>style.visibility</p:attrName>
                                            </p:attrNameLst>
                                          </p:cBhvr>
                                          <p:to>
                                            <p:strVal val="visible"/>
                                          </p:to>
                                        </p:set>
                                        <p:animEffect transition="in" filter="wipe(right)">
                                          <p:cBhvr>
                                            <p:cTn id="92" dur="500"/>
                                            <p:tgtEl>
                                              <p:spTgt spid="807"/>
                                            </p:tgtEl>
                                          </p:cBhvr>
                                        </p:animEffect>
                                      </p:childTnLst>
                                    </p:cTn>
                                  </p:par>
                                </p:childTnLst>
                              </p:cTn>
                            </p:par>
                            <p:par>
                              <p:cTn id="93" fill="hold">
                                <p:stCondLst>
                                  <p:cond delay="1000"/>
                                </p:stCondLst>
                                <p:childTnLst>
                                  <p:par>
                                    <p:cTn id="94" presetID="53" presetClass="entr" presetSubtype="16" fill="hold" nodeType="afterEffect">
                                      <p:stCondLst>
                                        <p:cond delay="0"/>
                                      </p:stCondLst>
                                      <p:childTnLst>
                                        <p:set>
                                          <p:cBhvr>
                                            <p:cTn id="95" dur="1" fill="hold">
                                              <p:stCondLst>
                                                <p:cond delay="0"/>
                                              </p:stCondLst>
                                            </p:cTn>
                                            <p:tgtEl>
                                              <p:spTgt spid="857"/>
                                            </p:tgtEl>
                                            <p:attrNameLst>
                                              <p:attrName>style.visibility</p:attrName>
                                            </p:attrNameLst>
                                          </p:cBhvr>
                                          <p:to>
                                            <p:strVal val="visible"/>
                                          </p:to>
                                        </p:set>
                                        <p:anim calcmode="lin" valueType="num">
                                          <p:cBhvr>
                                            <p:cTn id="96" dur="500" fill="hold"/>
                                            <p:tgtEl>
                                              <p:spTgt spid="857"/>
                                            </p:tgtEl>
                                            <p:attrNameLst>
                                              <p:attrName>ppt_w</p:attrName>
                                            </p:attrNameLst>
                                          </p:cBhvr>
                                          <p:tavLst>
                                            <p:tav tm="0">
                                              <p:val>
                                                <p:fltVal val="0"/>
                                              </p:val>
                                            </p:tav>
                                            <p:tav tm="100000">
                                              <p:val>
                                                <p:strVal val="#ppt_w"/>
                                              </p:val>
                                            </p:tav>
                                          </p:tavLst>
                                        </p:anim>
                                        <p:anim calcmode="lin" valueType="num">
                                          <p:cBhvr>
                                            <p:cTn id="97" dur="500" fill="hold"/>
                                            <p:tgtEl>
                                              <p:spTgt spid="857"/>
                                            </p:tgtEl>
                                            <p:attrNameLst>
                                              <p:attrName>ppt_h</p:attrName>
                                            </p:attrNameLst>
                                          </p:cBhvr>
                                          <p:tavLst>
                                            <p:tav tm="0">
                                              <p:val>
                                                <p:fltVal val="0"/>
                                              </p:val>
                                            </p:tav>
                                            <p:tav tm="100000">
                                              <p:val>
                                                <p:strVal val="#ppt_h"/>
                                              </p:val>
                                            </p:tav>
                                          </p:tavLst>
                                        </p:anim>
                                        <p:animEffect transition="in" filter="fade">
                                          <p:cBhvr>
                                            <p:cTn id="98" dur="500"/>
                                            <p:tgtEl>
                                              <p:spTgt spid="8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6B535-1CC5-472B-A2C4-F52BD4F75902}"/>
              </a:ext>
            </a:extLst>
          </p:cNvPr>
          <p:cNvSpPr>
            <a:spLocks noGrp="1"/>
          </p:cNvSpPr>
          <p:nvPr>
            <p:ph type="title"/>
          </p:nvPr>
        </p:nvSpPr>
        <p:spPr>
          <a:xfrm>
            <a:off x="274638" y="313381"/>
            <a:ext cx="11655840" cy="584775"/>
          </a:xfrm>
        </p:spPr>
        <p:txBody>
          <a:bodyPr>
            <a:normAutofit fontScale="90000"/>
          </a:bodyPr>
          <a:lstStyle/>
          <a:p>
            <a:r>
              <a:rPr lang="en-US" sz="3800"/>
              <a:t>Not all blockchains are the same</a:t>
            </a:r>
          </a:p>
        </p:txBody>
      </p:sp>
      <p:sp>
        <p:nvSpPr>
          <p:cNvPr id="34" name="Title 1">
            <a:extLst>
              <a:ext uri="{FF2B5EF4-FFF2-40B4-BE49-F238E27FC236}">
                <a16:creationId xmlns:a16="http://schemas.microsoft.com/office/drawing/2014/main" id="{D23E9BBF-F905-4266-94E5-E8E07A9DAD17}"/>
              </a:ext>
            </a:extLst>
          </p:cNvPr>
          <p:cNvSpPr txBox="1">
            <a:spLocks/>
          </p:cNvSpPr>
          <p:nvPr/>
        </p:nvSpPr>
        <p:spPr>
          <a:xfrm>
            <a:off x="1555832" y="5418097"/>
            <a:ext cx="3750524"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400" b="0" strike="noStrike" kern="1200" cap="none" spc="-100" baseline="0" dirty="0" smtClean="0">
                <a:ln w="3175">
                  <a:noFill/>
                </a:ln>
                <a:solidFill>
                  <a:schemeClr val="tx1"/>
                </a:soli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100" normalizeH="0" baseline="0" noProof="0">
                <a:ln w="3175">
                  <a:noFill/>
                </a:ln>
                <a:solidFill>
                  <a:srgbClr val="0070C0"/>
                </a:solidFill>
                <a:effectLst/>
                <a:uLnTx/>
                <a:uFillTx/>
                <a:latin typeface="Segoe UI Semibold" panose="020B0702040204020203" pitchFamily="34" charset="0"/>
                <a:ea typeface="+mn-ea"/>
                <a:cs typeface="Segoe UI Semibold" panose="020B0702040204020203" pitchFamily="34" charset="0"/>
              </a:rPr>
              <a:t>Public Blockchain Networks:</a:t>
            </a:r>
          </a:p>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100" normalizeH="0" baseline="0" noProof="0">
                <a:ln w="3175">
                  <a:noFill/>
                </a:ln>
                <a:solidFill>
                  <a:srgbClr val="4D4D4D"/>
                </a:solidFill>
                <a:effectLst/>
                <a:uLnTx/>
                <a:uFillTx/>
                <a:latin typeface="Segoe UI"/>
                <a:ea typeface="+mn-ea"/>
                <a:cs typeface="Segoe UI" pitchFamily="34" charset="0"/>
              </a:rPr>
              <a:t>Bitcoin, Ethereum, etc</a:t>
            </a:r>
          </a:p>
        </p:txBody>
      </p:sp>
      <p:sp>
        <p:nvSpPr>
          <p:cNvPr id="107" name="Title 1">
            <a:extLst>
              <a:ext uri="{FF2B5EF4-FFF2-40B4-BE49-F238E27FC236}">
                <a16:creationId xmlns:a16="http://schemas.microsoft.com/office/drawing/2014/main" id="{D163489F-A7FE-4B94-A362-E3DE94641AF2}"/>
              </a:ext>
            </a:extLst>
          </p:cNvPr>
          <p:cNvSpPr txBox="1">
            <a:spLocks/>
          </p:cNvSpPr>
          <p:nvPr/>
        </p:nvSpPr>
        <p:spPr>
          <a:xfrm>
            <a:off x="6400805" y="5418097"/>
            <a:ext cx="5178392" cy="780673"/>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400" b="0" strike="noStrike" kern="1200" cap="none" spc="-100" baseline="0" dirty="0" smtClean="0">
                <a:ln w="3175">
                  <a:noFill/>
                </a:ln>
                <a:solidFill>
                  <a:schemeClr val="tx1"/>
                </a:soli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100" normalizeH="0" baseline="0" noProof="0">
                <a:ln w="3175">
                  <a:noFill/>
                </a:ln>
                <a:solidFill>
                  <a:srgbClr val="0070C0"/>
                </a:solidFill>
                <a:effectLst/>
                <a:uLnTx/>
                <a:uFillTx/>
                <a:latin typeface="Segoe UI Semibold" panose="020B0702040204020203" pitchFamily="34" charset="0"/>
                <a:ea typeface="+mn-ea"/>
                <a:cs typeface="Segoe UI Semibold" panose="020B0702040204020203" pitchFamily="34" charset="0"/>
              </a:rPr>
              <a:t>Permissioned Blockchain Networks:</a:t>
            </a:r>
            <a:br>
              <a:rPr kumimoji="0" lang="en-US" sz="2200" b="0" i="0" u="none" strike="noStrike" kern="1200" cap="none" spc="-100" normalizeH="0" baseline="0" noProof="0">
                <a:ln w="3175">
                  <a:noFill/>
                </a:ln>
                <a:solidFill>
                  <a:srgbClr val="0070C0"/>
                </a:solidFill>
                <a:effectLst/>
                <a:uLnTx/>
                <a:uFillTx/>
                <a:latin typeface="Segoe UI Semibold" panose="020B0702040204020203" pitchFamily="34" charset="0"/>
                <a:ea typeface="+mn-ea"/>
                <a:cs typeface="Segoe UI Semibold" panose="020B0702040204020203" pitchFamily="34" charset="0"/>
              </a:rPr>
            </a:br>
            <a:r>
              <a:rPr kumimoji="0" lang="en-US" sz="2200" b="0" i="0" u="none" strike="noStrike" kern="1200" cap="none" spc="-100" normalizeH="0" baseline="0" noProof="0">
                <a:ln w="3175">
                  <a:noFill/>
                </a:ln>
                <a:solidFill>
                  <a:srgbClr val="4D4D4D"/>
                </a:solidFill>
                <a:effectLst/>
                <a:uLnTx/>
                <a:uFillTx/>
                <a:latin typeface="Segoe UI"/>
                <a:ea typeface="+mn-ea"/>
                <a:cs typeface="Segoe UI" pitchFamily="34" charset="0"/>
              </a:rPr>
              <a:t>Quorum (Ethereum), Hyperledger, R3 Corda</a:t>
            </a:r>
          </a:p>
        </p:txBody>
      </p:sp>
      <p:sp>
        <p:nvSpPr>
          <p:cNvPr id="85" name="Flowchart: Connector 84">
            <a:extLst>
              <a:ext uri="{FF2B5EF4-FFF2-40B4-BE49-F238E27FC236}">
                <a16:creationId xmlns:a16="http://schemas.microsoft.com/office/drawing/2014/main" id="{07DFD994-6319-4B1C-8D65-1070A3B99964}"/>
              </a:ext>
            </a:extLst>
          </p:cNvPr>
          <p:cNvSpPr/>
          <p:nvPr/>
        </p:nvSpPr>
        <p:spPr bwMode="auto">
          <a:xfrm>
            <a:off x="3270017" y="4344218"/>
            <a:ext cx="216000" cy="216000"/>
          </a:xfrm>
          <a:prstGeom prst="flowChartConnector">
            <a:avLst/>
          </a:prstGeom>
          <a:solidFill>
            <a:srgbClr val="0070C0"/>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6" name="Straight Connector 85">
            <a:extLst>
              <a:ext uri="{FF2B5EF4-FFF2-40B4-BE49-F238E27FC236}">
                <a16:creationId xmlns:a16="http://schemas.microsoft.com/office/drawing/2014/main" id="{E4319B09-A5AE-4B33-970E-6CC2DD5A2F84}"/>
              </a:ext>
            </a:extLst>
          </p:cNvPr>
          <p:cNvCxnSpPr>
            <a:cxnSpLocks/>
            <a:stCxn id="85" idx="2"/>
            <a:endCxn id="87" idx="5"/>
          </p:cNvCxnSpPr>
          <p:nvPr/>
        </p:nvCxnSpPr>
        <p:spPr>
          <a:xfrm flipH="1" flipV="1">
            <a:off x="2175033" y="3980746"/>
            <a:ext cx="1094984" cy="471472"/>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Flowchart: Connector 86">
            <a:extLst>
              <a:ext uri="{FF2B5EF4-FFF2-40B4-BE49-F238E27FC236}">
                <a16:creationId xmlns:a16="http://schemas.microsoft.com/office/drawing/2014/main" id="{931D0B7A-9D15-4661-9C14-53E90FFC4705}"/>
              </a:ext>
            </a:extLst>
          </p:cNvPr>
          <p:cNvSpPr/>
          <p:nvPr/>
        </p:nvSpPr>
        <p:spPr bwMode="auto">
          <a:xfrm>
            <a:off x="1990665" y="3796378"/>
            <a:ext cx="216000" cy="216000"/>
          </a:xfrm>
          <a:prstGeom prst="flowChartConnector">
            <a:avLst/>
          </a:prstGeom>
          <a:solidFill>
            <a:srgbClr val="0070C0"/>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8" name="Straight Connector 87">
            <a:extLst>
              <a:ext uri="{FF2B5EF4-FFF2-40B4-BE49-F238E27FC236}">
                <a16:creationId xmlns:a16="http://schemas.microsoft.com/office/drawing/2014/main" id="{F25A6569-A3B3-421D-8CC4-AFB82B897D25}"/>
              </a:ext>
            </a:extLst>
          </p:cNvPr>
          <p:cNvCxnSpPr>
            <a:cxnSpLocks/>
            <a:stCxn id="89" idx="2"/>
            <a:endCxn id="85" idx="6"/>
          </p:cNvCxnSpPr>
          <p:nvPr/>
        </p:nvCxnSpPr>
        <p:spPr>
          <a:xfrm flipH="1">
            <a:off x="3486017" y="4156174"/>
            <a:ext cx="1021967" cy="296044"/>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Flowchart: Connector 88">
            <a:extLst>
              <a:ext uri="{FF2B5EF4-FFF2-40B4-BE49-F238E27FC236}">
                <a16:creationId xmlns:a16="http://schemas.microsoft.com/office/drawing/2014/main" id="{A8F4FE59-3702-4962-816B-B58D5EFB671E}"/>
              </a:ext>
            </a:extLst>
          </p:cNvPr>
          <p:cNvSpPr/>
          <p:nvPr/>
        </p:nvSpPr>
        <p:spPr bwMode="auto">
          <a:xfrm>
            <a:off x="4507984" y="4048174"/>
            <a:ext cx="216000" cy="216000"/>
          </a:xfrm>
          <a:prstGeom prst="flowChartConnector">
            <a:avLst/>
          </a:prstGeom>
          <a:solidFill>
            <a:srgbClr val="0070C0"/>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Flowchart: Connector 89">
            <a:extLst>
              <a:ext uri="{FF2B5EF4-FFF2-40B4-BE49-F238E27FC236}">
                <a16:creationId xmlns:a16="http://schemas.microsoft.com/office/drawing/2014/main" id="{6366295E-65AB-42A9-BE64-939459148421}"/>
              </a:ext>
            </a:extLst>
          </p:cNvPr>
          <p:cNvSpPr/>
          <p:nvPr/>
        </p:nvSpPr>
        <p:spPr bwMode="auto">
          <a:xfrm>
            <a:off x="3932540" y="3291098"/>
            <a:ext cx="216000" cy="216000"/>
          </a:xfrm>
          <a:prstGeom prst="flowChartConnector">
            <a:avLst/>
          </a:prstGeom>
          <a:solidFill>
            <a:srgbClr val="0070C0"/>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1" name="Straight Connector 90">
            <a:extLst>
              <a:ext uri="{FF2B5EF4-FFF2-40B4-BE49-F238E27FC236}">
                <a16:creationId xmlns:a16="http://schemas.microsoft.com/office/drawing/2014/main" id="{30A22130-1148-4B06-88ED-23CE19504020}"/>
              </a:ext>
            </a:extLst>
          </p:cNvPr>
          <p:cNvCxnSpPr>
            <a:cxnSpLocks/>
            <a:stCxn id="90" idx="5"/>
            <a:endCxn id="89" idx="1"/>
          </p:cNvCxnSpPr>
          <p:nvPr/>
        </p:nvCxnSpPr>
        <p:spPr>
          <a:xfrm>
            <a:off x="4116908" y="3475466"/>
            <a:ext cx="422708" cy="604340"/>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88E3093B-C066-4D43-B4F8-962473F06910}"/>
              </a:ext>
            </a:extLst>
          </p:cNvPr>
          <p:cNvCxnSpPr>
            <a:cxnSpLocks/>
            <a:stCxn id="90" idx="4"/>
            <a:endCxn id="85" idx="7"/>
          </p:cNvCxnSpPr>
          <p:nvPr/>
        </p:nvCxnSpPr>
        <p:spPr>
          <a:xfrm flipH="1">
            <a:off x="3454385" y="3507098"/>
            <a:ext cx="586155" cy="868752"/>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DA7F774-7D4E-4204-AC21-F2B2AB282958}"/>
              </a:ext>
            </a:extLst>
          </p:cNvPr>
          <p:cNvCxnSpPr>
            <a:cxnSpLocks/>
            <a:stCxn id="90" idx="2"/>
            <a:endCxn id="87" idx="6"/>
          </p:cNvCxnSpPr>
          <p:nvPr/>
        </p:nvCxnSpPr>
        <p:spPr>
          <a:xfrm flipH="1">
            <a:off x="2206665" y="3399098"/>
            <a:ext cx="1725875" cy="505280"/>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Flowchart: Connector 93">
            <a:extLst>
              <a:ext uri="{FF2B5EF4-FFF2-40B4-BE49-F238E27FC236}">
                <a16:creationId xmlns:a16="http://schemas.microsoft.com/office/drawing/2014/main" id="{E6C93BC8-D100-41E8-92B6-FE4C8D2BAA6C}"/>
              </a:ext>
            </a:extLst>
          </p:cNvPr>
          <p:cNvSpPr/>
          <p:nvPr/>
        </p:nvSpPr>
        <p:spPr bwMode="auto">
          <a:xfrm>
            <a:off x="3187999" y="2798709"/>
            <a:ext cx="216000" cy="216000"/>
          </a:xfrm>
          <a:prstGeom prst="flowChartConnector">
            <a:avLst/>
          </a:prstGeom>
          <a:solidFill>
            <a:srgbClr val="0070C0"/>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Flowchart: Connector 94">
            <a:extLst>
              <a:ext uri="{FF2B5EF4-FFF2-40B4-BE49-F238E27FC236}">
                <a16:creationId xmlns:a16="http://schemas.microsoft.com/office/drawing/2014/main" id="{E19014CD-53FF-450D-8660-B98B416CCF68}"/>
              </a:ext>
            </a:extLst>
          </p:cNvPr>
          <p:cNvSpPr/>
          <p:nvPr/>
        </p:nvSpPr>
        <p:spPr bwMode="auto">
          <a:xfrm>
            <a:off x="2242378" y="2392812"/>
            <a:ext cx="216000" cy="216000"/>
          </a:xfrm>
          <a:prstGeom prst="flowChartConnector">
            <a:avLst/>
          </a:prstGeom>
          <a:solidFill>
            <a:srgbClr val="0070C0"/>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Flowchart: Connector 95">
            <a:extLst>
              <a:ext uri="{FF2B5EF4-FFF2-40B4-BE49-F238E27FC236}">
                <a16:creationId xmlns:a16="http://schemas.microsoft.com/office/drawing/2014/main" id="{00E7C787-1AEA-4EA2-8360-577355C18754}"/>
              </a:ext>
            </a:extLst>
          </p:cNvPr>
          <p:cNvSpPr/>
          <p:nvPr/>
        </p:nvSpPr>
        <p:spPr bwMode="auto">
          <a:xfrm>
            <a:off x="3465135" y="2077367"/>
            <a:ext cx="216000" cy="216000"/>
          </a:xfrm>
          <a:prstGeom prst="flowChartConnector">
            <a:avLst/>
          </a:prstGeom>
          <a:solidFill>
            <a:srgbClr val="0070C0"/>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Flowchart: Connector 96">
            <a:extLst>
              <a:ext uri="{FF2B5EF4-FFF2-40B4-BE49-F238E27FC236}">
                <a16:creationId xmlns:a16="http://schemas.microsoft.com/office/drawing/2014/main" id="{A8781E4B-E911-408A-B27B-29E7D4FBE82C}"/>
              </a:ext>
            </a:extLst>
          </p:cNvPr>
          <p:cNvSpPr/>
          <p:nvPr/>
        </p:nvSpPr>
        <p:spPr bwMode="auto">
          <a:xfrm>
            <a:off x="4705155" y="2586708"/>
            <a:ext cx="216000" cy="216000"/>
          </a:xfrm>
          <a:prstGeom prst="flowChartConnector">
            <a:avLst/>
          </a:prstGeom>
          <a:solidFill>
            <a:srgbClr val="0070C0"/>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8" name="Straight Connector 97">
            <a:extLst>
              <a:ext uri="{FF2B5EF4-FFF2-40B4-BE49-F238E27FC236}">
                <a16:creationId xmlns:a16="http://schemas.microsoft.com/office/drawing/2014/main" id="{1BA9E10B-7745-47FD-81EC-4F47FAD5A339}"/>
              </a:ext>
            </a:extLst>
          </p:cNvPr>
          <p:cNvCxnSpPr>
            <a:cxnSpLocks/>
            <a:stCxn id="97" idx="3"/>
            <a:endCxn id="90" idx="7"/>
          </p:cNvCxnSpPr>
          <p:nvPr/>
        </p:nvCxnSpPr>
        <p:spPr>
          <a:xfrm flipH="1">
            <a:off x="4116908" y="2771076"/>
            <a:ext cx="619879" cy="551654"/>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BCB6CD52-A1B7-4A56-9C89-1FEF050C7F54}"/>
              </a:ext>
            </a:extLst>
          </p:cNvPr>
          <p:cNvCxnSpPr>
            <a:cxnSpLocks/>
            <a:stCxn id="96" idx="6"/>
            <a:endCxn id="97" idx="2"/>
          </p:cNvCxnSpPr>
          <p:nvPr/>
        </p:nvCxnSpPr>
        <p:spPr>
          <a:xfrm>
            <a:off x="3681135" y="2185367"/>
            <a:ext cx="1024020" cy="509341"/>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FA3A6ED-6EE1-4BD3-B1AC-E78CA6918851}"/>
              </a:ext>
            </a:extLst>
          </p:cNvPr>
          <p:cNvCxnSpPr>
            <a:cxnSpLocks/>
            <a:stCxn id="96" idx="3"/>
            <a:endCxn id="94" idx="0"/>
          </p:cNvCxnSpPr>
          <p:nvPr/>
        </p:nvCxnSpPr>
        <p:spPr>
          <a:xfrm flipH="1">
            <a:off x="3295999" y="2261735"/>
            <a:ext cx="200768" cy="536974"/>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416946A0-4A8A-435A-9BCA-6A377700815A}"/>
              </a:ext>
            </a:extLst>
          </p:cNvPr>
          <p:cNvCxnSpPr>
            <a:cxnSpLocks/>
            <a:stCxn id="95" idx="5"/>
            <a:endCxn id="94" idx="1"/>
          </p:cNvCxnSpPr>
          <p:nvPr/>
        </p:nvCxnSpPr>
        <p:spPr>
          <a:xfrm>
            <a:off x="2426746" y="2577180"/>
            <a:ext cx="792885" cy="253161"/>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4913951C-F3CA-4EC5-AA26-CB4DE67A5B71}"/>
              </a:ext>
            </a:extLst>
          </p:cNvPr>
          <p:cNvCxnSpPr>
            <a:cxnSpLocks/>
            <a:stCxn id="95" idx="4"/>
            <a:endCxn id="85" idx="1"/>
          </p:cNvCxnSpPr>
          <p:nvPr/>
        </p:nvCxnSpPr>
        <p:spPr>
          <a:xfrm>
            <a:off x="2350378" y="2608812"/>
            <a:ext cx="951271" cy="1767038"/>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B76B9CC1-2121-41F9-ADD7-35DCB8B0434E}"/>
              </a:ext>
            </a:extLst>
          </p:cNvPr>
          <p:cNvCxnSpPr>
            <a:cxnSpLocks/>
            <a:stCxn id="90" idx="1"/>
            <a:endCxn id="94" idx="6"/>
          </p:cNvCxnSpPr>
          <p:nvPr/>
        </p:nvCxnSpPr>
        <p:spPr>
          <a:xfrm flipH="1" flipV="1">
            <a:off x="3403999" y="2906709"/>
            <a:ext cx="560173" cy="416021"/>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F9AF3AA6-17DB-4E39-9C5D-062E74F02915}"/>
              </a:ext>
            </a:extLst>
          </p:cNvPr>
          <p:cNvCxnSpPr>
            <a:cxnSpLocks/>
            <a:stCxn id="96" idx="2"/>
            <a:endCxn id="95" idx="6"/>
          </p:cNvCxnSpPr>
          <p:nvPr/>
        </p:nvCxnSpPr>
        <p:spPr>
          <a:xfrm flipH="1">
            <a:off x="2458378" y="2185367"/>
            <a:ext cx="1006757" cy="315445"/>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94687C4D-4A15-4C02-A0F3-7B5B54066B9A}"/>
              </a:ext>
            </a:extLst>
          </p:cNvPr>
          <p:cNvCxnSpPr>
            <a:cxnSpLocks/>
            <a:stCxn id="96" idx="6"/>
            <a:endCxn id="89" idx="0"/>
          </p:cNvCxnSpPr>
          <p:nvPr/>
        </p:nvCxnSpPr>
        <p:spPr>
          <a:xfrm>
            <a:off x="3681135" y="2185367"/>
            <a:ext cx="934849" cy="1862807"/>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F0D04662-A912-4BD9-83BF-2A0781B08B0F}"/>
              </a:ext>
            </a:extLst>
          </p:cNvPr>
          <p:cNvCxnSpPr>
            <a:cxnSpLocks/>
            <a:stCxn id="96" idx="4"/>
            <a:endCxn id="85" idx="0"/>
          </p:cNvCxnSpPr>
          <p:nvPr/>
        </p:nvCxnSpPr>
        <p:spPr>
          <a:xfrm flipH="1">
            <a:off x="3378017" y="2293367"/>
            <a:ext cx="195118" cy="2050851"/>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6A4277EB-BB80-42A7-AC18-8B7661534FE8}"/>
              </a:ext>
            </a:extLst>
          </p:cNvPr>
          <p:cNvCxnSpPr>
            <a:cxnSpLocks/>
            <a:stCxn id="94" idx="4"/>
            <a:endCxn id="85" idx="0"/>
          </p:cNvCxnSpPr>
          <p:nvPr/>
        </p:nvCxnSpPr>
        <p:spPr>
          <a:xfrm>
            <a:off x="3295999" y="3014709"/>
            <a:ext cx="82018" cy="1329509"/>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globe" title="Icon of the earth">
            <a:extLst>
              <a:ext uri="{FF2B5EF4-FFF2-40B4-BE49-F238E27FC236}">
                <a16:creationId xmlns:a16="http://schemas.microsoft.com/office/drawing/2014/main" id="{E4CFA734-4A3D-4EF5-AF64-AA7D2BD815F1}"/>
              </a:ext>
            </a:extLst>
          </p:cNvPr>
          <p:cNvSpPr>
            <a:spLocks noChangeAspect="1" noEditPoints="1"/>
          </p:cNvSpPr>
          <p:nvPr/>
        </p:nvSpPr>
        <p:spPr bwMode="auto">
          <a:xfrm>
            <a:off x="1681475" y="1515787"/>
            <a:ext cx="3559092" cy="357120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sq">
            <a:solidFill>
              <a:srgbClr val="353535">
                <a:alpha val="21961"/>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cxnSp>
        <p:nvCxnSpPr>
          <p:cNvPr id="110" name="Straight Connector 109">
            <a:extLst>
              <a:ext uri="{FF2B5EF4-FFF2-40B4-BE49-F238E27FC236}">
                <a16:creationId xmlns:a16="http://schemas.microsoft.com/office/drawing/2014/main" id="{1D211FC0-8D91-4B4F-9F26-6CB68A4920BF}"/>
              </a:ext>
            </a:extLst>
          </p:cNvPr>
          <p:cNvCxnSpPr>
            <a:cxnSpLocks/>
            <a:stCxn id="95" idx="4"/>
            <a:endCxn id="87" idx="0"/>
          </p:cNvCxnSpPr>
          <p:nvPr/>
        </p:nvCxnSpPr>
        <p:spPr>
          <a:xfrm flipH="1">
            <a:off x="2098665" y="2608812"/>
            <a:ext cx="251713" cy="1187566"/>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1174404A-3CB3-4B38-A8D1-14B091BF8093}"/>
              </a:ext>
            </a:extLst>
          </p:cNvPr>
          <p:cNvCxnSpPr>
            <a:cxnSpLocks/>
            <a:stCxn id="90" idx="0"/>
            <a:endCxn id="96" idx="5"/>
          </p:cNvCxnSpPr>
          <p:nvPr/>
        </p:nvCxnSpPr>
        <p:spPr>
          <a:xfrm flipH="1" flipV="1">
            <a:off x="3649503" y="2261735"/>
            <a:ext cx="391037" cy="1029363"/>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D34996F0-78DF-450D-8841-F540CF780A36}"/>
              </a:ext>
            </a:extLst>
          </p:cNvPr>
          <p:cNvCxnSpPr>
            <a:cxnSpLocks/>
            <a:stCxn id="97" idx="4"/>
            <a:endCxn id="89" idx="0"/>
          </p:cNvCxnSpPr>
          <p:nvPr/>
        </p:nvCxnSpPr>
        <p:spPr>
          <a:xfrm flipH="1">
            <a:off x="4615984" y="2802708"/>
            <a:ext cx="197171" cy="1245466"/>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C3DA54D4-2BD1-404F-B600-300FD2F42B0D}"/>
              </a:ext>
            </a:extLst>
          </p:cNvPr>
          <p:cNvCxnSpPr>
            <a:cxnSpLocks/>
            <a:stCxn id="95" idx="5"/>
            <a:endCxn id="89" idx="1"/>
          </p:cNvCxnSpPr>
          <p:nvPr/>
        </p:nvCxnSpPr>
        <p:spPr>
          <a:xfrm>
            <a:off x="2426746" y="2577180"/>
            <a:ext cx="2112870" cy="1502626"/>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2F02558-8C79-4C35-A2B8-65BC2C73692B}"/>
              </a:ext>
            </a:extLst>
          </p:cNvPr>
          <p:cNvCxnSpPr>
            <a:cxnSpLocks/>
            <a:stCxn id="97" idx="2"/>
            <a:endCxn id="87" idx="7"/>
          </p:cNvCxnSpPr>
          <p:nvPr/>
        </p:nvCxnSpPr>
        <p:spPr>
          <a:xfrm flipH="1">
            <a:off x="2175033" y="2694708"/>
            <a:ext cx="2530122" cy="1133302"/>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01A0D3B1-29F7-4DA6-9D3A-1B733155F65E}"/>
              </a:ext>
            </a:extLst>
          </p:cNvPr>
          <p:cNvCxnSpPr>
            <a:cxnSpLocks/>
            <a:stCxn id="192" idx="2"/>
            <a:endCxn id="191" idx="6"/>
          </p:cNvCxnSpPr>
          <p:nvPr/>
        </p:nvCxnSpPr>
        <p:spPr>
          <a:xfrm flipH="1">
            <a:off x="8684649" y="3600331"/>
            <a:ext cx="1437104" cy="1004854"/>
          </a:xfrm>
          <a:prstGeom prst="line">
            <a:avLst/>
          </a:prstGeom>
          <a:ln w="28575">
            <a:solidFill>
              <a:srgbClr val="7030A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1" name="Flowchart: Connector 190">
            <a:extLst>
              <a:ext uri="{FF2B5EF4-FFF2-40B4-BE49-F238E27FC236}">
                <a16:creationId xmlns:a16="http://schemas.microsoft.com/office/drawing/2014/main" id="{FD6A0201-D86A-49FE-A17A-498D65FF1515}"/>
              </a:ext>
            </a:extLst>
          </p:cNvPr>
          <p:cNvSpPr/>
          <p:nvPr/>
        </p:nvSpPr>
        <p:spPr bwMode="auto">
          <a:xfrm>
            <a:off x="8468649" y="4497185"/>
            <a:ext cx="216000" cy="216000"/>
          </a:xfrm>
          <a:prstGeom prst="flowChartConnector">
            <a:avLst/>
          </a:prstGeom>
          <a:solidFill>
            <a:srgbClr val="7030A0"/>
          </a:solidFill>
          <a:ln w="190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2" name="Flowchart: Connector 191">
            <a:extLst>
              <a:ext uri="{FF2B5EF4-FFF2-40B4-BE49-F238E27FC236}">
                <a16:creationId xmlns:a16="http://schemas.microsoft.com/office/drawing/2014/main" id="{A9D015E8-810B-4C6D-A76B-6058795307B2}"/>
              </a:ext>
            </a:extLst>
          </p:cNvPr>
          <p:cNvSpPr/>
          <p:nvPr/>
        </p:nvSpPr>
        <p:spPr bwMode="auto">
          <a:xfrm>
            <a:off x="10121753" y="3492331"/>
            <a:ext cx="216000" cy="216000"/>
          </a:xfrm>
          <a:prstGeom prst="flowChartConnector">
            <a:avLst/>
          </a:prstGeom>
          <a:solidFill>
            <a:srgbClr val="7030A0"/>
          </a:solidFill>
          <a:ln w="190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3" name="Flowchart: Connector 192">
            <a:extLst>
              <a:ext uri="{FF2B5EF4-FFF2-40B4-BE49-F238E27FC236}">
                <a16:creationId xmlns:a16="http://schemas.microsoft.com/office/drawing/2014/main" id="{6F70CC63-2BFC-4A95-BF33-91705784C986}"/>
              </a:ext>
            </a:extLst>
          </p:cNvPr>
          <p:cNvSpPr/>
          <p:nvPr/>
        </p:nvSpPr>
        <p:spPr bwMode="auto">
          <a:xfrm>
            <a:off x="9317900" y="3280533"/>
            <a:ext cx="216000" cy="216000"/>
          </a:xfrm>
          <a:prstGeom prst="flowChartConnector">
            <a:avLst/>
          </a:prstGeom>
          <a:solidFill>
            <a:srgbClr val="7030A0"/>
          </a:solidFill>
          <a:ln w="190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4" name="Straight Connector 193">
            <a:extLst>
              <a:ext uri="{FF2B5EF4-FFF2-40B4-BE49-F238E27FC236}">
                <a16:creationId xmlns:a16="http://schemas.microsoft.com/office/drawing/2014/main" id="{422D9E4E-69CB-4AF4-95EE-4E903AC7BCAD}"/>
              </a:ext>
            </a:extLst>
          </p:cNvPr>
          <p:cNvCxnSpPr>
            <a:cxnSpLocks/>
            <a:stCxn id="193" idx="6"/>
            <a:endCxn id="192" idx="1"/>
          </p:cNvCxnSpPr>
          <p:nvPr/>
        </p:nvCxnSpPr>
        <p:spPr>
          <a:xfrm>
            <a:off x="9533900" y="3388533"/>
            <a:ext cx="619485" cy="135430"/>
          </a:xfrm>
          <a:prstGeom prst="line">
            <a:avLst/>
          </a:prstGeom>
          <a:ln w="28575">
            <a:solidFill>
              <a:srgbClr val="7030A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788B9017-B038-4939-BF70-47BB1A4AFEED}"/>
              </a:ext>
            </a:extLst>
          </p:cNvPr>
          <p:cNvCxnSpPr>
            <a:cxnSpLocks/>
            <a:stCxn id="193" idx="3"/>
            <a:endCxn id="191" idx="7"/>
          </p:cNvCxnSpPr>
          <p:nvPr/>
        </p:nvCxnSpPr>
        <p:spPr>
          <a:xfrm flipH="1">
            <a:off x="8653017" y="3464901"/>
            <a:ext cx="696515" cy="1063916"/>
          </a:xfrm>
          <a:prstGeom prst="line">
            <a:avLst/>
          </a:prstGeom>
          <a:ln w="28575">
            <a:solidFill>
              <a:srgbClr val="7030A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6" name="Flowchart: Connector 195">
            <a:extLst>
              <a:ext uri="{FF2B5EF4-FFF2-40B4-BE49-F238E27FC236}">
                <a16:creationId xmlns:a16="http://schemas.microsoft.com/office/drawing/2014/main" id="{6F5B8742-0509-40D5-8E17-9CE87EFEC71B}"/>
              </a:ext>
            </a:extLst>
          </p:cNvPr>
          <p:cNvSpPr/>
          <p:nvPr/>
        </p:nvSpPr>
        <p:spPr bwMode="auto">
          <a:xfrm>
            <a:off x="8436697" y="3094595"/>
            <a:ext cx="216000" cy="216000"/>
          </a:xfrm>
          <a:prstGeom prst="flowChartConnector">
            <a:avLst/>
          </a:prstGeom>
          <a:solidFill>
            <a:srgbClr val="0070C0"/>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7" name="Flowchart: Connector 196">
            <a:extLst>
              <a:ext uri="{FF2B5EF4-FFF2-40B4-BE49-F238E27FC236}">
                <a16:creationId xmlns:a16="http://schemas.microsoft.com/office/drawing/2014/main" id="{993719A1-927F-43B7-ABBA-BECC41634CA9}"/>
              </a:ext>
            </a:extLst>
          </p:cNvPr>
          <p:cNvSpPr/>
          <p:nvPr/>
        </p:nvSpPr>
        <p:spPr bwMode="auto">
          <a:xfrm>
            <a:off x="7537456" y="2559419"/>
            <a:ext cx="216000" cy="216000"/>
          </a:xfrm>
          <a:prstGeom prst="flowChartConnector">
            <a:avLst/>
          </a:prstGeom>
          <a:solidFill>
            <a:srgbClr val="0070C0"/>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8" name="Flowchart: Connector 197">
            <a:extLst>
              <a:ext uri="{FF2B5EF4-FFF2-40B4-BE49-F238E27FC236}">
                <a16:creationId xmlns:a16="http://schemas.microsoft.com/office/drawing/2014/main" id="{13F566DF-5C31-43E1-8628-3544F0F45DFE}"/>
              </a:ext>
            </a:extLst>
          </p:cNvPr>
          <p:cNvSpPr/>
          <p:nvPr/>
        </p:nvSpPr>
        <p:spPr bwMode="auto">
          <a:xfrm>
            <a:off x="9589796" y="1960209"/>
            <a:ext cx="216000" cy="216000"/>
          </a:xfrm>
          <a:prstGeom prst="flowChartConnector">
            <a:avLst/>
          </a:prstGeom>
          <a:solidFill>
            <a:srgbClr val="0070C0"/>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9" name="Straight Connector 198">
            <a:extLst>
              <a:ext uri="{FF2B5EF4-FFF2-40B4-BE49-F238E27FC236}">
                <a16:creationId xmlns:a16="http://schemas.microsoft.com/office/drawing/2014/main" id="{1C04623E-EDF2-4E7B-B7C2-036D0440258A}"/>
              </a:ext>
            </a:extLst>
          </p:cNvPr>
          <p:cNvCxnSpPr>
            <a:cxnSpLocks/>
            <a:stCxn id="197" idx="6"/>
            <a:endCxn id="198" idx="2"/>
          </p:cNvCxnSpPr>
          <p:nvPr/>
        </p:nvCxnSpPr>
        <p:spPr>
          <a:xfrm flipV="1">
            <a:off x="7753456" y="2068209"/>
            <a:ext cx="1836340" cy="599210"/>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A11D830C-4685-442C-9C5F-B2C5D545C03C}"/>
              </a:ext>
            </a:extLst>
          </p:cNvPr>
          <p:cNvCxnSpPr>
            <a:cxnSpLocks/>
            <a:stCxn id="197" idx="5"/>
            <a:endCxn id="196" idx="1"/>
          </p:cNvCxnSpPr>
          <p:nvPr/>
        </p:nvCxnSpPr>
        <p:spPr>
          <a:xfrm>
            <a:off x="7721824" y="2743787"/>
            <a:ext cx="746505" cy="382440"/>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1" name="Flowchart: Connector 200">
            <a:extLst>
              <a:ext uri="{FF2B5EF4-FFF2-40B4-BE49-F238E27FC236}">
                <a16:creationId xmlns:a16="http://schemas.microsoft.com/office/drawing/2014/main" id="{CC5BDE9D-9627-4206-89A2-CA4F5E408C36}"/>
              </a:ext>
            </a:extLst>
          </p:cNvPr>
          <p:cNvSpPr/>
          <p:nvPr/>
        </p:nvSpPr>
        <p:spPr bwMode="auto">
          <a:xfrm>
            <a:off x="7142736" y="1512792"/>
            <a:ext cx="3571200" cy="3571200"/>
          </a:xfrm>
          <a:prstGeom prst="flowChartConnector">
            <a:avLst/>
          </a:prstGeom>
          <a:noFill/>
          <a:ln w="28575">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uilding_7" title="Icon of a building with a curved section protruding from it">
            <a:extLst>
              <a:ext uri="{FF2B5EF4-FFF2-40B4-BE49-F238E27FC236}">
                <a16:creationId xmlns:a16="http://schemas.microsoft.com/office/drawing/2014/main" id="{6B47060A-81E8-4649-8496-673201AD931B}"/>
              </a:ext>
            </a:extLst>
          </p:cNvPr>
          <p:cNvSpPr>
            <a:spLocks noChangeAspect="1" noEditPoints="1"/>
          </p:cNvSpPr>
          <p:nvPr/>
        </p:nvSpPr>
        <p:spPr bwMode="auto">
          <a:xfrm>
            <a:off x="9913036" y="4128689"/>
            <a:ext cx="650877" cy="736992"/>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28575" cap="flat">
            <a:solidFill>
              <a:schemeClr val="tx1">
                <a:lumMod val="20000"/>
                <a:lumOff val="8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5" name="building_7" title="Icon of a building with a curved section protruding from it">
            <a:extLst>
              <a:ext uri="{FF2B5EF4-FFF2-40B4-BE49-F238E27FC236}">
                <a16:creationId xmlns:a16="http://schemas.microsoft.com/office/drawing/2014/main" id="{49C2A688-37DC-4508-A546-31F7B44C149F}"/>
              </a:ext>
            </a:extLst>
          </p:cNvPr>
          <p:cNvSpPr>
            <a:spLocks noChangeAspect="1" noEditPoints="1"/>
          </p:cNvSpPr>
          <p:nvPr/>
        </p:nvSpPr>
        <p:spPr bwMode="auto">
          <a:xfrm>
            <a:off x="7827361" y="1424340"/>
            <a:ext cx="652829" cy="739203"/>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28575" cap="flat">
            <a:solidFill>
              <a:schemeClr val="tx1">
                <a:lumMod val="20000"/>
                <a:lumOff val="8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206" name="Straight Connector 205">
            <a:extLst>
              <a:ext uri="{FF2B5EF4-FFF2-40B4-BE49-F238E27FC236}">
                <a16:creationId xmlns:a16="http://schemas.microsoft.com/office/drawing/2014/main" id="{EDB6CBAD-6AD9-43CC-A143-3108237590E6}"/>
              </a:ext>
            </a:extLst>
          </p:cNvPr>
          <p:cNvCxnSpPr>
            <a:cxnSpLocks/>
            <a:stCxn id="196" idx="7"/>
            <a:endCxn id="198" idx="3"/>
          </p:cNvCxnSpPr>
          <p:nvPr/>
        </p:nvCxnSpPr>
        <p:spPr>
          <a:xfrm flipV="1">
            <a:off x="8621065" y="2144577"/>
            <a:ext cx="1000363" cy="981650"/>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23014247-2975-47B4-9F5E-60BF91778E05}"/>
              </a:ext>
            </a:extLst>
          </p:cNvPr>
          <p:cNvCxnSpPr>
            <a:cxnSpLocks/>
            <a:stCxn id="192" idx="0"/>
            <a:endCxn id="198" idx="5"/>
          </p:cNvCxnSpPr>
          <p:nvPr/>
        </p:nvCxnSpPr>
        <p:spPr>
          <a:xfrm flipH="1" flipV="1">
            <a:off x="9774164" y="2144577"/>
            <a:ext cx="455589" cy="1347754"/>
          </a:xfrm>
          <a:prstGeom prst="line">
            <a:avLst/>
          </a:prstGeom>
          <a:ln w="28575">
            <a:solidFill>
              <a:schemeClr val="bg2">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8E32A889-4522-437E-98BA-8CD2D69E2AE0}"/>
              </a:ext>
            </a:extLst>
          </p:cNvPr>
          <p:cNvCxnSpPr>
            <a:cxnSpLocks/>
            <a:stCxn id="198" idx="4"/>
            <a:endCxn id="193" idx="0"/>
          </p:cNvCxnSpPr>
          <p:nvPr/>
        </p:nvCxnSpPr>
        <p:spPr>
          <a:xfrm flipH="1">
            <a:off x="9425900" y="2176209"/>
            <a:ext cx="271896" cy="1104324"/>
          </a:xfrm>
          <a:prstGeom prst="line">
            <a:avLst/>
          </a:prstGeom>
          <a:ln w="28575">
            <a:solidFill>
              <a:schemeClr val="bg2">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79D8B39A-8BA2-4666-B7AB-CD04D4739BE7}"/>
              </a:ext>
            </a:extLst>
          </p:cNvPr>
          <p:cNvCxnSpPr>
            <a:cxnSpLocks/>
            <a:stCxn id="196" idx="4"/>
            <a:endCxn id="191" idx="0"/>
          </p:cNvCxnSpPr>
          <p:nvPr/>
        </p:nvCxnSpPr>
        <p:spPr>
          <a:xfrm>
            <a:off x="8544697" y="3310595"/>
            <a:ext cx="31952" cy="1186590"/>
          </a:xfrm>
          <a:prstGeom prst="line">
            <a:avLst/>
          </a:prstGeom>
          <a:ln w="28575">
            <a:solidFill>
              <a:schemeClr val="bg2">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21805196-8D2A-4CDC-865E-83E4BD06A9E1}"/>
              </a:ext>
            </a:extLst>
          </p:cNvPr>
          <p:cNvCxnSpPr>
            <a:cxnSpLocks/>
            <a:stCxn id="197" idx="4"/>
            <a:endCxn id="191" idx="1"/>
          </p:cNvCxnSpPr>
          <p:nvPr/>
        </p:nvCxnSpPr>
        <p:spPr>
          <a:xfrm>
            <a:off x="7645456" y="2775419"/>
            <a:ext cx="854825" cy="1753398"/>
          </a:xfrm>
          <a:prstGeom prst="line">
            <a:avLst/>
          </a:prstGeom>
          <a:ln w="28575">
            <a:solidFill>
              <a:schemeClr val="bg2">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1" name="Rectangle 210">
            <a:extLst>
              <a:ext uri="{FF2B5EF4-FFF2-40B4-BE49-F238E27FC236}">
                <a16:creationId xmlns:a16="http://schemas.microsoft.com/office/drawing/2014/main" id="{715568D4-148F-4EBE-B210-42EF699E9605}"/>
              </a:ext>
            </a:extLst>
          </p:cNvPr>
          <p:cNvSpPr/>
          <p:nvPr/>
        </p:nvSpPr>
        <p:spPr>
          <a:xfrm>
            <a:off x="7568320" y="1121731"/>
            <a:ext cx="1023037" cy="292388"/>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srgbClr val="E6E6E6">
                    <a:lumMod val="75000"/>
                  </a:srgbClr>
                </a:solidFill>
                <a:effectLst/>
                <a:uLnTx/>
                <a:uFillTx/>
                <a:latin typeface="Segoe UI"/>
                <a:ea typeface="+mn-ea"/>
                <a:cs typeface="Segoe UI Semibold" panose="020B0702040204020203" pitchFamily="34" charset="0"/>
              </a:rPr>
              <a:t>Company A</a:t>
            </a:r>
            <a:endParaRPr kumimoji="0" lang="en-US" sz="1300" b="0" i="0" u="none" strike="noStrike" kern="1200" cap="none" spc="0" normalizeH="0" baseline="0" noProof="0">
              <a:ln>
                <a:noFill/>
              </a:ln>
              <a:solidFill>
                <a:srgbClr val="E6E6E6">
                  <a:lumMod val="75000"/>
                </a:srgbClr>
              </a:solidFill>
              <a:effectLst/>
              <a:uLnTx/>
              <a:uFillTx/>
              <a:latin typeface="Segoe UI"/>
              <a:ea typeface="+mn-ea"/>
              <a:cs typeface="+mn-cs"/>
            </a:endParaRPr>
          </a:p>
        </p:txBody>
      </p:sp>
      <p:sp>
        <p:nvSpPr>
          <p:cNvPr id="212" name="Rectangle 211">
            <a:extLst>
              <a:ext uri="{FF2B5EF4-FFF2-40B4-BE49-F238E27FC236}">
                <a16:creationId xmlns:a16="http://schemas.microsoft.com/office/drawing/2014/main" id="{2F94F17D-B65F-4FB8-A576-D7A4DC1201D3}"/>
              </a:ext>
            </a:extLst>
          </p:cNvPr>
          <p:cNvSpPr/>
          <p:nvPr/>
        </p:nvSpPr>
        <p:spPr>
          <a:xfrm>
            <a:off x="9777504" y="4930504"/>
            <a:ext cx="1010213" cy="292388"/>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srgbClr val="E6E6E6">
                    <a:lumMod val="75000"/>
                  </a:srgbClr>
                </a:solidFill>
                <a:effectLst/>
                <a:uLnTx/>
                <a:uFillTx/>
                <a:latin typeface="Segoe UI"/>
                <a:ea typeface="+mn-ea"/>
                <a:cs typeface="Segoe UI Semibold" panose="020B0702040204020203" pitchFamily="34" charset="0"/>
              </a:rPr>
              <a:t>Company B</a:t>
            </a:r>
            <a:endParaRPr kumimoji="0" lang="en-US" sz="1300" b="0" i="0" u="none" strike="noStrike" kern="1200" cap="none" spc="0" normalizeH="0" baseline="0" noProof="0">
              <a:ln>
                <a:noFill/>
              </a:ln>
              <a:solidFill>
                <a:srgbClr val="E6E6E6">
                  <a:lumMod val="75000"/>
                </a:srgbClr>
              </a:solidFill>
              <a:effectLst/>
              <a:uLnTx/>
              <a:uFillTx/>
              <a:latin typeface="Segoe UI"/>
              <a:ea typeface="+mn-ea"/>
              <a:cs typeface="+mn-cs"/>
            </a:endParaRPr>
          </a:p>
        </p:txBody>
      </p:sp>
    </p:spTree>
    <p:extLst>
      <p:ext uri="{BB962C8B-B14F-4D97-AF65-F5344CB8AC3E}">
        <p14:creationId xmlns:p14="http://schemas.microsoft.com/office/powerpoint/2010/main" val="4025013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fade">
                                      <p:cBhvr>
                                        <p:cTn id="7" dur="500"/>
                                        <p:tgtEl>
                                          <p:spTgt spid="85"/>
                                        </p:tgtEl>
                                      </p:cBhvr>
                                    </p:animEffect>
                                  </p:childTnLst>
                                </p:cTn>
                              </p:par>
                              <p:par>
                                <p:cTn id="8" presetID="10" presetClass="entr" presetSubtype="0" fill="hold" nodeType="withEffect">
                                  <p:stCondLst>
                                    <p:cond delay="0"/>
                                  </p:stCondLst>
                                  <p:childTnLst>
                                    <p:set>
                                      <p:cBhvr>
                                        <p:cTn id="9" dur="1" fill="hold">
                                          <p:stCondLst>
                                            <p:cond delay="0"/>
                                          </p:stCondLst>
                                        </p:cTn>
                                        <p:tgtEl>
                                          <p:spTgt spid="86"/>
                                        </p:tgtEl>
                                        <p:attrNameLst>
                                          <p:attrName>style.visibility</p:attrName>
                                        </p:attrNameLst>
                                      </p:cBhvr>
                                      <p:to>
                                        <p:strVal val="visible"/>
                                      </p:to>
                                    </p:set>
                                    <p:animEffect transition="in" filter="fade">
                                      <p:cBhvr>
                                        <p:cTn id="10" dur="500"/>
                                        <p:tgtEl>
                                          <p:spTgt spid="8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fade">
                                      <p:cBhvr>
                                        <p:cTn id="13" dur="500"/>
                                        <p:tgtEl>
                                          <p:spTgt spid="87"/>
                                        </p:tgtEl>
                                      </p:cBhvr>
                                    </p:animEffect>
                                  </p:childTnLst>
                                </p:cTn>
                              </p:par>
                              <p:par>
                                <p:cTn id="14" presetID="10" presetClass="entr" presetSubtype="0" fill="hold" nodeType="withEffect">
                                  <p:stCondLst>
                                    <p:cond delay="0"/>
                                  </p:stCondLst>
                                  <p:childTnLst>
                                    <p:set>
                                      <p:cBhvr>
                                        <p:cTn id="15" dur="1" fill="hold">
                                          <p:stCondLst>
                                            <p:cond delay="0"/>
                                          </p:stCondLst>
                                        </p:cTn>
                                        <p:tgtEl>
                                          <p:spTgt spid="88"/>
                                        </p:tgtEl>
                                        <p:attrNameLst>
                                          <p:attrName>style.visibility</p:attrName>
                                        </p:attrNameLst>
                                      </p:cBhvr>
                                      <p:to>
                                        <p:strVal val="visible"/>
                                      </p:to>
                                    </p:set>
                                    <p:animEffect transition="in" filter="fade">
                                      <p:cBhvr>
                                        <p:cTn id="16" dur="500"/>
                                        <p:tgtEl>
                                          <p:spTgt spid="8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9"/>
                                        </p:tgtEl>
                                        <p:attrNameLst>
                                          <p:attrName>style.visibility</p:attrName>
                                        </p:attrNameLst>
                                      </p:cBhvr>
                                      <p:to>
                                        <p:strVal val="visible"/>
                                      </p:to>
                                    </p:set>
                                    <p:animEffect transition="in" filter="fade">
                                      <p:cBhvr>
                                        <p:cTn id="19" dur="500"/>
                                        <p:tgtEl>
                                          <p:spTgt spid="8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0"/>
                                        </p:tgtEl>
                                        <p:attrNameLst>
                                          <p:attrName>style.visibility</p:attrName>
                                        </p:attrNameLst>
                                      </p:cBhvr>
                                      <p:to>
                                        <p:strVal val="visible"/>
                                      </p:to>
                                    </p:set>
                                    <p:animEffect transition="in" filter="fade">
                                      <p:cBhvr>
                                        <p:cTn id="22" dur="500"/>
                                        <p:tgtEl>
                                          <p:spTgt spid="90"/>
                                        </p:tgtEl>
                                      </p:cBhvr>
                                    </p:animEffect>
                                  </p:childTnLst>
                                </p:cTn>
                              </p:par>
                              <p:par>
                                <p:cTn id="23" presetID="10" presetClass="entr" presetSubtype="0" fill="hold" nodeType="withEffect">
                                  <p:stCondLst>
                                    <p:cond delay="0"/>
                                  </p:stCondLst>
                                  <p:childTnLst>
                                    <p:set>
                                      <p:cBhvr>
                                        <p:cTn id="24" dur="1" fill="hold">
                                          <p:stCondLst>
                                            <p:cond delay="0"/>
                                          </p:stCondLst>
                                        </p:cTn>
                                        <p:tgtEl>
                                          <p:spTgt spid="91"/>
                                        </p:tgtEl>
                                        <p:attrNameLst>
                                          <p:attrName>style.visibility</p:attrName>
                                        </p:attrNameLst>
                                      </p:cBhvr>
                                      <p:to>
                                        <p:strVal val="visible"/>
                                      </p:to>
                                    </p:set>
                                    <p:animEffect transition="in" filter="fade">
                                      <p:cBhvr>
                                        <p:cTn id="25" dur="500"/>
                                        <p:tgtEl>
                                          <p:spTgt spid="91"/>
                                        </p:tgtEl>
                                      </p:cBhvr>
                                    </p:animEffect>
                                  </p:childTnLst>
                                </p:cTn>
                              </p:par>
                              <p:par>
                                <p:cTn id="26" presetID="10" presetClass="entr" presetSubtype="0" fill="hold" nodeType="withEffect">
                                  <p:stCondLst>
                                    <p:cond delay="0"/>
                                  </p:stCondLst>
                                  <p:childTnLst>
                                    <p:set>
                                      <p:cBhvr>
                                        <p:cTn id="27" dur="1" fill="hold">
                                          <p:stCondLst>
                                            <p:cond delay="0"/>
                                          </p:stCondLst>
                                        </p:cTn>
                                        <p:tgtEl>
                                          <p:spTgt spid="92"/>
                                        </p:tgtEl>
                                        <p:attrNameLst>
                                          <p:attrName>style.visibility</p:attrName>
                                        </p:attrNameLst>
                                      </p:cBhvr>
                                      <p:to>
                                        <p:strVal val="visible"/>
                                      </p:to>
                                    </p:set>
                                    <p:animEffect transition="in" filter="fade">
                                      <p:cBhvr>
                                        <p:cTn id="28" dur="500"/>
                                        <p:tgtEl>
                                          <p:spTgt spid="92"/>
                                        </p:tgtEl>
                                      </p:cBhvr>
                                    </p:animEffect>
                                  </p:childTnLst>
                                </p:cTn>
                              </p:par>
                              <p:par>
                                <p:cTn id="29" presetID="10" presetClass="entr" presetSubtype="0" fill="hold" nodeType="withEffect">
                                  <p:stCondLst>
                                    <p:cond delay="0"/>
                                  </p:stCondLst>
                                  <p:childTnLst>
                                    <p:set>
                                      <p:cBhvr>
                                        <p:cTn id="30" dur="1" fill="hold">
                                          <p:stCondLst>
                                            <p:cond delay="0"/>
                                          </p:stCondLst>
                                        </p:cTn>
                                        <p:tgtEl>
                                          <p:spTgt spid="93"/>
                                        </p:tgtEl>
                                        <p:attrNameLst>
                                          <p:attrName>style.visibility</p:attrName>
                                        </p:attrNameLst>
                                      </p:cBhvr>
                                      <p:to>
                                        <p:strVal val="visible"/>
                                      </p:to>
                                    </p:set>
                                    <p:animEffect transition="in" filter="fade">
                                      <p:cBhvr>
                                        <p:cTn id="31" dur="500"/>
                                        <p:tgtEl>
                                          <p:spTgt spid="9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95"/>
                                        </p:tgtEl>
                                        <p:attrNameLst>
                                          <p:attrName>style.visibility</p:attrName>
                                        </p:attrNameLst>
                                      </p:cBhvr>
                                      <p:to>
                                        <p:strVal val="visible"/>
                                      </p:to>
                                    </p:set>
                                    <p:animEffect transition="in" filter="fade">
                                      <p:cBhvr>
                                        <p:cTn id="37" dur="500"/>
                                        <p:tgtEl>
                                          <p:spTgt spid="95"/>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96"/>
                                        </p:tgtEl>
                                        <p:attrNameLst>
                                          <p:attrName>style.visibility</p:attrName>
                                        </p:attrNameLst>
                                      </p:cBhvr>
                                      <p:to>
                                        <p:strVal val="visible"/>
                                      </p:to>
                                    </p:set>
                                    <p:animEffect transition="in" filter="fade">
                                      <p:cBhvr>
                                        <p:cTn id="40" dur="500"/>
                                        <p:tgtEl>
                                          <p:spTgt spid="9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97"/>
                                        </p:tgtEl>
                                        <p:attrNameLst>
                                          <p:attrName>style.visibility</p:attrName>
                                        </p:attrNameLst>
                                      </p:cBhvr>
                                      <p:to>
                                        <p:strVal val="visible"/>
                                      </p:to>
                                    </p:set>
                                    <p:animEffect transition="in" filter="fade">
                                      <p:cBhvr>
                                        <p:cTn id="43" dur="500"/>
                                        <p:tgtEl>
                                          <p:spTgt spid="97"/>
                                        </p:tgtEl>
                                      </p:cBhvr>
                                    </p:animEffect>
                                  </p:childTnLst>
                                </p:cTn>
                              </p:par>
                              <p:par>
                                <p:cTn id="44" presetID="10" presetClass="entr" presetSubtype="0" fill="hold" nodeType="withEffect">
                                  <p:stCondLst>
                                    <p:cond delay="0"/>
                                  </p:stCondLst>
                                  <p:childTnLst>
                                    <p:set>
                                      <p:cBhvr>
                                        <p:cTn id="45" dur="1" fill="hold">
                                          <p:stCondLst>
                                            <p:cond delay="0"/>
                                          </p:stCondLst>
                                        </p:cTn>
                                        <p:tgtEl>
                                          <p:spTgt spid="98"/>
                                        </p:tgtEl>
                                        <p:attrNameLst>
                                          <p:attrName>style.visibility</p:attrName>
                                        </p:attrNameLst>
                                      </p:cBhvr>
                                      <p:to>
                                        <p:strVal val="visible"/>
                                      </p:to>
                                    </p:set>
                                    <p:animEffect transition="in" filter="fade">
                                      <p:cBhvr>
                                        <p:cTn id="46" dur="500"/>
                                        <p:tgtEl>
                                          <p:spTgt spid="98"/>
                                        </p:tgtEl>
                                      </p:cBhvr>
                                    </p:animEffect>
                                  </p:childTnLst>
                                </p:cTn>
                              </p:par>
                              <p:par>
                                <p:cTn id="47" presetID="10" presetClass="entr" presetSubtype="0" fill="hold" nodeType="withEffect">
                                  <p:stCondLst>
                                    <p:cond delay="0"/>
                                  </p:stCondLst>
                                  <p:childTnLst>
                                    <p:set>
                                      <p:cBhvr>
                                        <p:cTn id="48" dur="1" fill="hold">
                                          <p:stCondLst>
                                            <p:cond delay="0"/>
                                          </p:stCondLst>
                                        </p:cTn>
                                        <p:tgtEl>
                                          <p:spTgt spid="99"/>
                                        </p:tgtEl>
                                        <p:attrNameLst>
                                          <p:attrName>style.visibility</p:attrName>
                                        </p:attrNameLst>
                                      </p:cBhvr>
                                      <p:to>
                                        <p:strVal val="visible"/>
                                      </p:to>
                                    </p:set>
                                    <p:animEffect transition="in" filter="fade">
                                      <p:cBhvr>
                                        <p:cTn id="49" dur="500"/>
                                        <p:tgtEl>
                                          <p:spTgt spid="99"/>
                                        </p:tgtEl>
                                      </p:cBhvr>
                                    </p:animEffect>
                                  </p:childTnLst>
                                </p:cTn>
                              </p:par>
                              <p:par>
                                <p:cTn id="50" presetID="10" presetClass="entr" presetSubtype="0" fill="hold" nodeType="withEffect">
                                  <p:stCondLst>
                                    <p:cond delay="0"/>
                                  </p:stCondLst>
                                  <p:childTnLst>
                                    <p:set>
                                      <p:cBhvr>
                                        <p:cTn id="51" dur="1" fill="hold">
                                          <p:stCondLst>
                                            <p:cond delay="0"/>
                                          </p:stCondLst>
                                        </p:cTn>
                                        <p:tgtEl>
                                          <p:spTgt spid="100"/>
                                        </p:tgtEl>
                                        <p:attrNameLst>
                                          <p:attrName>style.visibility</p:attrName>
                                        </p:attrNameLst>
                                      </p:cBhvr>
                                      <p:to>
                                        <p:strVal val="visible"/>
                                      </p:to>
                                    </p:set>
                                    <p:animEffect transition="in" filter="fade">
                                      <p:cBhvr>
                                        <p:cTn id="52" dur="500"/>
                                        <p:tgtEl>
                                          <p:spTgt spid="100"/>
                                        </p:tgtEl>
                                      </p:cBhvr>
                                    </p:animEffect>
                                  </p:childTnLst>
                                </p:cTn>
                              </p:par>
                              <p:par>
                                <p:cTn id="53" presetID="10" presetClass="entr" presetSubtype="0" fill="hold" nodeType="with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fade">
                                      <p:cBhvr>
                                        <p:cTn id="55" dur="500"/>
                                        <p:tgtEl>
                                          <p:spTgt spid="101"/>
                                        </p:tgtEl>
                                      </p:cBhvr>
                                    </p:animEffect>
                                  </p:childTnLst>
                                </p:cTn>
                              </p:par>
                              <p:par>
                                <p:cTn id="56" presetID="10" presetClass="entr" presetSubtype="0" fill="hold" nodeType="withEffect">
                                  <p:stCondLst>
                                    <p:cond delay="0"/>
                                  </p:stCondLst>
                                  <p:childTnLst>
                                    <p:set>
                                      <p:cBhvr>
                                        <p:cTn id="57" dur="1" fill="hold">
                                          <p:stCondLst>
                                            <p:cond delay="0"/>
                                          </p:stCondLst>
                                        </p:cTn>
                                        <p:tgtEl>
                                          <p:spTgt spid="102"/>
                                        </p:tgtEl>
                                        <p:attrNameLst>
                                          <p:attrName>style.visibility</p:attrName>
                                        </p:attrNameLst>
                                      </p:cBhvr>
                                      <p:to>
                                        <p:strVal val="visible"/>
                                      </p:to>
                                    </p:set>
                                    <p:animEffect transition="in" filter="fade">
                                      <p:cBhvr>
                                        <p:cTn id="58" dur="500"/>
                                        <p:tgtEl>
                                          <p:spTgt spid="102"/>
                                        </p:tgtEl>
                                      </p:cBhvr>
                                    </p:animEffect>
                                  </p:childTnLst>
                                </p:cTn>
                              </p:par>
                              <p:par>
                                <p:cTn id="59" presetID="10" presetClass="entr" presetSubtype="0" fill="hold" nodeType="withEffect">
                                  <p:stCondLst>
                                    <p:cond delay="0"/>
                                  </p:stCondLst>
                                  <p:childTnLst>
                                    <p:set>
                                      <p:cBhvr>
                                        <p:cTn id="60" dur="1" fill="hold">
                                          <p:stCondLst>
                                            <p:cond delay="0"/>
                                          </p:stCondLst>
                                        </p:cTn>
                                        <p:tgtEl>
                                          <p:spTgt spid="103"/>
                                        </p:tgtEl>
                                        <p:attrNameLst>
                                          <p:attrName>style.visibility</p:attrName>
                                        </p:attrNameLst>
                                      </p:cBhvr>
                                      <p:to>
                                        <p:strVal val="visible"/>
                                      </p:to>
                                    </p:set>
                                    <p:animEffect transition="in" filter="fade">
                                      <p:cBhvr>
                                        <p:cTn id="61" dur="500"/>
                                        <p:tgtEl>
                                          <p:spTgt spid="103"/>
                                        </p:tgtEl>
                                      </p:cBhvr>
                                    </p:animEffect>
                                  </p:childTnLst>
                                </p:cTn>
                              </p:par>
                              <p:par>
                                <p:cTn id="62" presetID="10" presetClass="entr" presetSubtype="0" fill="hold" nodeType="withEffect">
                                  <p:stCondLst>
                                    <p:cond delay="0"/>
                                  </p:stCondLst>
                                  <p:childTnLst>
                                    <p:set>
                                      <p:cBhvr>
                                        <p:cTn id="63" dur="1" fill="hold">
                                          <p:stCondLst>
                                            <p:cond delay="0"/>
                                          </p:stCondLst>
                                        </p:cTn>
                                        <p:tgtEl>
                                          <p:spTgt spid="104"/>
                                        </p:tgtEl>
                                        <p:attrNameLst>
                                          <p:attrName>style.visibility</p:attrName>
                                        </p:attrNameLst>
                                      </p:cBhvr>
                                      <p:to>
                                        <p:strVal val="visible"/>
                                      </p:to>
                                    </p:set>
                                    <p:animEffect transition="in" filter="fade">
                                      <p:cBhvr>
                                        <p:cTn id="64" dur="500"/>
                                        <p:tgtEl>
                                          <p:spTgt spid="104"/>
                                        </p:tgtEl>
                                      </p:cBhvr>
                                    </p:animEffect>
                                  </p:childTnLst>
                                </p:cTn>
                              </p:par>
                              <p:par>
                                <p:cTn id="65" presetID="10" presetClass="entr" presetSubtype="0" fill="hold" nodeType="withEffect">
                                  <p:stCondLst>
                                    <p:cond delay="0"/>
                                  </p:stCondLst>
                                  <p:childTnLst>
                                    <p:set>
                                      <p:cBhvr>
                                        <p:cTn id="66" dur="1" fill="hold">
                                          <p:stCondLst>
                                            <p:cond delay="0"/>
                                          </p:stCondLst>
                                        </p:cTn>
                                        <p:tgtEl>
                                          <p:spTgt spid="114"/>
                                        </p:tgtEl>
                                        <p:attrNameLst>
                                          <p:attrName>style.visibility</p:attrName>
                                        </p:attrNameLst>
                                      </p:cBhvr>
                                      <p:to>
                                        <p:strVal val="visible"/>
                                      </p:to>
                                    </p:set>
                                    <p:animEffect transition="in" filter="fade">
                                      <p:cBhvr>
                                        <p:cTn id="67" dur="500"/>
                                        <p:tgtEl>
                                          <p:spTgt spid="114"/>
                                        </p:tgtEl>
                                      </p:cBhvr>
                                    </p:animEffect>
                                  </p:childTnLst>
                                </p:cTn>
                              </p:par>
                              <p:par>
                                <p:cTn id="68" presetID="10" presetClass="entr" presetSubtype="0" fill="hold" nodeType="withEffect">
                                  <p:stCondLst>
                                    <p:cond delay="0"/>
                                  </p:stCondLst>
                                  <p:childTnLst>
                                    <p:set>
                                      <p:cBhvr>
                                        <p:cTn id="69" dur="1" fill="hold">
                                          <p:stCondLst>
                                            <p:cond delay="0"/>
                                          </p:stCondLst>
                                        </p:cTn>
                                        <p:tgtEl>
                                          <p:spTgt spid="112"/>
                                        </p:tgtEl>
                                        <p:attrNameLst>
                                          <p:attrName>style.visibility</p:attrName>
                                        </p:attrNameLst>
                                      </p:cBhvr>
                                      <p:to>
                                        <p:strVal val="visible"/>
                                      </p:to>
                                    </p:set>
                                    <p:animEffect transition="in" filter="fade">
                                      <p:cBhvr>
                                        <p:cTn id="70" dur="500"/>
                                        <p:tgtEl>
                                          <p:spTgt spid="112"/>
                                        </p:tgtEl>
                                      </p:cBhvr>
                                    </p:animEffect>
                                  </p:childTnLst>
                                </p:cTn>
                              </p:par>
                              <p:par>
                                <p:cTn id="71" presetID="10" presetClass="entr" presetSubtype="0" fill="hold" nodeType="withEffect">
                                  <p:stCondLst>
                                    <p:cond delay="0"/>
                                  </p:stCondLst>
                                  <p:childTnLst>
                                    <p:set>
                                      <p:cBhvr>
                                        <p:cTn id="72" dur="1" fill="hold">
                                          <p:stCondLst>
                                            <p:cond delay="0"/>
                                          </p:stCondLst>
                                        </p:cTn>
                                        <p:tgtEl>
                                          <p:spTgt spid="105"/>
                                        </p:tgtEl>
                                        <p:attrNameLst>
                                          <p:attrName>style.visibility</p:attrName>
                                        </p:attrNameLst>
                                      </p:cBhvr>
                                      <p:to>
                                        <p:strVal val="visible"/>
                                      </p:to>
                                    </p:set>
                                    <p:animEffect transition="in" filter="fade">
                                      <p:cBhvr>
                                        <p:cTn id="73" dur="500"/>
                                        <p:tgtEl>
                                          <p:spTgt spid="105"/>
                                        </p:tgtEl>
                                      </p:cBhvr>
                                    </p:animEffect>
                                  </p:childTnLst>
                                </p:cTn>
                              </p:par>
                              <p:par>
                                <p:cTn id="74" presetID="10" presetClass="entr" presetSubtype="0" fill="hold" nodeType="withEffect">
                                  <p:stCondLst>
                                    <p:cond delay="0"/>
                                  </p:stCondLst>
                                  <p:childTnLst>
                                    <p:set>
                                      <p:cBhvr>
                                        <p:cTn id="75" dur="1" fill="hold">
                                          <p:stCondLst>
                                            <p:cond delay="0"/>
                                          </p:stCondLst>
                                        </p:cTn>
                                        <p:tgtEl>
                                          <p:spTgt spid="113"/>
                                        </p:tgtEl>
                                        <p:attrNameLst>
                                          <p:attrName>style.visibility</p:attrName>
                                        </p:attrNameLst>
                                      </p:cBhvr>
                                      <p:to>
                                        <p:strVal val="visible"/>
                                      </p:to>
                                    </p:set>
                                    <p:animEffect transition="in" filter="fade">
                                      <p:cBhvr>
                                        <p:cTn id="76" dur="500"/>
                                        <p:tgtEl>
                                          <p:spTgt spid="113"/>
                                        </p:tgtEl>
                                      </p:cBhvr>
                                    </p:animEffect>
                                  </p:childTnLst>
                                </p:cTn>
                              </p:par>
                              <p:par>
                                <p:cTn id="77" presetID="10" presetClass="entr" presetSubtype="0" fill="hold" nodeType="withEffect">
                                  <p:stCondLst>
                                    <p:cond delay="0"/>
                                  </p:stCondLst>
                                  <p:childTnLst>
                                    <p:set>
                                      <p:cBhvr>
                                        <p:cTn id="78" dur="1" fill="hold">
                                          <p:stCondLst>
                                            <p:cond delay="0"/>
                                          </p:stCondLst>
                                        </p:cTn>
                                        <p:tgtEl>
                                          <p:spTgt spid="111"/>
                                        </p:tgtEl>
                                        <p:attrNameLst>
                                          <p:attrName>style.visibility</p:attrName>
                                        </p:attrNameLst>
                                      </p:cBhvr>
                                      <p:to>
                                        <p:strVal val="visible"/>
                                      </p:to>
                                    </p:set>
                                    <p:animEffect transition="in" filter="fade">
                                      <p:cBhvr>
                                        <p:cTn id="79" dur="500"/>
                                        <p:tgtEl>
                                          <p:spTgt spid="111"/>
                                        </p:tgtEl>
                                      </p:cBhvr>
                                    </p:animEffect>
                                  </p:childTnLst>
                                </p:cTn>
                              </p:par>
                              <p:par>
                                <p:cTn id="80" presetID="10" presetClass="entr" presetSubtype="0" fill="hold" nodeType="withEffect">
                                  <p:stCondLst>
                                    <p:cond delay="0"/>
                                  </p:stCondLst>
                                  <p:childTnLst>
                                    <p:set>
                                      <p:cBhvr>
                                        <p:cTn id="81" dur="1" fill="hold">
                                          <p:stCondLst>
                                            <p:cond delay="0"/>
                                          </p:stCondLst>
                                        </p:cTn>
                                        <p:tgtEl>
                                          <p:spTgt spid="106"/>
                                        </p:tgtEl>
                                        <p:attrNameLst>
                                          <p:attrName>style.visibility</p:attrName>
                                        </p:attrNameLst>
                                      </p:cBhvr>
                                      <p:to>
                                        <p:strVal val="visible"/>
                                      </p:to>
                                    </p:set>
                                    <p:animEffect transition="in" filter="fade">
                                      <p:cBhvr>
                                        <p:cTn id="82" dur="500"/>
                                        <p:tgtEl>
                                          <p:spTgt spid="106"/>
                                        </p:tgtEl>
                                      </p:cBhvr>
                                    </p:animEffect>
                                  </p:childTnLst>
                                </p:cTn>
                              </p:par>
                              <p:par>
                                <p:cTn id="83" presetID="10" presetClass="entr" presetSubtype="0" fill="hold" nodeType="withEffect">
                                  <p:stCondLst>
                                    <p:cond delay="0"/>
                                  </p:stCondLst>
                                  <p:childTnLst>
                                    <p:set>
                                      <p:cBhvr>
                                        <p:cTn id="84" dur="1" fill="hold">
                                          <p:stCondLst>
                                            <p:cond delay="0"/>
                                          </p:stCondLst>
                                        </p:cTn>
                                        <p:tgtEl>
                                          <p:spTgt spid="110"/>
                                        </p:tgtEl>
                                        <p:attrNameLst>
                                          <p:attrName>style.visibility</p:attrName>
                                        </p:attrNameLst>
                                      </p:cBhvr>
                                      <p:to>
                                        <p:strVal val="visible"/>
                                      </p:to>
                                    </p:set>
                                    <p:animEffect transition="in" filter="fade">
                                      <p:cBhvr>
                                        <p:cTn id="85" dur="500"/>
                                        <p:tgtEl>
                                          <p:spTgt spid="110"/>
                                        </p:tgtEl>
                                      </p:cBhvr>
                                    </p:animEffect>
                                  </p:childTnLst>
                                </p:cTn>
                              </p:par>
                              <p:par>
                                <p:cTn id="86" presetID="10" presetClass="entr" presetSubtype="0" fill="hold" nodeType="withEffect">
                                  <p:stCondLst>
                                    <p:cond delay="0"/>
                                  </p:stCondLst>
                                  <p:childTnLst>
                                    <p:set>
                                      <p:cBhvr>
                                        <p:cTn id="87" dur="1" fill="hold">
                                          <p:stCondLst>
                                            <p:cond delay="0"/>
                                          </p:stCondLst>
                                        </p:cTn>
                                        <p:tgtEl>
                                          <p:spTgt spid="108"/>
                                        </p:tgtEl>
                                        <p:attrNameLst>
                                          <p:attrName>style.visibility</p:attrName>
                                        </p:attrNameLst>
                                      </p:cBhvr>
                                      <p:to>
                                        <p:strVal val="visible"/>
                                      </p:to>
                                    </p:set>
                                    <p:animEffect transition="in" filter="fade">
                                      <p:cBhvr>
                                        <p:cTn id="88" dur="500"/>
                                        <p:tgtEl>
                                          <p:spTgt spid="108"/>
                                        </p:tgtEl>
                                      </p:cBhvr>
                                    </p:animEffec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grpId="0" nodeType="clickEffect">
                                  <p:stCondLst>
                                    <p:cond delay="0"/>
                                  </p:stCondLst>
                                  <p:childTnLst>
                                    <p:set>
                                      <p:cBhvr>
                                        <p:cTn id="92" dur="1" fill="hold">
                                          <p:stCondLst>
                                            <p:cond delay="0"/>
                                          </p:stCondLst>
                                        </p:cTn>
                                        <p:tgtEl>
                                          <p:spTgt spid="107"/>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203"/>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201"/>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211"/>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205"/>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212"/>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nodeType="clickEffect">
                                  <p:stCondLst>
                                    <p:cond delay="0"/>
                                  </p:stCondLst>
                                  <p:childTnLst>
                                    <p:set>
                                      <p:cBhvr>
                                        <p:cTn id="106" dur="1" fill="hold">
                                          <p:stCondLst>
                                            <p:cond delay="0"/>
                                          </p:stCondLst>
                                        </p:cTn>
                                        <p:tgtEl>
                                          <p:spTgt spid="190"/>
                                        </p:tgtEl>
                                        <p:attrNameLst>
                                          <p:attrName>style.visibility</p:attrName>
                                        </p:attrNameLst>
                                      </p:cBhvr>
                                      <p:to>
                                        <p:strVal val="visible"/>
                                      </p:to>
                                    </p:set>
                                    <p:animEffect transition="in" filter="fade">
                                      <p:cBhvr>
                                        <p:cTn id="107" dur="500"/>
                                        <p:tgtEl>
                                          <p:spTgt spid="190"/>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191"/>
                                        </p:tgtEl>
                                        <p:attrNameLst>
                                          <p:attrName>style.visibility</p:attrName>
                                        </p:attrNameLst>
                                      </p:cBhvr>
                                      <p:to>
                                        <p:strVal val="visible"/>
                                      </p:to>
                                    </p:set>
                                    <p:animEffect transition="in" filter="fade">
                                      <p:cBhvr>
                                        <p:cTn id="110" dur="500"/>
                                        <p:tgtEl>
                                          <p:spTgt spid="191"/>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192"/>
                                        </p:tgtEl>
                                        <p:attrNameLst>
                                          <p:attrName>style.visibility</p:attrName>
                                        </p:attrNameLst>
                                      </p:cBhvr>
                                      <p:to>
                                        <p:strVal val="visible"/>
                                      </p:to>
                                    </p:set>
                                    <p:animEffect transition="in" filter="fade">
                                      <p:cBhvr>
                                        <p:cTn id="113" dur="500"/>
                                        <p:tgtEl>
                                          <p:spTgt spid="192"/>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193"/>
                                        </p:tgtEl>
                                        <p:attrNameLst>
                                          <p:attrName>style.visibility</p:attrName>
                                        </p:attrNameLst>
                                      </p:cBhvr>
                                      <p:to>
                                        <p:strVal val="visible"/>
                                      </p:to>
                                    </p:set>
                                    <p:animEffect transition="in" filter="fade">
                                      <p:cBhvr>
                                        <p:cTn id="116" dur="500"/>
                                        <p:tgtEl>
                                          <p:spTgt spid="193"/>
                                        </p:tgtEl>
                                      </p:cBhvr>
                                    </p:animEffect>
                                  </p:childTnLst>
                                </p:cTn>
                              </p:par>
                              <p:par>
                                <p:cTn id="117" presetID="10" presetClass="entr" presetSubtype="0" fill="hold" nodeType="withEffect">
                                  <p:stCondLst>
                                    <p:cond delay="0"/>
                                  </p:stCondLst>
                                  <p:childTnLst>
                                    <p:set>
                                      <p:cBhvr>
                                        <p:cTn id="118" dur="1" fill="hold">
                                          <p:stCondLst>
                                            <p:cond delay="0"/>
                                          </p:stCondLst>
                                        </p:cTn>
                                        <p:tgtEl>
                                          <p:spTgt spid="194"/>
                                        </p:tgtEl>
                                        <p:attrNameLst>
                                          <p:attrName>style.visibility</p:attrName>
                                        </p:attrNameLst>
                                      </p:cBhvr>
                                      <p:to>
                                        <p:strVal val="visible"/>
                                      </p:to>
                                    </p:set>
                                    <p:animEffect transition="in" filter="fade">
                                      <p:cBhvr>
                                        <p:cTn id="119" dur="500"/>
                                        <p:tgtEl>
                                          <p:spTgt spid="194"/>
                                        </p:tgtEl>
                                      </p:cBhvr>
                                    </p:animEffect>
                                  </p:childTnLst>
                                </p:cTn>
                              </p:par>
                              <p:par>
                                <p:cTn id="120" presetID="10" presetClass="entr" presetSubtype="0" fill="hold" nodeType="withEffect">
                                  <p:stCondLst>
                                    <p:cond delay="0"/>
                                  </p:stCondLst>
                                  <p:childTnLst>
                                    <p:set>
                                      <p:cBhvr>
                                        <p:cTn id="121" dur="1" fill="hold">
                                          <p:stCondLst>
                                            <p:cond delay="0"/>
                                          </p:stCondLst>
                                        </p:cTn>
                                        <p:tgtEl>
                                          <p:spTgt spid="195"/>
                                        </p:tgtEl>
                                        <p:attrNameLst>
                                          <p:attrName>style.visibility</p:attrName>
                                        </p:attrNameLst>
                                      </p:cBhvr>
                                      <p:to>
                                        <p:strVal val="visible"/>
                                      </p:to>
                                    </p:set>
                                    <p:animEffect transition="in" filter="fade">
                                      <p:cBhvr>
                                        <p:cTn id="122" dur="500"/>
                                        <p:tgtEl>
                                          <p:spTgt spid="195"/>
                                        </p:tgtEl>
                                      </p:cBhvr>
                                    </p:animEffect>
                                  </p:childTnLst>
                                </p:cTn>
                              </p:par>
                            </p:childTnLst>
                          </p:cTn>
                        </p:par>
                        <p:par>
                          <p:cTn id="123" fill="hold">
                            <p:stCondLst>
                              <p:cond delay="500"/>
                            </p:stCondLst>
                            <p:childTnLst>
                              <p:par>
                                <p:cTn id="124" presetID="10" presetClass="entr" presetSubtype="0" fill="hold" grpId="0" nodeType="afterEffect">
                                  <p:stCondLst>
                                    <p:cond delay="0"/>
                                  </p:stCondLst>
                                  <p:childTnLst>
                                    <p:set>
                                      <p:cBhvr>
                                        <p:cTn id="125" dur="1" fill="hold">
                                          <p:stCondLst>
                                            <p:cond delay="0"/>
                                          </p:stCondLst>
                                        </p:cTn>
                                        <p:tgtEl>
                                          <p:spTgt spid="196"/>
                                        </p:tgtEl>
                                        <p:attrNameLst>
                                          <p:attrName>style.visibility</p:attrName>
                                        </p:attrNameLst>
                                      </p:cBhvr>
                                      <p:to>
                                        <p:strVal val="visible"/>
                                      </p:to>
                                    </p:set>
                                    <p:animEffect transition="in" filter="fade">
                                      <p:cBhvr>
                                        <p:cTn id="126" dur="500"/>
                                        <p:tgtEl>
                                          <p:spTgt spid="196"/>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197"/>
                                        </p:tgtEl>
                                        <p:attrNameLst>
                                          <p:attrName>style.visibility</p:attrName>
                                        </p:attrNameLst>
                                      </p:cBhvr>
                                      <p:to>
                                        <p:strVal val="visible"/>
                                      </p:to>
                                    </p:set>
                                    <p:animEffect transition="in" filter="fade">
                                      <p:cBhvr>
                                        <p:cTn id="129" dur="500"/>
                                        <p:tgtEl>
                                          <p:spTgt spid="197"/>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198"/>
                                        </p:tgtEl>
                                        <p:attrNameLst>
                                          <p:attrName>style.visibility</p:attrName>
                                        </p:attrNameLst>
                                      </p:cBhvr>
                                      <p:to>
                                        <p:strVal val="visible"/>
                                      </p:to>
                                    </p:set>
                                    <p:animEffect transition="in" filter="fade">
                                      <p:cBhvr>
                                        <p:cTn id="132" dur="500"/>
                                        <p:tgtEl>
                                          <p:spTgt spid="198"/>
                                        </p:tgtEl>
                                      </p:cBhvr>
                                    </p:animEffect>
                                  </p:childTnLst>
                                </p:cTn>
                              </p:par>
                              <p:par>
                                <p:cTn id="133" presetID="10" presetClass="entr" presetSubtype="0" fill="hold" nodeType="withEffect">
                                  <p:stCondLst>
                                    <p:cond delay="0"/>
                                  </p:stCondLst>
                                  <p:childTnLst>
                                    <p:set>
                                      <p:cBhvr>
                                        <p:cTn id="134" dur="1" fill="hold">
                                          <p:stCondLst>
                                            <p:cond delay="0"/>
                                          </p:stCondLst>
                                        </p:cTn>
                                        <p:tgtEl>
                                          <p:spTgt spid="199"/>
                                        </p:tgtEl>
                                        <p:attrNameLst>
                                          <p:attrName>style.visibility</p:attrName>
                                        </p:attrNameLst>
                                      </p:cBhvr>
                                      <p:to>
                                        <p:strVal val="visible"/>
                                      </p:to>
                                    </p:set>
                                    <p:animEffect transition="in" filter="fade">
                                      <p:cBhvr>
                                        <p:cTn id="135" dur="500"/>
                                        <p:tgtEl>
                                          <p:spTgt spid="199"/>
                                        </p:tgtEl>
                                      </p:cBhvr>
                                    </p:animEffect>
                                  </p:childTnLst>
                                </p:cTn>
                              </p:par>
                              <p:par>
                                <p:cTn id="136" presetID="10" presetClass="entr" presetSubtype="0" fill="hold" nodeType="withEffect">
                                  <p:stCondLst>
                                    <p:cond delay="0"/>
                                  </p:stCondLst>
                                  <p:childTnLst>
                                    <p:set>
                                      <p:cBhvr>
                                        <p:cTn id="137" dur="1" fill="hold">
                                          <p:stCondLst>
                                            <p:cond delay="0"/>
                                          </p:stCondLst>
                                        </p:cTn>
                                        <p:tgtEl>
                                          <p:spTgt spid="200"/>
                                        </p:tgtEl>
                                        <p:attrNameLst>
                                          <p:attrName>style.visibility</p:attrName>
                                        </p:attrNameLst>
                                      </p:cBhvr>
                                      <p:to>
                                        <p:strVal val="visible"/>
                                      </p:to>
                                    </p:set>
                                    <p:animEffect transition="in" filter="fade">
                                      <p:cBhvr>
                                        <p:cTn id="138" dur="500"/>
                                        <p:tgtEl>
                                          <p:spTgt spid="200"/>
                                        </p:tgtEl>
                                      </p:cBhvr>
                                    </p:animEffect>
                                  </p:childTnLst>
                                </p:cTn>
                              </p:par>
                              <p:par>
                                <p:cTn id="139" presetID="10" presetClass="entr" presetSubtype="0" fill="hold" nodeType="withEffect">
                                  <p:stCondLst>
                                    <p:cond delay="0"/>
                                  </p:stCondLst>
                                  <p:childTnLst>
                                    <p:set>
                                      <p:cBhvr>
                                        <p:cTn id="140" dur="1" fill="hold">
                                          <p:stCondLst>
                                            <p:cond delay="0"/>
                                          </p:stCondLst>
                                        </p:cTn>
                                        <p:tgtEl>
                                          <p:spTgt spid="206"/>
                                        </p:tgtEl>
                                        <p:attrNameLst>
                                          <p:attrName>style.visibility</p:attrName>
                                        </p:attrNameLst>
                                      </p:cBhvr>
                                      <p:to>
                                        <p:strVal val="visible"/>
                                      </p:to>
                                    </p:set>
                                    <p:animEffect transition="in" filter="fade">
                                      <p:cBhvr>
                                        <p:cTn id="141" dur="500"/>
                                        <p:tgtEl>
                                          <p:spTgt spid="206"/>
                                        </p:tgtEl>
                                      </p:cBhvr>
                                    </p:animEffect>
                                  </p:childTnLst>
                                </p:cTn>
                              </p:par>
                            </p:childTnLst>
                          </p:cTn>
                        </p:par>
                      </p:childTnLst>
                    </p:cTn>
                  </p:par>
                  <p:par>
                    <p:cTn id="142" fill="hold">
                      <p:stCondLst>
                        <p:cond delay="indefinite"/>
                      </p:stCondLst>
                      <p:childTnLst>
                        <p:par>
                          <p:cTn id="143" fill="hold">
                            <p:stCondLst>
                              <p:cond delay="0"/>
                            </p:stCondLst>
                            <p:childTnLst>
                              <p:par>
                                <p:cTn id="144" presetID="10" presetClass="entr" presetSubtype="0" fill="hold" nodeType="clickEffect">
                                  <p:stCondLst>
                                    <p:cond delay="0"/>
                                  </p:stCondLst>
                                  <p:childTnLst>
                                    <p:set>
                                      <p:cBhvr>
                                        <p:cTn id="145" dur="1" fill="hold">
                                          <p:stCondLst>
                                            <p:cond delay="0"/>
                                          </p:stCondLst>
                                        </p:cTn>
                                        <p:tgtEl>
                                          <p:spTgt spid="207"/>
                                        </p:tgtEl>
                                        <p:attrNameLst>
                                          <p:attrName>style.visibility</p:attrName>
                                        </p:attrNameLst>
                                      </p:cBhvr>
                                      <p:to>
                                        <p:strVal val="visible"/>
                                      </p:to>
                                    </p:set>
                                    <p:animEffect transition="in" filter="fade">
                                      <p:cBhvr>
                                        <p:cTn id="146" dur="500"/>
                                        <p:tgtEl>
                                          <p:spTgt spid="207"/>
                                        </p:tgtEl>
                                      </p:cBhvr>
                                    </p:animEffect>
                                  </p:childTnLst>
                                </p:cTn>
                              </p:par>
                              <p:par>
                                <p:cTn id="147" presetID="10" presetClass="entr" presetSubtype="0" fill="hold" nodeType="withEffect">
                                  <p:stCondLst>
                                    <p:cond delay="0"/>
                                  </p:stCondLst>
                                  <p:childTnLst>
                                    <p:set>
                                      <p:cBhvr>
                                        <p:cTn id="148" dur="1" fill="hold">
                                          <p:stCondLst>
                                            <p:cond delay="0"/>
                                          </p:stCondLst>
                                        </p:cTn>
                                        <p:tgtEl>
                                          <p:spTgt spid="208"/>
                                        </p:tgtEl>
                                        <p:attrNameLst>
                                          <p:attrName>style.visibility</p:attrName>
                                        </p:attrNameLst>
                                      </p:cBhvr>
                                      <p:to>
                                        <p:strVal val="visible"/>
                                      </p:to>
                                    </p:set>
                                    <p:animEffect transition="in" filter="fade">
                                      <p:cBhvr>
                                        <p:cTn id="149" dur="500"/>
                                        <p:tgtEl>
                                          <p:spTgt spid="208"/>
                                        </p:tgtEl>
                                      </p:cBhvr>
                                    </p:animEffect>
                                  </p:childTnLst>
                                </p:cTn>
                              </p:par>
                              <p:par>
                                <p:cTn id="150" presetID="10" presetClass="entr" presetSubtype="0" fill="hold" nodeType="withEffect">
                                  <p:stCondLst>
                                    <p:cond delay="0"/>
                                  </p:stCondLst>
                                  <p:childTnLst>
                                    <p:set>
                                      <p:cBhvr>
                                        <p:cTn id="151" dur="1" fill="hold">
                                          <p:stCondLst>
                                            <p:cond delay="0"/>
                                          </p:stCondLst>
                                        </p:cTn>
                                        <p:tgtEl>
                                          <p:spTgt spid="209"/>
                                        </p:tgtEl>
                                        <p:attrNameLst>
                                          <p:attrName>style.visibility</p:attrName>
                                        </p:attrNameLst>
                                      </p:cBhvr>
                                      <p:to>
                                        <p:strVal val="visible"/>
                                      </p:to>
                                    </p:set>
                                    <p:animEffect transition="in" filter="fade">
                                      <p:cBhvr>
                                        <p:cTn id="152" dur="500"/>
                                        <p:tgtEl>
                                          <p:spTgt spid="209"/>
                                        </p:tgtEl>
                                      </p:cBhvr>
                                    </p:animEffect>
                                  </p:childTnLst>
                                </p:cTn>
                              </p:par>
                              <p:par>
                                <p:cTn id="153" presetID="10" presetClass="entr" presetSubtype="0" fill="hold" nodeType="withEffect">
                                  <p:stCondLst>
                                    <p:cond delay="0"/>
                                  </p:stCondLst>
                                  <p:childTnLst>
                                    <p:set>
                                      <p:cBhvr>
                                        <p:cTn id="154" dur="1" fill="hold">
                                          <p:stCondLst>
                                            <p:cond delay="0"/>
                                          </p:stCondLst>
                                        </p:cTn>
                                        <p:tgtEl>
                                          <p:spTgt spid="210"/>
                                        </p:tgtEl>
                                        <p:attrNameLst>
                                          <p:attrName>style.visibility</p:attrName>
                                        </p:attrNameLst>
                                      </p:cBhvr>
                                      <p:to>
                                        <p:strVal val="visible"/>
                                      </p:to>
                                    </p:set>
                                    <p:animEffect transition="in" filter="fade">
                                      <p:cBhvr>
                                        <p:cTn id="155" dur="500"/>
                                        <p:tgtEl>
                                          <p:spTgt spid="2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p:bldP spid="85" grpId="0" animBg="1"/>
      <p:bldP spid="87" grpId="0" animBg="1"/>
      <p:bldP spid="89" grpId="0" animBg="1"/>
      <p:bldP spid="90" grpId="0" animBg="1"/>
      <p:bldP spid="94" grpId="0" animBg="1"/>
      <p:bldP spid="95" grpId="0" animBg="1"/>
      <p:bldP spid="96" grpId="0" animBg="1"/>
      <p:bldP spid="97" grpId="0" animBg="1"/>
      <p:bldP spid="191" grpId="0" animBg="1"/>
      <p:bldP spid="192" grpId="0" animBg="1"/>
      <p:bldP spid="193" grpId="0" animBg="1"/>
      <p:bldP spid="196" grpId="0" animBg="1"/>
      <p:bldP spid="197" grpId="0" animBg="1"/>
      <p:bldP spid="198" grpId="0" animBg="1"/>
      <p:bldP spid="201" grpId="0" animBg="1"/>
      <p:bldP spid="203" grpId="0" animBg="1"/>
      <p:bldP spid="205" grpId="0" animBg="1"/>
      <p:bldP spid="211" grpId="0"/>
      <p:bldP spid="21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80336ED8-A877-40CF-A900-E0F0F1FCFDF5}"/>
              </a:ext>
            </a:extLst>
          </p:cNvPr>
          <p:cNvSpPr/>
          <p:nvPr/>
        </p:nvSpPr>
        <p:spPr bwMode="auto">
          <a:xfrm>
            <a:off x="657261" y="1971508"/>
            <a:ext cx="2078190" cy="2408569"/>
          </a:xfrm>
          <a:custGeom>
            <a:avLst/>
            <a:gdLst>
              <a:gd name="connsiteX0" fmla="*/ 1039095 w 2078190"/>
              <a:gd name="connsiteY0" fmla="*/ 0 h 2408569"/>
              <a:gd name="connsiteX1" fmla="*/ 2078190 w 2078190"/>
              <a:gd name="connsiteY1" fmla="*/ 519547 h 2408569"/>
              <a:gd name="connsiteX2" fmla="*/ 2078190 w 2078190"/>
              <a:gd name="connsiteY2" fmla="*/ 1889021 h 2408569"/>
              <a:gd name="connsiteX3" fmla="*/ 1039095 w 2078190"/>
              <a:gd name="connsiteY3" fmla="*/ 2408569 h 2408569"/>
              <a:gd name="connsiteX4" fmla="*/ 0 w 2078190"/>
              <a:gd name="connsiteY4" fmla="*/ 1889021 h 2408569"/>
              <a:gd name="connsiteX5" fmla="*/ 0 w 2078190"/>
              <a:gd name="connsiteY5" fmla="*/ 519547 h 2408569"/>
              <a:gd name="connsiteX6" fmla="*/ 1039095 w 2078190"/>
              <a:gd name="connsiteY6" fmla="*/ 0 h 240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8190" h="2408569">
                <a:moveTo>
                  <a:pt x="1039095" y="0"/>
                </a:moveTo>
                <a:lnTo>
                  <a:pt x="2078190" y="519547"/>
                </a:lnTo>
                <a:lnTo>
                  <a:pt x="2078190" y="1889021"/>
                </a:lnTo>
                <a:lnTo>
                  <a:pt x="1039095" y="2408569"/>
                </a:lnTo>
                <a:lnTo>
                  <a:pt x="0" y="1889021"/>
                </a:lnTo>
                <a:lnTo>
                  <a:pt x="0" y="519547"/>
                </a:lnTo>
                <a:lnTo>
                  <a:pt x="1039095" y="0"/>
                </a:lnTo>
                <a:close/>
              </a:path>
            </a:pathLst>
          </a:custGeom>
          <a:solidFill>
            <a:srgbClr val="0070C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28016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0" name="Freeform: Shape 9">
            <a:extLst>
              <a:ext uri="{FF2B5EF4-FFF2-40B4-BE49-F238E27FC236}">
                <a16:creationId xmlns:a16="http://schemas.microsoft.com/office/drawing/2014/main" id="{FA231ACC-F9DE-4ECC-90CF-01D555045888}"/>
              </a:ext>
            </a:extLst>
          </p:cNvPr>
          <p:cNvSpPr/>
          <p:nvPr/>
        </p:nvSpPr>
        <p:spPr bwMode="auto">
          <a:xfrm>
            <a:off x="3580592" y="1971508"/>
            <a:ext cx="2078192" cy="2408571"/>
          </a:xfrm>
          <a:custGeom>
            <a:avLst/>
            <a:gdLst>
              <a:gd name="connsiteX0" fmla="*/ 1039096 w 2078192"/>
              <a:gd name="connsiteY0" fmla="*/ 0 h 2408571"/>
              <a:gd name="connsiteX1" fmla="*/ 2078192 w 2078192"/>
              <a:gd name="connsiteY1" fmla="*/ 519548 h 2408571"/>
              <a:gd name="connsiteX2" fmla="*/ 2078192 w 2078192"/>
              <a:gd name="connsiteY2" fmla="*/ 1889023 h 2408571"/>
              <a:gd name="connsiteX3" fmla="*/ 1039096 w 2078192"/>
              <a:gd name="connsiteY3" fmla="*/ 2408571 h 2408571"/>
              <a:gd name="connsiteX4" fmla="*/ 0 w 2078192"/>
              <a:gd name="connsiteY4" fmla="*/ 1889023 h 2408571"/>
              <a:gd name="connsiteX5" fmla="*/ 0 w 2078192"/>
              <a:gd name="connsiteY5" fmla="*/ 519548 h 2408571"/>
              <a:gd name="connsiteX6" fmla="*/ 1039096 w 2078192"/>
              <a:gd name="connsiteY6" fmla="*/ 0 h 2408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8192" h="2408571">
                <a:moveTo>
                  <a:pt x="1039096" y="0"/>
                </a:moveTo>
                <a:lnTo>
                  <a:pt x="2078192" y="519548"/>
                </a:lnTo>
                <a:lnTo>
                  <a:pt x="2078192" y="1889023"/>
                </a:lnTo>
                <a:lnTo>
                  <a:pt x="1039096" y="2408571"/>
                </a:lnTo>
                <a:lnTo>
                  <a:pt x="0" y="1889023"/>
                </a:lnTo>
                <a:lnTo>
                  <a:pt x="0" y="519548"/>
                </a:lnTo>
                <a:lnTo>
                  <a:pt x="1039096" y="0"/>
                </a:lnTo>
                <a:close/>
              </a:path>
            </a:pathLst>
          </a:custGeom>
          <a:solidFill>
            <a:srgbClr val="0070C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28016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1" name="Freeform: Shape 10">
            <a:extLst>
              <a:ext uri="{FF2B5EF4-FFF2-40B4-BE49-F238E27FC236}">
                <a16:creationId xmlns:a16="http://schemas.microsoft.com/office/drawing/2014/main" id="{03AB8256-B6AC-45DC-B272-56FF339D1298}"/>
              </a:ext>
            </a:extLst>
          </p:cNvPr>
          <p:cNvSpPr/>
          <p:nvPr/>
        </p:nvSpPr>
        <p:spPr bwMode="auto">
          <a:xfrm>
            <a:off x="9427256" y="1971508"/>
            <a:ext cx="2078192" cy="2408570"/>
          </a:xfrm>
          <a:custGeom>
            <a:avLst/>
            <a:gdLst>
              <a:gd name="connsiteX0" fmla="*/ 1039096 w 2078192"/>
              <a:gd name="connsiteY0" fmla="*/ 0 h 2408570"/>
              <a:gd name="connsiteX1" fmla="*/ 2078192 w 2078192"/>
              <a:gd name="connsiteY1" fmla="*/ 519548 h 2408570"/>
              <a:gd name="connsiteX2" fmla="*/ 2078192 w 2078192"/>
              <a:gd name="connsiteY2" fmla="*/ 1889022 h 2408570"/>
              <a:gd name="connsiteX3" fmla="*/ 1039096 w 2078192"/>
              <a:gd name="connsiteY3" fmla="*/ 2408570 h 2408570"/>
              <a:gd name="connsiteX4" fmla="*/ 0 w 2078192"/>
              <a:gd name="connsiteY4" fmla="*/ 1889022 h 2408570"/>
              <a:gd name="connsiteX5" fmla="*/ 0 w 2078192"/>
              <a:gd name="connsiteY5" fmla="*/ 519548 h 2408570"/>
              <a:gd name="connsiteX6" fmla="*/ 1039096 w 2078192"/>
              <a:gd name="connsiteY6" fmla="*/ 0 h 240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8192" h="2408570">
                <a:moveTo>
                  <a:pt x="1039096" y="0"/>
                </a:moveTo>
                <a:lnTo>
                  <a:pt x="2078192" y="519548"/>
                </a:lnTo>
                <a:lnTo>
                  <a:pt x="2078192" y="1889022"/>
                </a:lnTo>
                <a:lnTo>
                  <a:pt x="1039096" y="2408570"/>
                </a:lnTo>
                <a:lnTo>
                  <a:pt x="0" y="1889022"/>
                </a:lnTo>
                <a:lnTo>
                  <a:pt x="0" y="519548"/>
                </a:lnTo>
                <a:lnTo>
                  <a:pt x="1039096" y="0"/>
                </a:lnTo>
                <a:close/>
              </a:path>
            </a:pathLst>
          </a:custGeom>
          <a:solidFill>
            <a:srgbClr val="0070C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28016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5" name="Freeform: Shape 94">
            <a:extLst>
              <a:ext uri="{FF2B5EF4-FFF2-40B4-BE49-F238E27FC236}">
                <a16:creationId xmlns:a16="http://schemas.microsoft.com/office/drawing/2014/main" id="{6BAE8FA3-1E52-42FC-82F7-5A053460C01F}"/>
              </a:ext>
            </a:extLst>
          </p:cNvPr>
          <p:cNvSpPr/>
          <p:nvPr/>
        </p:nvSpPr>
        <p:spPr bwMode="auto">
          <a:xfrm>
            <a:off x="6503924" y="1971508"/>
            <a:ext cx="2078192" cy="2408571"/>
          </a:xfrm>
          <a:custGeom>
            <a:avLst/>
            <a:gdLst>
              <a:gd name="connsiteX0" fmla="*/ 1039096 w 2078192"/>
              <a:gd name="connsiteY0" fmla="*/ 0 h 2408571"/>
              <a:gd name="connsiteX1" fmla="*/ 2078192 w 2078192"/>
              <a:gd name="connsiteY1" fmla="*/ 519548 h 2408571"/>
              <a:gd name="connsiteX2" fmla="*/ 2078192 w 2078192"/>
              <a:gd name="connsiteY2" fmla="*/ 1889023 h 2408571"/>
              <a:gd name="connsiteX3" fmla="*/ 1039096 w 2078192"/>
              <a:gd name="connsiteY3" fmla="*/ 2408571 h 2408571"/>
              <a:gd name="connsiteX4" fmla="*/ 0 w 2078192"/>
              <a:gd name="connsiteY4" fmla="*/ 1889023 h 2408571"/>
              <a:gd name="connsiteX5" fmla="*/ 0 w 2078192"/>
              <a:gd name="connsiteY5" fmla="*/ 519548 h 2408571"/>
              <a:gd name="connsiteX6" fmla="*/ 1039096 w 2078192"/>
              <a:gd name="connsiteY6" fmla="*/ 0 h 2408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8192" h="2408571">
                <a:moveTo>
                  <a:pt x="1039096" y="0"/>
                </a:moveTo>
                <a:lnTo>
                  <a:pt x="2078192" y="519548"/>
                </a:lnTo>
                <a:lnTo>
                  <a:pt x="2078192" y="1889023"/>
                </a:lnTo>
                <a:lnTo>
                  <a:pt x="1039096" y="2408571"/>
                </a:lnTo>
                <a:lnTo>
                  <a:pt x="0" y="1889023"/>
                </a:lnTo>
                <a:lnTo>
                  <a:pt x="0" y="519548"/>
                </a:lnTo>
                <a:lnTo>
                  <a:pt x="1039096" y="0"/>
                </a:lnTo>
                <a:close/>
              </a:path>
            </a:pathLst>
          </a:custGeom>
          <a:solidFill>
            <a:srgbClr val="0070C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28016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7" name="Rectangle 96">
            <a:extLst>
              <a:ext uri="{FF2B5EF4-FFF2-40B4-BE49-F238E27FC236}">
                <a16:creationId xmlns:a16="http://schemas.microsoft.com/office/drawing/2014/main" id="{9745D305-890F-42B7-8F72-30DEB2491EB9}"/>
              </a:ext>
            </a:extLst>
          </p:cNvPr>
          <p:cNvSpPr/>
          <p:nvPr/>
        </p:nvSpPr>
        <p:spPr>
          <a:xfrm>
            <a:off x="457200" y="4655525"/>
            <a:ext cx="2478312"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a:ea typeface="+mn-ea"/>
                <a:cs typeface="+mn-cs"/>
              </a:rPr>
              <a:t>A business process crosses trust boundaries</a:t>
            </a:r>
          </a:p>
        </p:txBody>
      </p:sp>
      <p:sp>
        <p:nvSpPr>
          <p:cNvPr id="98" name="Rectangle 97">
            <a:extLst>
              <a:ext uri="{FF2B5EF4-FFF2-40B4-BE49-F238E27FC236}">
                <a16:creationId xmlns:a16="http://schemas.microsoft.com/office/drawing/2014/main" id="{D8133098-6D4A-4B40-B8D4-D28BEE15505A}"/>
              </a:ext>
            </a:extLst>
          </p:cNvPr>
          <p:cNvSpPr/>
          <p:nvPr/>
        </p:nvSpPr>
        <p:spPr>
          <a:xfrm>
            <a:off x="3380532" y="4655526"/>
            <a:ext cx="2478312"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a:ea typeface="+mn-ea"/>
                <a:cs typeface="+mn-cs"/>
              </a:rPr>
              <a:t>Multiple parties work off of the same data</a:t>
            </a:r>
          </a:p>
        </p:txBody>
      </p:sp>
      <p:sp>
        <p:nvSpPr>
          <p:cNvPr id="99" name="Rectangle 98">
            <a:extLst>
              <a:ext uri="{FF2B5EF4-FFF2-40B4-BE49-F238E27FC236}">
                <a16:creationId xmlns:a16="http://schemas.microsoft.com/office/drawing/2014/main" id="{2D44515B-7319-439E-A497-EA956458031D}"/>
              </a:ext>
            </a:extLst>
          </p:cNvPr>
          <p:cNvSpPr/>
          <p:nvPr/>
        </p:nvSpPr>
        <p:spPr>
          <a:xfrm>
            <a:off x="6303864" y="4655525"/>
            <a:ext cx="2478312"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a:ea typeface="+mn-ea"/>
                <a:cs typeface="+mn-cs"/>
              </a:rPr>
              <a:t>Intermediaries</a:t>
            </a:r>
            <a:br>
              <a:rPr kumimoji="0" lang="en-US" sz="1765" b="0" i="0" u="none" strike="noStrike" kern="1200" cap="none" spc="0" normalizeH="0" baseline="0" noProof="0">
                <a:ln>
                  <a:noFill/>
                </a:ln>
                <a:solidFill>
                  <a:srgbClr val="000000"/>
                </a:solidFill>
                <a:effectLst/>
                <a:uLnTx/>
                <a:uFillTx/>
                <a:latin typeface="Segoe UI"/>
                <a:ea typeface="+mn-ea"/>
                <a:cs typeface="+mn-cs"/>
              </a:rPr>
            </a:br>
            <a:r>
              <a:rPr kumimoji="0" lang="en-US" sz="1765" b="0" i="0" u="none" strike="noStrike" kern="1200" cap="none" spc="0" normalizeH="0" baseline="0" noProof="0">
                <a:ln>
                  <a:noFill/>
                </a:ln>
                <a:solidFill>
                  <a:srgbClr val="000000"/>
                </a:solidFill>
                <a:effectLst/>
                <a:uLnTx/>
                <a:uFillTx/>
                <a:latin typeface="Segoe UI"/>
                <a:ea typeface="+mn-ea"/>
                <a:cs typeface="+mn-cs"/>
              </a:rPr>
              <a:t>control the single source of the truth</a:t>
            </a:r>
          </a:p>
        </p:txBody>
      </p:sp>
      <p:sp>
        <p:nvSpPr>
          <p:cNvPr id="100" name="Rectangle 99">
            <a:extLst>
              <a:ext uri="{FF2B5EF4-FFF2-40B4-BE49-F238E27FC236}">
                <a16:creationId xmlns:a16="http://schemas.microsoft.com/office/drawing/2014/main" id="{8EE7B942-9777-48C7-BBDF-606194712B63}"/>
              </a:ext>
            </a:extLst>
          </p:cNvPr>
          <p:cNvSpPr/>
          <p:nvPr/>
        </p:nvSpPr>
        <p:spPr>
          <a:xfrm>
            <a:off x="9227196" y="4655525"/>
            <a:ext cx="2478312"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a:ea typeface="+mn-ea"/>
                <a:cs typeface="+mn-cs"/>
              </a:rPr>
              <a:t>A process involves</a:t>
            </a:r>
            <a:br>
              <a:rPr kumimoji="0" lang="en-US" sz="1765" b="0" i="0" u="none" strike="noStrike" kern="1200" cap="none" spc="0" normalizeH="0" baseline="0" noProof="0">
                <a:ln>
                  <a:noFill/>
                </a:ln>
                <a:solidFill>
                  <a:srgbClr val="000000"/>
                </a:solidFill>
                <a:effectLst/>
                <a:uLnTx/>
                <a:uFillTx/>
                <a:latin typeface="Segoe UI"/>
                <a:ea typeface="+mn-ea"/>
                <a:cs typeface="+mn-cs"/>
              </a:rPr>
            </a:br>
            <a:r>
              <a:rPr kumimoji="0" lang="en-US" sz="1765" b="0" i="0" u="none" strike="noStrike" kern="1200" cap="none" spc="0" normalizeH="0" baseline="0" noProof="0">
                <a:ln>
                  <a:noFill/>
                </a:ln>
                <a:solidFill>
                  <a:srgbClr val="000000"/>
                </a:solidFill>
                <a:effectLst/>
                <a:uLnTx/>
                <a:uFillTx/>
                <a:latin typeface="Segoe UI"/>
                <a:ea typeface="+mn-ea"/>
                <a:cs typeface="+mn-cs"/>
              </a:rPr>
              <a:t>low-value, manual verification steps</a:t>
            </a:r>
          </a:p>
        </p:txBody>
      </p:sp>
      <p:grpSp>
        <p:nvGrpSpPr>
          <p:cNvPr id="104" name="Group 4">
            <a:extLst>
              <a:ext uri="{FF2B5EF4-FFF2-40B4-BE49-F238E27FC236}">
                <a16:creationId xmlns:a16="http://schemas.microsoft.com/office/drawing/2014/main" id="{547BCD85-E595-480D-BFFF-7FE80EE8143B}"/>
              </a:ext>
            </a:extLst>
          </p:cNvPr>
          <p:cNvGrpSpPr>
            <a:grpSpLocks noChangeAspect="1"/>
          </p:cNvGrpSpPr>
          <p:nvPr/>
        </p:nvGrpSpPr>
        <p:grpSpPr bwMode="auto">
          <a:xfrm>
            <a:off x="4098886" y="2655559"/>
            <a:ext cx="1041605" cy="1040466"/>
            <a:chOff x="972" y="3386"/>
            <a:chExt cx="915" cy="914"/>
          </a:xfrm>
        </p:grpSpPr>
        <p:sp>
          <p:nvSpPr>
            <p:cNvPr id="105" name="AutoShape 3">
              <a:extLst>
                <a:ext uri="{FF2B5EF4-FFF2-40B4-BE49-F238E27FC236}">
                  <a16:creationId xmlns:a16="http://schemas.microsoft.com/office/drawing/2014/main" id="{2871DE0E-B781-45FB-8348-ADC2BF4A7113}"/>
                </a:ext>
              </a:extLst>
            </p:cNvPr>
            <p:cNvSpPr>
              <a:spLocks noChangeAspect="1" noChangeArrowheads="1" noTextEdit="1"/>
            </p:cNvSpPr>
            <p:nvPr/>
          </p:nvSpPr>
          <p:spPr bwMode="auto">
            <a:xfrm>
              <a:off x="972" y="3386"/>
              <a:ext cx="915" cy="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5">
              <a:extLst>
                <a:ext uri="{FF2B5EF4-FFF2-40B4-BE49-F238E27FC236}">
                  <a16:creationId xmlns:a16="http://schemas.microsoft.com/office/drawing/2014/main" id="{0ECEC6D4-F4A8-407D-8299-90D33157FDAE}"/>
                </a:ext>
              </a:extLst>
            </p:cNvPr>
            <p:cNvSpPr>
              <a:spLocks/>
            </p:cNvSpPr>
            <p:nvPr/>
          </p:nvSpPr>
          <p:spPr bwMode="auto">
            <a:xfrm>
              <a:off x="1058" y="3843"/>
              <a:ext cx="743" cy="371"/>
            </a:xfrm>
            <a:custGeom>
              <a:avLst/>
              <a:gdLst>
                <a:gd name="T0" fmla="*/ 0 w 743"/>
                <a:gd name="T1" fmla="*/ 371 h 371"/>
                <a:gd name="T2" fmla="*/ 0 w 743"/>
                <a:gd name="T3" fmla="*/ 0 h 371"/>
                <a:gd name="T4" fmla="*/ 743 w 743"/>
                <a:gd name="T5" fmla="*/ 0 h 371"/>
                <a:gd name="T6" fmla="*/ 743 w 743"/>
                <a:gd name="T7" fmla="*/ 371 h 371"/>
              </a:gdLst>
              <a:ahLst/>
              <a:cxnLst>
                <a:cxn ang="0">
                  <a:pos x="T0" y="T1"/>
                </a:cxn>
                <a:cxn ang="0">
                  <a:pos x="T2" y="T3"/>
                </a:cxn>
                <a:cxn ang="0">
                  <a:pos x="T4" y="T5"/>
                </a:cxn>
                <a:cxn ang="0">
                  <a:pos x="T6" y="T7"/>
                </a:cxn>
              </a:cxnLst>
              <a:rect l="0" t="0" r="r" b="b"/>
              <a:pathLst>
                <a:path w="743" h="371">
                  <a:moveTo>
                    <a:pt x="0" y="371"/>
                  </a:moveTo>
                  <a:lnTo>
                    <a:pt x="0" y="0"/>
                  </a:lnTo>
                  <a:lnTo>
                    <a:pt x="743" y="0"/>
                  </a:lnTo>
                  <a:lnTo>
                    <a:pt x="743" y="371"/>
                  </a:lnTo>
                </a:path>
              </a:pathLst>
            </a:custGeom>
            <a:noFill/>
            <a:ln w="22225"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7" name="Line 6">
              <a:extLst>
                <a:ext uri="{FF2B5EF4-FFF2-40B4-BE49-F238E27FC236}">
                  <a16:creationId xmlns:a16="http://schemas.microsoft.com/office/drawing/2014/main" id="{F4B88166-4D95-4983-9FD6-888937385F27}"/>
                </a:ext>
              </a:extLst>
            </p:cNvPr>
            <p:cNvSpPr>
              <a:spLocks noChangeShapeType="1"/>
            </p:cNvSpPr>
            <p:nvPr/>
          </p:nvSpPr>
          <p:spPr bwMode="auto">
            <a:xfrm>
              <a:off x="1430" y="3506"/>
              <a:ext cx="0" cy="718"/>
            </a:xfrm>
            <a:prstGeom prst="line">
              <a:avLst/>
            </a:prstGeom>
            <a:noFill/>
            <a:ln w="22225"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8" name="Oval 7">
              <a:extLst>
                <a:ext uri="{FF2B5EF4-FFF2-40B4-BE49-F238E27FC236}">
                  <a16:creationId xmlns:a16="http://schemas.microsoft.com/office/drawing/2014/main" id="{A93B9439-BA80-4D31-93F2-7ABB3439A899}"/>
                </a:ext>
              </a:extLst>
            </p:cNvPr>
            <p:cNvSpPr>
              <a:spLocks noChangeArrowheads="1"/>
            </p:cNvSpPr>
            <p:nvPr/>
          </p:nvSpPr>
          <p:spPr bwMode="auto">
            <a:xfrm>
              <a:off x="1344" y="4129"/>
              <a:ext cx="172" cy="171"/>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9" name="Oval 8">
              <a:extLst>
                <a:ext uri="{FF2B5EF4-FFF2-40B4-BE49-F238E27FC236}">
                  <a16:creationId xmlns:a16="http://schemas.microsoft.com/office/drawing/2014/main" id="{2DF47506-CD55-4E7E-B2C6-A05111DFC41C}"/>
                </a:ext>
              </a:extLst>
            </p:cNvPr>
            <p:cNvSpPr>
              <a:spLocks noChangeArrowheads="1"/>
            </p:cNvSpPr>
            <p:nvPr/>
          </p:nvSpPr>
          <p:spPr bwMode="auto">
            <a:xfrm>
              <a:off x="1344" y="3386"/>
              <a:ext cx="172" cy="171"/>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0" name="Oval 9">
              <a:extLst>
                <a:ext uri="{FF2B5EF4-FFF2-40B4-BE49-F238E27FC236}">
                  <a16:creationId xmlns:a16="http://schemas.microsoft.com/office/drawing/2014/main" id="{055D7AF1-C6A9-4A64-B23F-0476118EF4F1}"/>
                </a:ext>
              </a:extLst>
            </p:cNvPr>
            <p:cNvSpPr>
              <a:spLocks noChangeArrowheads="1"/>
            </p:cNvSpPr>
            <p:nvPr/>
          </p:nvSpPr>
          <p:spPr bwMode="auto">
            <a:xfrm>
              <a:off x="1715" y="4129"/>
              <a:ext cx="172" cy="17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1" name="Oval 10">
              <a:extLst>
                <a:ext uri="{FF2B5EF4-FFF2-40B4-BE49-F238E27FC236}">
                  <a16:creationId xmlns:a16="http://schemas.microsoft.com/office/drawing/2014/main" id="{C4A4C7BC-E47A-4E3E-8363-BD6F70FC29A1}"/>
                </a:ext>
              </a:extLst>
            </p:cNvPr>
            <p:cNvSpPr>
              <a:spLocks noChangeArrowheads="1"/>
            </p:cNvSpPr>
            <p:nvPr/>
          </p:nvSpPr>
          <p:spPr bwMode="auto">
            <a:xfrm>
              <a:off x="972" y="4129"/>
              <a:ext cx="172" cy="171"/>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3" name="Group 13">
            <a:extLst>
              <a:ext uri="{FF2B5EF4-FFF2-40B4-BE49-F238E27FC236}">
                <a16:creationId xmlns:a16="http://schemas.microsoft.com/office/drawing/2014/main" id="{391AC320-5C57-4603-BC7D-D70ACD1401BB}"/>
              </a:ext>
            </a:extLst>
          </p:cNvPr>
          <p:cNvGrpSpPr>
            <a:grpSpLocks noChangeAspect="1"/>
          </p:cNvGrpSpPr>
          <p:nvPr/>
        </p:nvGrpSpPr>
        <p:grpSpPr bwMode="auto">
          <a:xfrm>
            <a:off x="1210837" y="2655494"/>
            <a:ext cx="971039" cy="1040597"/>
            <a:chOff x="-467" y="2447"/>
            <a:chExt cx="349" cy="374"/>
          </a:xfrm>
        </p:grpSpPr>
        <p:sp>
          <p:nvSpPr>
            <p:cNvPr id="114" name="AutoShape 12">
              <a:extLst>
                <a:ext uri="{FF2B5EF4-FFF2-40B4-BE49-F238E27FC236}">
                  <a16:creationId xmlns:a16="http://schemas.microsoft.com/office/drawing/2014/main" id="{686EFCB3-C54F-4114-8452-63A8FDAB3E6E}"/>
                </a:ext>
              </a:extLst>
            </p:cNvPr>
            <p:cNvSpPr>
              <a:spLocks noChangeAspect="1" noChangeArrowheads="1" noTextEdit="1"/>
            </p:cNvSpPr>
            <p:nvPr/>
          </p:nvSpPr>
          <p:spPr bwMode="auto">
            <a:xfrm>
              <a:off x="-467" y="2447"/>
              <a:ext cx="349" cy="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5" name="Freeform 14">
              <a:extLst>
                <a:ext uri="{FF2B5EF4-FFF2-40B4-BE49-F238E27FC236}">
                  <a16:creationId xmlns:a16="http://schemas.microsoft.com/office/drawing/2014/main" id="{A7D5E874-D3D9-4D13-A3BE-5ED94DA0A94D}"/>
                </a:ext>
              </a:extLst>
            </p:cNvPr>
            <p:cNvSpPr>
              <a:spLocks/>
            </p:cNvSpPr>
            <p:nvPr/>
          </p:nvSpPr>
          <p:spPr bwMode="auto">
            <a:xfrm>
              <a:off x="-276" y="2640"/>
              <a:ext cx="158" cy="139"/>
            </a:xfrm>
            <a:custGeom>
              <a:avLst/>
              <a:gdLst>
                <a:gd name="T0" fmla="*/ 0 w 158"/>
                <a:gd name="T1" fmla="*/ 88 h 139"/>
                <a:gd name="T2" fmla="*/ 95 w 158"/>
                <a:gd name="T3" fmla="*/ 88 h 139"/>
                <a:gd name="T4" fmla="*/ 65 w 158"/>
                <a:gd name="T5" fmla="*/ 116 h 139"/>
                <a:gd name="T6" fmla="*/ 88 w 158"/>
                <a:gd name="T7" fmla="*/ 139 h 139"/>
                <a:gd name="T8" fmla="*/ 158 w 158"/>
                <a:gd name="T9" fmla="*/ 69 h 139"/>
                <a:gd name="T10" fmla="*/ 88 w 158"/>
                <a:gd name="T11" fmla="*/ 0 h 139"/>
                <a:gd name="T12" fmla="*/ 65 w 158"/>
                <a:gd name="T13" fmla="*/ 23 h 139"/>
                <a:gd name="T14" fmla="*/ 95 w 158"/>
                <a:gd name="T15" fmla="*/ 55 h 139"/>
                <a:gd name="T16" fmla="*/ 0 w 158"/>
                <a:gd name="T17" fmla="*/ 55 h 139"/>
                <a:gd name="T18" fmla="*/ 0 w 158"/>
                <a:gd name="T19" fmla="*/ 8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139">
                  <a:moveTo>
                    <a:pt x="0" y="88"/>
                  </a:moveTo>
                  <a:lnTo>
                    <a:pt x="95" y="88"/>
                  </a:lnTo>
                  <a:lnTo>
                    <a:pt x="65" y="116"/>
                  </a:lnTo>
                  <a:lnTo>
                    <a:pt x="88" y="139"/>
                  </a:lnTo>
                  <a:lnTo>
                    <a:pt x="158" y="69"/>
                  </a:lnTo>
                  <a:lnTo>
                    <a:pt x="88" y="0"/>
                  </a:lnTo>
                  <a:lnTo>
                    <a:pt x="65" y="23"/>
                  </a:lnTo>
                  <a:lnTo>
                    <a:pt x="95" y="55"/>
                  </a:lnTo>
                  <a:lnTo>
                    <a:pt x="0" y="55"/>
                  </a:lnTo>
                  <a:lnTo>
                    <a:pt x="0" y="8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6" name="Freeform 15">
              <a:extLst>
                <a:ext uri="{FF2B5EF4-FFF2-40B4-BE49-F238E27FC236}">
                  <a16:creationId xmlns:a16="http://schemas.microsoft.com/office/drawing/2014/main" id="{5DA5F1D1-332E-4C3C-B4CE-0AD345E7E9B0}"/>
                </a:ext>
              </a:extLst>
            </p:cNvPr>
            <p:cNvSpPr>
              <a:spLocks/>
            </p:cNvSpPr>
            <p:nvPr/>
          </p:nvSpPr>
          <p:spPr bwMode="auto">
            <a:xfrm>
              <a:off x="-467" y="2447"/>
              <a:ext cx="244" cy="374"/>
            </a:xfrm>
            <a:custGeom>
              <a:avLst/>
              <a:gdLst>
                <a:gd name="T0" fmla="*/ 191 w 244"/>
                <a:gd name="T1" fmla="*/ 248 h 374"/>
                <a:gd name="T2" fmla="*/ 191 w 244"/>
                <a:gd name="T3" fmla="*/ 63 h 374"/>
                <a:gd name="T4" fmla="*/ 221 w 244"/>
                <a:gd name="T5" fmla="*/ 93 h 374"/>
                <a:gd name="T6" fmla="*/ 244 w 244"/>
                <a:gd name="T7" fmla="*/ 70 h 374"/>
                <a:gd name="T8" fmla="*/ 175 w 244"/>
                <a:gd name="T9" fmla="*/ 0 h 374"/>
                <a:gd name="T10" fmla="*/ 105 w 244"/>
                <a:gd name="T11" fmla="*/ 70 h 374"/>
                <a:gd name="T12" fmla="*/ 128 w 244"/>
                <a:gd name="T13" fmla="*/ 93 h 374"/>
                <a:gd name="T14" fmla="*/ 158 w 244"/>
                <a:gd name="T15" fmla="*/ 63 h 374"/>
                <a:gd name="T16" fmla="*/ 158 w 244"/>
                <a:gd name="T17" fmla="*/ 158 h 374"/>
                <a:gd name="T18" fmla="*/ 63 w 244"/>
                <a:gd name="T19" fmla="*/ 158 h 374"/>
                <a:gd name="T20" fmla="*/ 93 w 244"/>
                <a:gd name="T21" fmla="*/ 128 h 374"/>
                <a:gd name="T22" fmla="*/ 70 w 244"/>
                <a:gd name="T23" fmla="*/ 105 h 374"/>
                <a:gd name="T24" fmla="*/ 0 w 244"/>
                <a:gd name="T25" fmla="*/ 175 h 374"/>
                <a:gd name="T26" fmla="*/ 70 w 244"/>
                <a:gd name="T27" fmla="*/ 244 h 374"/>
                <a:gd name="T28" fmla="*/ 93 w 244"/>
                <a:gd name="T29" fmla="*/ 221 h 374"/>
                <a:gd name="T30" fmla="*/ 63 w 244"/>
                <a:gd name="T31" fmla="*/ 191 h 374"/>
                <a:gd name="T32" fmla="*/ 158 w 244"/>
                <a:gd name="T33" fmla="*/ 191 h 374"/>
                <a:gd name="T34" fmla="*/ 158 w 244"/>
                <a:gd name="T35" fmla="*/ 374 h 374"/>
                <a:gd name="T36" fmla="*/ 191 w 244"/>
                <a:gd name="T37" fmla="*/ 374 h 374"/>
                <a:gd name="T38" fmla="*/ 191 w 244"/>
                <a:gd name="T39" fmla="*/ 281 h 374"/>
                <a:gd name="T40" fmla="*/ 191 w 244"/>
                <a:gd name="T41" fmla="*/ 248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4" h="374">
                  <a:moveTo>
                    <a:pt x="191" y="248"/>
                  </a:moveTo>
                  <a:lnTo>
                    <a:pt x="191" y="63"/>
                  </a:lnTo>
                  <a:lnTo>
                    <a:pt x="221" y="93"/>
                  </a:lnTo>
                  <a:lnTo>
                    <a:pt x="244" y="70"/>
                  </a:lnTo>
                  <a:lnTo>
                    <a:pt x="175" y="0"/>
                  </a:lnTo>
                  <a:lnTo>
                    <a:pt x="105" y="70"/>
                  </a:lnTo>
                  <a:lnTo>
                    <a:pt x="128" y="93"/>
                  </a:lnTo>
                  <a:lnTo>
                    <a:pt x="158" y="63"/>
                  </a:lnTo>
                  <a:lnTo>
                    <a:pt x="158" y="158"/>
                  </a:lnTo>
                  <a:lnTo>
                    <a:pt x="63" y="158"/>
                  </a:lnTo>
                  <a:lnTo>
                    <a:pt x="93" y="128"/>
                  </a:lnTo>
                  <a:lnTo>
                    <a:pt x="70" y="105"/>
                  </a:lnTo>
                  <a:lnTo>
                    <a:pt x="0" y="175"/>
                  </a:lnTo>
                  <a:lnTo>
                    <a:pt x="70" y="244"/>
                  </a:lnTo>
                  <a:lnTo>
                    <a:pt x="93" y="221"/>
                  </a:lnTo>
                  <a:lnTo>
                    <a:pt x="63" y="191"/>
                  </a:lnTo>
                  <a:lnTo>
                    <a:pt x="158" y="191"/>
                  </a:lnTo>
                  <a:lnTo>
                    <a:pt x="158" y="374"/>
                  </a:lnTo>
                  <a:lnTo>
                    <a:pt x="191" y="374"/>
                  </a:lnTo>
                  <a:lnTo>
                    <a:pt x="191" y="281"/>
                  </a:lnTo>
                  <a:lnTo>
                    <a:pt x="191" y="24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8" name="Group 18">
            <a:extLst>
              <a:ext uri="{FF2B5EF4-FFF2-40B4-BE49-F238E27FC236}">
                <a16:creationId xmlns:a16="http://schemas.microsoft.com/office/drawing/2014/main" id="{689D75B4-3C8E-4238-9B32-BE7F12D37A14}"/>
              </a:ext>
            </a:extLst>
          </p:cNvPr>
          <p:cNvGrpSpPr>
            <a:grpSpLocks noChangeAspect="1"/>
          </p:cNvGrpSpPr>
          <p:nvPr/>
        </p:nvGrpSpPr>
        <p:grpSpPr bwMode="auto">
          <a:xfrm>
            <a:off x="10028856" y="2739464"/>
            <a:ext cx="874992" cy="872659"/>
            <a:chOff x="6257" y="1724"/>
            <a:chExt cx="375" cy="374"/>
          </a:xfrm>
        </p:grpSpPr>
        <p:sp>
          <p:nvSpPr>
            <p:cNvPr id="119" name="AutoShape 17">
              <a:extLst>
                <a:ext uri="{FF2B5EF4-FFF2-40B4-BE49-F238E27FC236}">
                  <a16:creationId xmlns:a16="http://schemas.microsoft.com/office/drawing/2014/main" id="{0EF53ED3-C495-4354-AD1D-96070D9C91DE}"/>
                </a:ext>
              </a:extLst>
            </p:cNvPr>
            <p:cNvSpPr>
              <a:spLocks noChangeAspect="1" noChangeArrowheads="1" noTextEdit="1"/>
            </p:cNvSpPr>
            <p:nvPr/>
          </p:nvSpPr>
          <p:spPr bwMode="auto">
            <a:xfrm>
              <a:off x="6257" y="1724"/>
              <a:ext cx="375" cy="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0" name="Freeform 19">
              <a:extLst>
                <a:ext uri="{FF2B5EF4-FFF2-40B4-BE49-F238E27FC236}">
                  <a16:creationId xmlns:a16="http://schemas.microsoft.com/office/drawing/2014/main" id="{D0B3739F-EE5A-4311-8D8E-5628CC8D49FD}"/>
                </a:ext>
              </a:extLst>
            </p:cNvPr>
            <p:cNvSpPr>
              <a:spLocks/>
            </p:cNvSpPr>
            <p:nvPr/>
          </p:nvSpPr>
          <p:spPr bwMode="auto">
            <a:xfrm>
              <a:off x="6257" y="1724"/>
              <a:ext cx="375" cy="374"/>
            </a:xfrm>
            <a:custGeom>
              <a:avLst/>
              <a:gdLst>
                <a:gd name="T0" fmla="*/ 682 w 1365"/>
                <a:gd name="T1" fmla="*/ 1365 h 1365"/>
                <a:gd name="T2" fmla="*/ 0 w 1365"/>
                <a:gd name="T3" fmla="*/ 683 h 1365"/>
                <a:gd name="T4" fmla="*/ 682 w 1365"/>
                <a:gd name="T5" fmla="*/ 0 h 1365"/>
                <a:gd name="T6" fmla="*/ 682 w 1365"/>
                <a:gd name="T7" fmla="*/ 128 h 1365"/>
                <a:gd name="T8" fmla="*/ 128 w 1365"/>
                <a:gd name="T9" fmla="*/ 683 h 1365"/>
                <a:gd name="T10" fmla="*/ 682 w 1365"/>
                <a:gd name="T11" fmla="*/ 1237 h 1365"/>
                <a:gd name="T12" fmla="*/ 1237 w 1365"/>
                <a:gd name="T13" fmla="*/ 683 h 1365"/>
                <a:gd name="T14" fmla="*/ 1365 w 1365"/>
                <a:gd name="T15" fmla="*/ 683 h 1365"/>
                <a:gd name="T16" fmla="*/ 682 w 1365"/>
                <a:gd name="T17"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5" h="1365">
                  <a:moveTo>
                    <a:pt x="682" y="1365"/>
                  </a:moveTo>
                  <a:cubicBezTo>
                    <a:pt x="306" y="1365"/>
                    <a:pt x="0" y="1059"/>
                    <a:pt x="0" y="683"/>
                  </a:cubicBezTo>
                  <a:cubicBezTo>
                    <a:pt x="0" y="306"/>
                    <a:pt x="306" y="0"/>
                    <a:pt x="682" y="0"/>
                  </a:cubicBezTo>
                  <a:cubicBezTo>
                    <a:pt x="682" y="128"/>
                    <a:pt x="682" y="128"/>
                    <a:pt x="682" y="128"/>
                  </a:cubicBezTo>
                  <a:cubicBezTo>
                    <a:pt x="377" y="128"/>
                    <a:pt x="128" y="377"/>
                    <a:pt x="128" y="683"/>
                  </a:cubicBezTo>
                  <a:cubicBezTo>
                    <a:pt x="128" y="988"/>
                    <a:pt x="377" y="1237"/>
                    <a:pt x="682" y="1237"/>
                  </a:cubicBezTo>
                  <a:cubicBezTo>
                    <a:pt x="988" y="1237"/>
                    <a:pt x="1237" y="988"/>
                    <a:pt x="1237" y="683"/>
                  </a:cubicBezTo>
                  <a:cubicBezTo>
                    <a:pt x="1365" y="683"/>
                    <a:pt x="1365" y="683"/>
                    <a:pt x="1365" y="683"/>
                  </a:cubicBezTo>
                  <a:cubicBezTo>
                    <a:pt x="1365" y="1059"/>
                    <a:pt x="1058" y="1365"/>
                    <a:pt x="682" y="136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1" name="Freeform 20">
              <a:extLst>
                <a:ext uri="{FF2B5EF4-FFF2-40B4-BE49-F238E27FC236}">
                  <a16:creationId xmlns:a16="http://schemas.microsoft.com/office/drawing/2014/main" id="{3665A29E-B774-48DC-807B-2251037E038F}"/>
                </a:ext>
              </a:extLst>
            </p:cNvPr>
            <p:cNvSpPr>
              <a:spLocks/>
            </p:cNvSpPr>
            <p:nvPr/>
          </p:nvSpPr>
          <p:spPr bwMode="auto">
            <a:xfrm>
              <a:off x="6419" y="1807"/>
              <a:ext cx="163" cy="162"/>
            </a:xfrm>
            <a:custGeom>
              <a:avLst/>
              <a:gdLst>
                <a:gd name="T0" fmla="*/ 0 w 163"/>
                <a:gd name="T1" fmla="*/ 137 h 162"/>
                <a:gd name="T2" fmla="*/ 25 w 163"/>
                <a:gd name="T3" fmla="*/ 162 h 162"/>
                <a:gd name="T4" fmla="*/ 163 w 163"/>
                <a:gd name="T5" fmla="*/ 24 h 162"/>
                <a:gd name="T6" fmla="*/ 138 w 163"/>
                <a:gd name="T7" fmla="*/ 0 h 162"/>
                <a:gd name="T8" fmla="*/ 0 w 163"/>
                <a:gd name="T9" fmla="*/ 137 h 162"/>
              </a:gdLst>
              <a:ahLst/>
              <a:cxnLst>
                <a:cxn ang="0">
                  <a:pos x="T0" y="T1"/>
                </a:cxn>
                <a:cxn ang="0">
                  <a:pos x="T2" y="T3"/>
                </a:cxn>
                <a:cxn ang="0">
                  <a:pos x="T4" y="T5"/>
                </a:cxn>
                <a:cxn ang="0">
                  <a:pos x="T6" y="T7"/>
                </a:cxn>
                <a:cxn ang="0">
                  <a:pos x="T8" y="T9"/>
                </a:cxn>
              </a:cxnLst>
              <a:rect l="0" t="0" r="r" b="b"/>
              <a:pathLst>
                <a:path w="163" h="162">
                  <a:moveTo>
                    <a:pt x="0" y="137"/>
                  </a:moveTo>
                  <a:lnTo>
                    <a:pt x="25" y="162"/>
                  </a:lnTo>
                  <a:lnTo>
                    <a:pt x="163" y="24"/>
                  </a:lnTo>
                  <a:lnTo>
                    <a:pt x="138" y="0"/>
                  </a:lnTo>
                  <a:lnTo>
                    <a:pt x="0" y="13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2" name="Freeform 21">
              <a:extLst>
                <a:ext uri="{FF2B5EF4-FFF2-40B4-BE49-F238E27FC236}">
                  <a16:creationId xmlns:a16="http://schemas.microsoft.com/office/drawing/2014/main" id="{A2B918CC-894D-4780-A943-2F7A1E646E33}"/>
                </a:ext>
              </a:extLst>
            </p:cNvPr>
            <p:cNvSpPr>
              <a:spLocks/>
            </p:cNvSpPr>
            <p:nvPr/>
          </p:nvSpPr>
          <p:spPr bwMode="auto">
            <a:xfrm>
              <a:off x="6365" y="1865"/>
              <a:ext cx="104" cy="104"/>
            </a:xfrm>
            <a:custGeom>
              <a:avLst/>
              <a:gdLst>
                <a:gd name="T0" fmla="*/ 79 w 104"/>
                <a:gd name="T1" fmla="*/ 104 h 104"/>
                <a:gd name="T2" fmla="*/ 104 w 104"/>
                <a:gd name="T3" fmla="*/ 79 h 104"/>
                <a:gd name="T4" fmla="*/ 25 w 104"/>
                <a:gd name="T5" fmla="*/ 0 h 104"/>
                <a:gd name="T6" fmla="*/ 0 w 104"/>
                <a:gd name="T7" fmla="*/ 25 h 104"/>
                <a:gd name="T8" fmla="*/ 79 w 104"/>
                <a:gd name="T9" fmla="*/ 104 h 104"/>
              </a:gdLst>
              <a:ahLst/>
              <a:cxnLst>
                <a:cxn ang="0">
                  <a:pos x="T0" y="T1"/>
                </a:cxn>
                <a:cxn ang="0">
                  <a:pos x="T2" y="T3"/>
                </a:cxn>
                <a:cxn ang="0">
                  <a:pos x="T4" y="T5"/>
                </a:cxn>
                <a:cxn ang="0">
                  <a:pos x="T6" y="T7"/>
                </a:cxn>
                <a:cxn ang="0">
                  <a:pos x="T8" y="T9"/>
                </a:cxn>
              </a:cxnLst>
              <a:rect l="0" t="0" r="r" b="b"/>
              <a:pathLst>
                <a:path w="104" h="104">
                  <a:moveTo>
                    <a:pt x="79" y="104"/>
                  </a:moveTo>
                  <a:lnTo>
                    <a:pt x="104" y="79"/>
                  </a:lnTo>
                  <a:lnTo>
                    <a:pt x="25" y="0"/>
                  </a:lnTo>
                  <a:lnTo>
                    <a:pt x="0" y="25"/>
                  </a:lnTo>
                  <a:lnTo>
                    <a:pt x="79" y="10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4" name="Group 24">
            <a:extLst>
              <a:ext uri="{FF2B5EF4-FFF2-40B4-BE49-F238E27FC236}">
                <a16:creationId xmlns:a16="http://schemas.microsoft.com/office/drawing/2014/main" id="{1868ABDA-B0FB-4CB1-A833-326487A8B043}"/>
              </a:ext>
            </a:extLst>
          </p:cNvPr>
          <p:cNvGrpSpPr>
            <a:grpSpLocks noChangeAspect="1"/>
          </p:cNvGrpSpPr>
          <p:nvPr/>
        </p:nvGrpSpPr>
        <p:grpSpPr bwMode="auto">
          <a:xfrm>
            <a:off x="7096900" y="2771310"/>
            <a:ext cx="892241" cy="808966"/>
            <a:chOff x="4093" y="3357"/>
            <a:chExt cx="375" cy="340"/>
          </a:xfrm>
        </p:grpSpPr>
        <p:sp>
          <p:nvSpPr>
            <p:cNvPr id="125" name="AutoShape 23">
              <a:extLst>
                <a:ext uri="{FF2B5EF4-FFF2-40B4-BE49-F238E27FC236}">
                  <a16:creationId xmlns:a16="http://schemas.microsoft.com/office/drawing/2014/main" id="{863696B4-B6C4-4D18-8B5B-29C50335CAC5}"/>
                </a:ext>
              </a:extLst>
            </p:cNvPr>
            <p:cNvSpPr>
              <a:spLocks noChangeAspect="1" noChangeArrowheads="1" noTextEdit="1"/>
            </p:cNvSpPr>
            <p:nvPr/>
          </p:nvSpPr>
          <p:spPr bwMode="auto">
            <a:xfrm>
              <a:off x="4093" y="3357"/>
              <a:ext cx="375" cy="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 name="Freeform 25">
              <a:extLst>
                <a:ext uri="{FF2B5EF4-FFF2-40B4-BE49-F238E27FC236}">
                  <a16:creationId xmlns:a16="http://schemas.microsoft.com/office/drawing/2014/main" id="{86817B4D-2BD1-4167-BA1D-E775B49A3994}"/>
                </a:ext>
              </a:extLst>
            </p:cNvPr>
            <p:cNvSpPr>
              <a:spLocks/>
            </p:cNvSpPr>
            <p:nvPr/>
          </p:nvSpPr>
          <p:spPr bwMode="auto">
            <a:xfrm>
              <a:off x="4083" y="3347"/>
              <a:ext cx="350" cy="350"/>
            </a:xfrm>
            <a:custGeom>
              <a:avLst/>
              <a:gdLst>
                <a:gd name="T0" fmla="*/ 1276 w 1276"/>
                <a:gd name="T1" fmla="*/ 720 h 1276"/>
                <a:gd name="T2" fmla="*/ 720 w 1276"/>
                <a:gd name="T3" fmla="*/ 1276 h 1276"/>
                <a:gd name="T4" fmla="*/ 150 w 1276"/>
                <a:gd name="T5" fmla="*/ 706 h 1276"/>
                <a:gd name="T6" fmla="*/ 150 w 1276"/>
                <a:gd name="T7" fmla="*/ 163 h 1276"/>
                <a:gd name="T8" fmla="*/ 163 w 1276"/>
                <a:gd name="T9" fmla="*/ 150 h 1276"/>
                <a:gd name="T10" fmla="*/ 706 w 1276"/>
                <a:gd name="T11" fmla="*/ 150 h 1276"/>
                <a:gd name="T12" fmla="*/ 1276 w 1276"/>
                <a:gd name="T13" fmla="*/ 720 h 1276"/>
              </a:gdLst>
              <a:ahLst/>
              <a:cxnLst>
                <a:cxn ang="0">
                  <a:pos x="T0" y="T1"/>
                </a:cxn>
                <a:cxn ang="0">
                  <a:pos x="T2" y="T3"/>
                </a:cxn>
                <a:cxn ang="0">
                  <a:pos x="T4" y="T5"/>
                </a:cxn>
                <a:cxn ang="0">
                  <a:pos x="T6" y="T7"/>
                </a:cxn>
                <a:cxn ang="0">
                  <a:pos x="T8" y="T9"/>
                </a:cxn>
                <a:cxn ang="0">
                  <a:pos x="T10" y="T11"/>
                </a:cxn>
                <a:cxn ang="0">
                  <a:pos x="T12" y="T13"/>
                </a:cxn>
              </a:cxnLst>
              <a:rect l="0" t="0" r="r" b="b"/>
              <a:pathLst>
                <a:path w="1276" h="1276">
                  <a:moveTo>
                    <a:pt x="1276" y="720"/>
                  </a:moveTo>
                  <a:cubicBezTo>
                    <a:pt x="720" y="1276"/>
                    <a:pt x="720" y="1276"/>
                    <a:pt x="720" y="1276"/>
                  </a:cubicBezTo>
                  <a:cubicBezTo>
                    <a:pt x="150" y="706"/>
                    <a:pt x="150" y="706"/>
                    <a:pt x="150" y="706"/>
                  </a:cubicBezTo>
                  <a:cubicBezTo>
                    <a:pt x="0" y="556"/>
                    <a:pt x="0" y="313"/>
                    <a:pt x="150" y="163"/>
                  </a:cubicBezTo>
                  <a:cubicBezTo>
                    <a:pt x="163" y="150"/>
                    <a:pt x="163" y="150"/>
                    <a:pt x="163" y="150"/>
                  </a:cubicBezTo>
                  <a:cubicBezTo>
                    <a:pt x="313" y="0"/>
                    <a:pt x="556" y="0"/>
                    <a:pt x="706" y="150"/>
                  </a:cubicBezTo>
                  <a:lnTo>
                    <a:pt x="1276" y="72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7" name="Freeform 26">
              <a:extLst>
                <a:ext uri="{FF2B5EF4-FFF2-40B4-BE49-F238E27FC236}">
                  <a16:creationId xmlns:a16="http://schemas.microsoft.com/office/drawing/2014/main" id="{741CFCA2-0B14-4928-A87E-277FAD9590D6}"/>
                </a:ext>
              </a:extLst>
            </p:cNvPr>
            <p:cNvSpPr>
              <a:spLocks/>
            </p:cNvSpPr>
            <p:nvPr/>
          </p:nvSpPr>
          <p:spPr bwMode="auto">
            <a:xfrm>
              <a:off x="4128" y="3347"/>
              <a:ext cx="350" cy="350"/>
            </a:xfrm>
            <a:custGeom>
              <a:avLst/>
              <a:gdLst>
                <a:gd name="T0" fmla="*/ 556 w 1276"/>
                <a:gd name="T1" fmla="*/ 1276 h 1276"/>
                <a:gd name="T2" fmla="*/ 0 w 1276"/>
                <a:gd name="T3" fmla="*/ 720 h 1276"/>
                <a:gd name="T4" fmla="*/ 570 w 1276"/>
                <a:gd name="T5" fmla="*/ 150 h 1276"/>
                <a:gd name="T6" fmla="*/ 1113 w 1276"/>
                <a:gd name="T7" fmla="*/ 150 h 1276"/>
                <a:gd name="T8" fmla="*/ 1126 w 1276"/>
                <a:gd name="T9" fmla="*/ 163 h 1276"/>
                <a:gd name="T10" fmla="*/ 1126 w 1276"/>
                <a:gd name="T11" fmla="*/ 706 h 1276"/>
                <a:gd name="T12" fmla="*/ 556 w 1276"/>
                <a:gd name="T13" fmla="*/ 1276 h 1276"/>
              </a:gdLst>
              <a:ahLst/>
              <a:cxnLst>
                <a:cxn ang="0">
                  <a:pos x="T0" y="T1"/>
                </a:cxn>
                <a:cxn ang="0">
                  <a:pos x="T2" y="T3"/>
                </a:cxn>
                <a:cxn ang="0">
                  <a:pos x="T4" y="T5"/>
                </a:cxn>
                <a:cxn ang="0">
                  <a:pos x="T6" y="T7"/>
                </a:cxn>
                <a:cxn ang="0">
                  <a:pos x="T8" y="T9"/>
                </a:cxn>
                <a:cxn ang="0">
                  <a:pos x="T10" y="T11"/>
                </a:cxn>
                <a:cxn ang="0">
                  <a:pos x="T12" y="T13"/>
                </a:cxn>
              </a:cxnLst>
              <a:rect l="0" t="0" r="r" b="b"/>
              <a:pathLst>
                <a:path w="1276" h="1276">
                  <a:moveTo>
                    <a:pt x="556" y="1276"/>
                  </a:moveTo>
                  <a:cubicBezTo>
                    <a:pt x="0" y="720"/>
                    <a:pt x="0" y="720"/>
                    <a:pt x="0" y="720"/>
                  </a:cubicBezTo>
                  <a:cubicBezTo>
                    <a:pt x="570" y="150"/>
                    <a:pt x="570" y="150"/>
                    <a:pt x="570" y="150"/>
                  </a:cubicBezTo>
                  <a:cubicBezTo>
                    <a:pt x="720" y="0"/>
                    <a:pt x="963" y="0"/>
                    <a:pt x="1113" y="150"/>
                  </a:cubicBezTo>
                  <a:cubicBezTo>
                    <a:pt x="1126" y="163"/>
                    <a:pt x="1126" y="163"/>
                    <a:pt x="1126" y="163"/>
                  </a:cubicBezTo>
                  <a:cubicBezTo>
                    <a:pt x="1276" y="313"/>
                    <a:pt x="1276" y="556"/>
                    <a:pt x="1126" y="706"/>
                  </a:cubicBezTo>
                  <a:lnTo>
                    <a:pt x="556" y="127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17" name="Title 1">
            <a:extLst>
              <a:ext uri="{FF2B5EF4-FFF2-40B4-BE49-F238E27FC236}">
                <a16:creationId xmlns:a16="http://schemas.microsoft.com/office/drawing/2014/main" id="{71F088AF-D0A5-4A77-BD76-EBB5424CC193}"/>
              </a:ext>
            </a:extLst>
          </p:cNvPr>
          <p:cNvSpPr txBox="1">
            <a:spLocks/>
          </p:cNvSpPr>
          <p:nvPr/>
        </p:nvSpPr>
        <p:spPr>
          <a:xfrm>
            <a:off x="269240" y="289511"/>
            <a:ext cx="11655840" cy="110799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Blockchain is useful when addressing specific</a:t>
            </a:r>
            <a:b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b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enterprise needs</a:t>
            </a:r>
          </a:p>
        </p:txBody>
      </p:sp>
    </p:spTree>
    <p:extLst>
      <p:ext uri="{BB962C8B-B14F-4D97-AF65-F5344CB8AC3E}">
        <p14:creationId xmlns:p14="http://schemas.microsoft.com/office/powerpoint/2010/main" val="3159708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13"/>
                                        </p:tgtEl>
                                        <p:attrNameLst>
                                          <p:attrName>style.visibility</p:attrName>
                                        </p:attrNameLst>
                                      </p:cBhvr>
                                      <p:to>
                                        <p:strVal val="visible"/>
                                      </p:to>
                                    </p:set>
                                    <p:animEffect transition="in" filter="fade">
                                      <p:cBhvr>
                                        <p:cTn id="7" dur="1000"/>
                                        <p:tgtEl>
                                          <p:spTgt spid="113"/>
                                        </p:tgtEl>
                                      </p:cBhvr>
                                    </p:animEffect>
                                    <p:anim calcmode="lin" valueType="num">
                                      <p:cBhvr>
                                        <p:cTn id="8" dur="1000" fill="hold"/>
                                        <p:tgtEl>
                                          <p:spTgt spid="113"/>
                                        </p:tgtEl>
                                        <p:attrNameLst>
                                          <p:attrName>ppt_x</p:attrName>
                                        </p:attrNameLst>
                                      </p:cBhvr>
                                      <p:tavLst>
                                        <p:tav tm="0">
                                          <p:val>
                                            <p:strVal val="#ppt_x"/>
                                          </p:val>
                                        </p:tav>
                                        <p:tav tm="100000">
                                          <p:val>
                                            <p:strVal val="#ppt_x"/>
                                          </p:val>
                                        </p:tav>
                                      </p:tavLst>
                                    </p:anim>
                                    <p:anim calcmode="lin" valueType="num">
                                      <p:cBhvr>
                                        <p:cTn id="9" dur="1000" fill="hold"/>
                                        <p:tgtEl>
                                          <p:spTgt spid="11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97"/>
                                        </p:tgtEl>
                                        <p:attrNameLst>
                                          <p:attrName>style.visibility</p:attrName>
                                        </p:attrNameLst>
                                      </p:cBhvr>
                                      <p:to>
                                        <p:strVal val="visible"/>
                                      </p:to>
                                    </p:set>
                                    <p:animEffect transition="in" filter="fade">
                                      <p:cBhvr>
                                        <p:cTn id="17" dur="1000"/>
                                        <p:tgtEl>
                                          <p:spTgt spid="97"/>
                                        </p:tgtEl>
                                      </p:cBhvr>
                                    </p:animEffect>
                                    <p:anim calcmode="lin" valueType="num">
                                      <p:cBhvr>
                                        <p:cTn id="18" dur="1000" fill="hold"/>
                                        <p:tgtEl>
                                          <p:spTgt spid="97"/>
                                        </p:tgtEl>
                                        <p:attrNameLst>
                                          <p:attrName>ppt_x</p:attrName>
                                        </p:attrNameLst>
                                      </p:cBhvr>
                                      <p:tavLst>
                                        <p:tav tm="0">
                                          <p:val>
                                            <p:strVal val="#ppt_x"/>
                                          </p:val>
                                        </p:tav>
                                        <p:tav tm="100000">
                                          <p:val>
                                            <p:strVal val="#ppt_x"/>
                                          </p:val>
                                        </p:tav>
                                      </p:tavLst>
                                    </p:anim>
                                    <p:anim calcmode="lin" valueType="num">
                                      <p:cBhvr>
                                        <p:cTn id="19" dur="1000" fill="hold"/>
                                        <p:tgtEl>
                                          <p:spTgt spid="97"/>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104"/>
                                        </p:tgtEl>
                                        <p:attrNameLst>
                                          <p:attrName>style.visibility</p:attrName>
                                        </p:attrNameLst>
                                      </p:cBhvr>
                                      <p:to>
                                        <p:strVal val="visible"/>
                                      </p:to>
                                    </p:set>
                                    <p:animEffect transition="in" filter="fade">
                                      <p:cBhvr>
                                        <p:cTn id="24" dur="1000"/>
                                        <p:tgtEl>
                                          <p:spTgt spid="104"/>
                                        </p:tgtEl>
                                      </p:cBhvr>
                                    </p:animEffect>
                                    <p:anim calcmode="lin" valueType="num">
                                      <p:cBhvr>
                                        <p:cTn id="25" dur="1000" fill="hold"/>
                                        <p:tgtEl>
                                          <p:spTgt spid="104"/>
                                        </p:tgtEl>
                                        <p:attrNameLst>
                                          <p:attrName>ppt_x</p:attrName>
                                        </p:attrNameLst>
                                      </p:cBhvr>
                                      <p:tavLst>
                                        <p:tav tm="0">
                                          <p:val>
                                            <p:strVal val="#ppt_x"/>
                                          </p:val>
                                        </p:tav>
                                        <p:tav tm="100000">
                                          <p:val>
                                            <p:strVal val="#ppt_x"/>
                                          </p:val>
                                        </p:tav>
                                      </p:tavLst>
                                    </p:anim>
                                    <p:anim calcmode="lin" valueType="num">
                                      <p:cBhvr>
                                        <p:cTn id="26" dur="1000" fill="hold"/>
                                        <p:tgtEl>
                                          <p:spTgt spid="104"/>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1000"/>
                                        <p:tgtEl>
                                          <p:spTgt spid="10"/>
                                        </p:tgtEl>
                                      </p:cBhvr>
                                    </p:animEffect>
                                    <p:anim calcmode="lin" valueType="num">
                                      <p:cBhvr>
                                        <p:cTn id="30" dur="1000" fill="hold"/>
                                        <p:tgtEl>
                                          <p:spTgt spid="10"/>
                                        </p:tgtEl>
                                        <p:attrNameLst>
                                          <p:attrName>ppt_x</p:attrName>
                                        </p:attrNameLst>
                                      </p:cBhvr>
                                      <p:tavLst>
                                        <p:tav tm="0">
                                          <p:val>
                                            <p:strVal val="#ppt_x"/>
                                          </p:val>
                                        </p:tav>
                                        <p:tav tm="100000">
                                          <p:val>
                                            <p:strVal val="#ppt_x"/>
                                          </p:val>
                                        </p:tav>
                                      </p:tavLst>
                                    </p:anim>
                                    <p:anim calcmode="lin" valueType="num">
                                      <p:cBhvr>
                                        <p:cTn id="31" dur="1000" fill="hold"/>
                                        <p:tgtEl>
                                          <p:spTgt spid="10"/>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98"/>
                                        </p:tgtEl>
                                        <p:attrNameLst>
                                          <p:attrName>style.visibility</p:attrName>
                                        </p:attrNameLst>
                                      </p:cBhvr>
                                      <p:to>
                                        <p:strVal val="visible"/>
                                      </p:to>
                                    </p:set>
                                    <p:animEffect transition="in" filter="fade">
                                      <p:cBhvr>
                                        <p:cTn id="34" dur="1000"/>
                                        <p:tgtEl>
                                          <p:spTgt spid="98"/>
                                        </p:tgtEl>
                                      </p:cBhvr>
                                    </p:animEffect>
                                    <p:anim calcmode="lin" valueType="num">
                                      <p:cBhvr>
                                        <p:cTn id="35" dur="1000" fill="hold"/>
                                        <p:tgtEl>
                                          <p:spTgt spid="98"/>
                                        </p:tgtEl>
                                        <p:attrNameLst>
                                          <p:attrName>ppt_x</p:attrName>
                                        </p:attrNameLst>
                                      </p:cBhvr>
                                      <p:tavLst>
                                        <p:tav tm="0">
                                          <p:val>
                                            <p:strVal val="#ppt_x"/>
                                          </p:val>
                                        </p:tav>
                                        <p:tav tm="100000">
                                          <p:val>
                                            <p:strVal val="#ppt_x"/>
                                          </p:val>
                                        </p:tav>
                                      </p:tavLst>
                                    </p:anim>
                                    <p:anim calcmode="lin" valueType="num">
                                      <p:cBhvr>
                                        <p:cTn id="36" dur="1000" fill="hold"/>
                                        <p:tgtEl>
                                          <p:spTgt spid="98"/>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nodeType="clickEffect">
                                  <p:stCondLst>
                                    <p:cond delay="0"/>
                                  </p:stCondLst>
                                  <p:childTnLst>
                                    <p:set>
                                      <p:cBhvr>
                                        <p:cTn id="40" dur="1" fill="hold">
                                          <p:stCondLst>
                                            <p:cond delay="0"/>
                                          </p:stCondLst>
                                        </p:cTn>
                                        <p:tgtEl>
                                          <p:spTgt spid="124"/>
                                        </p:tgtEl>
                                        <p:attrNameLst>
                                          <p:attrName>style.visibility</p:attrName>
                                        </p:attrNameLst>
                                      </p:cBhvr>
                                      <p:to>
                                        <p:strVal val="visible"/>
                                      </p:to>
                                    </p:set>
                                    <p:animEffect transition="in" filter="fade">
                                      <p:cBhvr>
                                        <p:cTn id="41" dur="1000"/>
                                        <p:tgtEl>
                                          <p:spTgt spid="124"/>
                                        </p:tgtEl>
                                      </p:cBhvr>
                                    </p:animEffect>
                                    <p:anim calcmode="lin" valueType="num">
                                      <p:cBhvr>
                                        <p:cTn id="42" dur="1000" fill="hold"/>
                                        <p:tgtEl>
                                          <p:spTgt spid="124"/>
                                        </p:tgtEl>
                                        <p:attrNameLst>
                                          <p:attrName>ppt_x</p:attrName>
                                        </p:attrNameLst>
                                      </p:cBhvr>
                                      <p:tavLst>
                                        <p:tav tm="0">
                                          <p:val>
                                            <p:strVal val="#ppt_x"/>
                                          </p:val>
                                        </p:tav>
                                        <p:tav tm="100000">
                                          <p:val>
                                            <p:strVal val="#ppt_x"/>
                                          </p:val>
                                        </p:tav>
                                      </p:tavLst>
                                    </p:anim>
                                    <p:anim calcmode="lin" valueType="num">
                                      <p:cBhvr>
                                        <p:cTn id="43" dur="1000" fill="hold"/>
                                        <p:tgtEl>
                                          <p:spTgt spid="124"/>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95"/>
                                        </p:tgtEl>
                                        <p:attrNameLst>
                                          <p:attrName>style.visibility</p:attrName>
                                        </p:attrNameLst>
                                      </p:cBhvr>
                                      <p:to>
                                        <p:strVal val="visible"/>
                                      </p:to>
                                    </p:set>
                                    <p:animEffect transition="in" filter="fade">
                                      <p:cBhvr>
                                        <p:cTn id="46" dur="1000"/>
                                        <p:tgtEl>
                                          <p:spTgt spid="95"/>
                                        </p:tgtEl>
                                      </p:cBhvr>
                                    </p:animEffect>
                                    <p:anim calcmode="lin" valueType="num">
                                      <p:cBhvr>
                                        <p:cTn id="47" dur="1000" fill="hold"/>
                                        <p:tgtEl>
                                          <p:spTgt spid="95"/>
                                        </p:tgtEl>
                                        <p:attrNameLst>
                                          <p:attrName>ppt_x</p:attrName>
                                        </p:attrNameLst>
                                      </p:cBhvr>
                                      <p:tavLst>
                                        <p:tav tm="0">
                                          <p:val>
                                            <p:strVal val="#ppt_x"/>
                                          </p:val>
                                        </p:tav>
                                        <p:tav tm="100000">
                                          <p:val>
                                            <p:strVal val="#ppt_x"/>
                                          </p:val>
                                        </p:tav>
                                      </p:tavLst>
                                    </p:anim>
                                    <p:anim calcmode="lin" valueType="num">
                                      <p:cBhvr>
                                        <p:cTn id="48" dur="1000" fill="hold"/>
                                        <p:tgtEl>
                                          <p:spTgt spid="95"/>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99"/>
                                        </p:tgtEl>
                                        <p:attrNameLst>
                                          <p:attrName>style.visibility</p:attrName>
                                        </p:attrNameLst>
                                      </p:cBhvr>
                                      <p:to>
                                        <p:strVal val="visible"/>
                                      </p:to>
                                    </p:set>
                                    <p:animEffect transition="in" filter="fade">
                                      <p:cBhvr>
                                        <p:cTn id="51" dur="1000"/>
                                        <p:tgtEl>
                                          <p:spTgt spid="99"/>
                                        </p:tgtEl>
                                      </p:cBhvr>
                                    </p:animEffect>
                                    <p:anim calcmode="lin" valueType="num">
                                      <p:cBhvr>
                                        <p:cTn id="52" dur="1000" fill="hold"/>
                                        <p:tgtEl>
                                          <p:spTgt spid="99"/>
                                        </p:tgtEl>
                                        <p:attrNameLst>
                                          <p:attrName>ppt_x</p:attrName>
                                        </p:attrNameLst>
                                      </p:cBhvr>
                                      <p:tavLst>
                                        <p:tav tm="0">
                                          <p:val>
                                            <p:strVal val="#ppt_x"/>
                                          </p:val>
                                        </p:tav>
                                        <p:tav tm="100000">
                                          <p:val>
                                            <p:strVal val="#ppt_x"/>
                                          </p:val>
                                        </p:tav>
                                      </p:tavLst>
                                    </p:anim>
                                    <p:anim calcmode="lin" valueType="num">
                                      <p:cBhvr>
                                        <p:cTn id="53" dur="1000" fill="hold"/>
                                        <p:tgtEl>
                                          <p:spTgt spid="99"/>
                                        </p:tgtEl>
                                        <p:attrNameLst>
                                          <p:attrName>ppt_y</p:attrName>
                                        </p:attrNameLst>
                                      </p:cBhvr>
                                      <p:tavLst>
                                        <p:tav tm="0">
                                          <p:val>
                                            <p:strVal val="#ppt_y+.1"/>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42" presetClass="entr" presetSubtype="0" fill="hold" nodeType="clickEffect">
                                  <p:stCondLst>
                                    <p:cond delay="0"/>
                                  </p:stCondLst>
                                  <p:childTnLst>
                                    <p:set>
                                      <p:cBhvr>
                                        <p:cTn id="57" dur="1" fill="hold">
                                          <p:stCondLst>
                                            <p:cond delay="0"/>
                                          </p:stCondLst>
                                        </p:cTn>
                                        <p:tgtEl>
                                          <p:spTgt spid="118"/>
                                        </p:tgtEl>
                                        <p:attrNameLst>
                                          <p:attrName>style.visibility</p:attrName>
                                        </p:attrNameLst>
                                      </p:cBhvr>
                                      <p:to>
                                        <p:strVal val="visible"/>
                                      </p:to>
                                    </p:set>
                                    <p:animEffect transition="in" filter="fade">
                                      <p:cBhvr>
                                        <p:cTn id="58" dur="1000"/>
                                        <p:tgtEl>
                                          <p:spTgt spid="118"/>
                                        </p:tgtEl>
                                      </p:cBhvr>
                                    </p:animEffect>
                                    <p:anim calcmode="lin" valueType="num">
                                      <p:cBhvr>
                                        <p:cTn id="59" dur="1000" fill="hold"/>
                                        <p:tgtEl>
                                          <p:spTgt spid="118"/>
                                        </p:tgtEl>
                                        <p:attrNameLst>
                                          <p:attrName>ppt_x</p:attrName>
                                        </p:attrNameLst>
                                      </p:cBhvr>
                                      <p:tavLst>
                                        <p:tav tm="0">
                                          <p:val>
                                            <p:strVal val="#ppt_x"/>
                                          </p:val>
                                        </p:tav>
                                        <p:tav tm="100000">
                                          <p:val>
                                            <p:strVal val="#ppt_x"/>
                                          </p:val>
                                        </p:tav>
                                      </p:tavLst>
                                    </p:anim>
                                    <p:anim calcmode="lin" valueType="num">
                                      <p:cBhvr>
                                        <p:cTn id="60" dur="1000" fill="hold"/>
                                        <p:tgtEl>
                                          <p:spTgt spid="118"/>
                                        </p:tgtEl>
                                        <p:attrNameLst>
                                          <p:attrName>ppt_y</p:attrName>
                                        </p:attrNameLst>
                                      </p:cBhvr>
                                      <p:tavLst>
                                        <p:tav tm="0">
                                          <p:val>
                                            <p:strVal val="#ppt_y+.1"/>
                                          </p:val>
                                        </p:tav>
                                        <p:tav tm="100000">
                                          <p:val>
                                            <p:strVal val="#ppt_y"/>
                                          </p:val>
                                        </p:tav>
                                      </p:tavLst>
                                    </p:anim>
                                  </p:childTnLst>
                                </p:cTn>
                              </p:par>
                              <p:par>
                                <p:cTn id="61" presetID="42" presetClass="entr" presetSubtype="0" fill="hold" grpId="0" nodeType="withEffect">
                                  <p:stCondLst>
                                    <p:cond delay="0"/>
                                  </p:stCondLst>
                                  <p:childTnLst>
                                    <p:set>
                                      <p:cBhvr>
                                        <p:cTn id="62" dur="1" fill="hold">
                                          <p:stCondLst>
                                            <p:cond delay="0"/>
                                          </p:stCondLst>
                                        </p:cTn>
                                        <p:tgtEl>
                                          <p:spTgt spid="11"/>
                                        </p:tgtEl>
                                        <p:attrNameLst>
                                          <p:attrName>style.visibility</p:attrName>
                                        </p:attrNameLst>
                                      </p:cBhvr>
                                      <p:to>
                                        <p:strVal val="visible"/>
                                      </p:to>
                                    </p:set>
                                    <p:animEffect transition="in" filter="fade">
                                      <p:cBhvr>
                                        <p:cTn id="63" dur="1000"/>
                                        <p:tgtEl>
                                          <p:spTgt spid="11"/>
                                        </p:tgtEl>
                                      </p:cBhvr>
                                    </p:animEffect>
                                    <p:anim calcmode="lin" valueType="num">
                                      <p:cBhvr>
                                        <p:cTn id="64" dur="1000" fill="hold"/>
                                        <p:tgtEl>
                                          <p:spTgt spid="11"/>
                                        </p:tgtEl>
                                        <p:attrNameLst>
                                          <p:attrName>ppt_x</p:attrName>
                                        </p:attrNameLst>
                                      </p:cBhvr>
                                      <p:tavLst>
                                        <p:tav tm="0">
                                          <p:val>
                                            <p:strVal val="#ppt_x"/>
                                          </p:val>
                                        </p:tav>
                                        <p:tav tm="100000">
                                          <p:val>
                                            <p:strVal val="#ppt_x"/>
                                          </p:val>
                                        </p:tav>
                                      </p:tavLst>
                                    </p:anim>
                                    <p:anim calcmode="lin" valueType="num">
                                      <p:cBhvr>
                                        <p:cTn id="65" dur="1000" fill="hold"/>
                                        <p:tgtEl>
                                          <p:spTgt spid="11"/>
                                        </p:tgtEl>
                                        <p:attrNameLst>
                                          <p:attrName>ppt_y</p:attrName>
                                        </p:attrNameLst>
                                      </p:cBhvr>
                                      <p:tavLst>
                                        <p:tav tm="0">
                                          <p:val>
                                            <p:strVal val="#ppt_y+.1"/>
                                          </p:val>
                                        </p:tav>
                                        <p:tav tm="100000">
                                          <p:val>
                                            <p:strVal val="#ppt_y"/>
                                          </p:val>
                                        </p:tav>
                                      </p:tavLst>
                                    </p:anim>
                                  </p:childTnLst>
                                </p:cTn>
                              </p:par>
                              <p:par>
                                <p:cTn id="66" presetID="42" presetClass="entr" presetSubtype="0" fill="hold" grpId="0" nodeType="withEffect">
                                  <p:stCondLst>
                                    <p:cond delay="0"/>
                                  </p:stCondLst>
                                  <p:childTnLst>
                                    <p:set>
                                      <p:cBhvr>
                                        <p:cTn id="67" dur="1" fill="hold">
                                          <p:stCondLst>
                                            <p:cond delay="0"/>
                                          </p:stCondLst>
                                        </p:cTn>
                                        <p:tgtEl>
                                          <p:spTgt spid="100"/>
                                        </p:tgtEl>
                                        <p:attrNameLst>
                                          <p:attrName>style.visibility</p:attrName>
                                        </p:attrNameLst>
                                      </p:cBhvr>
                                      <p:to>
                                        <p:strVal val="visible"/>
                                      </p:to>
                                    </p:set>
                                    <p:animEffect transition="in" filter="fade">
                                      <p:cBhvr>
                                        <p:cTn id="68" dur="1000"/>
                                        <p:tgtEl>
                                          <p:spTgt spid="100"/>
                                        </p:tgtEl>
                                      </p:cBhvr>
                                    </p:animEffect>
                                    <p:anim calcmode="lin" valueType="num">
                                      <p:cBhvr>
                                        <p:cTn id="69" dur="1000" fill="hold"/>
                                        <p:tgtEl>
                                          <p:spTgt spid="100"/>
                                        </p:tgtEl>
                                        <p:attrNameLst>
                                          <p:attrName>ppt_x</p:attrName>
                                        </p:attrNameLst>
                                      </p:cBhvr>
                                      <p:tavLst>
                                        <p:tav tm="0">
                                          <p:val>
                                            <p:strVal val="#ppt_x"/>
                                          </p:val>
                                        </p:tav>
                                        <p:tav tm="100000">
                                          <p:val>
                                            <p:strVal val="#ppt_x"/>
                                          </p:val>
                                        </p:tav>
                                      </p:tavLst>
                                    </p:anim>
                                    <p:anim calcmode="lin" valueType="num">
                                      <p:cBhvr>
                                        <p:cTn id="70" dur="1000" fill="hold"/>
                                        <p:tgtEl>
                                          <p:spTgt spid="10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95" grpId="0" animBg="1"/>
      <p:bldP spid="97" grpId="0"/>
      <p:bldP spid="98" grpId="0"/>
      <p:bldP spid="99" grpId="0"/>
      <p:bldP spid="10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50113_Microsoft_Ready_Light_Template">
  <a:themeElements>
    <a:clrScheme name="PG">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38CD03E-9F94-41D6-BBAF-CD475161A243}" vid="{D8CB7CA4-654C-4AFF-9350-1CACBE7C6BF4}"/>
    </a:ext>
  </a:extLst>
</a:theme>
</file>

<file path=ppt/theme/theme3.xml><?xml version="1.0" encoding="utf-8"?>
<a:theme xmlns:a="http://schemas.openxmlformats.org/drawingml/2006/main" name="Blockchain Kick off Deck">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lockchain Kick off Deck" id="{F8F02839-ACAC-4469-B678-B9EB0C38BD7B}" vid="{E9387C65-1163-41F5-A5D1-FF9A8F89E92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3</TotalTime>
  <Words>3054</Words>
  <Application>Microsoft Office PowerPoint</Application>
  <PresentationFormat>Widescreen</PresentationFormat>
  <Paragraphs>480</Paragraphs>
  <Slides>32</Slides>
  <Notes>31</Notes>
  <HiddenSlides>1</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32</vt:i4>
      </vt:variant>
    </vt:vector>
  </HeadingPairs>
  <TitlesOfParts>
    <vt:vector size="46" baseType="lpstr">
      <vt:lpstr>Segoe</vt:lpstr>
      <vt:lpstr>Arial</vt:lpstr>
      <vt:lpstr>Calibri</vt:lpstr>
      <vt:lpstr>Calibri Light</vt:lpstr>
      <vt:lpstr>Segoe UI</vt:lpstr>
      <vt:lpstr>Segoe UI Light</vt:lpstr>
      <vt:lpstr>Segoe UI Semibold</vt:lpstr>
      <vt:lpstr>Segoe UI Semilight</vt:lpstr>
      <vt:lpstr>Times New Roman</vt:lpstr>
      <vt:lpstr>Wingdings</vt:lpstr>
      <vt:lpstr>Office Theme</vt:lpstr>
      <vt:lpstr>5-50113_Microsoft_Ready_Light_Template</vt:lpstr>
      <vt:lpstr>Blockchain Kick off Deck</vt:lpstr>
      <vt:lpstr>think-cell Slide</vt:lpstr>
      <vt:lpstr>Building  on blockchain</vt:lpstr>
      <vt:lpstr>Agenda</vt:lpstr>
      <vt:lpstr>Microsoft journey</vt:lpstr>
      <vt:lpstr>Digital Transformation</vt:lpstr>
      <vt:lpstr>Microsoft Cloud</vt:lpstr>
      <vt:lpstr>Current methods of building trust add friction by design</vt:lpstr>
      <vt:lpstr>Blockchain streamlines these processes by establishing a secure, shared source of truth</vt:lpstr>
      <vt:lpstr>Not all blockchains are the same</vt:lpstr>
      <vt:lpstr>PowerPoint Presentation</vt:lpstr>
      <vt:lpstr>PowerPoint Presentation</vt:lpstr>
      <vt:lpstr>Let’s imagine a food contamination scenario </vt:lpstr>
      <vt:lpstr>Who’s at fault?  The producer? The carrier? The store?</vt:lpstr>
      <vt:lpstr>Blockchain in Action: Refrigerated Transportation</vt:lpstr>
      <vt:lpstr> Ledger applications fit into two categories</vt:lpstr>
      <vt:lpstr>Tokens (and Token Contracts) Are Typically Used in Both  </vt:lpstr>
      <vt:lpstr>Building from scratch is a huge undertaking</vt:lpstr>
      <vt:lpstr>Microsoft breaks blockchain down to the essential steps</vt:lpstr>
      <vt:lpstr>Azure Blockchain helps developers meet each need</vt:lpstr>
      <vt:lpstr>PowerPoint Presentation</vt:lpstr>
      <vt:lpstr>Azure Blockchain Service</vt:lpstr>
      <vt:lpstr>Azure Blockchain Service (Preview) makes it easy to build and manage your blockchain network</vt:lpstr>
      <vt:lpstr>Azure Blockchain Service (Preview) with built-in consortium management</vt:lpstr>
      <vt:lpstr>Azure Blockchain Development Kit</vt:lpstr>
      <vt:lpstr>Development tools and ecosystem</vt:lpstr>
      <vt:lpstr>Development tools and ecosystem</vt:lpstr>
      <vt:lpstr>Hands-on | Part 1</vt:lpstr>
      <vt:lpstr>PowerPoint Presentation</vt:lpstr>
      <vt:lpstr>PowerPoint Presentation</vt:lpstr>
      <vt:lpstr>PowerPoint Presentation</vt:lpstr>
      <vt:lpstr>Blockchain in action | Manage royalty payments</vt:lpstr>
      <vt:lpstr>Hands-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on blockchain</dc:title>
  <dc:creator>Anaig Marechal</dc:creator>
  <cp:lastModifiedBy>Anaig Marechal</cp:lastModifiedBy>
  <cp:revision>1</cp:revision>
  <dcterms:created xsi:type="dcterms:W3CDTF">2019-09-26T08:31:44Z</dcterms:created>
  <dcterms:modified xsi:type="dcterms:W3CDTF">2019-09-26T11:55:13Z</dcterms:modified>
</cp:coreProperties>
</file>